
<file path=[Content_Types].xml><?xml version="1.0" encoding="utf-8"?>
<Types xmlns="http://schemas.openxmlformats.org/package/2006/content-types">
  <Default Extension="jpeg" ContentType="image/jpeg"/>
  <Default Extension="JPG" ContentType="image/.jpg"/>
  <Default Extension="xlsx" ContentType="application/vnd.openxmlformats-officedocument.spreadsheetml.sheet"/>
  <Default Extension="png" ContentType="image/png"/>
  <Default Extension="wdp" ContentType="image/vnd.ms-photo"/>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olors1.xml" ContentType="application/vnd.ms-office.chartcolorstyle+xml"/>
  <Override PartName="/ppt/charts/colors2.xml" ContentType="application/vnd.ms-office.chartcolorstyle+xml"/>
  <Override PartName="/ppt/charts/style1.xml" ContentType="application/vnd.ms-office.chartstyle+xml"/>
  <Override PartName="/ppt/charts/style2.xml" ContentType="application/vnd.ms-office.chart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handoutMasterIdLst>
    <p:handoutMasterId r:id="rId31"/>
  </p:handoutMasterIdLst>
  <p:sldIdLst>
    <p:sldId id="424" r:id="rId3"/>
    <p:sldId id="271" r:id="rId5"/>
    <p:sldId id="258" r:id="rId6"/>
    <p:sldId id="274" r:id="rId7"/>
    <p:sldId id="275" r:id="rId8"/>
    <p:sldId id="277" r:id="rId9"/>
    <p:sldId id="279" r:id="rId10"/>
    <p:sldId id="281" r:id="rId11"/>
    <p:sldId id="283" r:id="rId12"/>
    <p:sldId id="287" r:id="rId13"/>
    <p:sldId id="269" r:id="rId14"/>
    <p:sldId id="288" r:id="rId15"/>
    <p:sldId id="289" r:id="rId16"/>
    <p:sldId id="291" r:id="rId17"/>
    <p:sldId id="295" r:id="rId18"/>
    <p:sldId id="296" r:id="rId19"/>
    <p:sldId id="313" r:id="rId20"/>
    <p:sldId id="285" r:id="rId21"/>
    <p:sldId id="324" r:id="rId22"/>
    <p:sldId id="333" r:id="rId23"/>
    <p:sldId id="317" r:id="rId24"/>
    <p:sldId id="332" r:id="rId25"/>
    <p:sldId id="331" r:id="rId26"/>
    <p:sldId id="342" r:id="rId27"/>
    <p:sldId id="335" r:id="rId28"/>
    <p:sldId id="337" r:id="rId29"/>
    <p:sldId id="423"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A42"/>
    <a:srgbClr val="6B7278"/>
    <a:srgbClr val="BBC0C3"/>
    <a:srgbClr val="002ECA"/>
    <a:srgbClr val="FE4566"/>
    <a:srgbClr val="287EAD"/>
    <a:srgbClr val="DF5D3C"/>
    <a:srgbClr val="FFFFFF"/>
    <a:srgbClr val="FF3300"/>
    <a:srgbClr val="8D8D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097" autoAdjust="0"/>
    <p:restoredTop sz="94660"/>
  </p:normalViewPr>
  <p:slideViewPr>
    <p:cSldViewPr snapToGrid="0">
      <p:cViewPr>
        <p:scale>
          <a:sx n="60" d="100"/>
          <a:sy n="60" d="100"/>
        </p:scale>
        <p:origin x="-1104" y="-244"/>
      </p:cViewPr>
      <p:guideLst>
        <p:guide orient="horz" pos="2160"/>
        <p:guide orient="horz" pos="2260"/>
        <p:guide orient="horz" pos="2360"/>
        <p:guide pos="3840"/>
      </p:guideLst>
    </p:cSldViewPr>
  </p:slideViewPr>
  <p:notesTextViewPr>
    <p:cViewPr>
      <p:scale>
        <a:sx n="1" d="1"/>
        <a:sy n="1" d="1"/>
      </p:scale>
      <p:origin x="0" y="0"/>
    </p:cViewPr>
  </p:notesTextViewPr>
  <p:notesViewPr>
    <p:cSldViewPr snapToGrid="0">
      <p:cViewPr varScale="1">
        <p:scale>
          <a:sx n="65" d="100"/>
          <a:sy n="65" d="100"/>
        </p:scale>
        <p:origin x="2424" y="60"/>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4" Type="http://schemas.openxmlformats.org/officeDocument/2006/relationships/tableStyles" Target="tableStyles.xml"/><Relationship Id="rId33" Type="http://schemas.openxmlformats.org/officeDocument/2006/relationships/viewProps" Target="viewProps.xml"/><Relationship Id="rId32" Type="http://schemas.openxmlformats.org/officeDocument/2006/relationships/presProps" Target="presProps.xml"/><Relationship Id="rId31" Type="http://schemas.openxmlformats.org/officeDocument/2006/relationships/handoutMaster" Target="handoutMasters/handoutMaster1.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Workbook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conomic</c:v>
                </c:pt>
              </c:strCache>
            </c:strRef>
          </c:tx>
          <c:spPr>
            <a:solidFill>
              <a:schemeClr val="accent1"/>
            </a:solidFill>
            <a:ln>
              <a:noFill/>
            </a:ln>
            <a:effectLst/>
          </c:spPr>
          <c:invertIfNegative val="0"/>
          <c:dLbls>
            <c:delete val="1"/>
          </c:dLbls>
          <c:cat>
            <c:strRef>
              <c:f>Sheet1!$A$2:$A$9</c:f>
              <c:strCache>
                <c:ptCount val="8"/>
                <c:pt idx="0">
                  <c:v>Jan</c:v>
                </c:pt>
                <c:pt idx="1">
                  <c:v>Feb</c:v>
                </c:pt>
                <c:pt idx="2">
                  <c:v>Mar</c:v>
                </c:pt>
                <c:pt idx="3">
                  <c:v>May</c:v>
                </c:pt>
                <c:pt idx="4">
                  <c:v>Jun</c:v>
                </c:pt>
                <c:pt idx="5">
                  <c:v>Sep</c:v>
                </c:pt>
                <c:pt idx="6">
                  <c:v>Nov</c:v>
                </c:pt>
                <c:pt idx="7">
                  <c:v>Dec</c:v>
                </c:pt>
              </c:strCache>
            </c:strRef>
          </c:cat>
          <c:val>
            <c:numRef>
              <c:f>Sheet1!$B$2:$B$9</c:f>
              <c:numCache>
                <c:formatCode>General</c:formatCode>
                <c:ptCount val="8"/>
                <c:pt idx="0">
                  <c:v>2</c:v>
                </c:pt>
                <c:pt idx="1">
                  <c:v>3</c:v>
                </c:pt>
                <c:pt idx="2">
                  <c:v>4</c:v>
                </c:pt>
                <c:pt idx="3">
                  <c:v>2</c:v>
                </c:pt>
                <c:pt idx="4">
                  <c:v>4</c:v>
                </c:pt>
                <c:pt idx="5">
                  <c:v>5</c:v>
                </c:pt>
                <c:pt idx="6">
                  <c:v>4</c:v>
                </c:pt>
                <c:pt idx="7">
                  <c:v>5</c:v>
                </c:pt>
              </c:numCache>
            </c:numRef>
          </c:val>
        </c:ser>
        <c:ser>
          <c:idx val="1"/>
          <c:order val="1"/>
          <c:tx>
            <c:strRef>
              <c:f>Sheet1!$C$1</c:f>
              <c:strCache>
                <c:ptCount val="1"/>
                <c:pt idx="0">
                  <c:v>Social</c:v>
                </c:pt>
              </c:strCache>
            </c:strRef>
          </c:tx>
          <c:spPr>
            <a:solidFill>
              <a:schemeClr val="accent2"/>
            </a:solidFill>
            <a:ln>
              <a:noFill/>
            </a:ln>
            <a:effectLst/>
          </c:spPr>
          <c:invertIfNegative val="0"/>
          <c:dLbls>
            <c:delete val="1"/>
          </c:dLbls>
          <c:cat>
            <c:strRef>
              <c:f>Sheet1!$A$2:$A$9</c:f>
              <c:strCache>
                <c:ptCount val="8"/>
                <c:pt idx="0">
                  <c:v>Jan</c:v>
                </c:pt>
                <c:pt idx="1">
                  <c:v>Feb</c:v>
                </c:pt>
                <c:pt idx="2">
                  <c:v>Mar</c:v>
                </c:pt>
                <c:pt idx="3">
                  <c:v>May</c:v>
                </c:pt>
                <c:pt idx="4">
                  <c:v>Jun</c:v>
                </c:pt>
                <c:pt idx="5">
                  <c:v>Sep</c:v>
                </c:pt>
                <c:pt idx="6">
                  <c:v>Nov</c:v>
                </c:pt>
                <c:pt idx="7">
                  <c:v>Dec</c:v>
                </c:pt>
              </c:strCache>
            </c:strRef>
          </c:cat>
          <c:val>
            <c:numRef>
              <c:f>Sheet1!$C$2:$C$9</c:f>
              <c:numCache>
                <c:formatCode>General</c:formatCode>
                <c:ptCount val="8"/>
                <c:pt idx="0">
                  <c:v>3</c:v>
                </c:pt>
                <c:pt idx="1">
                  <c:v>4</c:v>
                </c:pt>
                <c:pt idx="2">
                  <c:v>3</c:v>
                </c:pt>
                <c:pt idx="3">
                  <c:v>2</c:v>
                </c:pt>
                <c:pt idx="4">
                  <c:v>4</c:v>
                </c:pt>
                <c:pt idx="5">
                  <c:v>3</c:v>
                </c:pt>
                <c:pt idx="6">
                  <c:v>5</c:v>
                </c:pt>
                <c:pt idx="7">
                  <c:v>5</c:v>
                </c:pt>
              </c:numCache>
            </c:numRef>
          </c:val>
        </c:ser>
        <c:ser>
          <c:idx val="2"/>
          <c:order val="2"/>
          <c:tx>
            <c:strRef>
              <c:f>Sheet1!$D$1</c:f>
              <c:strCache>
                <c:ptCount val="1"/>
                <c:pt idx="0">
                  <c:v>Nature</c:v>
                </c:pt>
              </c:strCache>
            </c:strRef>
          </c:tx>
          <c:spPr>
            <a:solidFill>
              <a:schemeClr val="bg1">
                <a:lumMod val="75000"/>
              </a:schemeClr>
            </a:solidFill>
            <a:ln>
              <a:noFill/>
            </a:ln>
            <a:effectLst/>
          </c:spPr>
          <c:invertIfNegative val="0"/>
          <c:dLbls>
            <c:delete val="1"/>
          </c:dLbls>
          <c:cat>
            <c:strRef>
              <c:f>Sheet1!$A$2:$A$9</c:f>
              <c:strCache>
                <c:ptCount val="8"/>
                <c:pt idx="0">
                  <c:v>Jan</c:v>
                </c:pt>
                <c:pt idx="1">
                  <c:v>Feb</c:v>
                </c:pt>
                <c:pt idx="2">
                  <c:v>Mar</c:v>
                </c:pt>
                <c:pt idx="3">
                  <c:v>May</c:v>
                </c:pt>
                <c:pt idx="4">
                  <c:v>Jun</c:v>
                </c:pt>
                <c:pt idx="5">
                  <c:v>Sep</c:v>
                </c:pt>
                <c:pt idx="6">
                  <c:v>Nov</c:v>
                </c:pt>
                <c:pt idx="7">
                  <c:v>Dec</c:v>
                </c:pt>
              </c:strCache>
            </c:strRef>
          </c:cat>
          <c:val>
            <c:numRef>
              <c:f>Sheet1!$D$2:$D$9</c:f>
              <c:numCache>
                <c:formatCode>General</c:formatCode>
                <c:ptCount val="8"/>
                <c:pt idx="0">
                  <c:v>4</c:v>
                </c:pt>
                <c:pt idx="1">
                  <c:v>5</c:v>
                </c:pt>
                <c:pt idx="2">
                  <c:v>4</c:v>
                </c:pt>
                <c:pt idx="3">
                  <c:v>3</c:v>
                </c:pt>
                <c:pt idx="4">
                  <c:v>2</c:v>
                </c:pt>
                <c:pt idx="5">
                  <c:v>4</c:v>
                </c:pt>
                <c:pt idx="6">
                  <c:v>5</c:v>
                </c:pt>
                <c:pt idx="7">
                  <c:v>4</c:v>
                </c:pt>
              </c:numCache>
            </c:numRef>
          </c:val>
        </c:ser>
        <c:dLbls>
          <c:showLegendKey val="0"/>
          <c:showVal val="0"/>
          <c:showCatName val="0"/>
          <c:showSerName val="0"/>
          <c:showPercent val="0"/>
          <c:showBubbleSize val="0"/>
        </c:dLbls>
        <c:gapWidth val="150"/>
        <c:axId val="275927808"/>
        <c:axId val="275929344"/>
      </c:barChart>
      <c:catAx>
        <c:axId val="275927808"/>
        <c:scaling>
          <c:orientation val="minMax"/>
        </c:scaling>
        <c:delete val="0"/>
        <c:axPos val="b"/>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zh-CN" sz="600" b="0" i="0" u="none" strike="noStrike" kern="1200" baseline="0">
                <a:solidFill>
                  <a:schemeClr val="tx1">
                    <a:lumMod val="65000"/>
                    <a:lumOff val="35000"/>
                  </a:schemeClr>
                </a:solidFill>
                <a:latin typeface="+mn-lt"/>
                <a:ea typeface="+mn-ea"/>
                <a:cs typeface="+mn-cs"/>
              </a:defRPr>
            </a:pPr>
          </a:p>
        </c:txPr>
        <c:crossAx val="275929344"/>
        <c:crosses val="autoZero"/>
        <c:auto val="1"/>
        <c:lblAlgn val="ctr"/>
        <c:lblOffset val="100"/>
        <c:noMultiLvlLbl val="0"/>
      </c:catAx>
      <c:valAx>
        <c:axId val="275929344"/>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zh-CN" sz="600" b="0" i="0" u="none" strike="noStrike" kern="1200" baseline="0">
                <a:solidFill>
                  <a:schemeClr val="tx1">
                    <a:lumMod val="65000"/>
                    <a:lumOff val="35000"/>
                  </a:schemeClr>
                </a:solidFill>
                <a:latin typeface="+mn-lt"/>
                <a:ea typeface="+mn-ea"/>
                <a:cs typeface="+mn-cs"/>
              </a:defRPr>
            </a:pPr>
          </a:p>
        </c:txPr>
        <c:crossAx val="275927808"/>
        <c:crosses val="autoZero"/>
        <c:crossBetween val="between"/>
      </c:valAx>
      <c:spPr>
        <a:noFill/>
        <a:ln>
          <a:noFill/>
        </a:ln>
        <a:effectLst/>
      </c:spPr>
    </c:plotArea>
    <c:plotVisOnly val="1"/>
    <c:dispBlanksAs val="gap"/>
    <c:showDLblsOverMax val="0"/>
  </c:chart>
  <c:spPr>
    <a:noFill/>
    <a:ln>
      <a:noFill/>
    </a:ln>
    <a:effectLst/>
  </c:spPr>
  <c:txPr>
    <a:bodyPr/>
    <a:lstStyle/>
    <a:p>
      <a:pPr>
        <a:defRPr lang="zh-CN" sz="600">
          <a:solidFill>
            <a:schemeClr val="tx1">
              <a:lumMod val="65000"/>
              <a:lumOff val="35000"/>
            </a:schemeClr>
          </a:solidFill>
        </a:defRPr>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strRef>
              <c:f>Sheet1!$B$1</c:f>
              <c:strCache>
                <c:ptCount val="1"/>
                <c:pt idx="0">
                  <c:v>Economic</c:v>
                </c:pt>
              </c:strCache>
            </c:strRef>
          </c:tx>
          <c:spPr>
            <a:ln w="19050" cap="rnd">
              <a:solidFill>
                <a:schemeClr val="tx2">
                  <a:lumMod val="60000"/>
                  <a:lumOff val="40000"/>
                </a:schemeClr>
              </a:solidFill>
              <a:round/>
            </a:ln>
            <a:effectLst/>
          </c:spPr>
          <c:marker>
            <c:symbol val="none"/>
          </c:marker>
          <c:dLbls>
            <c:delete val="1"/>
          </c:dLbls>
          <c:xVal>
            <c:strRef>
              <c:f>Sheet1!$A$2:$A$9</c:f>
              <c:strCache>
                <c:ptCount val="8"/>
                <c:pt idx="0">
                  <c:v>Jan</c:v>
                </c:pt>
                <c:pt idx="1">
                  <c:v>Feb</c:v>
                </c:pt>
                <c:pt idx="2">
                  <c:v>Mar</c:v>
                </c:pt>
                <c:pt idx="3">
                  <c:v>May</c:v>
                </c:pt>
                <c:pt idx="4">
                  <c:v>Jun</c:v>
                </c:pt>
                <c:pt idx="5">
                  <c:v>Sep</c:v>
                </c:pt>
                <c:pt idx="6">
                  <c:v>Nov</c:v>
                </c:pt>
                <c:pt idx="7">
                  <c:v>Dec</c:v>
                </c:pt>
              </c:strCache>
            </c:strRef>
          </c:xVal>
          <c:yVal>
            <c:numRef>
              <c:f>Sheet1!$B$2:$B$9</c:f>
              <c:numCache>
                <c:formatCode>General</c:formatCode>
                <c:ptCount val="8"/>
                <c:pt idx="0">
                  <c:v>2</c:v>
                </c:pt>
                <c:pt idx="1">
                  <c:v>3</c:v>
                </c:pt>
                <c:pt idx="2">
                  <c:v>4</c:v>
                </c:pt>
                <c:pt idx="3">
                  <c:v>2</c:v>
                </c:pt>
                <c:pt idx="4">
                  <c:v>4</c:v>
                </c:pt>
                <c:pt idx="5">
                  <c:v>5</c:v>
                </c:pt>
                <c:pt idx="6">
                  <c:v>4</c:v>
                </c:pt>
                <c:pt idx="7">
                  <c:v>5</c:v>
                </c:pt>
              </c:numCache>
            </c:numRef>
          </c:yVal>
          <c:smooth val="1"/>
        </c:ser>
        <c:ser>
          <c:idx val="1"/>
          <c:order val="1"/>
          <c:tx>
            <c:strRef>
              <c:f>Sheet1!$C$1</c:f>
              <c:strCache>
                <c:ptCount val="1"/>
                <c:pt idx="0">
                  <c:v>Social</c:v>
                </c:pt>
              </c:strCache>
            </c:strRef>
          </c:tx>
          <c:spPr>
            <a:ln w="19050" cap="rnd">
              <a:solidFill>
                <a:schemeClr val="bg1">
                  <a:lumMod val="75000"/>
                </a:schemeClr>
              </a:solidFill>
              <a:round/>
            </a:ln>
            <a:effectLst/>
          </c:spPr>
          <c:marker>
            <c:symbol val="none"/>
          </c:marker>
          <c:dLbls>
            <c:delete val="1"/>
          </c:dLbls>
          <c:xVal>
            <c:strRef>
              <c:f>Sheet1!$A$2:$A$9</c:f>
              <c:strCache>
                <c:ptCount val="8"/>
                <c:pt idx="0">
                  <c:v>Jan</c:v>
                </c:pt>
                <c:pt idx="1">
                  <c:v>Feb</c:v>
                </c:pt>
                <c:pt idx="2">
                  <c:v>Mar</c:v>
                </c:pt>
                <c:pt idx="3">
                  <c:v>May</c:v>
                </c:pt>
                <c:pt idx="4">
                  <c:v>Jun</c:v>
                </c:pt>
                <c:pt idx="5">
                  <c:v>Sep</c:v>
                </c:pt>
                <c:pt idx="6">
                  <c:v>Nov</c:v>
                </c:pt>
                <c:pt idx="7">
                  <c:v>Dec</c:v>
                </c:pt>
              </c:strCache>
            </c:strRef>
          </c:xVal>
          <c:yVal>
            <c:numRef>
              <c:f>Sheet1!$C$2:$C$9</c:f>
              <c:numCache>
                <c:formatCode>General</c:formatCode>
                <c:ptCount val="8"/>
                <c:pt idx="0">
                  <c:v>3</c:v>
                </c:pt>
                <c:pt idx="1">
                  <c:v>4</c:v>
                </c:pt>
                <c:pt idx="2">
                  <c:v>3</c:v>
                </c:pt>
                <c:pt idx="3">
                  <c:v>2</c:v>
                </c:pt>
                <c:pt idx="4">
                  <c:v>4</c:v>
                </c:pt>
                <c:pt idx="5">
                  <c:v>3</c:v>
                </c:pt>
                <c:pt idx="6">
                  <c:v>5</c:v>
                </c:pt>
                <c:pt idx="7">
                  <c:v>5</c:v>
                </c:pt>
              </c:numCache>
            </c:numRef>
          </c:yVal>
          <c:smooth val="1"/>
        </c:ser>
        <c:ser>
          <c:idx val="2"/>
          <c:order val="2"/>
          <c:tx>
            <c:strRef>
              <c:f>Sheet1!$D$1</c:f>
              <c:strCache>
                <c:ptCount val="1"/>
                <c:pt idx="0">
                  <c:v>Nature</c:v>
                </c:pt>
              </c:strCache>
            </c:strRef>
          </c:tx>
          <c:spPr>
            <a:ln w="19050" cap="rnd">
              <a:solidFill>
                <a:schemeClr val="accent1"/>
              </a:solidFill>
              <a:round/>
            </a:ln>
            <a:effectLst/>
          </c:spPr>
          <c:marker>
            <c:symbol val="none"/>
          </c:marker>
          <c:dLbls>
            <c:delete val="1"/>
          </c:dLbls>
          <c:xVal>
            <c:strRef>
              <c:f>Sheet1!$A$2:$A$9</c:f>
              <c:strCache>
                <c:ptCount val="8"/>
                <c:pt idx="0">
                  <c:v>Jan</c:v>
                </c:pt>
                <c:pt idx="1">
                  <c:v>Feb</c:v>
                </c:pt>
                <c:pt idx="2">
                  <c:v>Mar</c:v>
                </c:pt>
                <c:pt idx="3">
                  <c:v>May</c:v>
                </c:pt>
                <c:pt idx="4">
                  <c:v>Jun</c:v>
                </c:pt>
                <c:pt idx="5">
                  <c:v>Sep</c:v>
                </c:pt>
                <c:pt idx="6">
                  <c:v>Nov</c:v>
                </c:pt>
                <c:pt idx="7">
                  <c:v>Dec</c:v>
                </c:pt>
              </c:strCache>
            </c:strRef>
          </c:xVal>
          <c:yVal>
            <c:numRef>
              <c:f>Sheet1!$D$2:$D$9</c:f>
              <c:numCache>
                <c:formatCode>General</c:formatCode>
                <c:ptCount val="8"/>
                <c:pt idx="0">
                  <c:v>4</c:v>
                </c:pt>
                <c:pt idx="1">
                  <c:v>5</c:v>
                </c:pt>
                <c:pt idx="2">
                  <c:v>4</c:v>
                </c:pt>
                <c:pt idx="3">
                  <c:v>3</c:v>
                </c:pt>
                <c:pt idx="4">
                  <c:v>2</c:v>
                </c:pt>
                <c:pt idx="5">
                  <c:v>4</c:v>
                </c:pt>
                <c:pt idx="6">
                  <c:v>5</c:v>
                </c:pt>
                <c:pt idx="7">
                  <c:v>4</c:v>
                </c:pt>
              </c:numCache>
            </c:numRef>
          </c:yVal>
          <c:smooth val="1"/>
        </c:ser>
        <c:dLbls>
          <c:showLegendKey val="0"/>
          <c:showVal val="0"/>
          <c:showCatName val="0"/>
          <c:showSerName val="0"/>
          <c:showPercent val="0"/>
          <c:showBubbleSize val="0"/>
        </c:dLbls>
        <c:axId val="219865472"/>
        <c:axId val="219867008"/>
      </c:scatterChart>
      <c:valAx>
        <c:axId val="21986547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zh-CN" sz="800" b="0" i="0" u="none" strike="noStrike" kern="1200" baseline="0">
                <a:solidFill>
                  <a:schemeClr val="tx1">
                    <a:lumMod val="65000"/>
                    <a:lumOff val="35000"/>
                  </a:schemeClr>
                </a:solidFill>
                <a:latin typeface="+mn-lt"/>
                <a:ea typeface="+mn-ea"/>
                <a:cs typeface="+mn-cs"/>
              </a:defRPr>
            </a:pPr>
          </a:p>
        </c:txPr>
        <c:crossAx val="219867008"/>
        <c:crosses val="autoZero"/>
        <c:crossBetween val="midCat"/>
      </c:valAx>
      <c:valAx>
        <c:axId val="2198670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zh-CN" sz="800" b="0" i="0" u="none" strike="noStrike" kern="1200" baseline="0">
                <a:solidFill>
                  <a:schemeClr val="tx1">
                    <a:lumMod val="65000"/>
                    <a:lumOff val="35000"/>
                  </a:schemeClr>
                </a:solidFill>
                <a:latin typeface="+mn-lt"/>
                <a:ea typeface="+mn-ea"/>
                <a:cs typeface="+mn-cs"/>
              </a:defRPr>
            </a:pPr>
          </a:p>
        </c:txPr>
        <c:crossAx val="219865472"/>
        <c:crosses val="autoZero"/>
        <c:crossBetween val="midCat"/>
      </c:valAx>
      <c:spPr>
        <a:noFill/>
        <a:ln>
          <a:noFill/>
        </a:ln>
        <a:effectLst/>
      </c:spPr>
    </c:plotArea>
    <c:legend>
      <c:legendPos val="t"/>
      <c:layout>
        <c:manualLayout>
          <c:xMode val="edge"/>
          <c:yMode val="edge"/>
          <c:x val="0.0362219240327774"/>
          <c:y val="0.0232939618504821"/>
          <c:w val="0.927556023466039"/>
          <c:h val="0.0849437857395711"/>
        </c:manualLayout>
      </c:layout>
      <c:overlay val="0"/>
      <c:spPr>
        <a:noFill/>
        <a:ln>
          <a:noFill/>
        </a:ln>
        <a:effectLst/>
      </c:spPr>
      <c:txPr>
        <a:bodyPr rot="0" spcFirstLastPara="1" vertOverflow="ellipsis" vert="horz" wrap="square" anchor="ctr" anchorCtr="1"/>
        <a:lstStyle/>
        <a:p>
          <a:pPr>
            <a:defRPr lang="zh-CN" sz="800" b="0" i="0" u="none" strike="noStrike" kern="1200" baseline="0">
              <a:solidFill>
                <a:schemeClr val="tx1">
                  <a:lumMod val="65000"/>
                  <a:lumOff val="35000"/>
                </a:schemeClr>
              </a:solidFill>
              <a:latin typeface="+mn-lt"/>
              <a:ea typeface="+mn-ea"/>
              <a:cs typeface="+mn-cs"/>
            </a:defRPr>
          </a:pPr>
        </a:p>
      </c:txPr>
    </c:legend>
    <c:plotVisOnly val="1"/>
    <c:dispBlanksAs val="gap"/>
    <c:showDLblsOverMax val="0"/>
  </c:chart>
  <c:spPr>
    <a:noFill/>
    <a:ln>
      <a:noFill/>
    </a:ln>
    <a:effectLst/>
  </c:spPr>
  <c:txPr>
    <a:bodyPr/>
    <a:lstStyle/>
    <a:p>
      <a:pPr>
        <a:defRPr lang="zh-CN" sz="800"/>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5"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5EB4870-8F90-4AA0-9414-16DEC4C985C3}" type="datetimeFigureOut">
              <a:rPr lang="en-US" smtClean="0"/>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50B10D1-23DF-4AC2-A6D0-264D07ED3AD9}" type="slidenum">
              <a:rPr lang="en-US" smtClean="0"/>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FDFC74-0D0F-4AA9-A777-5C72654FD32A}" type="datetimeFigureOut">
              <a:rPr lang="en-US" smtClean="0"/>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E225BD8-D0CB-42B9-82E3-EDF795CCDB83}" type="slidenum">
              <a:rPr lang="en-US" smtClean="0"/>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E225BD8-D0CB-42B9-82E3-EDF795CCDB83}" type="slidenum">
              <a:rPr lang="en-US" smtClean="0"/>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4" Type="http://schemas.microsoft.com/office/2007/relationships/hdphoto" Target="../media/image3.wdp"/><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microsoft.com/office/2007/relationships/hdphoto" Target="../media/image7.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6" name="Slide Number Placeholder 5"/>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4_Title Only">
    <p:spTree>
      <p:nvGrpSpPr>
        <p:cNvPr id="1" name=""/>
        <p:cNvGrpSpPr/>
        <p:nvPr/>
      </p:nvGrpSpPr>
      <p:grpSpPr>
        <a:xfrm>
          <a:off x="0" y="0"/>
          <a:ext cx="0" cy="0"/>
          <a:chOff x="0" y="0"/>
          <a:chExt cx="0" cy="0"/>
        </a:xfrm>
      </p:grpSpPr>
      <p:sp>
        <p:nvSpPr>
          <p:cNvPr id="19" name="Picture Placeholder 18"/>
          <p:cNvSpPr>
            <a:spLocks noGrp="1"/>
          </p:cNvSpPr>
          <p:nvPr>
            <p:ph type="pic" sz="quarter" idx="27"/>
          </p:nvPr>
        </p:nvSpPr>
        <p:spPr>
          <a:xfrm>
            <a:off x="5094074" y="0"/>
            <a:ext cx="7097926" cy="6900408"/>
          </a:xfrm>
          <a:custGeom>
            <a:avLst/>
            <a:gdLst>
              <a:gd name="connsiteX0" fmla="*/ 4633040 w 7097926"/>
              <a:gd name="connsiteY0" fmla="*/ 0 h 6900408"/>
              <a:gd name="connsiteX1" fmla="*/ 7097926 w 7097926"/>
              <a:gd name="connsiteY1" fmla="*/ 0 h 6900408"/>
              <a:gd name="connsiteX2" fmla="*/ 2462586 w 7097926"/>
              <a:gd name="connsiteY2" fmla="*/ 6900408 h 6900408"/>
              <a:gd name="connsiteX3" fmla="*/ 0 w 7097926"/>
              <a:gd name="connsiteY3" fmla="*/ 6900408 h 6900408"/>
            </a:gdLst>
            <a:ahLst/>
            <a:cxnLst>
              <a:cxn ang="0">
                <a:pos x="connsiteX0" y="connsiteY0"/>
              </a:cxn>
              <a:cxn ang="0">
                <a:pos x="connsiteX1" y="connsiteY1"/>
              </a:cxn>
              <a:cxn ang="0">
                <a:pos x="connsiteX2" y="connsiteY2"/>
              </a:cxn>
              <a:cxn ang="0">
                <a:pos x="connsiteX3" y="connsiteY3"/>
              </a:cxn>
            </a:cxnLst>
            <a:rect l="l" t="t" r="r" b="b"/>
            <a:pathLst>
              <a:path w="7097926" h="6900408">
                <a:moveTo>
                  <a:pt x="4633040" y="0"/>
                </a:moveTo>
                <a:lnTo>
                  <a:pt x="7097926" y="0"/>
                </a:lnTo>
                <a:lnTo>
                  <a:pt x="2462586" y="6900408"/>
                </a:lnTo>
                <a:lnTo>
                  <a:pt x="0" y="6900408"/>
                </a:lnTo>
                <a:close/>
              </a:path>
            </a:pathLst>
          </a:custGeom>
          <a:solidFill>
            <a:schemeClr val="bg1">
              <a:lumMod val="85000"/>
            </a:schemeClr>
          </a:solidFill>
        </p:spPr>
        <p:txBody>
          <a:bodyPr wrap="square">
            <a:noAutofit/>
          </a:bodyPr>
          <a:lstStyle>
            <a:lvl1pPr marL="0" indent="0">
              <a:buNone/>
              <a:defRPr sz="2000">
                <a:solidFill>
                  <a:schemeClr val="bg1">
                    <a:lumMod val="65000"/>
                  </a:schemeClr>
                </a:solidFill>
              </a:defRPr>
            </a:lvl1pPr>
          </a:lstStyle>
          <a:p>
            <a:endParaRPr lang="en-US" dirty="0"/>
          </a:p>
        </p:txBody>
      </p:sp>
      <p:sp>
        <p:nvSpPr>
          <p:cNvPr id="11" name="Picture Placeholder 5"/>
          <p:cNvSpPr>
            <a:spLocks noGrp="1"/>
          </p:cNvSpPr>
          <p:nvPr>
            <p:ph type="pic" sz="quarter" idx="23"/>
          </p:nvPr>
        </p:nvSpPr>
        <p:spPr>
          <a:xfrm>
            <a:off x="0" y="0"/>
            <a:ext cx="12192000" cy="6858000"/>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
        <p:nvSpPr>
          <p:cNvPr id="10" name="AutoShape 13"/>
          <p:cNvSpPr/>
          <p:nvPr userDrawn="1"/>
        </p:nvSpPr>
        <p:spPr bwMode="auto">
          <a:xfrm>
            <a:off x="4378068" y="3770375"/>
            <a:ext cx="2758889" cy="1794393"/>
          </a:xfrm>
          <a:custGeom>
            <a:avLst/>
            <a:gdLst/>
            <a:ahLst/>
            <a:cxnLst/>
            <a:rect l="0" t="0" r="r" b="b"/>
            <a:pathLst>
              <a:path w="21600" h="21600">
                <a:moveTo>
                  <a:pt x="9416" y="0"/>
                </a:moveTo>
                <a:lnTo>
                  <a:pt x="21600" y="0"/>
                </a:lnTo>
                <a:lnTo>
                  <a:pt x="12177" y="21600"/>
                </a:lnTo>
                <a:lnTo>
                  <a:pt x="0" y="21600"/>
                </a:lnTo>
                <a:lnTo>
                  <a:pt x="9416" y="0"/>
                </a:lnTo>
                <a:close/>
                <a:moveTo>
                  <a:pt x="9416" y="0"/>
                </a:moveTo>
              </a:path>
            </a:pathLst>
          </a:custGeom>
          <a:solidFill>
            <a:schemeClr val="accent1"/>
          </a:solidFill>
          <a:ln>
            <a:noFill/>
          </a:ln>
        </p:spPr>
        <p:txBody>
          <a:bodyPr lIns="0" tIns="0" rIns="0" bIns="0"/>
          <a:lstStyle/>
          <a:p>
            <a:endParaRPr lang="en-US"/>
          </a:p>
        </p:txBody>
      </p:sp>
      <p:sp>
        <p:nvSpPr>
          <p:cNvPr id="13" name="Picture Placeholder 12"/>
          <p:cNvSpPr>
            <a:spLocks noGrp="1"/>
          </p:cNvSpPr>
          <p:nvPr>
            <p:ph type="pic" sz="quarter" idx="24"/>
          </p:nvPr>
        </p:nvSpPr>
        <p:spPr>
          <a:xfrm>
            <a:off x="3701887" y="2007044"/>
            <a:ext cx="3001805" cy="2453054"/>
          </a:xfrm>
          <a:custGeom>
            <a:avLst/>
            <a:gdLst>
              <a:gd name="connsiteX0" fmla="*/ 1649325 w 3001805"/>
              <a:gd name="connsiteY0" fmla="*/ 0 h 2453054"/>
              <a:gd name="connsiteX1" fmla="*/ 3001805 w 3001805"/>
              <a:gd name="connsiteY1" fmla="*/ 0 h 2453054"/>
              <a:gd name="connsiteX2" fmla="*/ 1351785 w 3001805"/>
              <a:gd name="connsiteY2" fmla="*/ 2453054 h 2453054"/>
              <a:gd name="connsiteX3" fmla="*/ 0 w 3001805"/>
              <a:gd name="connsiteY3" fmla="*/ 2453054 h 2453054"/>
            </a:gdLst>
            <a:ahLst/>
            <a:cxnLst>
              <a:cxn ang="0">
                <a:pos x="connsiteX0" y="connsiteY0"/>
              </a:cxn>
              <a:cxn ang="0">
                <a:pos x="connsiteX1" y="connsiteY1"/>
              </a:cxn>
              <a:cxn ang="0">
                <a:pos x="connsiteX2" y="connsiteY2"/>
              </a:cxn>
              <a:cxn ang="0">
                <a:pos x="connsiteX3" y="connsiteY3"/>
              </a:cxn>
            </a:cxnLst>
            <a:rect l="l" t="t" r="r" b="b"/>
            <a:pathLst>
              <a:path w="3001805" h="2453054">
                <a:moveTo>
                  <a:pt x="1649325" y="0"/>
                </a:moveTo>
                <a:lnTo>
                  <a:pt x="3001805" y="0"/>
                </a:lnTo>
                <a:lnTo>
                  <a:pt x="1351785" y="2453054"/>
                </a:lnTo>
                <a:lnTo>
                  <a:pt x="0" y="2453054"/>
                </a:lnTo>
                <a:close/>
              </a:path>
            </a:pathLst>
          </a:custGeom>
          <a:solidFill>
            <a:schemeClr val="bg1">
              <a:lumMod val="85000"/>
            </a:schemeClr>
          </a:solidFill>
        </p:spPr>
        <p:txBody>
          <a:bodyPr wrap="square">
            <a:noAutofit/>
          </a:bodyPr>
          <a:lstStyle>
            <a:lvl1pPr marL="0" indent="0">
              <a:buNone/>
              <a:defRPr sz="2000">
                <a:solidFill>
                  <a:schemeClr val="bg1">
                    <a:lumMod val="65000"/>
                  </a:schemeClr>
                </a:solidFill>
              </a:defRPr>
            </a:lvl1pPr>
          </a:lstStyle>
          <a:p>
            <a:endParaRPr lang="en-US" dirty="0"/>
          </a:p>
        </p:txBody>
      </p:sp>
      <p:sp>
        <p:nvSpPr>
          <p:cNvPr id="15" name="Picture Placeholder 14"/>
          <p:cNvSpPr>
            <a:spLocks noGrp="1"/>
          </p:cNvSpPr>
          <p:nvPr>
            <p:ph type="pic" sz="quarter" idx="25"/>
          </p:nvPr>
        </p:nvSpPr>
        <p:spPr>
          <a:xfrm>
            <a:off x="5610171" y="904764"/>
            <a:ext cx="3453390" cy="2822605"/>
          </a:xfrm>
          <a:custGeom>
            <a:avLst/>
            <a:gdLst>
              <a:gd name="connsiteX0" fmla="*/ 1897446 w 3453390"/>
              <a:gd name="connsiteY0" fmla="*/ 0 h 2822605"/>
              <a:gd name="connsiteX1" fmla="*/ 3453390 w 3453390"/>
              <a:gd name="connsiteY1" fmla="*/ 0 h 2822605"/>
              <a:gd name="connsiteX2" fmla="*/ 1555145 w 3453390"/>
              <a:gd name="connsiteY2" fmla="*/ 2822605 h 2822605"/>
              <a:gd name="connsiteX3" fmla="*/ 0 w 3453390"/>
              <a:gd name="connsiteY3" fmla="*/ 2822605 h 2822605"/>
            </a:gdLst>
            <a:ahLst/>
            <a:cxnLst>
              <a:cxn ang="0">
                <a:pos x="connsiteX0" y="connsiteY0"/>
              </a:cxn>
              <a:cxn ang="0">
                <a:pos x="connsiteX1" y="connsiteY1"/>
              </a:cxn>
              <a:cxn ang="0">
                <a:pos x="connsiteX2" y="connsiteY2"/>
              </a:cxn>
              <a:cxn ang="0">
                <a:pos x="connsiteX3" y="connsiteY3"/>
              </a:cxn>
            </a:cxnLst>
            <a:rect l="l" t="t" r="r" b="b"/>
            <a:pathLst>
              <a:path w="3453390" h="2822605">
                <a:moveTo>
                  <a:pt x="1897446" y="0"/>
                </a:moveTo>
                <a:lnTo>
                  <a:pt x="3453390" y="0"/>
                </a:lnTo>
                <a:lnTo>
                  <a:pt x="1555145" y="2822605"/>
                </a:lnTo>
                <a:lnTo>
                  <a:pt x="0" y="2822605"/>
                </a:lnTo>
                <a:close/>
              </a:path>
            </a:pathLst>
          </a:custGeom>
          <a:solidFill>
            <a:schemeClr val="bg1">
              <a:lumMod val="85000"/>
            </a:schemeClr>
          </a:solidFill>
        </p:spPr>
        <p:txBody>
          <a:bodyPr wrap="square">
            <a:noAutofit/>
          </a:bodyPr>
          <a:lstStyle>
            <a:lvl1pPr marL="0" indent="0">
              <a:buNone/>
              <a:defRPr sz="2000">
                <a:solidFill>
                  <a:schemeClr val="bg1">
                    <a:lumMod val="65000"/>
                  </a:schemeClr>
                </a:solidFill>
              </a:defRPr>
            </a:lvl1pPr>
          </a:lstStyle>
          <a:p>
            <a:endParaRPr lang="en-US" dirty="0"/>
          </a:p>
        </p:txBody>
      </p:sp>
      <p:sp>
        <p:nvSpPr>
          <p:cNvPr id="17" name="Picture Placeholder 16"/>
          <p:cNvSpPr>
            <a:spLocks noGrp="1"/>
          </p:cNvSpPr>
          <p:nvPr>
            <p:ph type="pic" sz="quarter" idx="26"/>
          </p:nvPr>
        </p:nvSpPr>
        <p:spPr>
          <a:xfrm>
            <a:off x="7617214" y="3274986"/>
            <a:ext cx="4428240" cy="3625422"/>
          </a:xfrm>
          <a:custGeom>
            <a:avLst/>
            <a:gdLst>
              <a:gd name="connsiteX0" fmla="*/ 2433072 w 4428240"/>
              <a:gd name="connsiteY0" fmla="*/ 0 h 3625422"/>
              <a:gd name="connsiteX1" fmla="*/ 4428240 w 4428240"/>
              <a:gd name="connsiteY1" fmla="*/ 0 h 3625422"/>
              <a:gd name="connsiteX2" fmla="*/ 1994143 w 4428240"/>
              <a:gd name="connsiteY2" fmla="*/ 3625422 h 3625422"/>
              <a:gd name="connsiteX3" fmla="*/ 0 w 4428240"/>
              <a:gd name="connsiteY3" fmla="*/ 3625422 h 3625422"/>
            </a:gdLst>
            <a:ahLst/>
            <a:cxnLst>
              <a:cxn ang="0">
                <a:pos x="connsiteX0" y="connsiteY0"/>
              </a:cxn>
              <a:cxn ang="0">
                <a:pos x="connsiteX1" y="connsiteY1"/>
              </a:cxn>
              <a:cxn ang="0">
                <a:pos x="connsiteX2" y="connsiteY2"/>
              </a:cxn>
              <a:cxn ang="0">
                <a:pos x="connsiteX3" y="connsiteY3"/>
              </a:cxn>
            </a:cxnLst>
            <a:rect l="l" t="t" r="r" b="b"/>
            <a:pathLst>
              <a:path w="4428240" h="3625422">
                <a:moveTo>
                  <a:pt x="2433072" y="0"/>
                </a:moveTo>
                <a:lnTo>
                  <a:pt x="4428240" y="0"/>
                </a:lnTo>
                <a:lnTo>
                  <a:pt x="1994143" y="3625422"/>
                </a:lnTo>
                <a:lnTo>
                  <a:pt x="0" y="3625422"/>
                </a:lnTo>
                <a:close/>
              </a:path>
            </a:pathLst>
          </a:custGeom>
          <a:solidFill>
            <a:schemeClr val="bg1">
              <a:lumMod val="85000"/>
            </a:schemeClr>
          </a:solidFill>
        </p:spPr>
        <p:txBody>
          <a:bodyPr wrap="square">
            <a:noAutofit/>
          </a:bodyPr>
          <a:lstStyle>
            <a:lvl1pPr marL="0" indent="0">
              <a:buNone/>
              <a:defRPr sz="2000">
                <a:solidFill>
                  <a:schemeClr val="bg1">
                    <a:lumMod val="65000"/>
                  </a:schemeClr>
                </a:solidFill>
              </a:defRPr>
            </a:lvl1pPr>
          </a:lstStyle>
          <a:p>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3_Title Only">
    <p:spTree>
      <p:nvGrpSpPr>
        <p:cNvPr id="1" name=""/>
        <p:cNvGrpSpPr/>
        <p:nvPr/>
      </p:nvGrpSpPr>
      <p:grpSpPr>
        <a:xfrm>
          <a:off x="0" y="0"/>
          <a:ext cx="0" cy="0"/>
          <a:chOff x="0" y="0"/>
          <a:chExt cx="0" cy="0"/>
        </a:xfrm>
      </p:grpSpPr>
      <p:sp>
        <p:nvSpPr>
          <p:cNvPr id="7" name="Picture Placeholder 5"/>
          <p:cNvSpPr>
            <a:spLocks noGrp="1"/>
          </p:cNvSpPr>
          <p:nvPr>
            <p:ph type="pic" sz="quarter" idx="23"/>
          </p:nvPr>
        </p:nvSpPr>
        <p:spPr>
          <a:xfrm>
            <a:off x="958692" y="1704771"/>
            <a:ext cx="7369845" cy="2576944"/>
          </a:xfrm>
        </p:spPr>
        <p:txBody>
          <a:bodyPr>
            <a:normAutofit/>
          </a:bodyPr>
          <a:lstStyle>
            <a:lvl1pPr marL="0" indent="0">
              <a:buNone/>
              <a:defRPr sz="2000">
                <a:solidFill>
                  <a:schemeClr val="bg1">
                    <a:lumMod val="65000"/>
                  </a:schemeClr>
                </a:solidFill>
              </a:defRPr>
            </a:lvl1pPr>
          </a:lstStyle>
          <a:p>
            <a:endParaRPr lang="en-US" dirty="0"/>
          </a:p>
        </p:txBody>
      </p:sp>
      <p:sp>
        <p:nvSpPr>
          <p:cNvPr id="8" name="Picture Placeholder 5"/>
          <p:cNvSpPr>
            <a:spLocks noGrp="1"/>
          </p:cNvSpPr>
          <p:nvPr>
            <p:ph type="pic" sz="quarter" idx="24"/>
          </p:nvPr>
        </p:nvSpPr>
        <p:spPr>
          <a:xfrm>
            <a:off x="8416809" y="1704771"/>
            <a:ext cx="3528448" cy="2576944"/>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1_Title Only">
    <p:spTree>
      <p:nvGrpSpPr>
        <p:cNvPr id="1" name=""/>
        <p:cNvGrpSpPr/>
        <p:nvPr/>
      </p:nvGrpSpPr>
      <p:grpSpPr>
        <a:xfrm>
          <a:off x="0" y="0"/>
          <a:ext cx="0" cy="0"/>
          <a:chOff x="0" y="0"/>
          <a:chExt cx="0" cy="0"/>
        </a:xfrm>
      </p:grpSpPr>
      <p:sp>
        <p:nvSpPr>
          <p:cNvPr id="4" name="Rectangle 3"/>
          <p:cNvSpPr/>
          <p:nvPr userDrawn="1"/>
        </p:nvSpPr>
        <p:spPr>
          <a:xfrm>
            <a:off x="956412" y="1801584"/>
            <a:ext cx="2208078" cy="2208077"/>
          </a:xfrm>
          <a:prstGeom prst="rect">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dirty="0"/>
          </a:p>
        </p:txBody>
      </p:sp>
      <p:sp>
        <p:nvSpPr>
          <p:cNvPr id="7" name="Picture Placeholder 5"/>
          <p:cNvSpPr>
            <a:spLocks noGrp="1"/>
          </p:cNvSpPr>
          <p:nvPr>
            <p:ph type="pic" sz="quarter" idx="23"/>
          </p:nvPr>
        </p:nvSpPr>
        <p:spPr>
          <a:xfrm>
            <a:off x="1068307" y="1913479"/>
            <a:ext cx="1984289" cy="1984288"/>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9_Title Only">
    <p:spTree>
      <p:nvGrpSpPr>
        <p:cNvPr id="1" name=""/>
        <p:cNvGrpSpPr/>
        <p:nvPr/>
      </p:nvGrpSpPr>
      <p:grpSpPr>
        <a:xfrm>
          <a:off x="0" y="0"/>
          <a:ext cx="0" cy="0"/>
          <a:chOff x="0" y="0"/>
          <a:chExt cx="0" cy="0"/>
        </a:xfrm>
      </p:grpSpPr>
      <p:sp>
        <p:nvSpPr>
          <p:cNvPr id="8" name="Picture Placeholder 5"/>
          <p:cNvSpPr>
            <a:spLocks noGrp="1"/>
          </p:cNvSpPr>
          <p:nvPr>
            <p:ph type="pic" sz="quarter" idx="23"/>
          </p:nvPr>
        </p:nvSpPr>
        <p:spPr>
          <a:xfrm>
            <a:off x="0" y="0"/>
            <a:ext cx="3220195" cy="3810000"/>
          </a:xfrm>
        </p:spPr>
        <p:txBody>
          <a:bodyPr>
            <a:normAutofit/>
          </a:bodyPr>
          <a:lstStyle>
            <a:lvl1pPr marL="0" indent="0">
              <a:buNone/>
              <a:defRPr sz="2000">
                <a:solidFill>
                  <a:schemeClr val="bg1">
                    <a:lumMod val="65000"/>
                  </a:schemeClr>
                </a:solidFill>
              </a:defRPr>
            </a:lvl1pPr>
          </a:lstStyle>
          <a:p>
            <a:endParaRPr lang="en-US" dirty="0"/>
          </a:p>
        </p:txBody>
      </p:sp>
      <p:sp>
        <p:nvSpPr>
          <p:cNvPr id="9" name="Picture Placeholder 5"/>
          <p:cNvSpPr>
            <a:spLocks noGrp="1"/>
          </p:cNvSpPr>
          <p:nvPr>
            <p:ph type="pic" sz="quarter" idx="24"/>
          </p:nvPr>
        </p:nvSpPr>
        <p:spPr>
          <a:xfrm>
            <a:off x="3220195" y="0"/>
            <a:ext cx="8971805" cy="3810000"/>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a:xfrm>
            <a:off x="3380678" y="3911213"/>
            <a:ext cx="7980742" cy="1325563"/>
          </a:xfrm>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
        <p:nvSpPr>
          <p:cNvPr id="4" name="Rectangle 3"/>
          <p:cNvSpPr/>
          <p:nvPr userDrawn="1"/>
        </p:nvSpPr>
        <p:spPr>
          <a:xfrm>
            <a:off x="0" y="3810001"/>
            <a:ext cx="3220195" cy="304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
        <p:nvSpPr>
          <p:cNvPr id="9" name="Picture Placeholder 5"/>
          <p:cNvSpPr>
            <a:spLocks noGrp="1"/>
          </p:cNvSpPr>
          <p:nvPr>
            <p:ph type="pic" sz="quarter" idx="23"/>
          </p:nvPr>
        </p:nvSpPr>
        <p:spPr>
          <a:xfrm>
            <a:off x="0" y="1719716"/>
            <a:ext cx="4064001" cy="2120468"/>
          </a:xfrm>
        </p:spPr>
        <p:txBody>
          <a:bodyPr>
            <a:normAutofit/>
          </a:bodyPr>
          <a:lstStyle>
            <a:lvl1pPr marL="0" indent="0">
              <a:buNone/>
              <a:defRPr sz="2000">
                <a:solidFill>
                  <a:schemeClr val="bg1">
                    <a:lumMod val="65000"/>
                  </a:schemeClr>
                </a:solidFill>
              </a:defRPr>
            </a:lvl1pPr>
          </a:lstStyle>
          <a:p>
            <a:endParaRPr lang="en-US" dirty="0"/>
          </a:p>
        </p:txBody>
      </p:sp>
      <p:sp>
        <p:nvSpPr>
          <p:cNvPr id="10" name="Picture Placeholder 5"/>
          <p:cNvSpPr>
            <a:spLocks noGrp="1"/>
          </p:cNvSpPr>
          <p:nvPr>
            <p:ph type="pic" sz="quarter" idx="24"/>
          </p:nvPr>
        </p:nvSpPr>
        <p:spPr>
          <a:xfrm>
            <a:off x="8127999" y="3909588"/>
            <a:ext cx="4064001" cy="2120468"/>
          </a:xfrm>
        </p:spPr>
        <p:txBody>
          <a:bodyPr>
            <a:normAutofit/>
          </a:bodyPr>
          <a:lstStyle>
            <a:lvl1pPr marL="0" indent="0">
              <a:buNone/>
              <a:defRPr sz="2000">
                <a:solidFill>
                  <a:schemeClr val="bg1">
                    <a:lumMod val="65000"/>
                  </a:schemeClr>
                </a:solidFill>
              </a:defRPr>
            </a:lvl1pPr>
          </a:lstStyle>
          <a:p>
            <a:endParaRPr lang="en-US" dirty="0"/>
          </a:p>
        </p:txBody>
      </p:sp>
      <p:grpSp>
        <p:nvGrpSpPr>
          <p:cNvPr id="3" name="Group 2"/>
          <p:cNvGrpSpPr/>
          <p:nvPr userDrawn="1"/>
        </p:nvGrpSpPr>
        <p:grpSpPr>
          <a:xfrm>
            <a:off x="0" y="1719284"/>
            <a:ext cx="12192000" cy="4310772"/>
            <a:chOff x="0" y="1719284"/>
            <a:chExt cx="12192000" cy="4310772"/>
          </a:xfrm>
        </p:grpSpPr>
        <p:sp>
          <p:nvSpPr>
            <p:cNvPr id="4" name="Rectangle 3"/>
            <p:cNvSpPr/>
            <p:nvPr userDrawn="1"/>
          </p:nvSpPr>
          <p:spPr>
            <a:xfrm>
              <a:off x="4137166" y="1719284"/>
              <a:ext cx="8054834" cy="2120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0" y="3909156"/>
              <a:ext cx="8054834" cy="21209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6_Title Only">
    <p:spTree>
      <p:nvGrpSpPr>
        <p:cNvPr id="1" name=""/>
        <p:cNvGrpSpPr/>
        <p:nvPr/>
      </p:nvGrpSpPr>
      <p:grpSpPr>
        <a:xfrm>
          <a:off x="0" y="0"/>
          <a:ext cx="0" cy="0"/>
          <a:chOff x="0" y="0"/>
          <a:chExt cx="0" cy="0"/>
        </a:xfrm>
      </p:grpSpPr>
      <p:sp>
        <p:nvSpPr>
          <p:cNvPr id="8" name="Picture Placeholder 5"/>
          <p:cNvSpPr>
            <a:spLocks noGrp="1"/>
          </p:cNvSpPr>
          <p:nvPr>
            <p:ph type="pic" sz="quarter" idx="23"/>
          </p:nvPr>
        </p:nvSpPr>
        <p:spPr>
          <a:xfrm>
            <a:off x="3654739" y="2867376"/>
            <a:ext cx="2819401" cy="3990624"/>
          </a:xfrm>
        </p:spPr>
        <p:txBody>
          <a:bodyPr>
            <a:normAutofit/>
          </a:bodyPr>
          <a:lstStyle>
            <a:lvl1pPr marL="0" indent="0">
              <a:buNone/>
              <a:defRPr sz="2000">
                <a:solidFill>
                  <a:schemeClr val="bg1">
                    <a:lumMod val="65000"/>
                  </a:schemeClr>
                </a:solidFill>
              </a:defRPr>
            </a:lvl1pPr>
          </a:lstStyle>
          <a:p>
            <a:endParaRPr lang="en-US" dirty="0"/>
          </a:p>
        </p:txBody>
      </p:sp>
      <p:sp>
        <p:nvSpPr>
          <p:cNvPr id="9" name="Picture Placeholder 5"/>
          <p:cNvSpPr>
            <a:spLocks noGrp="1"/>
          </p:cNvSpPr>
          <p:nvPr>
            <p:ph type="pic" sz="quarter" idx="24"/>
          </p:nvPr>
        </p:nvSpPr>
        <p:spPr>
          <a:xfrm>
            <a:off x="9372599" y="3162300"/>
            <a:ext cx="2819401" cy="3695700"/>
          </a:xfrm>
        </p:spPr>
        <p:txBody>
          <a:bodyPr>
            <a:normAutofit/>
          </a:bodyPr>
          <a:lstStyle>
            <a:lvl1pPr marL="0" indent="0">
              <a:buNone/>
              <a:defRPr sz="2000">
                <a:solidFill>
                  <a:schemeClr val="bg1">
                    <a:lumMod val="65000"/>
                  </a:schemeClr>
                </a:solidFill>
              </a:defRPr>
            </a:lvl1pPr>
          </a:lstStyle>
          <a:p>
            <a:endParaRPr lang="en-US" dirty="0"/>
          </a:p>
        </p:txBody>
      </p:sp>
      <p:sp>
        <p:nvSpPr>
          <p:cNvPr id="10" name="Picture Placeholder 5"/>
          <p:cNvSpPr>
            <a:spLocks noGrp="1"/>
          </p:cNvSpPr>
          <p:nvPr>
            <p:ph type="pic" sz="quarter" idx="25"/>
          </p:nvPr>
        </p:nvSpPr>
        <p:spPr>
          <a:xfrm>
            <a:off x="6474140" y="0"/>
            <a:ext cx="2898458" cy="6858000"/>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4574268"/>
            <a:ext cx="10515600" cy="1325563"/>
          </a:xfrm>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
        <p:nvSpPr>
          <p:cNvPr id="17" name="Picture Placeholder 5"/>
          <p:cNvSpPr>
            <a:spLocks noGrp="1"/>
          </p:cNvSpPr>
          <p:nvPr>
            <p:ph type="pic" sz="quarter" idx="23"/>
          </p:nvPr>
        </p:nvSpPr>
        <p:spPr>
          <a:xfrm>
            <a:off x="0" y="0"/>
            <a:ext cx="2031736" cy="2203447"/>
          </a:xfrm>
        </p:spPr>
        <p:txBody>
          <a:bodyPr>
            <a:normAutofit/>
          </a:bodyPr>
          <a:lstStyle>
            <a:lvl1pPr marL="0" indent="0">
              <a:buNone/>
              <a:defRPr sz="2000">
                <a:solidFill>
                  <a:schemeClr val="bg1">
                    <a:lumMod val="65000"/>
                  </a:schemeClr>
                </a:solidFill>
              </a:defRPr>
            </a:lvl1pPr>
          </a:lstStyle>
          <a:p>
            <a:endParaRPr lang="en-US" dirty="0"/>
          </a:p>
        </p:txBody>
      </p:sp>
      <p:sp>
        <p:nvSpPr>
          <p:cNvPr id="18" name="Picture Placeholder 5"/>
          <p:cNvSpPr>
            <a:spLocks noGrp="1"/>
          </p:cNvSpPr>
          <p:nvPr>
            <p:ph type="pic" sz="quarter" idx="24"/>
          </p:nvPr>
        </p:nvSpPr>
        <p:spPr>
          <a:xfrm>
            <a:off x="4064264" y="0"/>
            <a:ext cx="2031736" cy="2203447"/>
          </a:xfrm>
        </p:spPr>
        <p:txBody>
          <a:bodyPr>
            <a:normAutofit/>
          </a:bodyPr>
          <a:lstStyle>
            <a:lvl1pPr marL="0" indent="0">
              <a:buNone/>
              <a:defRPr sz="2000">
                <a:solidFill>
                  <a:schemeClr val="bg1">
                    <a:lumMod val="65000"/>
                  </a:schemeClr>
                </a:solidFill>
              </a:defRPr>
            </a:lvl1pPr>
          </a:lstStyle>
          <a:p>
            <a:endParaRPr lang="en-US" dirty="0"/>
          </a:p>
        </p:txBody>
      </p:sp>
      <p:sp>
        <p:nvSpPr>
          <p:cNvPr id="19" name="Picture Placeholder 5"/>
          <p:cNvSpPr>
            <a:spLocks noGrp="1"/>
          </p:cNvSpPr>
          <p:nvPr>
            <p:ph type="pic" sz="quarter" idx="25"/>
          </p:nvPr>
        </p:nvSpPr>
        <p:spPr>
          <a:xfrm>
            <a:off x="8128524" y="0"/>
            <a:ext cx="2031736" cy="2203447"/>
          </a:xfrm>
        </p:spPr>
        <p:txBody>
          <a:bodyPr>
            <a:normAutofit/>
          </a:bodyPr>
          <a:lstStyle>
            <a:lvl1pPr marL="0" indent="0">
              <a:buNone/>
              <a:defRPr sz="2000">
                <a:solidFill>
                  <a:schemeClr val="bg1">
                    <a:lumMod val="65000"/>
                  </a:schemeClr>
                </a:solidFill>
              </a:defRPr>
            </a:lvl1pPr>
          </a:lstStyle>
          <a:p>
            <a:endParaRPr lang="en-US" dirty="0"/>
          </a:p>
        </p:txBody>
      </p:sp>
      <p:sp>
        <p:nvSpPr>
          <p:cNvPr id="20" name="Picture Placeholder 5"/>
          <p:cNvSpPr>
            <a:spLocks noGrp="1"/>
          </p:cNvSpPr>
          <p:nvPr>
            <p:ph type="pic" sz="quarter" idx="26"/>
          </p:nvPr>
        </p:nvSpPr>
        <p:spPr>
          <a:xfrm>
            <a:off x="2032524" y="2203447"/>
            <a:ext cx="2031736" cy="2203447"/>
          </a:xfrm>
        </p:spPr>
        <p:txBody>
          <a:bodyPr>
            <a:normAutofit/>
          </a:bodyPr>
          <a:lstStyle>
            <a:lvl1pPr marL="0" indent="0">
              <a:buNone/>
              <a:defRPr sz="2000">
                <a:solidFill>
                  <a:schemeClr val="bg1">
                    <a:lumMod val="65000"/>
                  </a:schemeClr>
                </a:solidFill>
              </a:defRPr>
            </a:lvl1pPr>
          </a:lstStyle>
          <a:p>
            <a:endParaRPr lang="en-US" dirty="0"/>
          </a:p>
        </p:txBody>
      </p:sp>
      <p:sp>
        <p:nvSpPr>
          <p:cNvPr id="21" name="Picture Placeholder 5"/>
          <p:cNvSpPr>
            <a:spLocks noGrp="1"/>
          </p:cNvSpPr>
          <p:nvPr>
            <p:ph type="pic" sz="quarter" idx="27"/>
          </p:nvPr>
        </p:nvSpPr>
        <p:spPr>
          <a:xfrm>
            <a:off x="6082376" y="2203447"/>
            <a:ext cx="2031736" cy="2203447"/>
          </a:xfrm>
        </p:spPr>
        <p:txBody>
          <a:bodyPr>
            <a:normAutofit/>
          </a:bodyPr>
          <a:lstStyle>
            <a:lvl1pPr marL="0" indent="0">
              <a:buNone/>
              <a:defRPr sz="2000">
                <a:solidFill>
                  <a:schemeClr val="bg1">
                    <a:lumMod val="65000"/>
                  </a:schemeClr>
                </a:solidFill>
              </a:defRPr>
            </a:lvl1pPr>
          </a:lstStyle>
          <a:p>
            <a:endParaRPr lang="en-US" dirty="0"/>
          </a:p>
        </p:txBody>
      </p:sp>
      <p:sp>
        <p:nvSpPr>
          <p:cNvPr id="22" name="Picture Placeholder 5"/>
          <p:cNvSpPr>
            <a:spLocks noGrp="1"/>
          </p:cNvSpPr>
          <p:nvPr>
            <p:ph type="pic" sz="quarter" idx="28"/>
          </p:nvPr>
        </p:nvSpPr>
        <p:spPr>
          <a:xfrm>
            <a:off x="10160264" y="2203447"/>
            <a:ext cx="2031736" cy="2203447"/>
          </a:xfrm>
        </p:spPr>
        <p:txBody>
          <a:bodyPr>
            <a:normAutofit/>
          </a:bodyPr>
          <a:lstStyle>
            <a:lvl1pPr marL="0" indent="0">
              <a:buNone/>
              <a:defRPr sz="2000">
                <a:solidFill>
                  <a:schemeClr val="bg1">
                    <a:lumMod val="65000"/>
                  </a:schemeClr>
                </a:solidFill>
              </a:defRPr>
            </a:lvl1pPr>
          </a:lstStyle>
          <a:p>
            <a:endParaRPr lang="en-US" dirty="0"/>
          </a:p>
        </p:txBody>
      </p:sp>
      <p:grpSp>
        <p:nvGrpSpPr>
          <p:cNvPr id="3" name="Group 2"/>
          <p:cNvGrpSpPr/>
          <p:nvPr userDrawn="1"/>
        </p:nvGrpSpPr>
        <p:grpSpPr>
          <a:xfrm>
            <a:off x="-3997" y="0"/>
            <a:ext cx="12214402" cy="4406900"/>
            <a:chOff x="-3997" y="0"/>
            <a:chExt cx="12214402" cy="4406900"/>
          </a:xfrm>
        </p:grpSpPr>
        <p:sp>
          <p:nvSpPr>
            <p:cNvPr id="6" name="Rectangle 5"/>
            <p:cNvSpPr/>
            <p:nvPr userDrawn="1"/>
          </p:nvSpPr>
          <p:spPr>
            <a:xfrm>
              <a:off x="2031740" y="0"/>
              <a:ext cx="2035733" cy="22034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6103206" y="0"/>
              <a:ext cx="2035733" cy="22034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3997" y="2203448"/>
              <a:ext cx="2035733" cy="220345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4067473" y="2203449"/>
              <a:ext cx="2035733" cy="220345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a:xfrm>
              <a:off x="8138939" y="2203449"/>
              <a:ext cx="2035733" cy="220345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0174672" y="0"/>
              <a:ext cx="2035733" cy="22034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2_Title Only">
    <p:spTree>
      <p:nvGrpSpPr>
        <p:cNvPr id="1" name=""/>
        <p:cNvGrpSpPr/>
        <p:nvPr/>
      </p:nvGrpSpPr>
      <p:grpSpPr>
        <a:xfrm>
          <a:off x="0" y="0"/>
          <a:ext cx="0" cy="0"/>
          <a:chOff x="0" y="0"/>
          <a:chExt cx="0" cy="0"/>
        </a:xfrm>
      </p:grpSpPr>
      <p:sp>
        <p:nvSpPr>
          <p:cNvPr id="6" name="Picture Placeholder 5"/>
          <p:cNvSpPr>
            <a:spLocks noGrp="1"/>
          </p:cNvSpPr>
          <p:nvPr>
            <p:ph type="pic" sz="quarter" idx="23"/>
          </p:nvPr>
        </p:nvSpPr>
        <p:spPr>
          <a:xfrm>
            <a:off x="0" y="0"/>
            <a:ext cx="12192000" cy="3759514"/>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0_Title Only">
    <p:spTree>
      <p:nvGrpSpPr>
        <p:cNvPr id="1" name=""/>
        <p:cNvGrpSpPr/>
        <p:nvPr/>
      </p:nvGrpSpPr>
      <p:grpSpPr>
        <a:xfrm>
          <a:off x="0" y="0"/>
          <a:ext cx="0" cy="0"/>
          <a:chOff x="0" y="0"/>
          <a:chExt cx="0" cy="0"/>
        </a:xfrm>
      </p:grpSpPr>
      <p:sp>
        <p:nvSpPr>
          <p:cNvPr id="6" name="Picture Placeholder 5"/>
          <p:cNvSpPr>
            <a:spLocks noGrp="1"/>
          </p:cNvSpPr>
          <p:nvPr>
            <p:ph type="pic" sz="quarter" idx="23"/>
          </p:nvPr>
        </p:nvSpPr>
        <p:spPr>
          <a:xfrm>
            <a:off x="5170310" y="1717086"/>
            <a:ext cx="7021690" cy="2268186"/>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8_Title Only">
    <p:spTree>
      <p:nvGrpSpPr>
        <p:cNvPr id="1" name=""/>
        <p:cNvGrpSpPr/>
        <p:nvPr/>
      </p:nvGrpSpPr>
      <p:grpSpPr>
        <a:xfrm>
          <a:off x="0" y="0"/>
          <a:ext cx="0" cy="0"/>
          <a:chOff x="0" y="0"/>
          <a:chExt cx="0" cy="0"/>
        </a:xfrm>
      </p:grpSpPr>
      <p:sp>
        <p:nvSpPr>
          <p:cNvPr id="6" name="Picture Placeholder 5"/>
          <p:cNvSpPr>
            <a:spLocks noGrp="1"/>
          </p:cNvSpPr>
          <p:nvPr>
            <p:ph type="pic" sz="quarter" idx="23"/>
          </p:nvPr>
        </p:nvSpPr>
        <p:spPr>
          <a:xfrm>
            <a:off x="4800991" y="0"/>
            <a:ext cx="7391009" cy="6858000"/>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Slide Number Placeholder 5"/>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7_Title Only">
    <p:spTree>
      <p:nvGrpSpPr>
        <p:cNvPr id="1" name=""/>
        <p:cNvGrpSpPr/>
        <p:nvPr/>
      </p:nvGrpSpPr>
      <p:grpSpPr>
        <a:xfrm>
          <a:off x="0" y="0"/>
          <a:ext cx="0" cy="0"/>
          <a:chOff x="0" y="0"/>
          <a:chExt cx="0" cy="0"/>
        </a:xfrm>
      </p:grpSpPr>
      <p:sp>
        <p:nvSpPr>
          <p:cNvPr id="42" name="Picture Placeholder 5"/>
          <p:cNvSpPr>
            <a:spLocks noGrp="1"/>
          </p:cNvSpPr>
          <p:nvPr>
            <p:ph type="pic" sz="quarter" idx="23"/>
          </p:nvPr>
        </p:nvSpPr>
        <p:spPr>
          <a:xfrm>
            <a:off x="8315912" y="1730814"/>
            <a:ext cx="2140349" cy="2250608"/>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6_Title Only">
    <p:spTree>
      <p:nvGrpSpPr>
        <p:cNvPr id="1" name=""/>
        <p:cNvGrpSpPr/>
        <p:nvPr/>
      </p:nvGrpSpPr>
      <p:grpSpPr>
        <a:xfrm>
          <a:off x="0" y="0"/>
          <a:ext cx="0" cy="0"/>
          <a:chOff x="0" y="0"/>
          <a:chExt cx="0" cy="0"/>
        </a:xfrm>
      </p:grpSpPr>
      <p:sp>
        <p:nvSpPr>
          <p:cNvPr id="6" name="Picture Placeholder 5"/>
          <p:cNvSpPr>
            <a:spLocks noGrp="1"/>
          </p:cNvSpPr>
          <p:nvPr>
            <p:ph type="pic" sz="quarter" idx="23"/>
          </p:nvPr>
        </p:nvSpPr>
        <p:spPr>
          <a:xfrm>
            <a:off x="1554657" y="2062987"/>
            <a:ext cx="1918866" cy="2017715"/>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5_Title Only">
    <p:spTree>
      <p:nvGrpSpPr>
        <p:cNvPr id="1" name=""/>
        <p:cNvGrpSpPr/>
        <p:nvPr/>
      </p:nvGrpSpPr>
      <p:grpSpPr>
        <a:xfrm>
          <a:off x="0" y="0"/>
          <a:ext cx="0" cy="0"/>
          <a:chOff x="0" y="0"/>
          <a:chExt cx="0" cy="0"/>
        </a:xfrm>
      </p:grpSpPr>
      <p:sp>
        <p:nvSpPr>
          <p:cNvPr id="7" name="Picture Placeholder 6"/>
          <p:cNvSpPr>
            <a:spLocks noGrp="1"/>
          </p:cNvSpPr>
          <p:nvPr>
            <p:ph type="pic" sz="quarter" idx="24"/>
          </p:nvPr>
        </p:nvSpPr>
        <p:spPr>
          <a:xfrm>
            <a:off x="8853429" y="1025478"/>
            <a:ext cx="2241279" cy="4765769"/>
          </a:xfrm>
          <a:custGeom>
            <a:avLst/>
            <a:gdLst>
              <a:gd name="connsiteX0" fmla="*/ 217068 w 2241279"/>
              <a:gd name="connsiteY0" fmla="*/ 0 h 4765769"/>
              <a:gd name="connsiteX1" fmla="*/ 2024211 w 2241279"/>
              <a:gd name="connsiteY1" fmla="*/ 0 h 4765769"/>
              <a:gd name="connsiteX2" fmla="*/ 2241279 w 2241279"/>
              <a:gd name="connsiteY2" fmla="*/ 217068 h 4765769"/>
              <a:gd name="connsiteX3" fmla="*/ 2241279 w 2241279"/>
              <a:gd name="connsiteY3" fmla="*/ 4548701 h 4765769"/>
              <a:gd name="connsiteX4" fmla="*/ 2024211 w 2241279"/>
              <a:gd name="connsiteY4" fmla="*/ 4765769 h 4765769"/>
              <a:gd name="connsiteX5" fmla="*/ 217068 w 2241279"/>
              <a:gd name="connsiteY5" fmla="*/ 4765769 h 4765769"/>
              <a:gd name="connsiteX6" fmla="*/ 0 w 2241279"/>
              <a:gd name="connsiteY6" fmla="*/ 4548701 h 4765769"/>
              <a:gd name="connsiteX7" fmla="*/ 0 w 2241279"/>
              <a:gd name="connsiteY7" fmla="*/ 217068 h 4765769"/>
              <a:gd name="connsiteX8" fmla="*/ 217068 w 2241279"/>
              <a:gd name="connsiteY8" fmla="*/ 0 h 476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1279" h="4765769">
                <a:moveTo>
                  <a:pt x="217068" y="0"/>
                </a:moveTo>
                <a:lnTo>
                  <a:pt x="2024211" y="0"/>
                </a:lnTo>
                <a:cubicBezTo>
                  <a:pt x="2144094" y="0"/>
                  <a:pt x="2241279" y="97185"/>
                  <a:pt x="2241279" y="217068"/>
                </a:cubicBezTo>
                <a:lnTo>
                  <a:pt x="2241279" y="4548701"/>
                </a:lnTo>
                <a:cubicBezTo>
                  <a:pt x="2241279" y="4668584"/>
                  <a:pt x="2144094" y="4765769"/>
                  <a:pt x="2024211" y="4765769"/>
                </a:cubicBezTo>
                <a:lnTo>
                  <a:pt x="217068" y="4765769"/>
                </a:lnTo>
                <a:cubicBezTo>
                  <a:pt x="97185" y="4765769"/>
                  <a:pt x="0" y="4668584"/>
                  <a:pt x="0" y="4548701"/>
                </a:cubicBezTo>
                <a:lnTo>
                  <a:pt x="0" y="217068"/>
                </a:lnTo>
                <a:cubicBezTo>
                  <a:pt x="0" y="97185"/>
                  <a:pt x="97185" y="0"/>
                  <a:pt x="217068" y="0"/>
                </a:cubicBezTo>
                <a:close/>
              </a:path>
            </a:pathLst>
          </a:custGeom>
        </p:spPr>
        <p:txBody>
          <a:bodyPr wrap="square">
            <a:no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4_Title Only">
    <p:spTree>
      <p:nvGrpSpPr>
        <p:cNvPr id="1" name=""/>
        <p:cNvGrpSpPr/>
        <p:nvPr/>
      </p:nvGrpSpPr>
      <p:grpSpPr>
        <a:xfrm>
          <a:off x="0" y="0"/>
          <a:ext cx="0" cy="0"/>
          <a:chOff x="0" y="0"/>
          <a:chExt cx="0" cy="0"/>
        </a:xfrm>
      </p:grpSpPr>
      <p:sp>
        <p:nvSpPr>
          <p:cNvPr id="9" name="Picture Placeholder 8"/>
          <p:cNvSpPr>
            <a:spLocks noGrp="1"/>
          </p:cNvSpPr>
          <p:nvPr>
            <p:ph type="pic" sz="quarter" idx="23"/>
          </p:nvPr>
        </p:nvSpPr>
        <p:spPr>
          <a:xfrm>
            <a:off x="2710217" y="736617"/>
            <a:ext cx="3394617" cy="7218181"/>
          </a:xfrm>
          <a:custGeom>
            <a:avLst/>
            <a:gdLst>
              <a:gd name="connsiteX0" fmla="*/ 328769 w 3394617"/>
              <a:gd name="connsiteY0" fmla="*/ 0 h 7218181"/>
              <a:gd name="connsiteX1" fmla="*/ 3065848 w 3394617"/>
              <a:gd name="connsiteY1" fmla="*/ 0 h 7218181"/>
              <a:gd name="connsiteX2" fmla="*/ 3394617 w 3394617"/>
              <a:gd name="connsiteY2" fmla="*/ 328769 h 7218181"/>
              <a:gd name="connsiteX3" fmla="*/ 3394617 w 3394617"/>
              <a:gd name="connsiteY3" fmla="*/ 6889412 h 7218181"/>
              <a:gd name="connsiteX4" fmla="*/ 3065848 w 3394617"/>
              <a:gd name="connsiteY4" fmla="*/ 7218181 h 7218181"/>
              <a:gd name="connsiteX5" fmla="*/ 328769 w 3394617"/>
              <a:gd name="connsiteY5" fmla="*/ 7218181 h 7218181"/>
              <a:gd name="connsiteX6" fmla="*/ 0 w 3394617"/>
              <a:gd name="connsiteY6" fmla="*/ 6889412 h 7218181"/>
              <a:gd name="connsiteX7" fmla="*/ 0 w 3394617"/>
              <a:gd name="connsiteY7" fmla="*/ 328769 h 7218181"/>
              <a:gd name="connsiteX8" fmla="*/ 328769 w 3394617"/>
              <a:gd name="connsiteY8" fmla="*/ 0 h 721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4617" h="7218181">
                <a:moveTo>
                  <a:pt x="328769" y="0"/>
                </a:moveTo>
                <a:lnTo>
                  <a:pt x="3065848" y="0"/>
                </a:lnTo>
                <a:cubicBezTo>
                  <a:pt x="3247422" y="0"/>
                  <a:pt x="3394617" y="147195"/>
                  <a:pt x="3394617" y="328769"/>
                </a:cubicBezTo>
                <a:lnTo>
                  <a:pt x="3394617" y="6889412"/>
                </a:lnTo>
                <a:cubicBezTo>
                  <a:pt x="3394617" y="7070986"/>
                  <a:pt x="3247422" y="7218181"/>
                  <a:pt x="3065848" y="7218181"/>
                </a:cubicBezTo>
                <a:lnTo>
                  <a:pt x="328769" y="7218181"/>
                </a:lnTo>
                <a:cubicBezTo>
                  <a:pt x="147195" y="7218181"/>
                  <a:pt x="0" y="7070986"/>
                  <a:pt x="0" y="6889412"/>
                </a:cubicBezTo>
                <a:lnTo>
                  <a:pt x="0" y="328769"/>
                </a:lnTo>
                <a:cubicBezTo>
                  <a:pt x="0" y="147195"/>
                  <a:pt x="147195" y="0"/>
                  <a:pt x="328769" y="0"/>
                </a:cubicBezTo>
                <a:close/>
              </a:path>
            </a:pathLst>
          </a:custGeom>
        </p:spPr>
        <p:txBody>
          <a:bodyPr wrap="square">
            <a:noAutofit/>
          </a:bodyPr>
          <a:lstStyle>
            <a:lvl1pPr marL="0" indent="0">
              <a:buNone/>
              <a:defRPr sz="2000">
                <a:solidFill>
                  <a:schemeClr val="bg1">
                    <a:lumMod val="65000"/>
                  </a:schemeClr>
                </a:solidFill>
              </a:defRPr>
            </a:lvl1pPr>
          </a:lstStyle>
          <a:p>
            <a:endParaRPr lang="en-US" dirty="0"/>
          </a:p>
        </p:txBody>
      </p:sp>
      <p:sp>
        <p:nvSpPr>
          <p:cNvPr id="8" name="Picture Placeholder 5"/>
          <p:cNvSpPr>
            <a:spLocks noGrp="1"/>
          </p:cNvSpPr>
          <p:nvPr>
            <p:ph type="pic" sz="quarter" idx="24"/>
          </p:nvPr>
        </p:nvSpPr>
        <p:spPr>
          <a:xfrm>
            <a:off x="0" y="0"/>
            <a:ext cx="12192000" cy="6858000"/>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5_Title Only">
    <p:spTree>
      <p:nvGrpSpPr>
        <p:cNvPr id="1" name=""/>
        <p:cNvGrpSpPr/>
        <p:nvPr/>
      </p:nvGrpSpPr>
      <p:grpSpPr>
        <a:xfrm>
          <a:off x="0" y="0"/>
          <a:ext cx="0" cy="0"/>
          <a:chOff x="0" y="0"/>
          <a:chExt cx="0" cy="0"/>
        </a:xfrm>
      </p:grpSpPr>
      <p:sp>
        <p:nvSpPr>
          <p:cNvPr id="6" name="Picture Placeholder 5"/>
          <p:cNvSpPr>
            <a:spLocks noGrp="1"/>
          </p:cNvSpPr>
          <p:nvPr>
            <p:ph type="pic" sz="quarter" idx="23"/>
          </p:nvPr>
        </p:nvSpPr>
        <p:spPr>
          <a:xfrm>
            <a:off x="677068" y="1739899"/>
            <a:ext cx="11067609" cy="4118783"/>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4_Title Only">
    <p:spTree>
      <p:nvGrpSpPr>
        <p:cNvPr id="1" name=""/>
        <p:cNvGrpSpPr/>
        <p:nvPr/>
      </p:nvGrpSpPr>
      <p:grpSpPr>
        <a:xfrm>
          <a:off x="0" y="0"/>
          <a:ext cx="0" cy="0"/>
          <a:chOff x="0" y="0"/>
          <a:chExt cx="0" cy="0"/>
        </a:xfrm>
      </p:grpSpPr>
      <p:sp>
        <p:nvSpPr>
          <p:cNvPr id="6" name="Picture Placeholder 5"/>
          <p:cNvSpPr>
            <a:spLocks noGrp="1"/>
          </p:cNvSpPr>
          <p:nvPr>
            <p:ph type="pic" sz="quarter" idx="23"/>
          </p:nvPr>
        </p:nvSpPr>
        <p:spPr>
          <a:xfrm>
            <a:off x="0" y="2979988"/>
            <a:ext cx="12192000" cy="3106593"/>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3_Title Only">
    <p:spTree>
      <p:nvGrpSpPr>
        <p:cNvPr id="1" name=""/>
        <p:cNvGrpSpPr/>
        <p:nvPr/>
      </p:nvGrpSpPr>
      <p:grpSpPr>
        <a:xfrm>
          <a:off x="0" y="0"/>
          <a:ext cx="0" cy="0"/>
          <a:chOff x="0" y="0"/>
          <a:chExt cx="0" cy="0"/>
        </a:xfrm>
      </p:grpSpPr>
      <p:sp>
        <p:nvSpPr>
          <p:cNvPr id="7" name="Picture Placeholder 6"/>
          <p:cNvSpPr>
            <a:spLocks noGrp="1"/>
          </p:cNvSpPr>
          <p:nvPr>
            <p:ph type="pic" sz="quarter" idx="23"/>
          </p:nvPr>
        </p:nvSpPr>
        <p:spPr>
          <a:xfrm>
            <a:off x="1" y="0"/>
            <a:ext cx="8162543" cy="6894282"/>
          </a:xfrm>
          <a:custGeom>
            <a:avLst/>
            <a:gdLst>
              <a:gd name="connsiteX0" fmla="*/ 0 w 8162543"/>
              <a:gd name="connsiteY0" fmla="*/ 0 h 6894282"/>
              <a:gd name="connsiteX1" fmla="*/ 8162543 w 8162543"/>
              <a:gd name="connsiteY1" fmla="*/ 0 h 6894282"/>
              <a:gd name="connsiteX2" fmla="*/ 4053656 w 8162543"/>
              <a:gd name="connsiteY2" fmla="*/ 5464520 h 6894282"/>
              <a:gd name="connsiteX3" fmla="*/ 5121817 w 8162543"/>
              <a:gd name="connsiteY3" fmla="*/ 6885096 h 6894282"/>
              <a:gd name="connsiteX4" fmla="*/ 2982630 w 8162543"/>
              <a:gd name="connsiteY4" fmla="*/ 6888906 h 6894282"/>
              <a:gd name="connsiteX5" fmla="*/ 2978587 w 8162543"/>
              <a:gd name="connsiteY5" fmla="*/ 6894282 h 6894282"/>
              <a:gd name="connsiteX6" fmla="*/ 2624686 w 8162543"/>
              <a:gd name="connsiteY6" fmla="*/ 6889543 h 6894282"/>
              <a:gd name="connsiteX7" fmla="*/ 0 w 8162543"/>
              <a:gd name="connsiteY7" fmla="*/ 6894218 h 689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62543" h="6894282">
                <a:moveTo>
                  <a:pt x="0" y="0"/>
                </a:moveTo>
                <a:lnTo>
                  <a:pt x="8162543" y="0"/>
                </a:lnTo>
                <a:lnTo>
                  <a:pt x="4053656" y="5464520"/>
                </a:lnTo>
                <a:lnTo>
                  <a:pt x="5121817" y="6885096"/>
                </a:lnTo>
                <a:lnTo>
                  <a:pt x="2982630" y="6888906"/>
                </a:lnTo>
                <a:lnTo>
                  <a:pt x="2978587" y="6894282"/>
                </a:lnTo>
                <a:lnTo>
                  <a:pt x="2624686" y="6889543"/>
                </a:lnTo>
                <a:lnTo>
                  <a:pt x="0" y="6894218"/>
                </a:lnTo>
                <a:close/>
              </a:path>
            </a:pathLst>
          </a:custGeom>
        </p:spPr>
        <p:txBody>
          <a:bodyPr wrap="square">
            <a:no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2_Title Only">
    <p:spTree>
      <p:nvGrpSpPr>
        <p:cNvPr id="1" name=""/>
        <p:cNvGrpSpPr/>
        <p:nvPr/>
      </p:nvGrpSpPr>
      <p:grpSpPr>
        <a:xfrm>
          <a:off x="0" y="0"/>
          <a:ext cx="0" cy="0"/>
          <a:chOff x="0" y="0"/>
          <a:chExt cx="0" cy="0"/>
        </a:xfrm>
      </p:grpSpPr>
      <p:sp>
        <p:nvSpPr>
          <p:cNvPr id="7" name="Picture Placeholder 5"/>
          <p:cNvSpPr>
            <a:spLocks noGrp="1"/>
          </p:cNvSpPr>
          <p:nvPr>
            <p:ph type="pic" sz="quarter" idx="23"/>
          </p:nvPr>
        </p:nvSpPr>
        <p:spPr>
          <a:xfrm>
            <a:off x="958691" y="1690688"/>
            <a:ext cx="7309867" cy="2678113"/>
          </a:xfrm>
        </p:spPr>
        <p:txBody>
          <a:bodyPr>
            <a:normAutofit/>
          </a:bodyPr>
          <a:lstStyle>
            <a:lvl1pPr marL="0" indent="0">
              <a:buNone/>
              <a:defRPr sz="2000">
                <a:solidFill>
                  <a:schemeClr val="bg1">
                    <a:lumMod val="65000"/>
                  </a:schemeClr>
                </a:solidFill>
              </a:defRPr>
            </a:lvl1pPr>
          </a:lstStyle>
          <a:p>
            <a:endParaRPr lang="en-US" dirty="0"/>
          </a:p>
        </p:txBody>
      </p:sp>
      <p:sp>
        <p:nvSpPr>
          <p:cNvPr id="8" name="Picture Placeholder 5"/>
          <p:cNvSpPr>
            <a:spLocks noGrp="1"/>
          </p:cNvSpPr>
          <p:nvPr>
            <p:ph type="pic" sz="quarter" idx="24"/>
          </p:nvPr>
        </p:nvSpPr>
        <p:spPr>
          <a:xfrm>
            <a:off x="8317940" y="1690688"/>
            <a:ext cx="3714400" cy="2678113"/>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1_Title Only">
    <p:spTree>
      <p:nvGrpSpPr>
        <p:cNvPr id="1" name=""/>
        <p:cNvGrpSpPr/>
        <p:nvPr/>
      </p:nvGrpSpPr>
      <p:grpSpPr>
        <a:xfrm>
          <a:off x="0" y="0"/>
          <a:ext cx="0" cy="0"/>
          <a:chOff x="0" y="0"/>
          <a:chExt cx="0" cy="0"/>
        </a:xfrm>
      </p:grpSpPr>
      <p:sp>
        <p:nvSpPr>
          <p:cNvPr id="7" name="Picture Placeholder 5"/>
          <p:cNvSpPr>
            <a:spLocks noGrp="1"/>
          </p:cNvSpPr>
          <p:nvPr>
            <p:ph type="pic" sz="quarter" idx="23"/>
          </p:nvPr>
        </p:nvSpPr>
        <p:spPr>
          <a:xfrm>
            <a:off x="7426051" y="1535421"/>
            <a:ext cx="3657166" cy="3645978"/>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
        <p:nvSpPr>
          <p:cNvPr id="6" name="Rectangle 5"/>
          <p:cNvSpPr/>
          <p:nvPr userDrawn="1"/>
        </p:nvSpPr>
        <p:spPr>
          <a:xfrm>
            <a:off x="7066599" y="1181527"/>
            <a:ext cx="4350687" cy="4435501"/>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0_Title Only">
    <p:spTree>
      <p:nvGrpSpPr>
        <p:cNvPr id="1" name=""/>
        <p:cNvGrpSpPr/>
        <p:nvPr/>
      </p:nvGrpSpPr>
      <p:grpSpPr>
        <a:xfrm>
          <a:off x="0" y="0"/>
          <a:ext cx="0" cy="0"/>
          <a:chOff x="0" y="0"/>
          <a:chExt cx="0" cy="0"/>
        </a:xfrm>
      </p:grpSpPr>
      <p:sp>
        <p:nvSpPr>
          <p:cNvPr id="8" name="Picture Placeholder 5"/>
          <p:cNvSpPr>
            <a:spLocks noGrp="1"/>
          </p:cNvSpPr>
          <p:nvPr>
            <p:ph type="pic" sz="quarter" idx="22"/>
          </p:nvPr>
        </p:nvSpPr>
        <p:spPr>
          <a:xfrm>
            <a:off x="4868421" y="0"/>
            <a:ext cx="3377681" cy="2287682"/>
          </a:xfrm>
        </p:spPr>
        <p:txBody>
          <a:bodyPr>
            <a:normAutofit/>
          </a:bodyPr>
          <a:lstStyle>
            <a:lvl1pPr marL="0" indent="0">
              <a:buNone/>
              <a:defRPr sz="2000">
                <a:solidFill>
                  <a:schemeClr val="bg1">
                    <a:lumMod val="65000"/>
                  </a:schemeClr>
                </a:solidFill>
              </a:defRPr>
            </a:lvl1pPr>
          </a:lstStyle>
          <a:p>
            <a:endParaRPr lang="en-US" dirty="0"/>
          </a:p>
        </p:txBody>
      </p:sp>
      <p:sp>
        <p:nvSpPr>
          <p:cNvPr id="9" name="Picture Placeholder 5"/>
          <p:cNvSpPr>
            <a:spLocks noGrp="1"/>
          </p:cNvSpPr>
          <p:nvPr>
            <p:ph type="pic" sz="quarter" idx="23"/>
          </p:nvPr>
        </p:nvSpPr>
        <p:spPr>
          <a:xfrm>
            <a:off x="4868421" y="2289009"/>
            <a:ext cx="3377681" cy="2287682"/>
          </a:xfrm>
        </p:spPr>
        <p:txBody>
          <a:bodyPr>
            <a:normAutofit/>
          </a:bodyPr>
          <a:lstStyle>
            <a:lvl1pPr marL="0" indent="0">
              <a:buNone/>
              <a:defRPr sz="2000">
                <a:solidFill>
                  <a:schemeClr val="bg1">
                    <a:lumMod val="65000"/>
                  </a:schemeClr>
                </a:solidFill>
              </a:defRPr>
            </a:lvl1pPr>
          </a:lstStyle>
          <a:p>
            <a:endParaRPr lang="en-US" dirty="0"/>
          </a:p>
        </p:txBody>
      </p:sp>
      <p:sp>
        <p:nvSpPr>
          <p:cNvPr id="10" name="Picture Placeholder 5"/>
          <p:cNvSpPr>
            <a:spLocks noGrp="1"/>
          </p:cNvSpPr>
          <p:nvPr>
            <p:ph type="pic" sz="quarter" idx="24"/>
          </p:nvPr>
        </p:nvSpPr>
        <p:spPr>
          <a:xfrm>
            <a:off x="4868421" y="4576690"/>
            <a:ext cx="3377681" cy="2281309"/>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9" name="Picture Placeholder 8"/>
          <p:cNvSpPr>
            <a:spLocks noGrp="1"/>
          </p:cNvSpPr>
          <p:nvPr>
            <p:ph type="pic" sz="quarter" idx="23"/>
          </p:nvPr>
        </p:nvSpPr>
        <p:spPr>
          <a:xfrm>
            <a:off x="6689778" y="1290667"/>
            <a:ext cx="4708501" cy="4255450"/>
          </a:xfrm>
          <a:custGeom>
            <a:avLst/>
            <a:gdLst>
              <a:gd name="connsiteX0" fmla="*/ 4708501 w 4708501"/>
              <a:gd name="connsiteY0" fmla="*/ 0 h 4255450"/>
              <a:gd name="connsiteX1" fmla="*/ 1553320 w 4708501"/>
              <a:gd name="connsiteY1" fmla="*/ 4255450 h 4255450"/>
              <a:gd name="connsiteX2" fmla="*/ 0 w 4708501"/>
              <a:gd name="connsiteY2" fmla="*/ 3608233 h 4255450"/>
              <a:gd name="connsiteX3" fmla="*/ 2621227 w 4708501"/>
              <a:gd name="connsiteY3" fmla="*/ 97083 h 4255450"/>
            </a:gdLst>
            <a:ahLst/>
            <a:cxnLst>
              <a:cxn ang="0">
                <a:pos x="connsiteX0" y="connsiteY0"/>
              </a:cxn>
              <a:cxn ang="0">
                <a:pos x="connsiteX1" y="connsiteY1"/>
              </a:cxn>
              <a:cxn ang="0">
                <a:pos x="connsiteX2" y="connsiteY2"/>
              </a:cxn>
              <a:cxn ang="0">
                <a:pos x="connsiteX3" y="connsiteY3"/>
              </a:cxn>
            </a:cxnLst>
            <a:rect l="l" t="t" r="r" b="b"/>
            <a:pathLst>
              <a:path w="4708501" h="4255450">
                <a:moveTo>
                  <a:pt x="4708501" y="0"/>
                </a:moveTo>
                <a:lnTo>
                  <a:pt x="1553320" y="4255450"/>
                </a:lnTo>
                <a:lnTo>
                  <a:pt x="0" y="3608233"/>
                </a:lnTo>
                <a:lnTo>
                  <a:pt x="2621227" y="97083"/>
                </a:lnTo>
                <a:close/>
              </a:path>
            </a:pathLst>
          </a:custGeom>
        </p:spPr>
        <p:txBody>
          <a:bodyPr wrap="square">
            <a:no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6" name="Slide Number Placeholder 5"/>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9_Title Only">
    <p:spTree>
      <p:nvGrpSpPr>
        <p:cNvPr id="1" name=""/>
        <p:cNvGrpSpPr/>
        <p:nvPr/>
      </p:nvGrpSpPr>
      <p:grpSpPr>
        <a:xfrm>
          <a:off x="0" y="0"/>
          <a:ext cx="0" cy="0"/>
          <a:chOff x="0" y="0"/>
          <a:chExt cx="0" cy="0"/>
        </a:xfrm>
      </p:grpSpPr>
      <p:sp>
        <p:nvSpPr>
          <p:cNvPr id="7" name="Picture Placeholder 5"/>
          <p:cNvSpPr>
            <a:spLocks noGrp="1"/>
          </p:cNvSpPr>
          <p:nvPr>
            <p:ph type="pic" sz="quarter" idx="22"/>
          </p:nvPr>
        </p:nvSpPr>
        <p:spPr>
          <a:xfrm>
            <a:off x="0" y="0"/>
            <a:ext cx="3429000" cy="6858000"/>
          </a:xfrm>
        </p:spPr>
        <p:txBody>
          <a:bodyPr>
            <a:normAutofit/>
          </a:bodyPr>
          <a:lstStyle>
            <a:lvl1pPr marL="0" indent="0">
              <a:buNone/>
              <a:defRPr sz="2000">
                <a:solidFill>
                  <a:schemeClr val="bg1">
                    <a:lumMod val="65000"/>
                  </a:schemeClr>
                </a:solidFill>
              </a:defRPr>
            </a:lvl1pPr>
          </a:lstStyle>
          <a:p>
            <a:endParaRPr lang="en-US" dirty="0"/>
          </a:p>
        </p:txBody>
      </p:sp>
      <p:sp>
        <p:nvSpPr>
          <p:cNvPr id="8" name="Picture Placeholder 5"/>
          <p:cNvSpPr>
            <a:spLocks noGrp="1"/>
          </p:cNvSpPr>
          <p:nvPr>
            <p:ph type="pic" sz="quarter" idx="23"/>
          </p:nvPr>
        </p:nvSpPr>
        <p:spPr>
          <a:xfrm>
            <a:off x="3429000" y="0"/>
            <a:ext cx="8763000" cy="3695700"/>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8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
        <p:nvSpPr>
          <p:cNvPr id="13" name="Picture Placeholder 5"/>
          <p:cNvSpPr>
            <a:spLocks noGrp="1"/>
          </p:cNvSpPr>
          <p:nvPr>
            <p:ph type="pic" sz="quarter" idx="22"/>
          </p:nvPr>
        </p:nvSpPr>
        <p:spPr>
          <a:xfrm>
            <a:off x="3048001" y="1735349"/>
            <a:ext cx="3047998" cy="2147815"/>
          </a:xfrm>
        </p:spPr>
        <p:txBody>
          <a:bodyPr>
            <a:normAutofit/>
          </a:bodyPr>
          <a:lstStyle>
            <a:lvl1pPr marL="0" indent="0">
              <a:buNone/>
              <a:defRPr sz="2000">
                <a:solidFill>
                  <a:schemeClr val="bg1">
                    <a:lumMod val="65000"/>
                  </a:schemeClr>
                </a:solidFill>
              </a:defRPr>
            </a:lvl1pPr>
          </a:lstStyle>
          <a:p>
            <a:endParaRPr lang="en-US" dirty="0"/>
          </a:p>
        </p:txBody>
      </p:sp>
      <p:sp>
        <p:nvSpPr>
          <p:cNvPr id="14" name="Picture Placeholder 5"/>
          <p:cNvSpPr>
            <a:spLocks noGrp="1"/>
          </p:cNvSpPr>
          <p:nvPr>
            <p:ph type="pic" sz="quarter" idx="23"/>
          </p:nvPr>
        </p:nvSpPr>
        <p:spPr>
          <a:xfrm>
            <a:off x="9143999" y="1735349"/>
            <a:ext cx="3047998" cy="2147815"/>
          </a:xfrm>
        </p:spPr>
        <p:txBody>
          <a:bodyPr>
            <a:normAutofit/>
          </a:bodyPr>
          <a:lstStyle>
            <a:lvl1pPr marL="0" indent="0">
              <a:buNone/>
              <a:defRPr sz="2000">
                <a:solidFill>
                  <a:schemeClr val="bg1">
                    <a:lumMod val="65000"/>
                  </a:schemeClr>
                </a:solidFill>
              </a:defRPr>
            </a:lvl1pPr>
          </a:lstStyle>
          <a:p>
            <a:endParaRPr lang="en-US" dirty="0"/>
          </a:p>
        </p:txBody>
      </p:sp>
      <p:sp>
        <p:nvSpPr>
          <p:cNvPr id="15" name="Picture Placeholder 5"/>
          <p:cNvSpPr>
            <a:spLocks noGrp="1"/>
          </p:cNvSpPr>
          <p:nvPr>
            <p:ph type="pic" sz="quarter" idx="24"/>
          </p:nvPr>
        </p:nvSpPr>
        <p:spPr>
          <a:xfrm>
            <a:off x="0" y="3902425"/>
            <a:ext cx="3047998" cy="2147815"/>
          </a:xfrm>
        </p:spPr>
        <p:txBody>
          <a:bodyPr>
            <a:normAutofit/>
          </a:bodyPr>
          <a:lstStyle>
            <a:lvl1pPr marL="0" indent="0">
              <a:buNone/>
              <a:defRPr sz="2000">
                <a:solidFill>
                  <a:schemeClr val="bg1">
                    <a:lumMod val="65000"/>
                  </a:schemeClr>
                </a:solidFill>
              </a:defRPr>
            </a:lvl1pPr>
          </a:lstStyle>
          <a:p>
            <a:endParaRPr lang="en-US" dirty="0"/>
          </a:p>
        </p:txBody>
      </p:sp>
      <p:sp>
        <p:nvSpPr>
          <p:cNvPr id="16" name="Picture Placeholder 5"/>
          <p:cNvSpPr>
            <a:spLocks noGrp="1"/>
          </p:cNvSpPr>
          <p:nvPr>
            <p:ph type="pic" sz="quarter" idx="25"/>
          </p:nvPr>
        </p:nvSpPr>
        <p:spPr>
          <a:xfrm>
            <a:off x="6096001" y="3902425"/>
            <a:ext cx="3047998" cy="2147815"/>
          </a:xfrm>
        </p:spPr>
        <p:txBody>
          <a:bodyPr>
            <a:normAutofit/>
          </a:bodyPr>
          <a:lstStyle>
            <a:lvl1pPr marL="0" indent="0">
              <a:buNone/>
              <a:defRPr sz="2000">
                <a:solidFill>
                  <a:schemeClr val="bg1">
                    <a:lumMod val="65000"/>
                  </a:schemeClr>
                </a:solidFill>
              </a:defRPr>
            </a:lvl1pPr>
          </a:lstStyle>
          <a:p>
            <a:endParaRPr lang="en-US" dirty="0"/>
          </a:p>
        </p:txBody>
      </p:sp>
      <p:grpSp>
        <p:nvGrpSpPr>
          <p:cNvPr id="3" name="Group 2"/>
          <p:cNvGrpSpPr/>
          <p:nvPr userDrawn="1"/>
        </p:nvGrpSpPr>
        <p:grpSpPr>
          <a:xfrm>
            <a:off x="1" y="1735349"/>
            <a:ext cx="12192000" cy="4295630"/>
            <a:chOff x="1" y="1735349"/>
            <a:chExt cx="12192000" cy="4295630"/>
          </a:xfrm>
        </p:grpSpPr>
        <p:sp>
          <p:nvSpPr>
            <p:cNvPr id="4" name="Rectangle 3"/>
            <p:cNvSpPr/>
            <p:nvPr userDrawn="1"/>
          </p:nvSpPr>
          <p:spPr>
            <a:xfrm>
              <a:off x="6096000" y="1735349"/>
              <a:ext cx="3048000" cy="21478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9144001" y="3883164"/>
              <a:ext cx="3048000" cy="21478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3048001" y="3883164"/>
              <a:ext cx="3048000" cy="21478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1" y="1735349"/>
              <a:ext cx="3048000" cy="21478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7_Title Only">
    <p:spTree>
      <p:nvGrpSpPr>
        <p:cNvPr id="1" name=""/>
        <p:cNvGrpSpPr/>
        <p:nvPr/>
      </p:nvGrpSpPr>
      <p:grpSpPr>
        <a:xfrm>
          <a:off x="0" y="0"/>
          <a:ext cx="0" cy="0"/>
          <a:chOff x="0" y="0"/>
          <a:chExt cx="0" cy="0"/>
        </a:xfrm>
      </p:grpSpPr>
      <p:sp>
        <p:nvSpPr>
          <p:cNvPr id="24" name="Picture Placeholder 5"/>
          <p:cNvSpPr>
            <a:spLocks noGrp="1"/>
          </p:cNvSpPr>
          <p:nvPr>
            <p:ph type="pic" sz="quarter" idx="22"/>
          </p:nvPr>
        </p:nvSpPr>
        <p:spPr>
          <a:xfrm>
            <a:off x="282203" y="1854213"/>
            <a:ext cx="2793917" cy="1310515"/>
          </a:xfrm>
        </p:spPr>
        <p:txBody>
          <a:bodyPr>
            <a:normAutofit/>
          </a:bodyPr>
          <a:lstStyle>
            <a:lvl1pPr marL="0" indent="0">
              <a:buNone/>
              <a:defRPr sz="2000">
                <a:solidFill>
                  <a:schemeClr val="bg1">
                    <a:lumMod val="65000"/>
                  </a:schemeClr>
                </a:solidFill>
              </a:defRPr>
            </a:lvl1pPr>
          </a:lstStyle>
          <a:p>
            <a:endParaRPr lang="en-US" dirty="0"/>
          </a:p>
        </p:txBody>
      </p:sp>
      <p:sp>
        <p:nvSpPr>
          <p:cNvPr id="25" name="Picture Placeholder 5"/>
          <p:cNvSpPr>
            <a:spLocks noGrp="1"/>
          </p:cNvSpPr>
          <p:nvPr>
            <p:ph type="pic" sz="quarter" idx="23"/>
          </p:nvPr>
        </p:nvSpPr>
        <p:spPr>
          <a:xfrm>
            <a:off x="3229827" y="1854213"/>
            <a:ext cx="2793917" cy="1310515"/>
          </a:xfrm>
        </p:spPr>
        <p:txBody>
          <a:bodyPr>
            <a:normAutofit/>
          </a:bodyPr>
          <a:lstStyle>
            <a:lvl1pPr marL="0" indent="0">
              <a:buNone/>
              <a:defRPr sz="2000">
                <a:solidFill>
                  <a:schemeClr val="bg1">
                    <a:lumMod val="65000"/>
                  </a:schemeClr>
                </a:solidFill>
              </a:defRPr>
            </a:lvl1pPr>
          </a:lstStyle>
          <a:p>
            <a:endParaRPr lang="en-US" dirty="0"/>
          </a:p>
        </p:txBody>
      </p:sp>
      <p:sp>
        <p:nvSpPr>
          <p:cNvPr id="4" name="Rectangle 3"/>
          <p:cNvSpPr/>
          <p:nvPr userDrawn="1"/>
        </p:nvSpPr>
        <p:spPr>
          <a:xfrm>
            <a:off x="283758" y="3290093"/>
            <a:ext cx="8667504" cy="131051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p>
        </p:txBody>
      </p:sp>
      <p:sp>
        <p:nvSpPr>
          <p:cNvPr id="2" name="Title 1"/>
          <p:cNvSpPr>
            <a:spLocks noGrp="1"/>
          </p:cNvSpPr>
          <p:nvPr>
            <p:ph type="title"/>
          </p:nvPr>
        </p:nvSpPr>
        <p:spPr>
          <a:xfrm>
            <a:off x="282203" y="3282568"/>
            <a:ext cx="10515600" cy="1325563"/>
          </a:xfrm>
        </p:spPr>
        <p:txBody>
          <a:bodyPr/>
          <a:lstStyle>
            <a:lvl1pPr>
              <a:defRPr>
                <a:solidFill>
                  <a:schemeClr val="bg1"/>
                </a:solidFill>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
        <p:nvSpPr>
          <p:cNvPr id="16" name="Picture Placeholder 5"/>
          <p:cNvSpPr>
            <a:spLocks noGrp="1"/>
          </p:cNvSpPr>
          <p:nvPr>
            <p:ph type="pic" sz="quarter" idx="14"/>
          </p:nvPr>
        </p:nvSpPr>
        <p:spPr>
          <a:xfrm>
            <a:off x="282203" y="393160"/>
            <a:ext cx="2793917" cy="1310515"/>
          </a:xfrm>
        </p:spPr>
        <p:txBody>
          <a:bodyPr>
            <a:normAutofit/>
          </a:bodyPr>
          <a:lstStyle>
            <a:lvl1pPr marL="0" indent="0">
              <a:buNone/>
              <a:defRPr sz="2000">
                <a:solidFill>
                  <a:schemeClr val="bg1">
                    <a:lumMod val="65000"/>
                  </a:schemeClr>
                </a:solidFill>
              </a:defRPr>
            </a:lvl1pPr>
          </a:lstStyle>
          <a:p>
            <a:endParaRPr lang="en-US" dirty="0"/>
          </a:p>
        </p:txBody>
      </p:sp>
      <p:sp>
        <p:nvSpPr>
          <p:cNvPr id="17" name="Picture Placeholder 5"/>
          <p:cNvSpPr>
            <a:spLocks noGrp="1"/>
          </p:cNvSpPr>
          <p:nvPr>
            <p:ph type="pic" sz="quarter" idx="15"/>
          </p:nvPr>
        </p:nvSpPr>
        <p:spPr>
          <a:xfrm>
            <a:off x="3229827" y="393160"/>
            <a:ext cx="2793917" cy="1310515"/>
          </a:xfrm>
        </p:spPr>
        <p:txBody>
          <a:bodyPr>
            <a:normAutofit/>
          </a:bodyPr>
          <a:lstStyle>
            <a:lvl1pPr marL="0" indent="0">
              <a:buNone/>
              <a:defRPr sz="2000">
                <a:solidFill>
                  <a:schemeClr val="bg1">
                    <a:lumMod val="65000"/>
                  </a:schemeClr>
                </a:solidFill>
              </a:defRPr>
            </a:lvl1pPr>
          </a:lstStyle>
          <a:p>
            <a:endParaRPr lang="en-US" dirty="0"/>
          </a:p>
        </p:txBody>
      </p:sp>
      <p:sp>
        <p:nvSpPr>
          <p:cNvPr id="18" name="Picture Placeholder 5"/>
          <p:cNvSpPr>
            <a:spLocks noGrp="1"/>
          </p:cNvSpPr>
          <p:nvPr>
            <p:ph type="pic" sz="quarter" idx="16"/>
          </p:nvPr>
        </p:nvSpPr>
        <p:spPr>
          <a:xfrm>
            <a:off x="6127944" y="393160"/>
            <a:ext cx="2793917" cy="1310515"/>
          </a:xfrm>
        </p:spPr>
        <p:txBody>
          <a:bodyPr>
            <a:normAutofit/>
          </a:bodyPr>
          <a:lstStyle>
            <a:lvl1pPr marL="0" indent="0">
              <a:buNone/>
              <a:defRPr sz="2000">
                <a:solidFill>
                  <a:schemeClr val="bg1">
                    <a:lumMod val="65000"/>
                  </a:schemeClr>
                </a:solidFill>
              </a:defRPr>
            </a:lvl1pPr>
          </a:lstStyle>
          <a:p>
            <a:endParaRPr lang="en-US" dirty="0"/>
          </a:p>
        </p:txBody>
      </p:sp>
      <p:sp>
        <p:nvSpPr>
          <p:cNvPr id="19" name="Picture Placeholder 5"/>
          <p:cNvSpPr>
            <a:spLocks noGrp="1"/>
          </p:cNvSpPr>
          <p:nvPr>
            <p:ph type="pic" sz="quarter" idx="17"/>
          </p:nvPr>
        </p:nvSpPr>
        <p:spPr>
          <a:xfrm>
            <a:off x="9075568" y="393160"/>
            <a:ext cx="2793917" cy="1310515"/>
          </a:xfrm>
        </p:spPr>
        <p:txBody>
          <a:bodyPr>
            <a:normAutofit/>
          </a:bodyPr>
          <a:lstStyle>
            <a:lvl1pPr marL="0" indent="0">
              <a:buNone/>
              <a:defRPr sz="2000">
                <a:solidFill>
                  <a:schemeClr val="bg1">
                    <a:lumMod val="65000"/>
                  </a:schemeClr>
                </a:solidFill>
              </a:defRPr>
            </a:lvl1pPr>
          </a:lstStyle>
          <a:p>
            <a:endParaRPr lang="en-US" dirty="0"/>
          </a:p>
        </p:txBody>
      </p:sp>
      <p:sp>
        <p:nvSpPr>
          <p:cNvPr id="20" name="Picture Placeholder 5"/>
          <p:cNvSpPr>
            <a:spLocks noGrp="1"/>
          </p:cNvSpPr>
          <p:nvPr>
            <p:ph type="pic" sz="quarter" idx="18"/>
          </p:nvPr>
        </p:nvSpPr>
        <p:spPr>
          <a:xfrm>
            <a:off x="282203" y="4735487"/>
            <a:ext cx="2793917" cy="1310515"/>
          </a:xfrm>
        </p:spPr>
        <p:txBody>
          <a:bodyPr>
            <a:normAutofit/>
          </a:bodyPr>
          <a:lstStyle>
            <a:lvl1pPr marL="0" indent="0">
              <a:buNone/>
              <a:defRPr sz="2000">
                <a:solidFill>
                  <a:schemeClr val="bg1">
                    <a:lumMod val="65000"/>
                  </a:schemeClr>
                </a:solidFill>
              </a:defRPr>
            </a:lvl1pPr>
          </a:lstStyle>
          <a:p>
            <a:endParaRPr lang="en-US" dirty="0"/>
          </a:p>
        </p:txBody>
      </p:sp>
      <p:sp>
        <p:nvSpPr>
          <p:cNvPr id="21" name="Picture Placeholder 5"/>
          <p:cNvSpPr>
            <a:spLocks noGrp="1"/>
          </p:cNvSpPr>
          <p:nvPr>
            <p:ph type="pic" sz="quarter" idx="19"/>
          </p:nvPr>
        </p:nvSpPr>
        <p:spPr>
          <a:xfrm>
            <a:off x="3229827" y="4735487"/>
            <a:ext cx="2793917" cy="1310515"/>
          </a:xfrm>
        </p:spPr>
        <p:txBody>
          <a:bodyPr>
            <a:normAutofit/>
          </a:bodyPr>
          <a:lstStyle>
            <a:lvl1pPr marL="0" indent="0">
              <a:buNone/>
              <a:defRPr sz="2000">
                <a:solidFill>
                  <a:schemeClr val="bg1">
                    <a:lumMod val="65000"/>
                  </a:schemeClr>
                </a:solidFill>
              </a:defRPr>
            </a:lvl1pPr>
          </a:lstStyle>
          <a:p>
            <a:endParaRPr lang="en-US" dirty="0"/>
          </a:p>
        </p:txBody>
      </p:sp>
      <p:sp>
        <p:nvSpPr>
          <p:cNvPr id="22" name="Picture Placeholder 5"/>
          <p:cNvSpPr>
            <a:spLocks noGrp="1"/>
          </p:cNvSpPr>
          <p:nvPr>
            <p:ph type="pic" sz="quarter" idx="20"/>
          </p:nvPr>
        </p:nvSpPr>
        <p:spPr>
          <a:xfrm>
            <a:off x="6127944" y="4735487"/>
            <a:ext cx="2793917" cy="1310515"/>
          </a:xfrm>
        </p:spPr>
        <p:txBody>
          <a:bodyPr>
            <a:normAutofit/>
          </a:bodyPr>
          <a:lstStyle>
            <a:lvl1pPr marL="0" indent="0">
              <a:buNone/>
              <a:defRPr sz="2000">
                <a:solidFill>
                  <a:schemeClr val="bg1">
                    <a:lumMod val="65000"/>
                  </a:schemeClr>
                </a:solidFill>
              </a:defRPr>
            </a:lvl1pPr>
          </a:lstStyle>
          <a:p>
            <a:endParaRPr lang="en-US" dirty="0"/>
          </a:p>
        </p:txBody>
      </p:sp>
      <p:sp>
        <p:nvSpPr>
          <p:cNvPr id="23" name="Picture Placeholder 5"/>
          <p:cNvSpPr>
            <a:spLocks noGrp="1"/>
          </p:cNvSpPr>
          <p:nvPr>
            <p:ph type="pic" sz="quarter" idx="21"/>
          </p:nvPr>
        </p:nvSpPr>
        <p:spPr>
          <a:xfrm>
            <a:off x="9075568" y="4735487"/>
            <a:ext cx="2793917" cy="1310515"/>
          </a:xfrm>
        </p:spPr>
        <p:txBody>
          <a:bodyPr>
            <a:normAutofit/>
          </a:bodyPr>
          <a:lstStyle>
            <a:lvl1pPr marL="0" indent="0">
              <a:buNone/>
              <a:defRPr sz="2000">
                <a:solidFill>
                  <a:schemeClr val="bg1">
                    <a:lumMod val="65000"/>
                  </a:schemeClr>
                </a:solidFill>
              </a:defRPr>
            </a:lvl1pPr>
          </a:lstStyle>
          <a:p>
            <a:endParaRPr lang="en-US"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6_Title Only">
    <p:spTree>
      <p:nvGrpSpPr>
        <p:cNvPr id="1" name=""/>
        <p:cNvGrpSpPr/>
        <p:nvPr/>
      </p:nvGrpSpPr>
      <p:grpSpPr>
        <a:xfrm>
          <a:off x="0" y="0"/>
          <a:ext cx="0" cy="0"/>
          <a:chOff x="0" y="0"/>
          <a:chExt cx="0" cy="0"/>
        </a:xfrm>
      </p:grpSpPr>
      <p:sp>
        <p:nvSpPr>
          <p:cNvPr id="9" name="Picture Placeholder 5"/>
          <p:cNvSpPr>
            <a:spLocks noGrp="1"/>
          </p:cNvSpPr>
          <p:nvPr>
            <p:ph type="pic" sz="quarter" idx="14"/>
          </p:nvPr>
        </p:nvSpPr>
        <p:spPr>
          <a:xfrm>
            <a:off x="-1" y="1921411"/>
            <a:ext cx="4034971" cy="2066087"/>
          </a:xfrm>
        </p:spPr>
        <p:txBody>
          <a:bodyPr>
            <a:normAutofit/>
          </a:bodyPr>
          <a:lstStyle>
            <a:lvl1pPr marL="0" indent="0">
              <a:buNone/>
              <a:defRPr sz="2000">
                <a:solidFill>
                  <a:schemeClr val="bg1">
                    <a:lumMod val="65000"/>
                  </a:schemeClr>
                </a:solidFill>
              </a:defRPr>
            </a:lvl1pPr>
          </a:lstStyle>
          <a:p>
            <a:endParaRPr lang="en-US" dirty="0"/>
          </a:p>
        </p:txBody>
      </p:sp>
      <p:sp>
        <p:nvSpPr>
          <p:cNvPr id="10" name="Picture Placeholder 5"/>
          <p:cNvSpPr>
            <a:spLocks noGrp="1"/>
          </p:cNvSpPr>
          <p:nvPr>
            <p:ph type="pic" sz="quarter" idx="15"/>
          </p:nvPr>
        </p:nvSpPr>
        <p:spPr>
          <a:xfrm>
            <a:off x="8157026" y="3987497"/>
            <a:ext cx="4034971" cy="2066087"/>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
        <p:nvSpPr>
          <p:cNvPr id="7" name="Rectangle 6"/>
          <p:cNvSpPr/>
          <p:nvPr userDrawn="1"/>
        </p:nvSpPr>
        <p:spPr>
          <a:xfrm>
            <a:off x="4034971" y="1921411"/>
            <a:ext cx="3165929" cy="20699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5257800" y="3987498"/>
            <a:ext cx="2899229" cy="21085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4" name="Rectangle 3"/>
          <p:cNvSpPr/>
          <p:nvPr userDrawn="1"/>
        </p:nvSpPr>
        <p:spPr>
          <a:xfrm flipH="1">
            <a:off x="1081913" y="1871437"/>
            <a:ext cx="4065578" cy="44558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userDrawn="1"/>
        </p:nvSpPr>
        <p:spPr>
          <a:xfrm>
            <a:off x="5116885" y="1871437"/>
            <a:ext cx="2061029" cy="22769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5"/>
          <p:cNvSpPr>
            <a:spLocks noGrp="1"/>
          </p:cNvSpPr>
          <p:nvPr>
            <p:ph type="pic" sz="quarter" idx="14"/>
          </p:nvPr>
        </p:nvSpPr>
        <p:spPr>
          <a:xfrm>
            <a:off x="1180573" y="1979568"/>
            <a:ext cx="3868258" cy="4239620"/>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4_Title Only">
    <p:spTree>
      <p:nvGrpSpPr>
        <p:cNvPr id="1" name=""/>
        <p:cNvGrpSpPr/>
        <p:nvPr/>
      </p:nvGrpSpPr>
      <p:grpSpPr>
        <a:xfrm>
          <a:off x="0" y="0"/>
          <a:ext cx="0" cy="0"/>
          <a:chOff x="0" y="0"/>
          <a:chExt cx="0" cy="0"/>
        </a:xfrm>
      </p:grpSpPr>
      <p:sp>
        <p:nvSpPr>
          <p:cNvPr id="7" name="Picture Placeholder 5"/>
          <p:cNvSpPr>
            <a:spLocks noGrp="1"/>
          </p:cNvSpPr>
          <p:nvPr>
            <p:ph type="pic" sz="quarter" idx="14"/>
          </p:nvPr>
        </p:nvSpPr>
        <p:spPr>
          <a:xfrm>
            <a:off x="0" y="0"/>
            <a:ext cx="12192000" cy="3835400"/>
          </a:xfrm>
        </p:spPr>
        <p:txBody>
          <a:bodyPr>
            <a:normAutofit/>
          </a:bodyPr>
          <a:lstStyle>
            <a:lvl1pPr marL="0" indent="0">
              <a:buNone/>
              <a:defRPr sz="2000">
                <a:solidFill>
                  <a:schemeClr val="bg1">
                    <a:lumMod val="65000"/>
                  </a:schemeClr>
                </a:solidFill>
              </a:defRPr>
            </a:lvl1pPr>
          </a:lstStyle>
          <a:p>
            <a:endParaRPr lang="en-US" dirty="0"/>
          </a:p>
        </p:txBody>
      </p:sp>
      <p:sp>
        <p:nvSpPr>
          <p:cNvPr id="8" name="Picture Placeholder 5"/>
          <p:cNvSpPr>
            <a:spLocks noGrp="1"/>
          </p:cNvSpPr>
          <p:nvPr>
            <p:ph type="pic" sz="quarter" idx="15"/>
          </p:nvPr>
        </p:nvSpPr>
        <p:spPr>
          <a:xfrm>
            <a:off x="1059538" y="2303889"/>
            <a:ext cx="2535412" cy="2484996"/>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11" name="Picture Placeholder 5"/>
          <p:cNvSpPr>
            <a:spLocks noGrp="1"/>
          </p:cNvSpPr>
          <p:nvPr>
            <p:ph type="pic" sz="quarter" idx="14"/>
          </p:nvPr>
        </p:nvSpPr>
        <p:spPr>
          <a:xfrm>
            <a:off x="4319040" y="0"/>
            <a:ext cx="2533783" cy="3166127"/>
          </a:xfrm>
        </p:spPr>
        <p:txBody>
          <a:bodyPr>
            <a:normAutofit/>
          </a:bodyPr>
          <a:lstStyle>
            <a:lvl1pPr marL="0" indent="0">
              <a:buNone/>
              <a:defRPr sz="2000">
                <a:solidFill>
                  <a:schemeClr val="bg1">
                    <a:lumMod val="65000"/>
                  </a:schemeClr>
                </a:solidFill>
              </a:defRPr>
            </a:lvl1pPr>
          </a:lstStyle>
          <a:p>
            <a:endParaRPr lang="en-US" dirty="0"/>
          </a:p>
        </p:txBody>
      </p:sp>
      <p:sp>
        <p:nvSpPr>
          <p:cNvPr id="12" name="Picture Placeholder 5"/>
          <p:cNvSpPr>
            <a:spLocks noGrp="1"/>
          </p:cNvSpPr>
          <p:nvPr>
            <p:ph type="pic" sz="quarter" idx="15"/>
          </p:nvPr>
        </p:nvSpPr>
        <p:spPr>
          <a:xfrm>
            <a:off x="9457097" y="0"/>
            <a:ext cx="2604274" cy="3166127"/>
          </a:xfrm>
        </p:spPr>
        <p:txBody>
          <a:bodyPr>
            <a:normAutofit/>
          </a:bodyPr>
          <a:lstStyle>
            <a:lvl1pPr marL="0" indent="0">
              <a:buNone/>
              <a:defRPr sz="2000">
                <a:solidFill>
                  <a:schemeClr val="bg1">
                    <a:lumMod val="65000"/>
                  </a:schemeClr>
                </a:solidFill>
              </a:defRPr>
            </a:lvl1pPr>
          </a:lstStyle>
          <a:p>
            <a:endParaRPr lang="en-US" dirty="0"/>
          </a:p>
        </p:txBody>
      </p:sp>
      <p:sp>
        <p:nvSpPr>
          <p:cNvPr id="13" name="Picture Placeholder 5"/>
          <p:cNvSpPr>
            <a:spLocks noGrp="1"/>
          </p:cNvSpPr>
          <p:nvPr>
            <p:ph type="pic" sz="quarter" idx="16"/>
          </p:nvPr>
        </p:nvSpPr>
        <p:spPr>
          <a:xfrm>
            <a:off x="6923314" y="3222916"/>
            <a:ext cx="2533783" cy="1405691"/>
          </a:xfrm>
        </p:spPr>
        <p:txBody>
          <a:bodyPr>
            <a:normAutofit/>
          </a:bodyPr>
          <a:lstStyle>
            <a:lvl1pPr marL="0" indent="0">
              <a:buNone/>
              <a:defRPr sz="2000">
                <a:solidFill>
                  <a:schemeClr val="bg1">
                    <a:lumMod val="65000"/>
                  </a:schemeClr>
                </a:solidFill>
              </a:defRPr>
            </a:lvl1pPr>
          </a:lstStyle>
          <a:p>
            <a:endParaRPr lang="en-US" dirty="0"/>
          </a:p>
        </p:txBody>
      </p:sp>
      <p:sp>
        <p:nvSpPr>
          <p:cNvPr id="14" name="Picture Placeholder 5"/>
          <p:cNvSpPr>
            <a:spLocks noGrp="1"/>
          </p:cNvSpPr>
          <p:nvPr>
            <p:ph type="pic" sz="quarter" idx="17"/>
          </p:nvPr>
        </p:nvSpPr>
        <p:spPr>
          <a:xfrm>
            <a:off x="9536840" y="3222916"/>
            <a:ext cx="2533783" cy="1405691"/>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
        <p:nvSpPr>
          <p:cNvPr id="4" name="Rectangle 3"/>
          <p:cNvSpPr/>
          <p:nvPr userDrawn="1"/>
        </p:nvSpPr>
        <p:spPr>
          <a:xfrm>
            <a:off x="6923314" y="0"/>
            <a:ext cx="2533783" cy="31661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4319040" y="3226978"/>
            <a:ext cx="2533783" cy="1405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6" name="Picture Placeholder 5"/>
          <p:cNvSpPr>
            <a:spLocks noGrp="1"/>
          </p:cNvSpPr>
          <p:nvPr>
            <p:ph type="pic" sz="quarter" idx="14"/>
          </p:nvPr>
        </p:nvSpPr>
        <p:spPr>
          <a:xfrm>
            <a:off x="0" y="0"/>
            <a:ext cx="4405918" cy="6858000"/>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7_Title Only">
    <p:spTree>
      <p:nvGrpSpPr>
        <p:cNvPr id="1" name=""/>
        <p:cNvGrpSpPr/>
        <p:nvPr/>
      </p:nvGrpSpPr>
      <p:grpSpPr>
        <a:xfrm>
          <a:off x="0" y="0"/>
          <a:ext cx="0" cy="0"/>
          <a:chOff x="0" y="0"/>
          <a:chExt cx="0" cy="0"/>
        </a:xfrm>
      </p:grpSpPr>
      <p:sp>
        <p:nvSpPr>
          <p:cNvPr id="6" name="Picture Placeholder 5"/>
          <p:cNvSpPr>
            <a:spLocks noGrp="1"/>
          </p:cNvSpPr>
          <p:nvPr>
            <p:ph type="pic" sz="quarter" idx="14"/>
          </p:nvPr>
        </p:nvSpPr>
        <p:spPr>
          <a:xfrm>
            <a:off x="0" y="0"/>
            <a:ext cx="4405918" cy="6858000"/>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7" name="Picture Placeholder 5"/>
          <p:cNvSpPr>
            <a:spLocks noGrp="1"/>
          </p:cNvSpPr>
          <p:nvPr>
            <p:ph type="pic" sz="quarter" idx="13"/>
          </p:nvPr>
        </p:nvSpPr>
        <p:spPr>
          <a:xfrm>
            <a:off x="0" y="0"/>
            <a:ext cx="12191999" cy="6858000"/>
          </a:xfrm>
        </p:spPr>
        <p:txBody>
          <a:bodyPr>
            <a:normAutofit/>
          </a:bodyPr>
          <a:lstStyle>
            <a:lvl1pPr marL="0" indent="0">
              <a:buNone/>
              <a:defRPr sz="2000">
                <a:solidFill>
                  <a:schemeClr val="bg1">
                    <a:lumMod val="65000"/>
                  </a:schemeClr>
                </a:solidFill>
              </a:defRPr>
            </a:lvl1pPr>
          </a:lstStyle>
          <a:p>
            <a:endParaRPr lang="en-US" dirty="0"/>
          </a:p>
        </p:txBody>
      </p:sp>
      <p:sp>
        <p:nvSpPr>
          <p:cNvPr id="8" name="Picture Placeholder 5"/>
          <p:cNvSpPr>
            <a:spLocks noGrp="1"/>
          </p:cNvSpPr>
          <p:nvPr>
            <p:ph type="pic" sz="quarter" idx="14"/>
          </p:nvPr>
        </p:nvSpPr>
        <p:spPr>
          <a:xfrm>
            <a:off x="1364002" y="2284289"/>
            <a:ext cx="2816463" cy="2766170"/>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Picture Placeholder 5"/>
          <p:cNvSpPr>
            <a:spLocks noGrp="1"/>
          </p:cNvSpPr>
          <p:nvPr>
            <p:ph type="pic" sz="quarter" idx="23"/>
          </p:nvPr>
        </p:nvSpPr>
        <p:spPr>
          <a:xfrm>
            <a:off x="0" y="0"/>
            <a:ext cx="12192000" cy="4559092"/>
          </a:xfrm>
        </p:spPr>
        <p:txBody>
          <a:bodyPr>
            <a:normAutofit/>
          </a:bodyPr>
          <a:lstStyle>
            <a:lvl1pPr marL="0" indent="0">
              <a:buNone/>
              <a:defRPr sz="2000">
                <a:solidFill>
                  <a:schemeClr val="bg1">
                    <a:lumMod val="65000"/>
                  </a:schemeClr>
                </a:solidFill>
              </a:defRPr>
            </a:lvl1pPr>
          </a:lstStyle>
          <a:p>
            <a:endParaRPr lang="en-US" dirty="0"/>
          </a:p>
        </p:txBody>
      </p:sp>
      <p:sp>
        <p:nvSpPr>
          <p:cNvPr id="10" name="Picture Placeholder 9"/>
          <p:cNvSpPr>
            <a:spLocks noGrp="1"/>
          </p:cNvSpPr>
          <p:nvPr>
            <p:ph type="pic" sz="quarter" idx="24"/>
          </p:nvPr>
        </p:nvSpPr>
        <p:spPr>
          <a:xfrm>
            <a:off x="5599265" y="660543"/>
            <a:ext cx="4572440" cy="3581745"/>
          </a:xfrm>
          <a:custGeom>
            <a:avLst/>
            <a:gdLst>
              <a:gd name="connsiteX0" fmla="*/ 4572440 w 4572440"/>
              <a:gd name="connsiteY0" fmla="*/ 0 h 3581745"/>
              <a:gd name="connsiteX1" fmla="*/ 4369221 w 4572440"/>
              <a:gd name="connsiteY1" fmla="*/ 3175306 h 3581745"/>
              <a:gd name="connsiteX2" fmla="*/ 0 w 4572440"/>
              <a:gd name="connsiteY2" fmla="*/ 3581745 h 3581745"/>
              <a:gd name="connsiteX3" fmla="*/ 292128 w 4572440"/>
              <a:gd name="connsiteY3" fmla="*/ 1054202 h 3581745"/>
            </a:gdLst>
            <a:ahLst/>
            <a:cxnLst>
              <a:cxn ang="0">
                <a:pos x="connsiteX0" y="connsiteY0"/>
              </a:cxn>
              <a:cxn ang="0">
                <a:pos x="connsiteX1" y="connsiteY1"/>
              </a:cxn>
              <a:cxn ang="0">
                <a:pos x="connsiteX2" y="connsiteY2"/>
              </a:cxn>
              <a:cxn ang="0">
                <a:pos x="connsiteX3" y="connsiteY3"/>
              </a:cxn>
            </a:cxnLst>
            <a:rect l="l" t="t" r="r" b="b"/>
            <a:pathLst>
              <a:path w="4572440" h="3581745">
                <a:moveTo>
                  <a:pt x="4572440" y="0"/>
                </a:moveTo>
                <a:lnTo>
                  <a:pt x="4369221" y="3175306"/>
                </a:lnTo>
                <a:lnTo>
                  <a:pt x="0" y="3581745"/>
                </a:lnTo>
                <a:lnTo>
                  <a:pt x="292128" y="1054202"/>
                </a:lnTo>
                <a:close/>
              </a:path>
            </a:pathLst>
          </a:custGeom>
          <a:solidFill>
            <a:schemeClr val="bg1">
              <a:lumMod val="95000"/>
            </a:schemeClr>
          </a:solidFill>
        </p:spPr>
        <p:txBody>
          <a:bodyPr wrap="square">
            <a:no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6" name="Slide Number Placeholder 5"/>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91999" cy="6858000"/>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3835400" y="2"/>
            <a:ext cx="8356600" cy="5965149"/>
          </a:xfrm>
          <a:custGeom>
            <a:avLst/>
            <a:gdLst>
              <a:gd name="connsiteX0" fmla="*/ 0 w 8356600"/>
              <a:gd name="connsiteY0" fmla="*/ 0 h 5965149"/>
              <a:gd name="connsiteX1" fmla="*/ 8356600 w 8356600"/>
              <a:gd name="connsiteY1" fmla="*/ 0 h 5965149"/>
              <a:gd name="connsiteX2" fmla="*/ 8356600 w 8356600"/>
              <a:gd name="connsiteY2" fmla="*/ 5965149 h 5965149"/>
            </a:gdLst>
            <a:ahLst/>
            <a:cxnLst>
              <a:cxn ang="0">
                <a:pos x="connsiteX0" y="connsiteY0"/>
              </a:cxn>
              <a:cxn ang="0">
                <a:pos x="connsiteX1" y="connsiteY1"/>
              </a:cxn>
              <a:cxn ang="0">
                <a:pos x="connsiteX2" y="connsiteY2"/>
              </a:cxn>
            </a:cxnLst>
            <a:rect l="l" t="t" r="r" b="b"/>
            <a:pathLst>
              <a:path w="8356600" h="5965149">
                <a:moveTo>
                  <a:pt x="0" y="0"/>
                </a:moveTo>
                <a:lnTo>
                  <a:pt x="8356600" y="0"/>
                </a:lnTo>
                <a:lnTo>
                  <a:pt x="8356600" y="5965149"/>
                </a:lnTo>
                <a:close/>
              </a:path>
            </a:pathLst>
          </a:custGeom>
        </p:spPr>
        <p:txBody>
          <a:bodyPr wrap="square">
            <a:no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3526970"/>
            <a:ext cx="12192000" cy="3331029"/>
          </a:xfrm>
        </p:spPr>
        <p:txBody>
          <a:bodyPr>
            <a:normAutofit/>
          </a:bodyPr>
          <a:lstStyle>
            <a:lvl1pPr marL="0" indent="0">
              <a:buNone/>
              <a:defRPr sz="20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92000" cy="3975100"/>
          </a:xfrm>
        </p:spPr>
        <p:txBody>
          <a:bodyPr>
            <a:normAutofit/>
          </a:bodyPr>
          <a:lstStyle>
            <a:lvl1pPr marL="0" indent="0">
              <a:buNone/>
              <a:defRPr sz="20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6" name="Picture Placeholder 11"/>
          <p:cNvSpPr>
            <a:spLocks noGrp="1"/>
          </p:cNvSpPr>
          <p:nvPr>
            <p:ph type="pic" sz="quarter" idx="14"/>
          </p:nvPr>
        </p:nvSpPr>
        <p:spPr>
          <a:xfrm>
            <a:off x="3964403" y="1680062"/>
            <a:ext cx="3098011" cy="3128986"/>
          </a:xfrm>
          <a:prstGeom prst="ellipse">
            <a:avLst/>
          </a:prstGeom>
          <a:solidFill>
            <a:schemeClr val="bg1">
              <a:lumMod val="85000"/>
            </a:schemeClr>
          </a:solidFill>
          <a:ln w="38100">
            <a:noFill/>
          </a:ln>
        </p:spPr>
        <p:txBody>
          <a:bodyPr vert="horz" lIns="91440" tIns="45720" rIns="91440" bIns="45720" rtlCol="0">
            <a:normAutofit/>
          </a:bodyPr>
          <a:lstStyle>
            <a:lvl1pPr>
              <a:defRPr lang="en-US" sz="2000">
                <a:solidFill>
                  <a:schemeClr val="bg1">
                    <a:lumMod val="65000"/>
                  </a:schemeClr>
                </a:solidFill>
              </a:defRPr>
            </a:lvl1pPr>
          </a:lstStyle>
          <a:p>
            <a:pPr marL="0" lvl="0" indent="0">
              <a:buNone/>
            </a:pPr>
            <a:endParaRPr lang="en-US"/>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1" y="1778000"/>
            <a:ext cx="4572000" cy="5080000"/>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8229600" cy="6007100"/>
          </a:xfrm>
        </p:spPr>
        <p:txBody>
          <a:bodyPr>
            <a:normAutofit/>
          </a:bodyPr>
          <a:lstStyle>
            <a:lvl1pPr marL="0" indent="0">
              <a:buNone/>
              <a:defRPr sz="20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showMasterSp="0" userDrawn="1">
  <p:cSld name="66_Title Only">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5695949" y="0"/>
            <a:ext cx="5654675" cy="6858000"/>
          </a:xfrm>
        </p:spPr>
        <p:txBody>
          <a:bodyPr>
            <a:normAutofit/>
          </a:bodyPr>
          <a:lstStyle>
            <a:lvl1pPr marL="0" indent="0">
              <a:buNone/>
              <a:defRPr sz="20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958692" y="4482790"/>
            <a:ext cx="5919451" cy="1353624"/>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grpSp>
        <p:nvGrpSpPr>
          <p:cNvPr id="4" name="Group 3"/>
          <p:cNvGrpSpPr/>
          <p:nvPr userDrawn="1"/>
        </p:nvGrpSpPr>
        <p:grpSpPr>
          <a:xfrm>
            <a:off x="-1830634" y="-1009718"/>
            <a:ext cx="8467331" cy="10016671"/>
            <a:chOff x="-1830634" y="-1009718"/>
            <a:chExt cx="8467331" cy="10016671"/>
          </a:xfrm>
        </p:grpSpPr>
        <p:pic>
          <p:nvPicPr>
            <p:cNvPr id="6" name="Picture 5"/>
            <p:cNvPicPr>
              <a:picLocks noChangeAspect="1"/>
            </p:cNvPicPr>
            <p:nvPr/>
          </p:nvPicPr>
          <p:blipFill>
            <a:blip r:embed="rId2"/>
            <a:stretch>
              <a:fillRect/>
            </a:stretch>
          </p:blipFill>
          <p:spPr>
            <a:xfrm>
              <a:off x="-1830634" y="-1009718"/>
              <a:ext cx="8467331" cy="10016671"/>
            </a:xfrm>
            <a:prstGeom prst="rect">
              <a:avLst/>
            </a:prstGeom>
            <a:effectLst/>
          </p:spPr>
        </p:pic>
        <p:sp>
          <p:nvSpPr>
            <p:cNvPr id="7" name="Rectangle 6"/>
            <p:cNvSpPr/>
            <p:nvPr/>
          </p:nvSpPr>
          <p:spPr>
            <a:xfrm>
              <a:off x="-94085" y="-72303"/>
              <a:ext cx="6116698" cy="81513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7"/>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4000"/>
                      </a14:imgEffect>
                    </a14:imgLayer>
                  </a14:imgProps>
                </a:ext>
              </a:extLst>
            </a:blip>
            <a:srcRect/>
            <a:stretch>
              <a:fillRect/>
            </a:stretch>
          </p:blipFill>
          <p:spPr>
            <a:xfrm>
              <a:off x="-94085" y="-72304"/>
              <a:ext cx="6116698" cy="447290"/>
            </a:xfrm>
            <a:prstGeom prst="rect">
              <a:avLst/>
            </a:prstGeom>
          </p:spPr>
        </p:pic>
      </p:grpSp>
      <p:sp>
        <p:nvSpPr>
          <p:cNvPr id="11" name="Picture Placeholder 5"/>
          <p:cNvSpPr>
            <a:spLocks noGrp="1"/>
          </p:cNvSpPr>
          <p:nvPr>
            <p:ph type="pic" sz="quarter" idx="13"/>
          </p:nvPr>
        </p:nvSpPr>
        <p:spPr>
          <a:xfrm>
            <a:off x="-94085" y="374987"/>
            <a:ext cx="6116698" cy="2810832"/>
          </a:xfrm>
        </p:spPr>
        <p:txBody>
          <a:bodyPr>
            <a:normAutofit/>
          </a:bodyPr>
          <a:lstStyle>
            <a:lvl1pPr marL="0" indent="0">
              <a:buNone/>
              <a:defRPr sz="2000">
                <a:solidFill>
                  <a:schemeClr val="bg1">
                    <a:lumMod val="65000"/>
                  </a:schemeClr>
                </a:solidFill>
              </a:defRPr>
            </a:lvl1pPr>
          </a:lstStyle>
          <a:p>
            <a:endParaRPr lang="en-US"/>
          </a:p>
        </p:txBody>
      </p:sp>
      <p:sp>
        <p:nvSpPr>
          <p:cNvPr id="2" name="Title 1"/>
          <p:cNvSpPr>
            <a:spLocks noGrp="1"/>
          </p:cNvSpPr>
          <p:nvPr>
            <p:ph type="title"/>
          </p:nvPr>
        </p:nvSpPr>
        <p:spPr>
          <a:xfrm>
            <a:off x="6516914" y="365125"/>
            <a:ext cx="4836886" cy="1325563"/>
          </a:xfrm>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
        <p:nvSpPr>
          <p:cNvPr id="12" name="Picture Placeholder 11"/>
          <p:cNvSpPr>
            <a:spLocks noGrp="1"/>
          </p:cNvSpPr>
          <p:nvPr>
            <p:ph type="pic" sz="quarter" idx="14"/>
          </p:nvPr>
        </p:nvSpPr>
        <p:spPr>
          <a:xfrm>
            <a:off x="4152801" y="3762518"/>
            <a:ext cx="1554580" cy="1554578"/>
          </a:xfrm>
          <a:prstGeom prst="ellipse">
            <a:avLst/>
          </a:prstGeom>
          <a:solidFill>
            <a:schemeClr val="bg1">
              <a:lumMod val="85000"/>
            </a:schemeClr>
          </a:solidFill>
          <a:ln w="38100">
            <a:solidFill>
              <a:schemeClr val="accent1"/>
            </a:solidFill>
          </a:ln>
        </p:spPr>
        <p:txBody>
          <a:bodyPr vert="horz" lIns="91440" tIns="45720" rIns="91440" bIns="45720" rtlCol="0">
            <a:normAutofit/>
          </a:bodyPr>
          <a:lstStyle>
            <a:lvl1pPr>
              <a:defRPr lang="en-US" sz="2000">
                <a:solidFill>
                  <a:schemeClr val="bg1">
                    <a:lumMod val="65000"/>
                  </a:schemeClr>
                </a:solidFill>
              </a:defRPr>
            </a:lvl1pPr>
          </a:lstStyle>
          <a:p>
            <a:pPr marL="0" lvl="0" indent="0">
              <a:buNone/>
            </a:pP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dirty="0"/>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endParaRPr lang="en-US"/>
          </a:p>
        </p:txBody>
      </p:sp>
      <p:sp>
        <p:nvSpPr>
          <p:cNvPr id="6" name="Slide Number Placeholder 5"/>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6" name="Picture Placeholder 5"/>
          <p:cNvSpPr>
            <a:spLocks noGrp="1"/>
          </p:cNvSpPr>
          <p:nvPr>
            <p:ph type="pic" sz="quarter" idx="14"/>
          </p:nvPr>
        </p:nvSpPr>
        <p:spPr>
          <a:xfrm>
            <a:off x="1967794" y="1"/>
            <a:ext cx="10224206" cy="3236686"/>
          </a:xfrm>
        </p:spPr>
        <p:txBody>
          <a:bodyPr>
            <a:normAutofit/>
          </a:bodyPr>
          <a:lstStyle>
            <a:lvl1pPr marL="0" indent="0">
              <a:buNone/>
              <a:defRPr sz="2000">
                <a:solidFill>
                  <a:schemeClr val="bg1">
                    <a:lumMod val="65000"/>
                  </a:schemeClr>
                </a:solidFill>
              </a:defRPr>
            </a:lvl1pPr>
          </a:lstStyle>
          <a:p>
            <a:endParaRPr lang="en-US"/>
          </a:p>
        </p:txBody>
      </p:sp>
      <p:sp>
        <p:nvSpPr>
          <p:cNvPr id="2" name="Title 1"/>
          <p:cNvSpPr>
            <a:spLocks noGrp="1"/>
          </p:cNvSpPr>
          <p:nvPr>
            <p:ph type="title"/>
          </p:nvPr>
        </p:nvSpPr>
        <p:spPr>
          <a:xfrm>
            <a:off x="1967794" y="3236686"/>
            <a:ext cx="10224206" cy="1325563"/>
          </a:xfrm>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7" name="Content Placeholder 6"/>
          <p:cNvSpPr>
            <a:spLocks noGrp="1"/>
          </p:cNvSpPr>
          <p:nvPr>
            <p:ph idx="1"/>
          </p:nvPr>
        </p:nvSpPr>
        <p:spPr>
          <a:xfrm>
            <a:off x="2" y="1936998"/>
            <a:ext cx="6400677" cy="4921002"/>
          </a:xfrm>
          <a:custGeom>
            <a:avLst/>
            <a:gdLst>
              <a:gd name="connsiteX0" fmla="*/ 0 w 6400677"/>
              <a:gd name="connsiteY0" fmla="*/ 0 h 4921002"/>
              <a:gd name="connsiteX1" fmla="*/ 2156744 w 6400677"/>
              <a:gd name="connsiteY1" fmla="*/ 0 h 4921002"/>
              <a:gd name="connsiteX2" fmla="*/ 4174195 w 6400677"/>
              <a:gd name="connsiteY2" fmla="*/ 0 h 4921002"/>
              <a:gd name="connsiteX3" fmla="*/ 4500414 w 6400677"/>
              <a:gd name="connsiteY3" fmla="*/ 0 h 4921002"/>
              <a:gd name="connsiteX4" fmla="*/ 6400677 w 6400677"/>
              <a:gd name="connsiteY4" fmla="*/ 4921002 h 4921002"/>
              <a:gd name="connsiteX5" fmla="*/ 4174195 w 6400677"/>
              <a:gd name="connsiteY5" fmla="*/ 4921002 h 4921002"/>
              <a:gd name="connsiteX6" fmla="*/ 4057008 w 6400677"/>
              <a:gd name="connsiteY6" fmla="*/ 4921002 h 4921002"/>
              <a:gd name="connsiteX7" fmla="*/ 0 w 6400677"/>
              <a:gd name="connsiteY7" fmla="*/ 4921002 h 4921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00677" h="4921002">
                <a:moveTo>
                  <a:pt x="0" y="0"/>
                </a:moveTo>
                <a:lnTo>
                  <a:pt x="2156744" y="0"/>
                </a:lnTo>
                <a:lnTo>
                  <a:pt x="4174195" y="0"/>
                </a:lnTo>
                <a:lnTo>
                  <a:pt x="4500414" y="0"/>
                </a:lnTo>
                <a:lnTo>
                  <a:pt x="6400677" y="4921002"/>
                </a:lnTo>
                <a:lnTo>
                  <a:pt x="4174195" y="4921002"/>
                </a:lnTo>
                <a:lnTo>
                  <a:pt x="4057008" y="4921002"/>
                </a:lnTo>
                <a:lnTo>
                  <a:pt x="0" y="4921002"/>
                </a:lnTo>
                <a:close/>
              </a:path>
            </a:pathLst>
          </a:custGeom>
        </p:spPr>
        <p:txBody>
          <a:bodyPr wrap="square">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showMasterSp="0">
  <p:cSld name="2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grpSp>
        <p:nvGrpSpPr>
          <p:cNvPr id="3" name="Group 2"/>
          <p:cNvGrpSpPr/>
          <p:nvPr userDrawn="1"/>
        </p:nvGrpSpPr>
        <p:grpSpPr>
          <a:xfrm>
            <a:off x="-110315" y="-141204"/>
            <a:ext cx="1197076" cy="506329"/>
            <a:chOff x="-110315" y="-141204"/>
            <a:chExt cx="1656388" cy="700605"/>
          </a:xfrm>
        </p:grpSpPr>
        <p:sp>
          <p:nvSpPr>
            <p:cNvPr id="5" name="Freeform 4"/>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5"/>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showMasterSp="0">
  <p:cSld name="16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grpSp>
        <p:nvGrpSpPr>
          <p:cNvPr id="3" name="Group 2"/>
          <p:cNvGrpSpPr/>
          <p:nvPr userDrawn="1"/>
        </p:nvGrpSpPr>
        <p:grpSpPr>
          <a:xfrm>
            <a:off x="-110315" y="-141204"/>
            <a:ext cx="1197076" cy="506329"/>
            <a:chOff x="-110315" y="-141204"/>
            <a:chExt cx="1656388" cy="700605"/>
          </a:xfrm>
        </p:grpSpPr>
        <p:sp>
          <p:nvSpPr>
            <p:cNvPr id="5" name="Freeform 4"/>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Freeform 5"/>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showMasterSp="0">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showMasterSp="0" userDrawn="1">
  <p:cSld name="62_Title Only">
    <p:spTree>
      <p:nvGrpSpPr>
        <p:cNvPr id="1" name=""/>
        <p:cNvGrpSpPr/>
        <p:nvPr/>
      </p:nvGrpSpPr>
      <p:grpSpPr>
        <a:xfrm>
          <a:off x="0" y="0"/>
          <a:ext cx="0" cy="0"/>
          <a:chOff x="0" y="0"/>
          <a:chExt cx="0" cy="0"/>
        </a:xfrm>
      </p:grpSpPr>
      <p:sp>
        <p:nvSpPr>
          <p:cNvPr id="12" name="Picture Placeholder 11"/>
          <p:cNvSpPr>
            <a:spLocks noGrp="1"/>
          </p:cNvSpPr>
          <p:nvPr>
            <p:ph type="pic" sz="quarter" idx="14"/>
          </p:nvPr>
        </p:nvSpPr>
        <p:spPr>
          <a:xfrm>
            <a:off x="430943" y="1425158"/>
            <a:ext cx="5261627" cy="4235115"/>
          </a:xfrm>
          <a:custGeom>
            <a:avLst/>
            <a:gdLst>
              <a:gd name="connsiteX0" fmla="*/ 2630814 w 5261627"/>
              <a:gd name="connsiteY0" fmla="*/ 0 h 4235115"/>
              <a:gd name="connsiteX1" fmla="*/ 5261627 w 5261627"/>
              <a:gd name="connsiteY1" fmla="*/ 4235115 h 4235115"/>
              <a:gd name="connsiteX2" fmla="*/ 0 w 5261627"/>
              <a:gd name="connsiteY2" fmla="*/ 4235115 h 4235115"/>
            </a:gdLst>
            <a:ahLst/>
            <a:cxnLst>
              <a:cxn ang="0">
                <a:pos x="connsiteX0" y="connsiteY0"/>
              </a:cxn>
              <a:cxn ang="0">
                <a:pos x="connsiteX1" y="connsiteY1"/>
              </a:cxn>
              <a:cxn ang="0">
                <a:pos x="connsiteX2" y="connsiteY2"/>
              </a:cxn>
            </a:cxnLst>
            <a:rect l="l" t="t" r="r" b="b"/>
            <a:pathLst>
              <a:path w="5261627" h="4235115">
                <a:moveTo>
                  <a:pt x="2630814" y="0"/>
                </a:moveTo>
                <a:lnTo>
                  <a:pt x="5261627" y="4235115"/>
                </a:lnTo>
                <a:lnTo>
                  <a:pt x="0" y="4235115"/>
                </a:lnTo>
                <a:close/>
              </a:path>
            </a:pathLst>
          </a:custGeom>
          <a:solidFill>
            <a:schemeClr val="bg1"/>
          </a:solidFill>
          <a:ln>
            <a:noFill/>
          </a:ln>
          <a:effectLst>
            <a:outerShdw blurRad="152400" dist="317500" dir="5400000" sx="90000" sy="-19000" rotWithShape="0">
              <a:prstClr val="black">
                <a:alpha val="15000"/>
              </a:prstClr>
            </a:outerShdw>
          </a:effectLst>
        </p:spPr>
        <p:txBody>
          <a:bodyPr lIns="0" tIns="0" rIns="0" bIns="0" anchor="ctr"/>
          <a:lstStyle>
            <a:lvl1pPr marL="0" indent="0" algn="ctr">
              <a:buNone/>
              <a:defRPr lang="en-US" sz="2000">
                <a:solidFill>
                  <a:schemeClr val="tx1">
                    <a:lumMod val="75000"/>
                    <a:lumOff val="25000"/>
                  </a:schemeClr>
                </a:solidFill>
                <a:effectLst/>
                <a:latin typeface="+mn-lt"/>
              </a:defRPr>
            </a:lvl1pPr>
          </a:lstStyle>
          <a:p>
            <a:pPr marL="0" lvl="0" defTabSz="291465"/>
            <a:endParaRPr lang="en-US"/>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showMasterSp="0" userDrawn="1">
  <p:cSld name="49_Title Only">
    <p:spTree>
      <p:nvGrpSpPr>
        <p:cNvPr id="1" name=""/>
        <p:cNvGrpSpPr/>
        <p:nvPr/>
      </p:nvGrpSpPr>
      <p:grpSpPr>
        <a:xfrm>
          <a:off x="0" y="0"/>
          <a:ext cx="0" cy="0"/>
          <a:chOff x="0" y="0"/>
          <a:chExt cx="0" cy="0"/>
        </a:xfrm>
      </p:grpSpPr>
      <p:sp>
        <p:nvSpPr>
          <p:cNvPr id="9" name="Picture Placeholder 5"/>
          <p:cNvSpPr>
            <a:spLocks noGrp="1"/>
          </p:cNvSpPr>
          <p:nvPr>
            <p:ph type="pic" sz="quarter" idx="14"/>
          </p:nvPr>
        </p:nvSpPr>
        <p:spPr>
          <a:xfrm>
            <a:off x="0" y="0"/>
            <a:ext cx="12192000" cy="5981700"/>
          </a:xfrm>
        </p:spPr>
        <p:txBody>
          <a:bodyPr>
            <a:normAutofit/>
          </a:bodyPr>
          <a:lstStyle>
            <a:lvl1pPr marL="0" indent="0">
              <a:buNone/>
              <a:defRPr sz="20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showMasterSp="0" userDrawn="1">
  <p:cSld name="38_Title Only">
    <p:spTree>
      <p:nvGrpSpPr>
        <p:cNvPr id="1" name=""/>
        <p:cNvGrpSpPr/>
        <p:nvPr/>
      </p:nvGrpSpPr>
      <p:grpSpPr>
        <a:xfrm>
          <a:off x="0" y="0"/>
          <a:ext cx="0" cy="0"/>
          <a:chOff x="0" y="0"/>
          <a:chExt cx="0" cy="0"/>
        </a:xfrm>
      </p:grpSpPr>
      <p:sp>
        <p:nvSpPr>
          <p:cNvPr id="10" name="Picture Placeholder 5"/>
          <p:cNvSpPr>
            <a:spLocks noGrp="1"/>
          </p:cNvSpPr>
          <p:nvPr>
            <p:ph type="pic" sz="quarter" idx="14"/>
          </p:nvPr>
        </p:nvSpPr>
        <p:spPr>
          <a:xfrm>
            <a:off x="1436541" y="1225643"/>
            <a:ext cx="4454646" cy="2388415"/>
          </a:xfrm>
        </p:spPr>
        <p:txBody>
          <a:bodyPr>
            <a:normAutofit/>
          </a:bodyPr>
          <a:lstStyle>
            <a:lvl1pPr marL="0" indent="0">
              <a:buNone/>
              <a:defRPr sz="2000">
                <a:solidFill>
                  <a:schemeClr val="bg1">
                    <a:lumMod val="65000"/>
                  </a:schemeClr>
                </a:solidFill>
              </a:defRPr>
            </a:lvl1pPr>
          </a:lstStyle>
          <a:p>
            <a:endParaRPr lang="en-US"/>
          </a:p>
        </p:txBody>
      </p:sp>
      <p:sp>
        <p:nvSpPr>
          <p:cNvPr id="2" name="Title 1"/>
          <p:cNvSpPr>
            <a:spLocks noGrp="1"/>
          </p:cNvSpPr>
          <p:nvPr>
            <p:ph type="title"/>
          </p:nvPr>
        </p:nvSpPr>
        <p:spPr>
          <a:xfrm>
            <a:off x="6261100" y="365125"/>
            <a:ext cx="5092700" cy="1325563"/>
          </a:xfrm>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showMasterSp="0" userDrawn="1">
  <p:cSld name="36_Title Only">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stretch>
            <a:fillRect/>
          </a:stretch>
        </p:blipFill>
        <p:spPr>
          <a:xfrm>
            <a:off x="338705" y="550717"/>
            <a:ext cx="4948124" cy="2845625"/>
          </a:xfrm>
          <a:prstGeom prst="rect">
            <a:avLst/>
          </a:prstGeom>
        </p:spPr>
      </p:pic>
      <p:sp>
        <p:nvSpPr>
          <p:cNvPr id="10" name="Picture Placeholder 5"/>
          <p:cNvSpPr>
            <a:spLocks noGrp="1"/>
          </p:cNvSpPr>
          <p:nvPr>
            <p:ph type="pic" sz="quarter" idx="14"/>
          </p:nvPr>
        </p:nvSpPr>
        <p:spPr>
          <a:xfrm>
            <a:off x="974765" y="743292"/>
            <a:ext cx="3711535" cy="2319947"/>
          </a:xfrm>
        </p:spPr>
        <p:txBody>
          <a:bodyPr>
            <a:normAutofit/>
          </a:bodyPr>
          <a:lstStyle>
            <a:lvl1pPr marL="0" indent="0">
              <a:buNone/>
              <a:defRPr sz="2000">
                <a:solidFill>
                  <a:schemeClr val="bg1">
                    <a:lumMod val="65000"/>
                  </a:schemeClr>
                </a:solidFill>
              </a:defRPr>
            </a:lvl1pPr>
          </a:lstStyle>
          <a:p>
            <a:endParaRPr lang="en-US"/>
          </a:p>
        </p:txBody>
      </p:sp>
      <p:sp>
        <p:nvSpPr>
          <p:cNvPr id="2" name="Title 1"/>
          <p:cNvSpPr>
            <a:spLocks noGrp="1"/>
          </p:cNvSpPr>
          <p:nvPr>
            <p:ph type="title"/>
          </p:nvPr>
        </p:nvSpPr>
        <p:spPr>
          <a:xfrm>
            <a:off x="5080000" y="365125"/>
            <a:ext cx="6273800" cy="1325563"/>
          </a:xfrm>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Slide Number Placeholder 6"/>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showMasterSp="0">
  <p:cSld name="23_Title Only">
    <p:spTree>
      <p:nvGrpSpPr>
        <p:cNvPr id="1" name=""/>
        <p:cNvGrpSpPr/>
        <p:nvPr/>
      </p:nvGrpSpPr>
      <p:grpSpPr>
        <a:xfrm>
          <a:off x="0" y="0"/>
          <a:ext cx="0" cy="0"/>
          <a:chOff x="0" y="0"/>
          <a:chExt cx="0" cy="0"/>
        </a:xfrm>
      </p:grpSpPr>
      <p:sp>
        <p:nvSpPr>
          <p:cNvPr id="8" name="Rectangle 7"/>
          <p:cNvSpPr/>
          <p:nvPr userDrawn="1"/>
        </p:nvSpPr>
        <p:spPr>
          <a:xfrm>
            <a:off x="0" y="0"/>
            <a:ext cx="12192000" cy="4241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p:nvPr userDrawn="1"/>
        </p:nvGrpSpPr>
        <p:grpSpPr>
          <a:xfrm>
            <a:off x="0" y="2631793"/>
            <a:ext cx="12191999" cy="1748277"/>
            <a:chOff x="947738" y="3194420"/>
            <a:chExt cx="7421562" cy="602088"/>
          </a:xfrm>
          <a:solidFill>
            <a:schemeClr val="bg1"/>
          </a:solidFill>
        </p:grpSpPr>
        <p:sp>
          <p:nvSpPr>
            <p:cNvPr id="10" name="Freeform 9"/>
            <p:cNvSpPr/>
            <p:nvPr/>
          </p:nvSpPr>
          <p:spPr bwMode="auto">
            <a:xfrm>
              <a:off x="4648200" y="3380583"/>
              <a:ext cx="3721100" cy="415925"/>
            </a:xfrm>
            <a:custGeom>
              <a:avLst/>
              <a:gdLst>
                <a:gd name="T0" fmla="*/ 2273 w 2344"/>
                <a:gd name="T1" fmla="*/ 189 h 262"/>
                <a:gd name="T2" fmla="*/ 2153 w 2344"/>
                <a:gd name="T3" fmla="*/ 189 h 262"/>
                <a:gd name="T4" fmla="*/ 2035 w 2344"/>
                <a:gd name="T5" fmla="*/ 172 h 262"/>
                <a:gd name="T6" fmla="*/ 1998 w 2344"/>
                <a:gd name="T7" fmla="*/ 177 h 262"/>
                <a:gd name="T8" fmla="*/ 1939 w 2344"/>
                <a:gd name="T9" fmla="*/ 165 h 262"/>
                <a:gd name="T10" fmla="*/ 1844 w 2344"/>
                <a:gd name="T11" fmla="*/ 172 h 262"/>
                <a:gd name="T12" fmla="*/ 1797 w 2344"/>
                <a:gd name="T13" fmla="*/ 177 h 262"/>
                <a:gd name="T14" fmla="*/ 1736 w 2344"/>
                <a:gd name="T15" fmla="*/ 165 h 262"/>
                <a:gd name="T16" fmla="*/ 1677 w 2344"/>
                <a:gd name="T17" fmla="*/ 142 h 262"/>
                <a:gd name="T18" fmla="*/ 1630 w 2344"/>
                <a:gd name="T19" fmla="*/ 154 h 262"/>
                <a:gd name="T20" fmla="*/ 1607 w 2344"/>
                <a:gd name="T21" fmla="*/ 154 h 262"/>
                <a:gd name="T22" fmla="*/ 1510 w 2344"/>
                <a:gd name="T23" fmla="*/ 165 h 262"/>
                <a:gd name="T24" fmla="*/ 1439 w 2344"/>
                <a:gd name="T25" fmla="*/ 154 h 262"/>
                <a:gd name="T26" fmla="*/ 1404 w 2344"/>
                <a:gd name="T27" fmla="*/ 165 h 262"/>
                <a:gd name="T28" fmla="*/ 1350 w 2344"/>
                <a:gd name="T29" fmla="*/ 154 h 262"/>
                <a:gd name="T30" fmla="*/ 1298 w 2344"/>
                <a:gd name="T31" fmla="*/ 142 h 262"/>
                <a:gd name="T32" fmla="*/ 1274 w 2344"/>
                <a:gd name="T33" fmla="*/ 165 h 262"/>
                <a:gd name="T34" fmla="*/ 1201 w 2344"/>
                <a:gd name="T35" fmla="*/ 154 h 262"/>
                <a:gd name="T36" fmla="*/ 1142 w 2344"/>
                <a:gd name="T37" fmla="*/ 165 h 262"/>
                <a:gd name="T38" fmla="*/ 1107 w 2344"/>
                <a:gd name="T39" fmla="*/ 165 h 262"/>
                <a:gd name="T40" fmla="*/ 1048 w 2344"/>
                <a:gd name="T41" fmla="*/ 149 h 262"/>
                <a:gd name="T42" fmla="*/ 940 w 2344"/>
                <a:gd name="T43" fmla="*/ 106 h 262"/>
                <a:gd name="T44" fmla="*/ 928 w 2344"/>
                <a:gd name="T45" fmla="*/ 95 h 262"/>
                <a:gd name="T46" fmla="*/ 869 w 2344"/>
                <a:gd name="T47" fmla="*/ 73 h 262"/>
                <a:gd name="T48" fmla="*/ 822 w 2344"/>
                <a:gd name="T49" fmla="*/ 59 h 262"/>
                <a:gd name="T50" fmla="*/ 784 w 2344"/>
                <a:gd name="T51" fmla="*/ 59 h 262"/>
                <a:gd name="T52" fmla="*/ 737 w 2344"/>
                <a:gd name="T53" fmla="*/ 69 h 262"/>
                <a:gd name="T54" fmla="*/ 690 w 2344"/>
                <a:gd name="T55" fmla="*/ 71 h 262"/>
                <a:gd name="T56" fmla="*/ 596 w 2344"/>
                <a:gd name="T57" fmla="*/ 71 h 262"/>
                <a:gd name="T58" fmla="*/ 560 w 2344"/>
                <a:gd name="T59" fmla="*/ 69 h 262"/>
                <a:gd name="T60" fmla="*/ 537 w 2344"/>
                <a:gd name="T61" fmla="*/ 83 h 262"/>
                <a:gd name="T62" fmla="*/ 499 w 2344"/>
                <a:gd name="T63" fmla="*/ 83 h 262"/>
                <a:gd name="T64" fmla="*/ 440 w 2344"/>
                <a:gd name="T65" fmla="*/ 3 h 262"/>
                <a:gd name="T66" fmla="*/ 428 w 2344"/>
                <a:gd name="T67" fmla="*/ 64 h 262"/>
                <a:gd name="T68" fmla="*/ 386 w 2344"/>
                <a:gd name="T69" fmla="*/ 106 h 262"/>
                <a:gd name="T70" fmla="*/ 381 w 2344"/>
                <a:gd name="T71" fmla="*/ 36 h 262"/>
                <a:gd name="T72" fmla="*/ 358 w 2344"/>
                <a:gd name="T73" fmla="*/ 12 h 262"/>
                <a:gd name="T74" fmla="*/ 292 w 2344"/>
                <a:gd name="T75" fmla="*/ 24 h 262"/>
                <a:gd name="T76" fmla="*/ 249 w 2344"/>
                <a:gd name="T77" fmla="*/ 154 h 262"/>
                <a:gd name="T78" fmla="*/ 238 w 2344"/>
                <a:gd name="T79" fmla="*/ 106 h 262"/>
                <a:gd name="T80" fmla="*/ 167 w 2344"/>
                <a:gd name="T81" fmla="*/ 106 h 262"/>
                <a:gd name="T82" fmla="*/ 148 w 2344"/>
                <a:gd name="T83" fmla="*/ 130 h 262"/>
                <a:gd name="T84" fmla="*/ 120 w 2344"/>
                <a:gd name="T85" fmla="*/ 130 h 262"/>
                <a:gd name="T86" fmla="*/ 108 w 2344"/>
                <a:gd name="T87" fmla="*/ 71 h 262"/>
                <a:gd name="T88" fmla="*/ 73 w 2344"/>
                <a:gd name="T89" fmla="*/ 48 h 262"/>
                <a:gd name="T90" fmla="*/ 0 w 2344"/>
                <a:gd name="T91" fmla="*/ 12 h 262"/>
                <a:gd name="T92" fmla="*/ 108 w 2344"/>
                <a:gd name="T93" fmla="*/ 262 h 262"/>
                <a:gd name="T94" fmla="*/ 238 w 2344"/>
                <a:gd name="T95" fmla="*/ 262 h 262"/>
                <a:gd name="T96" fmla="*/ 381 w 2344"/>
                <a:gd name="T97" fmla="*/ 262 h 262"/>
                <a:gd name="T98" fmla="*/ 511 w 2344"/>
                <a:gd name="T99" fmla="*/ 262 h 262"/>
                <a:gd name="T100" fmla="*/ 655 w 2344"/>
                <a:gd name="T101" fmla="*/ 262 h 262"/>
                <a:gd name="T102" fmla="*/ 787 w 2344"/>
                <a:gd name="T103" fmla="*/ 262 h 262"/>
                <a:gd name="T104" fmla="*/ 928 w 2344"/>
                <a:gd name="T105" fmla="*/ 262 h 262"/>
                <a:gd name="T106" fmla="*/ 1060 w 2344"/>
                <a:gd name="T107" fmla="*/ 262 h 262"/>
                <a:gd name="T108" fmla="*/ 1201 w 2344"/>
                <a:gd name="T109" fmla="*/ 262 h 262"/>
                <a:gd name="T110" fmla="*/ 1333 w 2344"/>
                <a:gd name="T111" fmla="*/ 262 h 262"/>
                <a:gd name="T112" fmla="*/ 1475 w 2344"/>
                <a:gd name="T113" fmla="*/ 262 h 262"/>
                <a:gd name="T114" fmla="*/ 1607 w 2344"/>
                <a:gd name="T115" fmla="*/ 262 h 262"/>
                <a:gd name="T116" fmla="*/ 1748 w 2344"/>
                <a:gd name="T117" fmla="*/ 262 h 262"/>
                <a:gd name="T118" fmla="*/ 1880 w 2344"/>
                <a:gd name="T119" fmla="*/ 262 h 262"/>
                <a:gd name="T120" fmla="*/ 2024 w 2344"/>
                <a:gd name="T121" fmla="*/ 262 h 262"/>
                <a:gd name="T122" fmla="*/ 2153 w 2344"/>
                <a:gd name="T123" fmla="*/ 262 h 262"/>
                <a:gd name="T124" fmla="*/ 2320 w 2344"/>
                <a:gd name="T125"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44" h="262">
                  <a:moveTo>
                    <a:pt x="2320" y="201"/>
                  </a:moveTo>
                  <a:lnTo>
                    <a:pt x="2320" y="201"/>
                  </a:lnTo>
                  <a:lnTo>
                    <a:pt x="2320" y="196"/>
                  </a:lnTo>
                  <a:lnTo>
                    <a:pt x="2320" y="191"/>
                  </a:lnTo>
                  <a:lnTo>
                    <a:pt x="2320" y="189"/>
                  </a:lnTo>
                  <a:lnTo>
                    <a:pt x="2320" y="189"/>
                  </a:lnTo>
                  <a:lnTo>
                    <a:pt x="2313" y="189"/>
                  </a:lnTo>
                  <a:lnTo>
                    <a:pt x="2309" y="189"/>
                  </a:lnTo>
                  <a:lnTo>
                    <a:pt x="2309" y="189"/>
                  </a:lnTo>
                  <a:lnTo>
                    <a:pt x="2297" y="189"/>
                  </a:lnTo>
                  <a:lnTo>
                    <a:pt x="2297" y="189"/>
                  </a:lnTo>
                  <a:lnTo>
                    <a:pt x="2285" y="189"/>
                  </a:lnTo>
                  <a:lnTo>
                    <a:pt x="2285" y="189"/>
                  </a:lnTo>
                  <a:lnTo>
                    <a:pt x="2273" y="189"/>
                  </a:lnTo>
                  <a:lnTo>
                    <a:pt x="2273" y="189"/>
                  </a:lnTo>
                  <a:lnTo>
                    <a:pt x="2262" y="189"/>
                  </a:lnTo>
                  <a:lnTo>
                    <a:pt x="2262" y="189"/>
                  </a:lnTo>
                  <a:lnTo>
                    <a:pt x="2250" y="189"/>
                  </a:lnTo>
                  <a:lnTo>
                    <a:pt x="2250" y="189"/>
                  </a:lnTo>
                  <a:lnTo>
                    <a:pt x="2224" y="189"/>
                  </a:lnTo>
                  <a:lnTo>
                    <a:pt x="2224" y="189"/>
                  </a:lnTo>
                  <a:lnTo>
                    <a:pt x="2200" y="189"/>
                  </a:lnTo>
                  <a:lnTo>
                    <a:pt x="2200" y="189"/>
                  </a:lnTo>
                  <a:lnTo>
                    <a:pt x="2188" y="189"/>
                  </a:lnTo>
                  <a:lnTo>
                    <a:pt x="2188" y="189"/>
                  </a:lnTo>
                  <a:lnTo>
                    <a:pt x="2165" y="189"/>
                  </a:lnTo>
                  <a:lnTo>
                    <a:pt x="2165" y="189"/>
                  </a:lnTo>
                  <a:lnTo>
                    <a:pt x="2153" y="189"/>
                  </a:lnTo>
                  <a:lnTo>
                    <a:pt x="2153" y="189"/>
                  </a:lnTo>
                  <a:lnTo>
                    <a:pt x="2130" y="189"/>
                  </a:lnTo>
                  <a:lnTo>
                    <a:pt x="2130" y="189"/>
                  </a:lnTo>
                  <a:lnTo>
                    <a:pt x="2118" y="189"/>
                  </a:lnTo>
                  <a:lnTo>
                    <a:pt x="2118" y="189"/>
                  </a:lnTo>
                  <a:lnTo>
                    <a:pt x="2094" y="189"/>
                  </a:lnTo>
                  <a:lnTo>
                    <a:pt x="2094" y="189"/>
                  </a:lnTo>
                  <a:lnTo>
                    <a:pt x="2047" y="189"/>
                  </a:lnTo>
                  <a:lnTo>
                    <a:pt x="2047" y="189"/>
                  </a:lnTo>
                  <a:lnTo>
                    <a:pt x="2035" y="189"/>
                  </a:lnTo>
                  <a:lnTo>
                    <a:pt x="2035" y="189"/>
                  </a:lnTo>
                  <a:lnTo>
                    <a:pt x="2035" y="177"/>
                  </a:lnTo>
                  <a:lnTo>
                    <a:pt x="2035" y="177"/>
                  </a:lnTo>
                  <a:lnTo>
                    <a:pt x="2035" y="172"/>
                  </a:lnTo>
                  <a:lnTo>
                    <a:pt x="2035" y="165"/>
                  </a:lnTo>
                  <a:lnTo>
                    <a:pt x="2035" y="165"/>
                  </a:lnTo>
                  <a:lnTo>
                    <a:pt x="2028" y="165"/>
                  </a:lnTo>
                  <a:lnTo>
                    <a:pt x="2024" y="165"/>
                  </a:lnTo>
                  <a:lnTo>
                    <a:pt x="2024" y="165"/>
                  </a:lnTo>
                  <a:lnTo>
                    <a:pt x="2012" y="165"/>
                  </a:lnTo>
                  <a:lnTo>
                    <a:pt x="2012" y="165"/>
                  </a:lnTo>
                  <a:lnTo>
                    <a:pt x="2005" y="165"/>
                  </a:lnTo>
                  <a:lnTo>
                    <a:pt x="1998" y="165"/>
                  </a:lnTo>
                  <a:lnTo>
                    <a:pt x="1998" y="165"/>
                  </a:lnTo>
                  <a:lnTo>
                    <a:pt x="1998" y="168"/>
                  </a:lnTo>
                  <a:lnTo>
                    <a:pt x="1998" y="172"/>
                  </a:lnTo>
                  <a:lnTo>
                    <a:pt x="1998" y="177"/>
                  </a:lnTo>
                  <a:lnTo>
                    <a:pt x="1998" y="177"/>
                  </a:lnTo>
                  <a:lnTo>
                    <a:pt x="1993" y="180"/>
                  </a:lnTo>
                  <a:lnTo>
                    <a:pt x="1986" y="177"/>
                  </a:lnTo>
                  <a:lnTo>
                    <a:pt x="1986" y="177"/>
                  </a:lnTo>
                  <a:lnTo>
                    <a:pt x="1986" y="165"/>
                  </a:lnTo>
                  <a:lnTo>
                    <a:pt x="1986" y="165"/>
                  </a:lnTo>
                  <a:lnTo>
                    <a:pt x="1981" y="165"/>
                  </a:lnTo>
                  <a:lnTo>
                    <a:pt x="1974" y="165"/>
                  </a:lnTo>
                  <a:lnTo>
                    <a:pt x="1974" y="165"/>
                  </a:lnTo>
                  <a:lnTo>
                    <a:pt x="1962" y="165"/>
                  </a:lnTo>
                  <a:lnTo>
                    <a:pt x="1962" y="165"/>
                  </a:lnTo>
                  <a:lnTo>
                    <a:pt x="1951" y="165"/>
                  </a:lnTo>
                  <a:lnTo>
                    <a:pt x="1951" y="165"/>
                  </a:lnTo>
                  <a:lnTo>
                    <a:pt x="1939" y="165"/>
                  </a:lnTo>
                  <a:lnTo>
                    <a:pt x="1939" y="165"/>
                  </a:lnTo>
                  <a:lnTo>
                    <a:pt x="1934" y="165"/>
                  </a:lnTo>
                  <a:lnTo>
                    <a:pt x="1927" y="165"/>
                  </a:lnTo>
                  <a:lnTo>
                    <a:pt x="1927" y="165"/>
                  </a:lnTo>
                  <a:lnTo>
                    <a:pt x="1927" y="168"/>
                  </a:lnTo>
                  <a:lnTo>
                    <a:pt x="1927" y="172"/>
                  </a:lnTo>
                  <a:lnTo>
                    <a:pt x="1927" y="177"/>
                  </a:lnTo>
                  <a:lnTo>
                    <a:pt x="1927" y="177"/>
                  </a:lnTo>
                  <a:lnTo>
                    <a:pt x="1915" y="177"/>
                  </a:lnTo>
                  <a:lnTo>
                    <a:pt x="1915" y="177"/>
                  </a:lnTo>
                  <a:lnTo>
                    <a:pt x="1892" y="177"/>
                  </a:lnTo>
                  <a:lnTo>
                    <a:pt x="1892" y="177"/>
                  </a:lnTo>
                  <a:lnTo>
                    <a:pt x="1844" y="177"/>
                  </a:lnTo>
                  <a:lnTo>
                    <a:pt x="1844" y="177"/>
                  </a:lnTo>
                  <a:lnTo>
                    <a:pt x="1844" y="172"/>
                  </a:lnTo>
                  <a:lnTo>
                    <a:pt x="1844" y="168"/>
                  </a:lnTo>
                  <a:lnTo>
                    <a:pt x="1844" y="165"/>
                  </a:lnTo>
                  <a:lnTo>
                    <a:pt x="1844" y="165"/>
                  </a:lnTo>
                  <a:lnTo>
                    <a:pt x="1837" y="165"/>
                  </a:lnTo>
                  <a:lnTo>
                    <a:pt x="1833" y="165"/>
                  </a:lnTo>
                  <a:lnTo>
                    <a:pt x="1833" y="165"/>
                  </a:lnTo>
                  <a:lnTo>
                    <a:pt x="1821" y="165"/>
                  </a:lnTo>
                  <a:lnTo>
                    <a:pt x="1821" y="165"/>
                  </a:lnTo>
                  <a:lnTo>
                    <a:pt x="1821" y="177"/>
                  </a:lnTo>
                  <a:lnTo>
                    <a:pt x="1821" y="177"/>
                  </a:lnTo>
                  <a:lnTo>
                    <a:pt x="1809" y="177"/>
                  </a:lnTo>
                  <a:lnTo>
                    <a:pt x="1809" y="177"/>
                  </a:lnTo>
                  <a:lnTo>
                    <a:pt x="1797" y="177"/>
                  </a:lnTo>
                  <a:lnTo>
                    <a:pt x="1797" y="177"/>
                  </a:lnTo>
                  <a:lnTo>
                    <a:pt x="1774" y="177"/>
                  </a:lnTo>
                  <a:lnTo>
                    <a:pt x="1774" y="177"/>
                  </a:lnTo>
                  <a:lnTo>
                    <a:pt x="1774" y="172"/>
                  </a:lnTo>
                  <a:lnTo>
                    <a:pt x="1774" y="165"/>
                  </a:lnTo>
                  <a:lnTo>
                    <a:pt x="1774" y="165"/>
                  </a:lnTo>
                  <a:lnTo>
                    <a:pt x="1767" y="165"/>
                  </a:lnTo>
                  <a:lnTo>
                    <a:pt x="1762" y="165"/>
                  </a:lnTo>
                  <a:lnTo>
                    <a:pt x="1762" y="165"/>
                  </a:lnTo>
                  <a:lnTo>
                    <a:pt x="1755" y="168"/>
                  </a:lnTo>
                  <a:lnTo>
                    <a:pt x="1748" y="165"/>
                  </a:lnTo>
                  <a:lnTo>
                    <a:pt x="1748" y="165"/>
                  </a:lnTo>
                  <a:lnTo>
                    <a:pt x="1743" y="165"/>
                  </a:lnTo>
                  <a:lnTo>
                    <a:pt x="1736" y="165"/>
                  </a:lnTo>
                  <a:lnTo>
                    <a:pt x="1736" y="165"/>
                  </a:lnTo>
                  <a:lnTo>
                    <a:pt x="1731" y="168"/>
                  </a:lnTo>
                  <a:lnTo>
                    <a:pt x="1724" y="165"/>
                  </a:lnTo>
                  <a:lnTo>
                    <a:pt x="1724" y="165"/>
                  </a:lnTo>
                  <a:lnTo>
                    <a:pt x="1724" y="161"/>
                  </a:lnTo>
                  <a:lnTo>
                    <a:pt x="1724" y="154"/>
                  </a:lnTo>
                  <a:lnTo>
                    <a:pt x="1724" y="154"/>
                  </a:lnTo>
                  <a:lnTo>
                    <a:pt x="1724" y="142"/>
                  </a:lnTo>
                  <a:lnTo>
                    <a:pt x="1724" y="142"/>
                  </a:lnTo>
                  <a:lnTo>
                    <a:pt x="1701" y="142"/>
                  </a:lnTo>
                  <a:lnTo>
                    <a:pt x="1701" y="142"/>
                  </a:lnTo>
                  <a:lnTo>
                    <a:pt x="1689" y="142"/>
                  </a:lnTo>
                  <a:lnTo>
                    <a:pt x="1689" y="142"/>
                  </a:lnTo>
                  <a:lnTo>
                    <a:pt x="1684" y="142"/>
                  </a:lnTo>
                  <a:lnTo>
                    <a:pt x="1677" y="142"/>
                  </a:lnTo>
                  <a:lnTo>
                    <a:pt x="1677" y="142"/>
                  </a:lnTo>
                  <a:lnTo>
                    <a:pt x="1677" y="149"/>
                  </a:lnTo>
                  <a:lnTo>
                    <a:pt x="1677" y="154"/>
                  </a:lnTo>
                  <a:lnTo>
                    <a:pt x="1677" y="154"/>
                  </a:lnTo>
                  <a:lnTo>
                    <a:pt x="1672" y="154"/>
                  </a:lnTo>
                  <a:lnTo>
                    <a:pt x="1665" y="154"/>
                  </a:lnTo>
                  <a:lnTo>
                    <a:pt x="1665" y="154"/>
                  </a:lnTo>
                  <a:lnTo>
                    <a:pt x="1654" y="154"/>
                  </a:lnTo>
                  <a:lnTo>
                    <a:pt x="1654" y="154"/>
                  </a:lnTo>
                  <a:lnTo>
                    <a:pt x="1642" y="154"/>
                  </a:lnTo>
                  <a:lnTo>
                    <a:pt x="1642" y="154"/>
                  </a:lnTo>
                  <a:lnTo>
                    <a:pt x="1635" y="154"/>
                  </a:lnTo>
                  <a:lnTo>
                    <a:pt x="1630" y="154"/>
                  </a:lnTo>
                  <a:lnTo>
                    <a:pt x="1630" y="154"/>
                  </a:lnTo>
                  <a:lnTo>
                    <a:pt x="1630" y="151"/>
                  </a:lnTo>
                  <a:lnTo>
                    <a:pt x="1630" y="149"/>
                  </a:lnTo>
                  <a:lnTo>
                    <a:pt x="1630" y="142"/>
                  </a:lnTo>
                  <a:lnTo>
                    <a:pt x="1630" y="142"/>
                  </a:lnTo>
                  <a:lnTo>
                    <a:pt x="1628" y="142"/>
                  </a:lnTo>
                  <a:lnTo>
                    <a:pt x="1625" y="142"/>
                  </a:lnTo>
                  <a:lnTo>
                    <a:pt x="1618" y="142"/>
                  </a:lnTo>
                  <a:lnTo>
                    <a:pt x="1618" y="142"/>
                  </a:lnTo>
                  <a:lnTo>
                    <a:pt x="1618" y="149"/>
                  </a:lnTo>
                  <a:lnTo>
                    <a:pt x="1618" y="154"/>
                  </a:lnTo>
                  <a:lnTo>
                    <a:pt x="1618" y="154"/>
                  </a:lnTo>
                  <a:lnTo>
                    <a:pt x="1614" y="154"/>
                  </a:lnTo>
                  <a:lnTo>
                    <a:pt x="1607" y="154"/>
                  </a:lnTo>
                  <a:lnTo>
                    <a:pt x="1607" y="154"/>
                  </a:lnTo>
                  <a:lnTo>
                    <a:pt x="1595" y="154"/>
                  </a:lnTo>
                  <a:lnTo>
                    <a:pt x="1595" y="154"/>
                  </a:lnTo>
                  <a:lnTo>
                    <a:pt x="1583" y="154"/>
                  </a:lnTo>
                  <a:lnTo>
                    <a:pt x="1583" y="154"/>
                  </a:lnTo>
                  <a:lnTo>
                    <a:pt x="1571" y="154"/>
                  </a:lnTo>
                  <a:lnTo>
                    <a:pt x="1571" y="154"/>
                  </a:lnTo>
                  <a:lnTo>
                    <a:pt x="1564" y="154"/>
                  </a:lnTo>
                  <a:lnTo>
                    <a:pt x="1559" y="154"/>
                  </a:lnTo>
                  <a:lnTo>
                    <a:pt x="1559" y="154"/>
                  </a:lnTo>
                  <a:lnTo>
                    <a:pt x="1557" y="156"/>
                  </a:lnTo>
                  <a:lnTo>
                    <a:pt x="1559" y="161"/>
                  </a:lnTo>
                  <a:lnTo>
                    <a:pt x="1559" y="165"/>
                  </a:lnTo>
                  <a:lnTo>
                    <a:pt x="1559" y="165"/>
                  </a:lnTo>
                  <a:lnTo>
                    <a:pt x="1510" y="165"/>
                  </a:lnTo>
                  <a:lnTo>
                    <a:pt x="1510" y="165"/>
                  </a:lnTo>
                  <a:lnTo>
                    <a:pt x="1498" y="165"/>
                  </a:lnTo>
                  <a:lnTo>
                    <a:pt x="1498" y="165"/>
                  </a:lnTo>
                  <a:lnTo>
                    <a:pt x="1475" y="165"/>
                  </a:lnTo>
                  <a:lnTo>
                    <a:pt x="1475" y="165"/>
                  </a:lnTo>
                  <a:lnTo>
                    <a:pt x="1475" y="161"/>
                  </a:lnTo>
                  <a:lnTo>
                    <a:pt x="1477" y="156"/>
                  </a:lnTo>
                  <a:lnTo>
                    <a:pt x="1475" y="154"/>
                  </a:lnTo>
                  <a:lnTo>
                    <a:pt x="1475" y="154"/>
                  </a:lnTo>
                  <a:lnTo>
                    <a:pt x="1463" y="154"/>
                  </a:lnTo>
                  <a:lnTo>
                    <a:pt x="1463" y="154"/>
                  </a:lnTo>
                  <a:lnTo>
                    <a:pt x="1451" y="154"/>
                  </a:lnTo>
                  <a:lnTo>
                    <a:pt x="1451" y="154"/>
                  </a:lnTo>
                  <a:lnTo>
                    <a:pt x="1439" y="154"/>
                  </a:lnTo>
                  <a:lnTo>
                    <a:pt x="1439" y="154"/>
                  </a:lnTo>
                  <a:lnTo>
                    <a:pt x="1427" y="154"/>
                  </a:lnTo>
                  <a:lnTo>
                    <a:pt x="1427" y="154"/>
                  </a:lnTo>
                  <a:lnTo>
                    <a:pt x="1423" y="154"/>
                  </a:lnTo>
                  <a:lnTo>
                    <a:pt x="1416" y="154"/>
                  </a:lnTo>
                  <a:lnTo>
                    <a:pt x="1416" y="154"/>
                  </a:lnTo>
                  <a:lnTo>
                    <a:pt x="1416" y="156"/>
                  </a:lnTo>
                  <a:lnTo>
                    <a:pt x="1416" y="161"/>
                  </a:lnTo>
                  <a:lnTo>
                    <a:pt x="1416" y="165"/>
                  </a:lnTo>
                  <a:lnTo>
                    <a:pt x="1416" y="165"/>
                  </a:lnTo>
                  <a:lnTo>
                    <a:pt x="1413" y="168"/>
                  </a:lnTo>
                  <a:lnTo>
                    <a:pt x="1411" y="165"/>
                  </a:lnTo>
                  <a:lnTo>
                    <a:pt x="1404" y="165"/>
                  </a:lnTo>
                  <a:lnTo>
                    <a:pt x="1404" y="165"/>
                  </a:lnTo>
                  <a:lnTo>
                    <a:pt x="1404" y="161"/>
                  </a:lnTo>
                  <a:lnTo>
                    <a:pt x="1404" y="156"/>
                  </a:lnTo>
                  <a:lnTo>
                    <a:pt x="1404" y="154"/>
                  </a:lnTo>
                  <a:lnTo>
                    <a:pt x="1404" y="154"/>
                  </a:lnTo>
                  <a:lnTo>
                    <a:pt x="1399" y="154"/>
                  </a:lnTo>
                  <a:lnTo>
                    <a:pt x="1392" y="154"/>
                  </a:lnTo>
                  <a:lnTo>
                    <a:pt x="1392" y="154"/>
                  </a:lnTo>
                  <a:lnTo>
                    <a:pt x="1380" y="154"/>
                  </a:lnTo>
                  <a:lnTo>
                    <a:pt x="1380" y="154"/>
                  </a:lnTo>
                  <a:lnTo>
                    <a:pt x="1369" y="154"/>
                  </a:lnTo>
                  <a:lnTo>
                    <a:pt x="1369" y="154"/>
                  </a:lnTo>
                  <a:lnTo>
                    <a:pt x="1357" y="154"/>
                  </a:lnTo>
                  <a:lnTo>
                    <a:pt x="1357" y="154"/>
                  </a:lnTo>
                  <a:lnTo>
                    <a:pt x="1350" y="154"/>
                  </a:lnTo>
                  <a:lnTo>
                    <a:pt x="1345" y="154"/>
                  </a:lnTo>
                  <a:lnTo>
                    <a:pt x="1345" y="154"/>
                  </a:lnTo>
                  <a:lnTo>
                    <a:pt x="1345" y="149"/>
                  </a:lnTo>
                  <a:lnTo>
                    <a:pt x="1345" y="142"/>
                  </a:lnTo>
                  <a:lnTo>
                    <a:pt x="1345" y="142"/>
                  </a:lnTo>
                  <a:lnTo>
                    <a:pt x="1343" y="142"/>
                  </a:lnTo>
                  <a:lnTo>
                    <a:pt x="1338" y="142"/>
                  </a:lnTo>
                  <a:lnTo>
                    <a:pt x="1333" y="142"/>
                  </a:lnTo>
                  <a:lnTo>
                    <a:pt x="1333" y="142"/>
                  </a:lnTo>
                  <a:lnTo>
                    <a:pt x="1310" y="142"/>
                  </a:lnTo>
                  <a:lnTo>
                    <a:pt x="1310" y="142"/>
                  </a:lnTo>
                  <a:lnTo>
                    <a:pt x="1303" y="142"/>
                  </a:lnTo>
                  <a:lnTo>
                    <a:pt x="1300" y="142"/>
                  </a:lnTo>
                  <a:lnTo>
                    <a:pt x="1298" y="142"/>
                  </a:lnTo>
                  <a:lnTo>
                    <a:pt x="1298" y="142"/>
                  </a:lnTo>
                  <a:lnTo>
                    <a:pt x="1298" y="149"/>
                  </a:lnTo>
                  <a:lnTo>
                    <a:pt x="1298" y="154"/>
                  </a:lnTo>
                  <a:lnTo>
                    <a:pt x="1298" y="154"/>
                  </a:lnTo>
                  <a:lnTo>
                    <a:pt x="1291" y="154"/>
                  </a:lnTo>
                  <a:lnTo>
                    <a:pt x="1286" y="154"/>
                  </a:lnTo>
                  <a:lnTo>
                    <a:pt x="1286" y="154"/>
                  </a:lnTo>
                  <a:lnTo>
                    <a:pt x="1279" y="154"/>
                  </a:lnTo>
                  <a:lnTo>
                    <a:pt x="1274" y="154"/>
                  </a:lnTo>
                  <a:lnTo>
                    <a:pt x="1274" y="154"/>
                  </a:lnTo>
                  <a:lnTo>
                    <a:pt x="1272" y="156"/>
                  </a:lnTo>
                  <a:lnTo>
                    <a:pt x="1272" y="161"/>
                  </a:lnTo>
                  <a:lnTo>
                    <a:pt x="1274" y="165"/>
                  </a:lnTo>
                  <a:lnTo>
                    <a:pt x="1274" y="165"/>
                  </a:lnTo>
                  <a:lnTo>
                    <a:pt x="1248" y="165"/>
                  </a:lnTo>
                  <a:lnTo>
                    <a:pt x="1248" y="165"/>
                  </a:lnTo>
                  <a:lnTo>
                    <a:pt x="1225" y="165"/>
                  </a:lnTo>
                  <a:lnTo>
                    <a:pt x="1225" y="165"/>
                  </a:lnTo>
                  <a:lnTo>
                    <a:pt x="1225" y="161"/>
                  </a:lnTo>
                  <a:lnTo>
                    <a:pt x="1227" y="156"/>
                  </a:lnTo>
                  <a:lnTo>
                    <a:pt x="1225" y="154"/>
                  </a:lnTo>
                  <a:lnTo>
                    <a:pt x="1225" y="154"/>
                  </a:lnTo>
                  <a:lnTo>
                    <a:pt x="1220" y="154"/>
                  </a:lnTo>
                  <a:lnTo>
                    <a:pt x="1213" y="154"/>
                  </a:lnTo>
                  <a:lnTo>
                    <a:pt x="1213" y="154"/>
                  </a:lnTo>
                  <a:lnTo>
                    <a:pt x="1208" y="154"/>
                  </a:lnTo>
                  <a:lnTo>
                    <a:pt x="1201" y="154"/>
                  </a:lnTo>
                  <a:lnTo>
                    <a:pt x="1201" y="154"/>
                  </a:lnTo>
                  <a:lnTo>
                    <a:pt x="1201" y="161"/>
                  </a:lnTo>
                  <a:lnTo>
                    <a:pt x="1201" y="165"/>
                  </a:lnTo>
                  <a:lnTo>
                    <a:pt x="1201" y="165"/>
                  </a:lnTo>
                  <a:lnTo>
                    <a:pt x="1199" y="168"/>
                  </a:lnTo>
                  <a:lnTo>
                    <a:pt x="1197" y="165"/>
                  </a:lnTo>
                  <a:lnTo>
                    <a:pt x="1189" y="165"/>
                  </a:lnTo>
                  <a:lnTo>
                    <a:pt x="1189" y="165"/>
                  </a:lnTo>
                  <a:lnTo>
                    <a:pt x="1178" y="165"/>
                  </a:lnTo>
                  <a:lnTo>
                    <a:pt x="1178" y="165"/>
                  </a:lnTo>
                  <a:lnTo>
                    <a:pt x="1154" y="165"/>
                  </a:lnTo>
                  <a:lnTo>
                    <a:pt x="1154" y="165"/>
                  </a:lnTo>
                  <a:lnTo>
                    <a:pt x="1147" y="165"/>
                  </a:lnTo>
                  <a:lnTo>
                    <a:pt x="1142" y="165"/>
                  </a:lnTo>
                  <a:lnTo>
                    <a:pt x="1142" y="165"/>
                  </a:lnTo>
                  <a:lnTo>
                    <a:pt x="1142" y="163"/>
                  </a:lnTo>
                  <a:lnTo>
                    <a:pt x="1142" y="161"/>
                  </a:lnTo>
                  <a:lnTo>
                    <a:pt x="1142" y="154"/>
                  </a:lnTo>
                  <a:lnTo>
                    <a:pt x="1142" y="154"/>
                  </a:lnTo>
                  <a:lnTo>
                    <a:pt x="1138" y="154"/>
                  </a:lnTo>
                  <a:lnTo>
                    <a:pt x="1131" y="154"/>
                  </a:lnTo>
                  <a:lnTo>
                    <a:pt x="1131" y="154"/>
                  </a:lnTo>
                  <a:lnTo>
                    <a:pt x="1131" y="165"/>
                  </a:lnTo>
                  <a:lnTo>
                    <a:pt x="1131" y="165"/>
                  </a:lnTo>
                  <a:lnTo>
                    <a:pt x="1126" y="165"/>
                  </a:lnTo>
                  <a:lnTo>
                    <a:pt x="1119" y="165"/>
                  </a:lnTo>
                  <a:lnTo>
                    <a:pt x="1119" y="165"/>
                  </a:lnTo>
                  <a:lnTo>
                    <a:pt x="1107" y="165"/>
                  </a:lnTo>
                  <a:lnTo>
                    <a:pt x="1107" y="165"/>
                  </a:lnTo>
                  <a:lnTo>
                    <a:pt x="1095" y="165"/>
                  </a:lnTo>
                  <a:lnTo>
                    <a:pt x="1095" y="165"/>
                  </a:lnTo>
                  <a:lnTo>
                    <a:pt x="1072" y="165"/>
                  </a:lnTo>
                  <a:lnTo>
                    <a:pt x="1072" y="165"/>
                  </a:lnTo>
                  <a:lnTo>
                    <a:pt x="1060" y="165"/>
                  </a:lnTo>
                  <a:lnTo>
                    <a:pt x="1060" y="165"/>
                  </a:lnTo>
                  <a:lnTo>
                    <a:pt x="1060" y="161"/>
                  </a:lnTo>
                  <a:lnTo>
                    <a:pt x="1060" y="154"/>
                  </a:lnTo>
                  <a:lnTo>
                    <a:pt x="1060" y="154"/>
                  </a:lnTo>
                  <a:lnTo>
                    <a:pt x="1058" y="154"/>
                  </a:lnTo>
                  <a:lnTo>
                    <a:pt x="1053" y="154"/>
                  </a:lnTo>
                  <a:lnTo>
                    <a:pt x="1048" y="154"/>
                  </a:lnTo>
                  <a:lnTo>
                    <a:pt x="1048" y="154"/>
                  </a:lnTo>
                  <a:lnTo>
                    <a:pt x="1048" y="149"/>
                  </a:lnTo>
                  <a:lnTo>
                    <a:pt x="1048" y="142"/>
                  </a:lnTo>
                  <a:lnTo>
                    <a:pt x="1048" y="142"/>
                  </a:lnTo>
                  <a:lnTo>
                    <a:pt x="1041" y="142"/>
                  </a:lnTo>
                  <a:lnTo>
                    <a:pt x="1036" y="142"/>
                  </a:lnTo>
                  <a:lnTo>
                    <a:pt x="1036" y="142"/>
                  </a:lnTo>
                  <a:lnTo>
                    <a:pt x="1010" y="142"/>
                  </a:lnTo>
                  <a:lnTo>
                    <a:pt x="1010" y="142"/>
                  </a:lnTo>
                  <a:lnTo>
                    <a:pt x="1010" y="130"/>
                  </a:lnTo>
                  <a:lnTo>
                    <a:pt x="1010" y="130"/>
                  </a:lnTo>
                  <a:lnTo>
                    <a:pt x="1010" y="106"/>
                  </a:lnTo>
                  <a:lnTo>
                    <a:pt x="1010" y="106"/>
                  </a:lnTo>
                  <a:lnTo>
                    <a:pt x="987" y="106"/>
                  </a:lnTo>
                  <a:lnTo>
                    <a:pt x="987" y="106"/>
                  </a:lnTo>
                  <a:lnTo>
                    <a:pt x="940" y="106"/>
                  </a:lnTo>
                  <a:lnTo>
                    <a:pt x="940" y="106"/>
                  </a:lnTo>
                  <a:lnTo>
                    <a:pt x="940" y="118"/>
                  </a:lnTo>
                  <a:lnTo>
                    <a:pt x="940" y="118"/>
                  </a:lnTo>
                  <a:lnTo>
                    <a:pt x="940" y="130"/>
                  </a:lnTo>
                  <a:lnTo>
                    <a:pt x="940" y="130"/>
                  </a:lnTo>
                  <a:lnTo>
                    <a:pt x="940" y="137"/>
                  </a:lnTo>
                  <a:lnTo>
                    <a:pt x="940" y="142"/>
                  </a:lnTo>
                  <a:lnTo>
                    <a:pt x="940" y="142"/>
                  </a:lnTo>
                  <a:lnTo>
                    <a:pt x="937" y="144"/>
                  </a:lnTo>
                  <a:lnTo>
                    <a:pt x="935" y="142"/>
                  </a:lnTo>
                  <a:lnTo>
                    <a:pt x="928" y="142"/>
                  </a:lnTo>
                  <a:lnTo>
                    <a:pt x="928" y="142"/>
                  </a:lnTo>
                  <a:lnTo>
                    <a:pt x="928" y="95"/>
                  </a:lnTo>
                  <a:lnTo>
                    <a:pt x="928" y="95"/>
                  </a:lnTo>
                  <a:lnTo>
                    <a:pt x="928" y="71"/>
                  </a:lnTo>
                  <a:lnTo>
                    <a:pt x="928" y="71"/>
                  </a:lnTo>
                  <a:lnTo>
                    <a:pt x="916" y="71"/>
                  </a:lnTo>
                  <a:lnTo>
                    <a:pt x="916" y="71"/>
                  </a:lnTo>
                  <a:lnTo>
                    <a:pt x="904" y="71"/>
                  </a:lnTo>
                  <a:lnTo>
                    <a:pt x="904" y="71"/>
                  </a:lnTo>
                  <a:lnTo>
                    <a:pt x="893" y="71"/>
                  </a:lnTo>
                  <a:lnTo>
                    <a:pt x="893" y="71"/>
                  </a:lnTo>
                  <a:lnTo>
                    <a:pt x="881" y="71"/>
                  </a:lnTo>
                  <a:lnTo>
                    <a:pt x="881" y="71"/>
                  </a:lnTo>
                  <a:lnTo>
                    <a:pt x="874" y="71"/>
                  </a:lnTo>
                  <a:lnTo>
                    <a:pt x="869" y="71"/>
                  </a:lnTo>
                  <a:lnTo>
                    <a:pt x="869" y="71"/>
                  </a:lnTo>
                  <a:lnTo>
                    <a:pt x="869" y="73"/>
                  </a:lnTo>
                  <a:lnTo>
                    <a:pt x="869" y="76"/>
                  </a:lnTo>
                  <a:lnTo>
                    <a:pt x="869" y="83"/>
                  </a:lnTo>
                  <a:lnTo>
                    <a:pt x="869" y="83"/>
                  </a:lnTo>
                  <a:lnTo>
                    <a:pt x="845" y="83"/>
                  </a:lnTo>
                  <a:lnTo>
                    <a:pt x="845" y="83"/>
                  </a:lnTo>
                  <a:lnTo>
                    <a:pt x="834" y="83"/>
                  </a:lnTo>
                  <a:lnTo>
                    <a:pt x="834" y="83"/>
                  </a:lnTo>
                  <a:lnTo>
                    <a:pt x="834" y="71"/>
                  </a:lnTo>
                  <a:lnTo>
                    <a:pt x="834" y="71"/>
                  </a:lnTo>
                  <a:lnTo>
                    <a:pt x="834" y="64"/>
                  </a:lnTo>
                  <a:lnTo>
                    <a:pt x="834" y="59"/>
                  </a:lnTo>
                  <a:lnTo>
                    <a:pt x="834" y="59"/>
                  </a:lnTo>
                  <a:lnTo>
                    <a:pt x="827" y="59"/>
                  </a:lnTo>
                  <a:lnTo>
                    <a:pt x="822" y="59"/>
                  </a:lnTo>
                  <a:lnTo>
                    <a:pt x="822" y="59"/>
                  </a:lnTo>
                  <a:lnTo>
                    <a:pt x="820" y="57"/>
                  </a:lnTo>
                  <a:lnTo>
                    <a:pt x="822" y="52"/>
                  </a:lnTo>
                  <a:lnTo>
                    <a:pt x="822" y="48"/>
                  </a:lnTo>
                  <a:lnTo>
                    <a:pt x="822" y="48"/>
                  </a:lnTo>
                  <a:lnTo>
                    <a:pt x="798" y="48"/>
                  </a:lnTo>
                  <a:lnTo>
                    <a:pt x="798" y="48"/>
                  </a:lnTo>
                  <a:lnTo>
                    <a:pt x="791" y="48"/>
                  </a:lnTo>
                  <a:lnTo>
                    <a:pt x="787" y="48"/>
                  </a:lnTo>
                  <a:lnTo>
                    <a:pt x="787" y="48"/>
                  </a:lnTo>
                  <a:lnTo>
                    <a:pt x="784" y="52"/>
                  </a:lnTo>
                  <a:lnTo>
                    <a:pt x="787" y="59"/>
                  </a:lnTo>
                  <a:lnTo>
                    <a:pt x="787" y="59"/>
                  </a:lnTo>
                  <a:lnTo>
                    <a:pt x="784" y="59"/>
                  </a:lnTo>
                  <a:lnTo>
                    <a:pt x="779" y="59"/>
                  </a:lnTo>
                  <a:lnTo>
                    <a:pt x="772" y="59"/>
                  </a:lnTo>
                  <a:lnTo>
                    <a:pt x="772" y="59"/>
                  </a:lnTo>
                  <a:lnTo>
                    <a:pt x="772" y="64"/>
                  </a:lnTo>
                  <a:lnTo>
                    <a:pt x="772" y="71"/>
                  </a:lnTo>
                  <a:lnTo>
                    <a:pt x="772" y="71"/>
                  </a:lnTo>
                  <a:lnTo>
                    <a:pt x="761" y="71"/>
                  </a:lnTo>
                  <a:lnTo>
                    <a:pt x="761" y="71"/>
                  </a:lnTo>
                  <a:lnTo>
                    <a:pt x="749" y="71"/>
                  </a:lnTo>
                  <a:lnTo>
                    <a:pt x="749" y="71"/>
                  </a:lnTo>
                  <a:lnTo>
                    <a:pt x="744" y="71"/>
                  </a:lnTo>
                  <a:lnTo>
                    <a:pt x="737" y="71"/>
                  </a:lnTo>
                  <a:lnTo>
                    <a:pt x="737" y="71"/>
                  </a:lnTo>
                  <a:lnTo>
                    <a:pt x="737" y="69"/>
                  </a:lnTo>
                  <a:lnTo>
                    <a:pt x="737" y="64"/>
                  </a:lnTo>
                  <a:lnTo>
                    <a:pt x="737" y="59"/>
                  </a:lnTo>
                  <a:lnTo>
                    <a:pt x="737" y="59"/>
                  </a:lnTo>
                  <a:lnTo>
                    <a:pt x="725" y="59"/>
                  </a:lnTo>
                  <a:lnTo>
                    <a:pt x="725" y="59"/>
                  </a:lnTo>
                  <a:lnTo>
                    <a:pt x="702" y="59"/>
                  </a:lnTo>
                  <a:lnTo>
                    <a:pt x="702" y="59"/>
                  </a:lnTo>
                  <a:lnTo>
                    <a:pt x="702" y="64"/>
                  </a:lnTo>
                  <a:lnTo>
                    <a:pt x="702" y="69"/>
                  </a:lnTo>
                  <a:lnTo>
                    <a:pt x="702" y="71"/>
                  </a:lnTo>
                  <a:lnTo>
                    <a:pt x="702" y="71"/>
                  </a:lnTo>
                  <a:lnTo>
                    <a:pt x="697" y="71"/>
                  </a:lnTo>
                  <a:lnTo>
                    <a:pt x="690" y="71"/>
                  </a:lnTo>
                  <a:lnTo>
                    <a:pt x="690" y="71"/>
                  </a:lnTo>
                  <a:lnTo>
                    <a:pt x="685" y="71"/>
                  </a:lnTo>
                  <a:lnTo>
                    <a:pt x="678" y="71"/>
                  </a:lnTo>
                  <a:lnTo>
                    <a:pt x="678" y="71"/>
                  </a:lnTo>
                  <a:lnTo>
                    <a:pt x="666" y="71"/>
                  </a:lnTo>
                  <a:lnTo>
                    <a:pt x="666" y="71"/>
                  </a:lnTo>
                  <a:lnTo>
                    <a:pt x="655" y="71"/>
                  </a:lnTo>
                  <a:lnTo>
                    <a:pt x="655" y="71"/>
                  </a:lnTo>
                  <a:lnTo>
                    <a:pt x="643" y="71"/>
                  </a:lnTo>
                  <a:lnTo>
                    <a:pt x="643" y="71"/>
                  </a:lnTo>
                  <a:lnTo>
                    <a:pt x="619" y="71"/>
                  </a:lnTo>
                  <a:lnTo>
                    <a:pt x="619" y="71"/>
                  </a:lnTo>
                  <a:lnTo>
                    <a:pt x="607" y="71"/>
                  </a:lnTo>
                  <a:lnTo>
                    <a:pt x="607" y="71"/>
                  </a:lnTo>
                  <a:lnTo>
                    <a:pt x="596" y="71"/>
                  </a:lnTo>
                  <a:lnTo>
                    <a:pt x="596" y="71"/>
                  </a:lnTo>
                  <a:lnTo>
                    <a:pt x="589" y="71"/>
                  </a:lnTo>
                  <a:lnTo>
                    <a:pt x="584" y="71"/>
                  </a:lnTo>
                  <a:lnTo>
                    <a:pt x="584" y="71"/>
                  </a:lnTo>
                  <a:lnTo>
                    <a:pt x="584" y="64"/>
                  </a:lnTo>
                  <a:lnTo>
                    <a:pt x="584" y="59"/>
                  </a:lnTo>
                  <a:lnTo>
                    <a:pt x="584" y="59"/>
                  </a:lnTo>
                  <a:lnTo>
                    <a:pt x="577" y="59"/>
                  </a:lnTo>
                  <a:lnTo>
                    <a:pt x="572" y="59"/>
                  </a:lnTo>
                  <a:lnTo>
                    <a:pt x="572" y="59"/>
                  </a:lnTo>
                  <a:lnTo>
                    <a:pt x="560" y="59"/>
                  </a:lnTo>
                  <a:lnTo>
                    <a:pt x="560" y="59"/>
                  </a:lnTo>
                  <a:lnTo>
                    <a:pt x="560" y="64"/>
                  </a:lnTo>
                  <a:lnTo>
                    <a:pt x="560" y="69"/>
                  </a:lnTo>
                  <a:lnTo>
                    <a:pt x="560" y="71"/>
                  </a:lnTo>
                  <a:lnTo>
                    <a:pt x="560" y="71"/>
                  </a:lnTo>
                  <a:lnTo>
                    <a:pt x="558" y="71"/>
                  </a:lnTo>
                  <a:lnTo>
                    <a:pt x="553" y="71"/>
                  </a:lnTo>
                  <a:lnTo>
                    <a:pt x="549" y="71"/>
                  </a:lnTo>
                  <a:lnTo>
                    <a:pt x="549" y="71"/>
                  </a:lnTo>
                  <a:lnTo>
                    <a:pt x="542" y="71"/>
                  </a:lnTo>
                  <a:lnTo>
                    <a:pt x="539" y="71"/>
                  </a:lnTo>
                  <a:lnTo>
                    <a:pt x="537" y="71"/>
                  </a:lnTo>
                  <a:lnTo>
                    <a:pt x="537" y="71"/>
                  </a:lnTo>
                  <a:lnTo>
                    <a:pt x="534" y="73"/>
                  </a:lnTo>
                  <a:lnTo>
                    <a:pt x="534" y="76"/>
                  </a:lnTo>
                  <a:lnTo>
                    <a:pt x="537" y="83"/>
                  </a:lnTo>
                  <a:lnTo>
                    <a:pt x="537" y="83"/>
                  </a:lnTo>
                  <a:lnTo>
                    <a:pt x="523" y="83"/>
                  </a:lnTo>
                  <a:lnTo>
                    <a:pt x="523" y="83"/>
                  </a:lnTo>
                  <a:lnTo>
                    <a:pt x="518" y="83"/>
                  </a:lnTo>
                  <a:lnTo>
                    <a:pt x="511" y="83"/>
                  </a:lnTo>
                  <a:lnTo>
                    <a:pt x="511" y="83"/>
                  </a:lnTo>
                  <a:lnTo>
                    <a:pt x="511" y="88"/>
                  </a:lnTo>
                  <a:lnTo>
                    <a:pt x="511" y="95"/>
                  </a:lnTo>
                  <a:lnTo>
                    <a:pt x="511" y="95"/>
                  </a:lnTo>
                  <a:lnTo>
                    <a:pt x="509" y="95"/>
                  </a:lnTo>
                  <a:lnTo>
                    <a:pt x="506" y="95"/>
                  </a:lnTo>
                  <a:lnTo>
                    <a:pt x="499" y="95"/>
                  </a:lnTo>
                  <a:lnTo>
                    <a:pt x="499" y="95"/>
                  </a:lnTo>
                  <a:lnTo>
                    <a:pt x="499" y="83"/>
                  </a:lnTo>
                  <a:lnTo>
                    <a:pt x="499" y="83"/>
                  </a:lnTo>
                  <a:lnTo>
                    <a:pt x="499" y="36"/>
                  </a:lnTo>
                  <a:lnTo>
                    <a:pt x="499" y="36"/>
                  </a:lnTo>
                  <a:lnTo>
                    <a:pt x="499" y="24"/>
                  </a:lnTo>
                  <a:lnTo>
                    <a:pt x="499" y="24"/>
                  </a:lnTo>
                  <a:lnTo>
                    <a:pt x="499" y="0"/>
                  </a:lnTo>
                  <a:lnTo>
                    <a:pt x="499" y="0"/>
                  </a:lnTo>
                  <a:lnTo>
                    <a:pt x="476" y="0"/>
                  </a:lnTo>
                  <a:lnTo>
                    <a:pt x="476" y="0"/>
                  </a:lnTo>
                  <a:lnTo>
                    <a:pt x="452" y="0"/>
                  </a:lnTo>
                  <a:lnTo>
                    <a:pt x="452" y="0"/>
                  </a:lnTo>
                  <a:lnTo>
                    <a:pt x="447" y="0"/>
                  </a:lnTo>
                  <a:lnTo>
                    <a:pt x="440" y="0"/>
                  </a:lnTo>
                  <a:lnTo>
                    <a:pt x="440" y="0"/>
                  </a:lnTo>
                  <a:lnTo>
                    <a:pt x="440" y="3"/>
                  </a:lnTo>
                  <a:lnTo>
                    <a:pt x="440" y="5"/>
                  </a:lnTo>
                  <a:lnTo>
                    <a:pt x="440" y="12"/>
                  </a:lnTo>
                  <a:lnTo>
                    <a:pt x="440" y="12"/>
                  </a:lnTo>
                  <a:lnTo>
                    <a:pt x="435" y="12"/>
                  </a:lnTo>
                  <a:lnTo>
                    <a:pt x="428" y="12"/>
                  </a:lnTo>
                  <a:lnTo>
                    <a:pt x="428" y="12"/>
                  </a:lnTo>
                  <a:lnTo>
                    <a:pt x="428" y="17"/>
                  </a:lnTo>
                  <a:lnTo>
                    <a:pt x="428" y="24"/>
                  </a:lnTo>
                  <a:lnTo>
                    <a:pt x="428" y="24"/>
                  </a:lnTo>
                  <a:lnTo>
                    <a:pt x="428" y="48"/>
                  </a:lnTo>
                  <a:lnTo>
                    <a:pt x="428" y="48"/>
                  </a:lnTo>
                  <a:lnTo>
                    <a:pt x="428" y="59"/>
                  </a:lnTo>
                  <a:lnTo>
                    <a:pt x="428" y="59"/>
                  </a:lnTo>
                  <a:lnTo>
                    <a:pt x="428" y="64"/>
                  </a:lnTo>
                  <a:lnTo>
                    <a:pt x="428" y="71"/>
                  </a:lnTo>
                  <a:lnTo>
                    <a:pt x="428" y="71"/>
                  </a:lnTo>
                  <a:lnTo>
                    <a:pt x="424" y="71"/>
                  </a:lnTo>
                  <a:lnTo>
                    <a:pt x="417" y="71"/>
                  </a:lnTo>
                  <a:lnTo>
                    <a:pt x="417" y="71"/>
                  </a:lnTo>
                  <a:lnTo>
                    <a:pt x="417" y="73"/>
                  </a:lnTo>
                  <a:lnTo>
                    <a:pt x="417" y="76"/>
                  </a:lnTo>
                  <a:lnTo>
                    <a:pt x="417" y="83"/>
                  </a:lnTo>
                  <a:lnTo>
                    <a:pt x="417" y="83"/>
                  </a:lnTo>
                  <a:lnTo>
                    <a:pt x="417" y="106"/>
                  </a:lnTo>
                  <a:lnTo>
                    <a:pt x="417" y="106"/>
                  </a:lnTo>
                  <a:lnTo>
                    <a:pt x="393" y="106"/>
                  </a:lnTo>
                  <a:lnTo>
                    <a:pt x="393" y="106"/>
                  </a:lnTo>
                  <a:lnTo>
                    <a:pt x="386" y="106"/>
                  </a:lnTo>
                  <a:lnTo>
                    <a:pt x="384" y="106"/>
                  </a:lnTo>
                  <a:lnTo>
                    <a:pt x="381" y="106"/>
                  </a:lnTo>
                  <a:lnTo>
                    <a:pt x="381" y="106"/>
                  </a:lnTo>
                  <a:lnTo>
                    <a:pt x="381" y="102"/>
                  </a:lnTo>
                  <a:lnTo>
                    <a:pt x="381" y="95"/>
                  </a:lnTo>
                  <a:lnTo>
                    <a:pt x="381" y="95"/>
                  </a:lnTo>
                  <a:lnTo>
                    <a:pt x="381" y="90"/>
                  </a:lnTo>
                  <a:lnTo>
                    <a:pt x="381" y="83"/>
                  </a:lnTo>
                  <a:lnTo>
                    <a:pt x="381" y="83"/>
                  </a:lnTo>
                  <a:lnTo>
                    <a:pt x="381" y="59"/>
                  </a:lnTo>
                  <a:lnTo>
                    <a:pt x="381" y="59"/>
                  </a:lnTo>
                  <a:lnTo>
                    <a:pt x="381" y="48"/>
                  </a:lnTo>
                  <a:lnTo>
                    <a:pt x="381" y="48"/>
                  </a:lnTo>
                  <a:lnTo>
                    <a:pt x="381" y="36"/>
                  </a:lnTo>
                  <a:lnTo>
                    <a:pt x="381" y="36"/>
                  </a:lnTo>
                  <a:lnTo>
                    <a:pt x="381" y="29"/>
                  </a:lnTo>
                  <a:lnTo>
                    <a:pt x="381" y="24"/>
                  </a:lnTo>
                  <a:lnTo>
                    <a:pt x="381" y="24"/>
                  </a:lnTo>
                  <a:lnTo>
                    <a:pt x="379" y="24"/>
                  </a:lnTo>
                  <a:lnTo>
                    <a:pt x="374" y="24"/>
                  </a:lnTo>
                  <a:lnTo>
                    <a:pt x="370" y="24"/>
                  </a:lnTo>
                  <a:lnTo>
                    <a:pt x="370" y="24"/>
                  </a:lnTo>
                  <a:lnTo>
                    <a:pt x="370" y="22"/>
                  </a:lnTo>
                  <a:lnTo>
                    <a:pt x="370" y="17"/>
                  </a:lnTo>
                  <a:lnTo>
                    <a:pt x="370" y="12"/>
                  </a:lnTo>
                  <a:lnTo>
                    <a:pt x="370" y="12"/>
                  </a:lnTo>
                  <a:lnTo>
                    <a:pt x="358" y="12"/>
                  </a:lnTo>
                  <a:lnTo>
                    <a:pt x="358" y="12"/>
                  </a:lnTo>
                  <a:lnTo>
                    <a:pt x="334" y="12"/>
                  </a:lnTo>
                  <a:lnTo>
                    <a:pt x="334" y="12"/>
                  </a:lnTo>
                  <a:lnTo>
                    <a:pt x="322" y="12"/>
                  </a:lnTo>
                  <a:lnTo>
                    <a:pt x="322" y="12"/>
                  </a:lnTo>
                  <a:lnTo>
                    <a:pt x="315" y="12"/>
                  </a:lnTo>
                  <a:lnTo>
                    <a:pt x="311" y="12"/>
                  </a:lnTo>
                  <a:lnTo>
                    <a:pt x="311" y="12"/>
                  </a:lnTo>
                  <a:lnTo>
                    <a:pt x="311" y="17"/>
                  </a:lnTo>
                  <a:lnTo>
                    <a:pt x="311" y="24"/>
                  </a:lnTo>
                  <a:lnTo>
                    <a:pt x="311" y="24"/>
                  </a:lnTo>
                  <a:lnTo>
                    <a:pt x="304" y="24"/>
                  </a:lnTo>
                  <a:lnTo>
                    <a:pt x="299" y="24"/>
                  </a:lnTo>
                  <a:lnTo>
                    <a:pt x="299" y="24"/>
                  </a:lnTo>
                  <a:lnTo>
                    <a:pt x="292" y="24"/>
                  </a:lnTo>
                  <a:lnTo>
                    <a:pt x="285" y="24"/>
                  </a:lnTo>
                  <a:lnTo>
                    <a:pt x="285" y="24"/>
                  </a:lnTo>
                  <a:lnTo>
                    <a:pt x="261" y="24"/>
                  </a:lnTo>
                  <a:lnTo>
                    <a:pt x="261" y="24"/>
                  </a:lnTo>
                  <a:lnTo>
                    <a:pt x="261" y="36"/>
                  </a:lnTo>
                  <a:lnTo>
                    <a:pt x="261" y="36"/>
                  </a:lnTo>
                  <a:lnTo>
                    <a:pt x="261" y="59"/>
                  </a:lnTo>
                  <a:lnTo>
                    <a:pt x="261" y="59"/>
                  </a:lnTo>
                  <a:lnTo>
                    <a:pt x="261" y="106"/>
                  </a:lnTo>
                  <a:lnTo>
                    <a:pt x="261" y="106"/>
                  </a:lnTo>
                  <a:lnTo>
                    <a:pt x="261" y="154"/>
                  </a:lnTo>
                  <a:lnTo>
                    <a:pt x="261" y="154"/>
                  </a:lnTo>
                  <a:lnTo>
                    <a:pt x="256" y="154"/>
                  </a:lnTo>
                  <a:lnTo>
                    <a:pt x="249" y="154"/>
                  </a:lnTo>
                  <a:lnTo>
                    <a:pt x="249" y="154"/>
                  </a:lnTo>
                  <a:lnTo>
                    <a:pt x="249" y="149"/>
                  </a:lnTo>
                  <a:lnTo>
                    <a:pt x="249" y="142"/>
                  </a:lnTo>
                  <a:lnTo>
                    <a:pt x="249" y="142"/>
                  </a:lnTo>
                  <a:lnTo>
                    <a:pt x="247" y="142"/>
                  </a:lnTo>
                  <a:lnTo>
                    <a:pt x="245" y="142"/>
                  </a:lnTo>
                  <a:lnTo>
                    <a:pt x="238" y="142"/>
                  </a:lnTo>
                  <a:lnTo>
                    <a:pt x="238" y="142"/>
                  </a:lnTo>
                  <a:lnTo>
                    <a:pt x="238" y="137"/>
                  </a:lnTo>
                  <a:lnTo>
                    <a:pt x="238" y="130"/>
                  </a:lnTo>
                  <a:lnTo>
                    <a:pt x="238" y="130"/>
                  </a:lnTo>
                  <a:lnTo>
                    <a:pt x="238" y="118"/>
                  </a:lnTo>
                  <a:lnTo>
                    <a:pt x="238" y="118"/>
                  </a:lnTo>
                  <a:lnTo>
                    <a:pt x="238" y="106"/>
                  </a:lnTo>
                  <a:lnTo>
                    <a:pt x="238" y="106"/>
                  </a:lnTo>
                  <a:lnTo>
                    <a:pt x="238" y="83"/>
                  </a:lnTo>
                  <a:lnTo>
                    <a:pt x="238" y="83"/>
                  </a:lnTo>
                  <a:lnTo>
                    <a:pt x="226" y="83"/>
                  </a:lnTo>
                  <a:lnTo>
                    <a:pt x="226" y="83"/>
                  </a:lnTo>
                  <a:lnTo>
                    <a:pt x="214" y="83"/>
                  </a:lnTo>
                  <a:lnTo>
                    <a:pt x="214" y="83"/>
                  </a:lnTo>
                  <a:lnTo>
                    <a:pt x="214" y="85"/>
                  </a:lnTo>
                  <a:lnTo>
                    <a:pt x="214" y="88"/>
                  </a:lnTo>
                  <a:lnTo>
                    <a:pt x="214" y="95"/>
                  </a:lnTo>
                  <a:lnTo>
                    <a:pt x="214" y="95"/>
                  </a:lnTo>
                  <a:lnTo>
                    <a:pt x="167" y="95"/>
                  </a:lnTo>
                  <a:lnTo>
                    <a:pt x="167" y="95"/>
                  </a:lnTo>
                  <a:lnTo>
                    <a:pt x="167" y="106"/>
                  </a:lnTo>
                  <a:lnTo>
                    <a:pt x="167" y="106"/>
                  </a:lnTo>
                  <a:lnTo>
                    <a:pt x="167" y="118"/>
                  </a:lnTo>
                  <a:lnTo>
                    <a:pt x="167" y="118"/>
                  </a:lnTo>
                  <a:lnTo>
                    <a:pt x="167" y="130"/>
                  </a:lnTo>
                  <a:lnTo>
                    <a:pt x="167" y="130"/>
                  </a:lnTo>
                  <a:lnTo>
                    <a:pt x="167" y="137"/>
                  </a:lnTo>
                  <a:lnTo>
                    <a:pt x="167" y="142"/>
                  </a:lnTo>
                  <a:lnTo>
                    <a:pt x="167" y="142"/>
                  </a:lnTo>
                  <a:lnTo>
                    <a:pt x="155" y="142"/>
                  </a:lnTo>
                  <a:lnTo>
                    <a:pt x="155" y="142"/>
                  </a:lnTo>
                  <a:lnTo>
                    <a:pt x="155" y="130"/>
                  </a:lnTo>
                  <a:lnTo>
                    <a:pt x="155" y="130"/>
                  </a:lnTo>
                  <a:lnTo>
                    <a:pt x="153" y="130"/>
                  </a:lnTo>
                  <a:lnTo>
                    <a:pt x="148" y="130"/>
                  </a:lnTo>
                  <a:lnTo>
                    <a:pt x="143" y="130"/>
                  </a:lnTo>
                  <a:lnTo>
                    <a:pt x="143" y="130"/>
                  </a:lnTo>
                  <a:lnTo>
                    <a:pt x="143" y="137"/>
                  </a:lnTo>
                  <a:lnTo>
                    <a:pt x="143" y="139"/>
                  </a:lnTo>
                  <a:lnTo>
                    <a:pt x="143" y="142"/>
                  </a:lnTo>
                  <a:lnTo>
                    <a:pt x="143" y="142"/>
                  </a:lnTo>
                  <a:lnTo>
                    <a:pt x="132" y="142"/>
                  </a:lnTo>
                  <a:lnTo>
                    <a:pt x="132" y="142"/>
                  </a:lnTo>
                  <a:lnTo>
                    <a:pt x="132" y="130"/>
                  </a:lnTo>
                  <a:lnTo>
                    <a:pt x="132" y="130"/>
                  </a:lnTo>
                  <a:lnTo>
                    <a:pt x="129" y="130"/>
                  </a:lnTo>
                  <a:lnTo>
                    <a:pt x="124" y="130"/>
                  </a:lnTo>
                  <a:lnTo>
                    <a:pt x="120" y="130"/>
                  </a:lnTo>
                  <a:lnTo>
                    <a:pt x="120" y="130"/>
                  </a:lnTo>
                  <a:lnTo>
                    <a:pt x="113" y="130"/>
                  </a:lnTo>
                  <a:lnTo>
                    <a:pt x="110" y="130"/>
                  </a:lnTo>
                  <a:lnTo>
                    <a:pt x="108" y="130"/>
                  </a:lnTo>
                  <a:lnTo>
                    <a:pt x="108" y="130"/>
                  </a:lnTo>
                  <a:lnTo>
                    <a:pt x="108" y="125"/>
                  </a:lnTo>
                  <a:lnTo>
                    <a:pt x="108" y="118"/>
                  </a:lnTo>
                  <a:lnTo>
                    <a:pt x="108" y="118"/>
                  </a:lnTo>
                  <a:lnTo>
                    <a:pt x="108" y="114"/>
                  </a:lnTo>
                  <a:lnTo>
                    <a:pt x="108" y="106"/>
                  </a:lnTo>
                  <a:lnTo>
                    <a:pt x="108" y="106"/>
                  </a:lnTo>
                  <a:lnTo>
                    <a:pt x="108" y="95"/>
                  </a:lnTo>
                  <a:lnTo>
                    <a:pt x="108" y="95"/>
                  </a:lnTo>
                  <a:lnTo>
                    <a:pt x="108" y="71"/>
                  </a:lnTo>
                  <a:lnTo>
                    <a:pt x="108" y="71"/>
                  </a:lnTo>
                  <a:lnTo>
                    <a:pt x="96" y="71"/>
                  </a:lnTo>
                  <a:lnTo>
                    <a:pt x="96" y="71"/>
                  </a:lnTo>
                  <a:lnTo>
                    <a:pt x="89" y="71"/>
                  </a:lnTo>
                  <a:lnTo>
                    <a:pt x="84" y="71"/>
                  </a:lnTo>
                  <a:lnTo>
                    <a:pt x="84" y="71"/>
                  </a:lnTo>
                  <a:lnTo>
                    <a:pt x="84" y="66"/>
                  </a:lnTo>
                  <a:lnTo>
                    <a:pt x="84" y="59"/>
                  </a:lnTo>
                  <a:lnTo>
                    <a:pt x="84" y="59"/>
                  </a:lnTo>
                  <a:lnTo>
                    <a:pt x="82" y="59"/>
                  </a:lnTo>
                  <a:lnTo>
                    <a:pt x="77" y="59"/>
                  </a:lnTo>
                  <a:lnTo>
                    <a:pt x="73" y="59"/>
                  </a:lnTo>
                  <a:lnTo>
                    <a:pt x="73" y="59"/>
                  </a:lnTo>
                  <a:lnTo>
                    <a:pt x="73" y="48"/>
                  </a:lnTo>
                  <a:lnTo>
                    <a:pt x="73" y="48"/>
                  </a:lnTo>
                  <a:lnTo>
                    <a:pt x="70" y="41"/>
                  </a:lnTo>
                  <a:lnTo>
                    <a:pt x="73" y="36"/>
                  </a:lnTo>
                  <a:lnTo>
                    <a:pt x="73" y="36"/>
                  </a:lnTo>
                  <a:lnTo>
                    <a:pt x="75" y="36"/>
                  </a:lnTo>
                  <a:lnTo>
                    <a:pt x="77" y="36"/>
                  </a:lnTo>
                  <a:lnTo>
                    <a:pt x="84" y="36"/>
                  </a:lnTo>
                  <a:lnTo>
                    <a:pt x="84" y="36"/>
                  </a:lnTo>
                  <a:lnTo>
                    <a:pt x="84" y="12"/>
                  </a:lnTo>
                  <a:lnTo>
                    <a:pt x="84" y="12"/>
                  </a:lnTo>
                  <a:lnTo>
                    <a:pt x="35" y="12"/>
                  </a:lnTo>
                  <a:lnTo>
                    <a:pt x="35" y="12"/>
                  </a:lnTo>
                  <a:lnTo>
                    <a:pt x="11" y="12"/>
                  </a:lnTo>
                  <a:lnTo>
                    <a:pt x="11" y="12"/>
                  </a:lnTo>
                  <a:lnTo>
                    <a:pt x="0" y="12"/>
                  </a:lnTo>
                  <a:lnTo>
                    <a:pt x="0" y="262"/>
                  </a:lnTo>
                  <a:lnTo>
                    <a:pt x="0" y="262"/>
                  </a:lnTo>
                  <a:lnTo>
                    <a:pt x="23" y="262"/>
                  </a:lnTo>
                  <a:lnTo>
                    <a:pt x="23" y="262"/>
                  </a:lnTo>
                  <a:lnTo>
                    <a:pt x="35" y="262"/>
                  </a:lnTo>
                  <a:lnTo>
                    <a:pt x="35" y="262"/>
                  </a:lnTo>
                  <a:lnTo>
                    <a:pt x="61" y="262"/>
                  </a:lnTo>
                  <a:lnTo>
                    <a:pt x="61" y="262"/>
                  </a:lnTo>
                  <a:lnTo>
                    <a:pt x="73" y="262"/>
                  </a:lnTo>
                  <a:lnTo>
                    <a:pt x="73" y="262"/>
                  </a:lnTo>
                  <a:lnTo>
                    <a:pt x="96" y="262"/>
                  </a:lnTo>
                  <a:lnTo>
                    <a:pt x="96" y="262"/>
                  </a:lnTo>
                  <a:lnTo>
                    <a:pt x="108" y="262"/>
                  </a:lnTo>
                  <a:lnTo>
                    <a:pt x="108" y="262"/>
                  </a:lnTo>
                  <a:lnTo>
                    <a:pt x="132" y="262"/>
                  </a:lnTo>
                  <a:lnTo>
                    <a:pt x="132" y="262"/>
                  </a:lnTo>
                  <a:lnTo>
                    <a:pt x="143" y="262"/>
                  </a:lnTo>
                  <a:lnTo>
                    <a:pt x="143" y="262"/>
                  </a:lnTo>
                  <a:lnTo>
                    <a:pt x="167" y="262"/>
                  </a:lnTo>
                  <a:lnTo>
                    <a:pt x="167" y="262"/>
                  </a:lnTo>
                  <a:lnTo>
                    <a:pt x="179" y="262"/>
                  </a:lnTo>
                  <a:lnTo>
                    <a:pt x="179" y="262"/>
                  </a:lnTo>
                  <a:lnTo>
                    <a:pt x="202" y="262"/>
                  </a:lnTo>
                  <a:lnTo>
                    <a:pt x="202" y="262"/>
                  </a:lnTo>
                  <a:lnTo>
                    <a:pt x="214" y="262"/>
                  </a:lnTo>
                  <a:lnTo>
                    <a:pt x="214" y="262"/>
                  </a:lnTo>
                  <a:lnTo>
                    <a:pt x="238" y="262"/>
                  </a:lnTo>
                  <a:lnTo>
                    <a:pt x="238" y="262"/>
                  </a:lnTo>
                  <a:lnTo>
                    <a:pt x="249" y="262"/>
                  </a:lnTo>
                  <a:lnTo>
                    <a:pt x="249" y="262"/>
                  </a:lnTo>
                  <a:lnTo>
                    <a:pt x="299" y="262"/>
                  </a:lnTo>
                  <a:lnTo>
                    <a:pt x="299" y="262"/>
                  </a:lnTo>
                  <a:lnTo>
                    <a:pt x="311" y="262"/>
                  </a:lnTo>
                  <a:lnTo>
                    <a:pt x="311" y="262"/>
                  </a:lnTo>
                  <a:lnTo>
                    <a:pt x="334" y="262"/>
                  </a:lnTo>
                  <a:lnTo>
                    <a:pt x="334" y="262"/>
                  </a:lnTo>
                  <a:lnTo>
                    <a:pt x="346" y="262"/>
                  </a:lnTo>
                  <a:lnTo>
                    <a:pt x="346" y="262"/>
                  </a:lnTo>
                  <a:lnTo>
                    <a:pt x="370" y="262"/>
                  </a:lnTo>
                  <a:lnTo>
                    <a:pt x="370" y="262"/>
                  </a:lnTo>
                  <a:lnTo>
                    <a:pt x="381" y="262"/>
                  </a:lnTo>
                  <a:lnTo>
                    <a:pt x="381" y="262"/>
                  </a:lnTo>
                  <a:lnTo>
                    <a:pt x="405" y="262"/>
                  </a:lnTo>
                  <a:lnTo>
                    <a:pt x="405" y="262"/>
                  </a:lnTo>
                  <a:lnTo>
                    <a:pt x="417" y="262"/>
                  </a:lnTo>
                  <a:lnTo>
                    <a:pt x="417" y="262"/>
                  </a:lnTo>
                  <a:lnTo>
                    <a:pt x="440" y="262"/>
                  </a:lnTo>
                  <a:lnTo>
                    <a:pt x="440" y="262"/>
                  </a:lnTo>
                  <a:lnTo>
                    <a:pt x="452" y="262"/>
                  </a:lnTo>
                  <a:lnTo>
                    <a:pt x="452" y="262"/>
                  </a:lnTo>
                  <a:lnTo>
                    <a:pt x="476" y="262"/>
                  </a:lnTo>
                  <a:lnTo>
                    <a:pt x="476" y="262"/>
                  </a:lnTo>
                  <a:lnTo>
                    <a:pt x="487" y="262"/>
                  </a:lnTo>
                  <a:lnTo>
                    <a:pt x="487" y="262"/>
                  </a:lnTo>
                  <a:lnTo>
                    <a:pt x="511" y="262"/>
                  </a:lnTo>
                  <a:lnTo>
                    <a:pt x="511" y="262"/>
                  </a:lnTo>
                  <a:lnTo>
                    <a:pt x="523" y="262"/>
                  </a:lnTo>
                  <a:lnTo>
                    <a:pt x="523" y="262"/>
                  </a:lnTo>
                  <a:lnTo>
                    <a:pt x="572" y="262"/>
                  </a:lnTo>
                  <a:lnTo>
                    <a:pt x="572" y="262"/>
                  </a:lnTo>
                  <a:lnTo>
                    <a:pt x="584" y="262"/>
                  </a:lnTo>
                  <a:lnTo>
                    <a:pt x="584" y="262"/>
                  </a:lnTo>
                  <a:lnTo>
                    <a:pt x="607" y="262"/>
                  </a:lnTo>
                  <a:lnTo>
                    <a:pt x="607" y="262"/>
                  </a:lnTo>
                  <a:lnTo>
                    <a:pt x="619" y="262"/>
                  </a:lnTo>
                  <a:lnTo>
                    <a:pt x="619" y="262"/>
                  </a:lnTo>
                  <a:lnTo>
                    <a:pt x="643" y="262"/>
                  </a:lnTo>
                  <a:lnTo>
                    <a:pt x="643" y="262"/>
                  </a:lnTo>
                  <a:lnTo>
                    <a:pt x="655" y="262"/>
                  </a:lnTo>
                  <a:lnTo>
                    <a:pt x="655" y="262"/>
                  </a:lnTo>
                  <a:lnTo>
                    <a:pt x="678" y="262"/>
                  </a:lnTo>
                  <a:lnTo>
                    <a:pt x="678" y="262"/>
                  </a:lnTo>
                  <a:lnTo>
                    <a:pt x="690" y="262"/>
                  </a:lnTo>
                  <a:lnTo>
                    <a:pt x="690" y="262"/>
                  </a:lnTo>
                  <a:lnTo>
                    <a:pt x="714" y="262"/>
                  </a:lnTo>
                  <a:lnTo>
                    <a:pt x="714" y="262"/>
                  </a:lnTo>
                  <a:lnTo>
                    <a:pt x="725" y="262"/>
                  </a:lnTo>
                  <a:lnTo>
                    <a:pt x="725" y="262"/>
                  </a:lnTo>
                  <a:lnTo>
                    <a:pt x="749" y="262"/>
                  </a:lnTo>
                  <a:lnTo>
                    <a:pt x="749" y="262"/>
                  </a:lnTo>
                  <a:lnTo>
                    <a:pt x="761" y="262"/>
                  </a:lnTo>
                  <a:lnTo>
                    <a:pt x="761" y="262"/>
                  </a:lnTo>
                  <a:lnTo>
                    <a:pt x="787" y="262"/>
                  </a:lnTo>
                  <a:lnTo>
                    <a:pt x="787" y="262"/>
                  </a:lnTo>
                  <a:lnTo>
                    <a:pt x="798" y="262"/>
                  </a:lnTo>
                  <a:lnTo>
                    <a:pt x="798" y="262"/>
                  </a:lnTo>
                  <a:lnTo>
                    <a:pt x="845" y="262"/>
                  </a:lnTo>
                  <a:lnTo>
                    <a:pt x="845" y="262"/>
                  </a:lnTo>
                  <a:lnTo>
                    <a:pt x="857" y="262"/>
                  </a:lnTo>
                  <a:lnTo>
                    <a:pt x="857" y="262"/>
                  </a:lnTo>
                  <a:lnTo>
                    <a:pt x="881" y="262"/>
                  </a:lnTo>
                  <a:lnTo>
                    <a:pt x="881" y="262"/>
                  </a:lnTo>
                  <a:lnTo>
                    <a:pt x="893" y="262"/>
                  </a:lnTo>
                  <a:lnTo>
                    <a:pt x="893" y="262"/>
                  </a:lnTo>
                  <a:lnTo>
                    <a:pt x="916" y="262"/>
                  </a:lnTo>
                  <a:lnTo>
                    <a:pt x="916" y="262"/>
                  </a:lnTo>
                  <a:lnTo>
                    <a:pt x="928" y="262"/>
                  </a:lnTo>
                  <a:lnTo>
                    <a:pt x="928" y="262"/>
                  </a:lnTo>
                  <a:lnTo>
                    <a:pt x="951" y="262"/>
                  </a:lnTo>
                  <a:lnTo>
                    <a:pt x="951" y="262"/>
                  </a:lnTo>
                  <a:lnTo>
                    <a:pt x="963" y="262"/>
                  </a:lnTo>
                  <a:lnTo>
                    <a:pt x="963" y="262"/>
                  </a:lnTo>
                  <a:lnTo>
                    <a:pt x="987" y="262"/>
                  </a:lnTo>
                  <a:lnTo>
                    <a:pt x="987" y="262"/>
                  </a:lnTo>
                  <a:lnTo>
                    <a:pt x="999" y="262"/>
                  </a:lnTo>
                  <a:lnTo>
                    <a:pt x="999" y="262"/>
                  </a:lnTo>
                  <a:lnTo>
                    <a:pt x="1022" y="262"/>
                  </a:lnTo>
                  <a:lnTo>
                    <a:pt x="1022" y="262"/>
                  </a:lnTo>
                  <a:lnTo>
                    <a:pt x="1036" y="262"/>
                  </a:lnTo>
                  <a:lnTo>
                    <a:pt x="1036" y="262"/>
                  </a:lnTo>
                  <a:lnTo>
                    <a:pt x="1060" y="262"/>
                  </a:lnTo>
                  <a:lnTo>
                    <a:pt x="1060" y="262"/>
                  </a:lnTo>
                  <a:lnTo>
                    <a:pt x="1072" y="262"/>
                  </a:lnTo>
                  <a:lnTo>
                    <a:pt x="1072" y="262"/>
                  </a:lnTo>
                  <a:lnTo>
                    <a:pt x="1119" y="262"/>
                  </a:lnTo>
                  <a:lnTo>
                    <a:pt x="1119" y="262"/>
                  </a:lnTo>
                  <a:lnTo>
                    <a:pt x="1131" y="262"/>
                  </a:lnTo>
                  <a:lnTo>
                    <a:pt x="1131" y="262"/>
                  </a:lnTo>
                  <a:lnTo>
                    <a:pt x="1154" y="262"/>
                  </a:lnTo>
                  <a:lnTo>
                    <a:pt x="1154" y="262"/>
                  </a:lnTo>
                  <a:lnTo>
                    <a:pt x="1166" y="262"/>
                  </a:lnTo>
                  <a:lnTo>
                    <a:pt x="1166" y="262"/>
                  </a:lnTo>
                  <a:lnTo>
                    <a:pt x="1189" y="262"/>
                  </a:lnTo>
                  <a:lnTo>
                    <a:pt x="1189" y="262"/>
                  </a:lnTo>
                  <a:lnTo>
                    <a:pt x="1201" y="262"/>
                  </a:lnTo>
                  <a:lnTo>
                    <a:pt x="1201" y="262"/>
                  </a:lnTo>
                  <a:lnTo>
                    <a:pt x="1225" y="262"/>
                  </a:lnTo>
                  <a:lnTo>
                    <a:pt x="1225" y="262"/>
                  </a:lnTo>
                  <a:lnTo>
                    <a:pt x="1237" y="262"/>
                  </a:lnTo>
                  <a:lnTo>
                    <a:pt x="1237" y="262"/>
                  </a:lnTo>
                  <a:lnTo>
                    <a:pt x="1260" y="262"/>
                  </a:lnTo>
                  <a:lnTo>
                    <a:pt x="1260" y="262"/>
                  </a:lnTo>
                  <a:lnTo>
                    <a:pt x="1274" y="262"/>
                  </a:lnTo>
                  <a:lnTo>
                    <a:pt x="1274" y="262"/>
                  </a:lnTo>
                  <a:lnTo>
                    <a:pt x="1298" y="262"/>
                  </a:lnTo>
                  <a:lnTo>
                    <a:pt x="1298" y="262"/>
                  </a:lnTo>
                  <a:lnTo>
                    <a:pt x="1310" y="262"/>
                  </a:lnTo>
                  <a:lnTo>
                    <a:pt x="1310" y="262"/>
                  </a:lnTo>
                  <a:lnTo>
                    <a:pt x="1333" y="262"/>
                  </a:lnTo>
                  <a:lnTo>
                    <a:pt x="1333" y="262"/>
                  </a:lnTo>
                  <a:lnTo>
                    <a:pt x="1345" y="262"/>
                  </a:lnTo>
                  <a:lnTo>
                    <a:pt x="1345" y="262"/>
                  </a:lnTo>
                  <a:lnTo>
                    <a:pt x="1392" y="262"/>
                  </a:lnTo>
                  <a:lnTo>
                    <a:pt x="1392" y="262"/>
                  </a:lnTo>
                  <a:lnTo>
                    <a:pt x="1404" y="262"/>
                  </a:lnTo>
                  <a:lnTo>
                    <a:pt x="1404" y="262"/>
                  </a:lnTo>
                  <a:lnTo>
                    <a:pt x="1427" y="262"/>
                  </a:lnTo>
                  <a:lnTo>
                    <a:pt x="1427" y="262"/>
                  </a:lnTo>
                  <a:lnTo>
                    <a:pt x="1439" y="262"/>
                  </a:lnTo>
                  <a:lnTo>
                    <a:pt x="1439" y="262"/>
                  </a:lnTo>
                  <a:lnTo>
                    <a:pt x="1463" y="262"/>
                  </a:lnTo>
                  <a:lnTo>
                    <a:pt x="1463" y="262"/>
                  </a:lnTo>
                  <a:lnTo>
                    <a:pt x="1475" y="262"/>
                  </a:lnTo>
                  <a:lnTo>
                    <a:pt x="1475" y="262"/>
                  </a:lnTo>
                  <a:lnTo>
                    <a:pt x="1498" y="262"/>
                  </a:lnTo>
                  <a:lnTo>
                    <a:pt x="1498" y="262"/>
                  </a:lnTo>
                  <a:lnTo>
                    <a:pt x="1510" y="262"/>
                  </a:lnTo>
                  <a:lnTo>
                    <a:pt x="1510" y="262"/>
                  </a:lnTo>
                  <a:lnTo>
                    <a:pt x="1536" y="262"/>
                  </a:lnTo>
                  <a:lnTo>
                    <a:pt x="1536" y="262"/>
                  </a:lnTo>
                  <a:lnTo>
                    <a:pt x="1548" y="262"/>
                  </a:lnTo>
                  <a:lnTo>
                    <a:pt x="1548" y="262"/>
                  </a:lnTo>
                  <a:lnTo>
                    <a:pt x="1571" y="262"/>
                  </a:lnTo>
                  <a:lnTo>
                    <a:pt x="1571" y="262"/>
                  </a:lnTo>
                  <a:lnTo>
                    <a:pt x="1583" y="262"/>
                  </a:lnTo>
                  <a:lnTo>
                    <a:pt x="1583" y="262"/>
                  </a:lnTo>
                  <a:lnTo>
                    <a:pt x="1607" y="262"/>
                  </a:lnTo>
                  <a:lnTo>
                    <a:pt x="1607" y="262"/>
                  </a:lnTo>
                  <a:lnTo>
                    <a:pt x="1618" y="262"/>
                  </a:lnTo>
                  <a:lnTo>
                    <a:pt x="1618" y="262"/>
                  </a:lnTo>
                  <a:lnTo>
                    <a:pt x="1665" y="262"/>
                  </a:lnTo>
                  <a:lnTo>
                    <a:pt x="1665" y="262"/>
                  </a:lnTo>
                  <a:lnTo>
                    <a:pt x="1677" y="262"/>
                  </a:lnTo>
                  <a:lnTo>
                    <a:pt x="1677" y="262"/>
                  </a:lnTo>
                  <a:lnTo>
                    <a:pt x="1701" y="262"/>
                  </a:lnTo>
                  <a:lnTo>
                    <a:pt x="1701" y="262"/>
                  </a:lnTo>
                  <a:lnTo>
                    <a:pt x="1713" y="262"/>
                  </a:lnTo>
                  <a:lnTo>
                    <a:pt x="1713" y="262"/>
                  </a:lnTo>
                  <a:lnTo>
                    <a:pt x="1736" y="262"/>
                  </a:lnTo>
                  <a:lnTo>
                    <a:pt x="1736" y="262"/>
                  </a:lnTo>
                  <a:lnTo>
                    <a:pt x="1748" y="262"/>
                  </a:lnTo>
                  <a:lnTo>
                    <a:pt x="1748" y="262"/>
                  </a:lnTo>
                  <a:lnTo>
                    <a:pt x="1774" y="262"/>
                  </a:lnTo>
                  <a:lnTo>
                    <a:pt x="1774" y="262"/>
                  </a:lnTo>
                  <a:lnTo>
                    <a:pt x="1786" y="262"/>
                  </a:lnTo>
                  <a:lnTo>
                    <a:pt x="1786" y="262"/>
                  </a:lnTo>
                  <a:lnTo>
                    <a:pt x="1809" y="262"/>
                  </a:lnTo>
                  <a:lnTo>
                    <a:pt x="1809" y="262"/>
                  </a:lnTo>
                  <a:lnTo>
                    <a:pt x="1821" y="262"/>
                  </a:lnTo>
                  <a:lnTo>
                    <a:pt x="1821" y="262"/>
                  </a:lnTo>
                  <a:lnTo>
                    <a:pt x="1844" y="262"/>
                  </a:lnTo>
                  <a:lnTo>
                    <a:pt x="1844" y="262"/>
                  </a:lnTo>
                  <a:lnTo>
                    <a:pt x="1856" y="262"/>
                  </a:lnTo>
                  <a:lnTo>
                    <a:pt x="1856" y="262"/>
                  </a:lnTo>
                  <a:lnTo>
                    <a:pt x="1880" y="262"/>
                  </a:lnTo>
                  <a:lnTo>
                    <a:pt x="1880" y="262"/>
                  </a:lnTo>
                  <a:lnTo>
                    <a:pt x="1892" y="262"/>
                  </a:lnTo>
                  <a:lnTo>
                    <a:pt x="1892" y="262"/>
                  </a:lnTo>
                  <a:lnTo>
                    <a:pt x="1939" y="262"/>
                  </a:lnTo>
                  <a:lnTo>
                    <a:pt x="1939" y="262"/>
                  </a:lnTo>
                  <a:lnTo>
                    <a:pt x="1951" y="262"/>
                  </a:lnTo>
                  <a:lnTo>
                    <a:pt x="1951" y="262"/>
                  </a:lnTo>
                  <a:lnTo>
                    <a:pt x="1974" y="262"/>
                  </a:lnTo>
                  <a:lnTo>
                    <a:pt x="1974" y="262"/>
                  </a:lnTo>
                  <a:lnTo>
                    <a:pt x="1986" y="262"/>
                  </a:lnTo>
                  <a:lnTo>
                    <a:pt x="1986" y="262"/>
                  </a:lnTo>
                  <a:lnTo>
                    <a:pt x="2012" y="262"/>
                  </a:lnTo>
                  <a:lnTo>
                    <a:pt x="2012" y="262"/>
                  </a:lnTo>
                  <a:lnTo>
                    <a:pt x="2024" y="262"/>
                  </a:lnTo>
                  <a:lnTo>
                    <a:pt x="2024" y="262"/>
                  </a:lnTo>
                  <a:lnTo>
                    <a:pt x="2047" y="262"/>
                  </a:lnTo>
                  <a:lnTo>
                    <a:pt x="2047" y="262"/>
                  </a:lnTo>
                  <a:lnTo>
                    <a:pt x="2059" y="262"/>
                  </a:lnTo>
                  <a:lnTo>
                    <a:pt x="2059" y="262"/>
                  </a:lnTo>
                  <a:lnTo>
                    <a:pt x="2082" y="262"/>
                  </a:lnTo>
                  <a:lnTo>
                    <a:pt x="2082" y="262"/>
                  </a:lnTo>
                  <a:lnTo>
                    <a:pt x="2094" y="262"/>
                  </a:lnTo>
                  <a:lnTo>
                    <a:pt x="2094" y="262"/>
                  </a:lnTo>
                  <a:lnTo>
                    <a:pt x="2118" y="262"/>
                  </a:lnTo>
                  <a:lnTo>
                    <a:pt x="2118" y="262"/>
                  </a:lnTo>
                  <a:lnTo>
                    <a:pt x="2130" y="262"/>
                  </a:lnTo>
                  <a:lnTo>
                    <a:pt x="2130" y="262"/>
                  </a:lnTo>
                  <a:lnTo>
                    <a:pt x="2153" y="262"/>
                  </a:lnTo>
                  <a:lnTo>
                    <a:pt x="2153" y="262"/>
                  </a:lnTo>
                  <a:lnTo>
                    <a:pt x="2165" y="262"/>
                  </a:lnTo>
                  <a:lnTo>
                    <a:pt x="2165" y="262"/>
                  </a:lnTo>
                  <a:lnTo>
                    <a:pt x="2188" y="262"/>
                  </a:lnTo>
                  <a:lnTo>
                    <a:pt x="2188" y="262"/>
                  </a:lnTo>
                  <a:lnTo>
                    <a:pt x="2200" y="262"/>
                  </a:lnTo>
                  <a:lnTo>
                    <a:pt x="2200" y="262"/>
                  </a:lnTo>
                  <a:lnTo>
                    <a:pt x="2224" y="262"/>
                  </a:lnTo>
                  <a:lnTo>
                    <a:pt x="2224" y="262"/>
                  </a:lnTo>
                  <a:lnTo>
                    <a:pt x="2250" y="262"/>
                  </a:lnTo>
                  <a:lnTo>
                    <a:pt x="2250" y="262"/>
                  </a:lnTo>
                  <a:lnTo>
                    <a:pt x="2297" y="262"/>
                  </a:lnTo>
                  <a:lnTo>
                    <a:pt x="2297" y="262"/>
                  </a:lnTo>
                  <a:lnTo>
                    <a:pt x="2320" y="262"/>
                  </a:lnTo>
                  <a:lnTo>
                    <a:pt x="2320" y="262"/>
                  </a:lnTo>
                  <a:lnTo>
                    <a:pt x="2344" y="262"/>
                  </a:lnTo>
                  <a:lnTo>
                    <a:pt x="2344" y="262"/>
                  </a:lnTo>
                  <a:lnTo>
                    <a:pt x="2344" y="250"/>
                  </a:lnTo>
                  <a:lnTo>
                    <a:pt x="2344" y="250"/>
                  </a:lnTo>
                  <a:lnTo>
                    <a:pt x="2344" y="238"/>
                  </a:lnTo>
                  <a:lnTo>
                    <a:pt x="2344" y="238"/>
                  </a:lnTo>
                  <a:lnTo>
                    <a:pt x="2344" y="227"/>
                  </a:lnTo>
                  <a:lnTo>
                    <a:pt x="2344" y="227"/>
                  </a:lnTo>
                  <a:lnTo>
                    <a:pt x="2344" y="201"/>
                  </a:lnTo>
                  <a:lnTo>
                    <a:pt x="2344" y="201"/>
                  </a:lnTo>
                  <a:lnTo>
                    <a:pt x="2320" y="201"/>
                  </a:lnTo>
                  <a:lnTo>
                    <a:pt x="2320" y="201"/>
                  </a:lnTo>
                  <a:close/>
                </a:path>
              </a:pathLst>
            </a:custGeom>
            <a:grpFill/>
            <a:ln>
              <a:noFill/>
            </a:ln>
          </p:spPr>
          <p:txBody>
            <a:bodyPr vert="horz" wrap="square" lIns="91440" tIns="45720" rIns="91440" bIns="45720" numCol="1" anchor="t" anchorCtr="0" compatLnSpc="1"/>
            <a:lstStyle/>
            <a:p>
              <a:endParaRPr lang="en-US" dirty="0"/>
            </a:p>
          </p:txBody>
        </p:sp>
        <p:sp>
          <p:nvSpPr>
            <p:cNvPr id="11" name="Freeform 10"/>
            <p:cNvSpPr/>
            <p:nvPr/>
          </p:nvSpPr>
          <p:spPr bwMode="auto">
            <a:xfrm>
              <a:off x="947738" y="3194420"/>
              <a:ext cx="3700462" cy="602088"/>
            </a:xfrm>
            <a:custGeom>
              <a:avLst/>
              <a:gdLst>
                <a:gd name="T0" fmla="*/ 2260 w 2331"/>
                <a:gd name="T1" fmla="*/ 262 h 476"/>
                <a:gd name="T2" fmla="*/ 2236 w 2331"/>
                <a:gd name="T3" fmla="*/ 273 h 476"/>
                <a:gd name="T4" fmla="*/ 2177 w 2331"/>
                <a:gd name="T5" fmla="*/ 273 h 476"/>
                <a:gd name="T6" fmla="*/ 2135 w 2331"/>
                <a:gd name="T7" fmla="*/ 238 h 476"/>
                <a:gd name="T8" fmla="*/ 2104 w 2331"/>
                <a:gd name="T9" fmla="*/ 285 h 476"/>
                <a:gd name="T10" fmla="*/ 2076 w 2331"/>
                <a:gd name="T11" fmla="*/ 285 h 476"/>
                <a:gd name="T12" fmla="*/ 2053 w 2331"/>
                <a:gd name="T13" fmla="*/ 297 h 476"/>
                <a:gd name="T14" fmla="*/ 1998 w 2331"/>
                <a:gd name="T15" fmla="*/ 320 h 476"/>
                <a:gd name="T16" fmla="*/ 1951 w 2331"/>
                <a:gd name="T17" fmla="*/ 179 h 476"/>
                <a:gd name="T18" fmla="*/ 1904 w 2331"/>
                <a:gd name="T19" fmla="*/ 153 h 476"/>
                <a:gd name="T20" fmla="*/ 1796 w 2331"/>
                <a:gd name="T21" fmla="*/ 262 h 476"/>
                <a:gd name="T22" fmla="*/ 1737 w 2331"/>
                <a:gd name="T23" fmla="*/ 285 h 476"/>
                <a:gd name="T24" fmla="*/ 1702 w 2331"/>
                <a:gd name="T25" fmla="*/ 262 h 476"/>
                <a:gd name="T26" fmla="*/ 1654 w 2331"/>
                <a:gd name="T27" fmla="*/ 231 h 476"/>
                <a:gd name="T28" fmla="*/ 1628 w 2331"/>
                <a:gd name="T29" fmla="*/ 273 h 476"/>
                <a:gd name="T30" fmla="*/ 1581 w 2331"/>
                <a:gd name="T31" fmla="*/ 250 h 476"/>
                <a:gd name="T32" fmla="*/ 1570 w 2331"/>
                <a:gd name="T33" fmla="*/ 141 h 476"/>
                <a:gd name="T34" fmla="*/ 1534 w 2331"/>
                <a:gd name="T35" fmla="*/ 141 h 476"/>
                <a:gd name="T36" fmla="*/ 1499 w 2331"/>
                <a:gd name="T37" fmla="*/ 184 h 476"/>
                <a:gd name="T38" fmla="*/ 1475 w 2331"/>
                <a:gd name="T39" fmla="*/ 285 h 476"/>
                <a:gd name="T40" fmla="*/ 1428 w 2331"/>
                <a:gd name="T41" fmla="*/ 297 h 476"/>
                <a:gd name="T42" fmla="*/ 1428 w 2331"/>
                <a:gd name="T43" fmla="*/ 118 h 476"/>
                <a:gd name="T44" fmla="*/ 1355 w 2331"/>
                <a:gd name="T45" fmla="*/ 106 h 476"/>
                <a:gd name="T46" fmla="*/ 1343 w 2331"/>
                <a:gd name="T47" fmla="*/ 214 h 476"/>
                <a:gd name="T48" fmla="*/ 1320 w 2331"/>
                <a:gd name="T49" fmla="*/ 309 h 476"/>
                <a:gd name="T50" fmla="*/ 1296 w 2331"/>
                <a:gd name="T51" fmla="*/ 356 h 476"/>
                <a:gd name="T52" fmla="*/ 1280 w 2331"/>
                <a:gd name="T53" fmla="*/ 297 h 476"/>
                <a:gd name="T54" fmla="*/ 1237 w 2331"/>
                <a:gd name="T55" fmla="*/ 273 h 476"/>
                <a:gd name="T56" fmla="*/ 1195 w 2331"/>
                <a:gd name="T57" fmla="*/ 297 h 476"/>
                <a:gd name="T58" fmla="*/ 1171 w 2331"/>
                <a:gd name="T59" fmla="*/ 344 h 476"/>
                <a:gd name="T60" fmla="*/ 1141 w 2331"/>
                <a:gd name="T61" fmla="*/ 297 h 476"/>
                <a:gd name="T62" fmla="*/ 1105 w 2331"/>
                <a:gd name="T63" fmla="*/ 273 h 476"/>
                <a:gd name="T64" fmla="*/ 952 w 2331"/>
                <a:gd name="T65" fmla="*/ 344 h 476"/>
                <a:gd name="T66" fmla="*/ 903 w 2331"/>
                <a:gd name="T67" fmla="*/ 262 h 476"/>
                <a:gd name="T68" fmla="*/ 856 w 2331"/>
                <a:gd name="T69" fmla="*/ 59 h 476"/>
                <a:gd name="T70" fmla="*/ 750 w 2331"/>
                <a:gd name="T71" fmla="*/ 35 h 476"/>
                <a:gd name="T72" fmla="*/ 738 w 2331"/>
                <a:gd name="T73" fmla="*/ 141 h 476"/>
                <a:gd name="T74" fmla="*/ 726 w 2331"/>
                <a:gd name="T75" fmla="*/ 278 h 476"/>
                <a:gd name="T76" fmla="*/ 667 w 2331"/>
                <a:gd name="T77" fmla="*/ 273 h 476"/>
                <a:gd name="T78" fmla="*/ 618 w 2331"/>
                <a:gd name="T79" fmla="*/ 297 h 476"/>
                <a:gd name="T80" fmla="*/ 559 w 2331"/>
                <a:gd name="T81" fmla="*/ 320 h 476"/>
                <a:gd name="T82" fmla="*/ 523 w 2331"/>
                <a:gd name="T83" fmla="*/ 344 h 476"/>
                <a:gd name="T84" fmla="*/ 429 w 2331"/>
                <a:gd name="T85" fmla="*/ 339 h 476"/>
                <a:gd name="T86" fmla="*/ 380 w 2331"/>
                <a:gd name="T87" fmla="*/ 356 h 476"/>
                <a:gd name="T88" fmla="*/ 250 w 2331"/>
                <a:gd name="T89" fmla="*/ 356 h 476"/>
                <a:gd name="T90" fmla="*/ 179 w 2331"/>
                <a:gd name="T91" fmla="*/ 356 h 476"/>
                <a:gd name="T92" fmla="*/ 0 w 2331"/>
                <a:gd name="T93" fmla="*/ 415 h 476"/>
                <a:gd name="T94" fmla="*/ 142 w 2331"/>
                <a:gd name="T95" fmla="*/ 476 h 476"/>
                <a:gd name="T96" fmla="*/ 309 w 2331"/>
                <a:gd name="T97" fmla="*/ 476 h 476"/>
                <a:gd name="T98" fmla="*/ 488 w 2331"/>
                <a:gd name="T99" fmla="*/ 476 h 476"/>
                <a:gd name="T100" fmla="*/ 653 w 2331"/>
                <a:gd name="T101" fmla="*/ 476 h 476"/>
                <a:gd name="T102" fmla="*/ 832 w 2331"/>
                <a:gd name="T103" fmla="*/ 476 h 476"/>
                <a:gd name="T104" fmla="*/ 1023 w 2331"/>
                <a:gd name="T105" fmla="*/ 476 h 476"/>
                <a:gd name="T106" fmla="*/ 1178 w 2331"/>
                <a:gd name="T107" fmla="*/ 476 h 476"/>
                <a:gd name="T108" fmla="*/ 1367 w 2331"/>
                <a:gd name="T109" fmla="*/ 476 h 476"/>
                <a:gd name="T110" fmla="*/ 1546 w 2331"/>
                <a:gd name="T111" fmla="*/ 476 h 476"/>
                <a:gd name="T112" fmla="*/ 1713 w 2331"/>
                <a:gd name="T113" fmla="*/ 476 h 476"/>
                <a:gd name="T114" fmla="*/ 1892 w 2331"/>
                <a:gd name="T115" fmla="*/ 476 h 476"/>
                <a:gd name="T116" fmla="*/ 2081 w 2331"/>
                <a:gd name="T117" fmla="*/ 476 h 476"/>
                <a:gd name="T118" fmla="*/ 2236 w 2331"/>
                <a:gd name="T119" fmla="*/ 47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31" h="476">
                  <a:moveTo>
                    <a:pt x="2331" y="226"/>
                  </a:moveTo>
                  <a:lnTo>
                    <a:pt x="2331" y="226"/>
                  </a:lnTo>
                  <a:lnTo>
                    <a:pt x="2295" y="226"/>
                  </a:lnTo>
                  <a:lnTo>
                    <a:pt x="2295" y="226"/>
                  </a:lnTo>
                  <a:lnTo>
                    <a:pt x="2283" y="226"/>
                  </a:lnTo>
                  <a:lnTo>
                    <a:pt x="2283" y="226"/>
                  </a:lnTo>
                  <a:lnTo>
                    <a:pt x="2272" y="226"/>
                  </a:lnTo>
                  <a:lnTo>
                    <a:pt x="2272" y="226"/>
                  </a:lnTo>
                  <a:lnTo>
                    <a:pt x="2272" y="231"/>
                  </a:lnTo>
                  <a:lnTo>
                    <a:pt x="2272" y="238"/>
                  </a:lnTo>
                  <a:lnTo>
                    <a:pt x="2272" y="238"/>
                  </a:lnTo>
                  <a:lnTo>
                    <a:pt x="2267" y="238"/>
                  </a:lnTo>
                  <a:lnTo>
                    <a:pt x="2262" y="236"/>
                  </a:lnTo>
                  <a:lnTo>
                    <a:pt x="2260" y="238"/>
                  </a:lnTo>
                  <a:lnTo>
                    <a:pt x="2260" y="238"/>
                  </a:lnTo>
                  <a:lnTo>
                    <a:pt x="2260" y="250"/>
                  </a:lnTo>
                  <a:lnTo>
                    <a:pt x="2260" y="250"/>
                  </a:lnTo>
                  <a:lnTo>
                    <a:pt x="2260" y="262"/>
                  </a:lnTo>
                  <a:lnTo>
                    <a:pt x="2260" y="262"/>
                  </a:lnTo>
                  <a:lnTo>
                    <a:pt x="2260" y="273"/>
                  </a:lnTo>
                  <a:lnTo>
                    <a:pt x="2260" y="273"/>
                  </a:lnTo>
                  <a:lnTo>
                    <a:pt x="2260" y="297"/>
                  </a:lnTo>
                  <a:lnTo>
                    <a:pt x="2260" y="297"/>
                  </a:lnTo>
                  <a:lnTo>
                    <a:pt x="2260" y="344"/>
                  </a:lnTo>
                  <a:lnTo>
                    <a:pt x="2260" y="344"/>
                  </a:lnTo>
                  <a:lnTo>
                    <a:pt x="2248" y="344"/>
                  </a:lnTo>
                  <a:lnTo>
                    <a:pt x="2248" y="344"/>
                  </a:lnTo>
                  <a:lnTo>
                    <a:pt x="2241" y="344"/>
                  </a:lnTo>
                  <a:lnTo>
                    <a:pt x="2236" y="344"/>
                  </a:lnTo>
                  <a:lnTo>
                    <a:pt x="2236" y="344"/>
                  </a:lnTo>
                  <a:lnTo>
                    <a:pt x="2236" y="332"/>
                  </a:lnTo>
                  <a:lnTo>
                    <a:pt x="2236" y="332"/>
                  </a:lnTo>
                  <a:lnTo>
                    <a:pt x="2236" y="320"/>
                  </a:lnTo>
                  <a:lnTo>
                    <a:pt x="2236" y="320"/>
                  </a:lnTo>
                  <a:lnTo>
                    <a:pt x="2236" y="273"/>
                  </a:lnTo>
                  <a:lnTo>
                    <a:pt x="2236" y="273"/>
                  </a:lnTo>
                  <a:lnTo>
                    <a:pt x="2225" y="273"/>
                  </a:lnTo>
                  <a:lnTo>
                    <a:pt x="2225" y="273"/>
                  </a:lnTo>
                  <a:lnTo>
                    <a:pt x="2213" y="273"/>
                  </a:lnTo>
                  <a:lnTo>
                    <a:pt x="2213" y="273"/>
                  </a:lnTo>
                  <a:lnTo>
                    <a:pt x="2201" y="273"/>
                  </a:lnTo>
                  <a:lnTo>
                    <a:pt x="2201" y="273"/>
                  </a:lnTo>
                  <a:lnTo>
                    <a:pt x="2194" y="273"/>
                  </a:lnTo>
                  <a:lnTo>
                    <a:pt x="2189" y="273"/>
                  </a:lnTo>
                  <a:lnTo>
                    <a:pt x="2189" y="273"/>
                  </a:lnTo>
                  <a:lnTo>
                    <a:pt x="2189" y="278"/>
                  </a:lnTo>
                  <a:lnTo>
                    <a:pt x="2189" y="285"/>
                  </a:lnTo>
                  <a:lnTo>
                    <a:pt x="2189" y="285"/>
                  </a:lnTo>
                  <a:lnTo>
                    <a:pt x="2187" y="285"/>
                  </a:lnTo>
                  <a:lnTo>
                    <a:pt x="2182" y="285"/>
                  </a:lnTo>
                  <a:lnTo>
                    <a:pt x="2177" y="285"/>
                  </a:lnTo>
                  <a:lnTo>
                    <a:pt x="2177" y="285"/>
                  </a:lnTo>
                  <a:lnTo>
                    <a:pt x="2177" y="273"/>
                  </a:lnTo>
                  <a:lnTo>
                    <a:pt x="2177" y="273"/>
                  </a:lnTo>
                  <a:lnTo>
                    <a:pt x="2177" y="262"/>
                  </a:lnTo>
                  <a:lnTo>
                    <a:pt x="2177" y="262"/>
                  </a:lnTo>
                  <a:lnTo>
                    <a:pt x="2177" y="255"/>
                  </a:lnTo>
                  <a:lnTo>
                    <a:pt x="2177" y="250"/>
                  </a:lnTo>
                  <a:lnTo>
                    <a:pt x="2177" y="250"/>
                  </a:lnTo>
                  <a:lnTo>
                    <a:pt x="2170" y="250"/>
                  </a:lnTo>
                  <a:lnTo>
                    <a:pt x="2166" y="250"/>
                  </a:lnTo>
                  <a:lnTo>
                    <a:pt x="2166" y="250"/>
                  </a:lnTo>
                  <a:lnTo>
                    <a:pt x="2166" y="243"/>
                  </a:lnTo>
                  <a:lnTo>
                    <a:pt x="2166" y="238"/>
                  </a:lnTo>
                  <a:lnTo>
                    <a:pt x="2166" y="238"/>
                  </a:lnTo>
                  <a:lnTo>
                    <a:pt x="2163" y="236"/>
                  </a:lnTo>
                  <a:lnTo>
                    <a:pt x="2159" y="238"/>
                  </a:lnTo>
                  <a:lnTo>
                    <a:pt x="2154" y="238"/>
                  </a:lnTo>
                  <a:lnTo>
                    <a:pt x="2154" y="238"/>
                  </a:lnTo>
                  <a:lnTo>
                    <a:pt x="2142" y="238"/>
                  </a:lnTo>
                  <a:lnTo>
                    <a:pt x="2142" y="238"/>
                  </a:lnTo>
                  <a:lnTo>
                    <a:pt x="2135" y="238"/>
                  </a:lnTo>
                  <a:lnTo>
                    <a:pt x="2130" y="238"/>
                  </a:lnTo>
                  <a:lnTo>
                    <a:pt x="2130" y="238"/>
                  </a:lnTo>
                  <a:lnTo>
                    <a:pt x="2128" y="240"/>
                  </a:lnTo>
                  <a:lnTo>
                    <a:pt x="2128" y="243"/>
                  </a:lnTo>
                  <a:lnTo>
                    <a:pt x="2130" y="250"/>
                  </a:lnTo>
                  <a:lnTo>
                    <a:pt x="2130" y="250"/>
                  </a:lnTo>
                  <a:lnTo>
                    <a:pt x="2116" y="250"/>
                  </a:lnTo>
                  <a:lnTo>
                    <a:pt x="2116" y="250"/>
                  </a:lnTo>
                  <a:lnTo>
                    <a:pt x="2111" y="250"/>
                  </a:lnTo>
                  <a:lnTo>
                    <a:pt x="2104" y="250"/>
                  </a:lnTo>
                  <a:lnTo>
                    <a:pt x="2104" y="250"/>
                  </a:lnTo>
                  <a:lnTo>
                    <a:pt x="2104" y="255"/>
                  </a:lnTo>
                  <a:lnTo>
                    <a:pt x="2104" y="262"/>
                  </a:lnTo>
                  <a:lnTo>
                    <a:pt x="2104" y="262"/>
                  </a:lnTo>
                  <a:lnTo>
                    <a:pt x="2104" y="266"/>
                  </a:lnTo>
                  <a:lnTo>
                    <a:pt x="2104" y="273"/>
                  </a:lnTo>
                  <a:lnTo>
                    <a:pt x="2104" y="273"/>
                  </a:lnTo>
                  <a:lnTo>
                    <a:pt x="2104" y="285"/>
                  </a:lnTo>
                  <a:lnTo>
                    <a:pt x="2104" y="285"/>
                  </a:lnTo>
                  <a:lnTo>
                    <a:pt x="2104" y="309"/>
                  </a:lnTo>
                  <a:lnTo>
                    <a:pt x="2104" y="309"/>
                  </a:lnTo>
                  <a:lnTo>
                    <a:pt x="2100" y="309"/>
                  </a:lnTo>
                  <a:lnTo>
                    <a:pt x="2093" y="309"/>
                  </a:lnTo>
                  <a:lnTo>
                    <a:pt x="2093" y="309"/>
                  </a:lnTo>
                  <a:lnTo>
                    <a:pt x="2093" y="304"/>
                  </a:lnTo>
                  <a:lnTo>
                    <a:pt x="2093" y="297"/>
                  </a:lnTo>
                  <a:lnTo>
                    <a:pt x="2093" y="297"/>
                  </a:lnTo>
                  <a:lnTo>
                    <a:pt x="2088" y="297"/>
                  </a:lnTo>
                  <a:lnTo>
                    <a:pt x="2081" y="297"/>
                  </a:lnTo>
                  <a:lnTo>
                    <a:pt x="2081" y="297"/>
                  </a:lnTo>
                  <a:lnTo>
                    <a:pt x="2081" y="295"/>
                  </a:lnTo>
                  <a:lnTo>
                    <a:pt x="2081" y="292"/>
                  </a:lnTo>
                  <a:lnTo>
                    <a:pt x="2081" y="285"/>
                  </a:lnTo>
                  <a:lnTo>
                    <a:pt x="2081" y="285"/>
                  </a:lnTo>
                  <a:lnTo>
                    <a:pt x="2078" y="285"/>
                  </a:lnTo>
                  <a:lnTo>
                    <a:pt x="2076" y="285"/>
                  </a:lnTo>
                  <a:lnTo>
                    <a:pt x="2069" y="285"/>
                  </a:lnTo>
                  <a:lnTo>
                    <a:pt x="2069" y="285"/>
                  </a:lnTo>
                  <a:lnTo>
                    <a:pt x="2069" y="283"/>
                  </a:lnTo>
                  <a:lnTo>
                    <a:pt x="2069" y="278"/>
                  </a:lnTo>
                  <a:lnTo>
                    <a:pt x="2069" y="273"/>
                  </a:lnTo>
                  <a:lnTo>
                    <a:pt x="2069" y="273"/>
                  </a:lnTo>
                  <a:lnTo>
                    <a:pt x="2069" y="266"/>
                  </a:lnTo>
                  <a:lnTo>
                    <a:pt x="2071" y="264"/>
                  </a:lnTo>
                  <a:lnTo>
                    <a:pt x="2069" y="262"/>
                  </a:lnTo>
                  <a:lnTo>
                    <a:pt x="2069" y="262"/>
                  </a:lnTo>
                  <a:lnTo>
                    <a:pt x="2057" y="262"/>
                  </a:lnTo>
                  <a:lnTo>
                    <a:pt x="2057" y="262"/>
                  </a:lnTo>
                  <a:lnTo>
                    <a:pt x="2057" y="266"/>
                  </a:lnTo>
                  <a:lnTo>
                    <a:pt x="2057" y="273"/>
                  </a:lnTo>
                  <a:lnTo>
                    <a:pt x="2057" y="273"/>
                  </a:lnTo>
                  <a:lnTo>
                    <a:pt x="2057" y="297"/>
                  </a:lnTo>
                  <a:lnTo>
                    <a:pt x="2057" y="297"/>
                  </a:lnTo>
                  <a:lnTo>
                    <a:pt x="2053" y="297"/>
                  </a:lnTo>
                  <a:lnTo>
                    <a:pt x="2048" y="297"/>
                  </a:lnTo>
                  <a:lnTo>
                    <a:pt x="2046" y="297"/>
                  </a:lnTo>
                  <a:lnTo>
                    <a:pt x="2046" y="297"/>
                  </a:lnTo>
                  <a:lnTo>
                    <a:pt x="2046" y="304"/>
                  </a:lnTo>
                  <a:lnTo>
                    <a:pt x="2046" y="309"/>
                  </a:lnTo>
                  <a:lnTo>
                    <a:pt x="2046" y="309"/>
                  </a:lnTo>
                  <a:lnTo>
                    <a:pt x="2041" y="309"/>
                  </a:lnTo>
                  <a:lnTo>
                    <a:pt x="2034" y="309"/>
                  </a:lnTo>
                  <a:lnTo>
                    <a:pt x="2034" y="309"/>
                  </a:lnTo>
                  <a:lnTo>
                    <a:pt x="2027" y="309"/>
                  </a:lnTo>
                  <a:lnTo>
                    <a:pt x="2022" y="309"/>
                  </a:lnTo>
                  <a:lnTo>
                    <a:pt x="2022" y="309"/>
                  </a:lnTo>
                  <a:lnTo>
                    <a:pt x="2022" y="311"/>
                  </a:lnTo>
                  <a:lnTo>
                    <a:pt x="2022" y="316"/>
                  </a:lnTo>
                  <a:lnTo>
                    <a:pt x="2022" y="320"/>
                  </a:lnTo>
                  <a:lnTo>
                    <a:pt x="2022" y="320"/>
                  </a:lnTo>
                  <a:lnTo>
                    <a:pt x="1998" y="320"/>
                  </a:lnTo>
                  <a:lnTo>
                    <a:pt x="1998" y="320"/>
                  </a:lnTo>
                  <a:lnTo>
                    <a:pt x="1951" y="320"/>
                  </a:lnTo>
                  <a:lnTo>
                    <a:pt x="1951" y="320"/>
                  </a:lnTo>
                  <a:lnTo>
                    <a:pt x="1951" y="309"/>
                  </a:lnTo>
                  <a:lnTo>
                    <a:pt x="1951" y="309"/>
                  </a:lnTo>
                  <a:lnTo>
                    <a:pt x="1951" y="285"/>
                  </a:lnTo>
                  <a:lnTo>
                    <a:pt x="1951" y="285"/>
                  </a:lnTo>
                  <a:lnTo>
                    <a:pt x="1951" y="273"/>
                  </a:lnTo>
                  <a:lnTo>
                    <a:pt x="1951" y="273"/>
                  </a:lnTo>
                  <a:lnTo>
                    <a:pt x="1951" y="250"/>
                  </a:lnTo>
                  <a:lnTo>
                    <a:pt x="1951" y="250"/>
                  </a:lnTo>
                  <a:lnTo>
                    <a:pt x="1951" y="238"/>
                  </a:lnTo>
                  <a:lnTo>
                    <a:pt x="1951" y="238"/>
                  </a:lnTo>
                  <a:lnTo>
                    <a:pt x="1951" y="214"/>
                  </a:lnTo>
                  <a:lnTo>
                    <a:pt x="1951" y="214"/>
                  </a:lnTo>
                  <a:lnTo>
                    <a:pt x="1951" y="203"/>
                  </a:lnTo>
                  <a:lnTo>
                    <a:pt x="1951" y="203"/>
                  </a:lnTo>
                  <a:lnTo>
                    <a:pt x="1951" y="179"/>
                  </a:lnTo>
                  <a:lnTo>
                    <a:pt x="1951" y="179"/>
                  </a:lnTo>
                  <a:lnTo>
                    <a:pt x="1951" y="153"/>
                  </a:lnTo>
                  <a:lnTo>
                    <a:pt x="1951" y="153"/>
                  </a:lnTo>
                  <a:lnTo>
                    <a:pt x="1944" y="153"/>
                  </a:lnTo>
                  <a:lnTo>
                    <a:pt x="1942" y="156"/>
                  </a:lnTo>
                  <a:lnTo>
                    <a:pt x="1939" y="153"/>
                  </a:lnTo>
                  <a:lnTo>
                    <a:pt x="1939" y="153"/>
                  </a:lnTo>
                  <a:lnTo>
                    <a:pt x="1939" y="148"/>
                  </a:lnTo>
                  <a:lnTo>
                    <a:pt x="1939" y="141"/>
                  </a:lnTo>
                  <a:lnTo>
                    <a:pt x="1939" y="141"/>
                  </a:lnTo>
                  <a:lnTo>
                    <a:pt x="1932" y="141"/>
                  </a:lnTo>
                  <a:lnTo>
                    <a:pt x="1928" y="141"/>
                  </a:lnTo>
                  <a:lnTo>
                    <a:pt x="1928" y="141"/>
                  </a:lnTo>
                  <a:lnTo>
                    <a:pt x="1916" y="141"/>
                  </a:lnTo>
                  <a:lnTo>
                    <a:pt x="1916" y="141"/>
                  </a:lnTo>
                  <a:lnTo>
                    <a:pt x="1904" y="141"/>
                  </a:lnTo>
                  <a:lnTo>
                    <a:pt x="1904" y="141"/>
                  </a:lnTo>
                  <a:lnTo>
                    <a:pt x="1904" y="148"/>
                  </a:lnTo>
                  <a:lnTo>
                    <a:pt x="1904" y="153"/>
                  </a:lnTo>
                  <a:lnTo>
                    <a:pt x="1904" y="153"/>
                  </a:lnTo>
                  <a:lnTo>
                    <a:pt x="1892" y="153"/>
                  </a:lnTo>
                  <a:lnTo>
                    <a:pt x="1892" y="153"/>
                  </a:lnTo>
                  <a:lnTo>
                    <a:pt x="1878" y="153"/>
                  </a:lnTo>
                  <a:lnTo>
                    <a:pt x="1878" y="153"/>
                  </a:lnTo>
                  <a:lnTo>
                    <a:pt x="1866" y="153"/>
                  </a:lnTo>
                  <a:lnTo>
                    <a:pt x="1866" y="153"/>
                  </a:lnTo>
                  <a:lnTo>
                    <a:pt x="1843" y="153"/>
                  </a:lnTo>
                  <a:lnTo>
                    <a:pt x="1843" y="153"/>
                  </a:lnTo>
                  <a:lnTo>
                    <a:pt x="1796" y="153"/>
                  </a:lnTo>
                  <a:lnTo>
                    <a:pt x="1796" y="153"/>
                  </a:lnTo>
                  <a:lnTo>
                    <a:pt x="1796" y="165"/>
                  </a:lnTo>
                  <a:lnTo>
                    <a:pt x="1796" y="165"/>
                  </a:lnTo>
                  <a:lnTo>
                    <a:pt x="1796" y="191"/>
                  </a:lnTo>
                  <a:lnTo>
                    <a:pt x="1796" y="191"/>
                  </a:lnTo>
                  <a:lnTo>
                    <a:pt x="1796" y="238"/>
                  </a:lnTo>
                  <a:lnTo>
                    <a:pt x="1796" y="238"/>
                  </a:lnTo>
                  <a:lnTo>
                    <a:pt x="1796" y="262"/>
                  </a:lnTo>
                  <a:lnTo>
                    <a:pt x="1796" y="262"/>
                  </a:lnTo>
                  <a:lnTo>
                    <a:pt x="1796" y="273"/>
                  </a:lnTo>
                  <a:lnTo>
                    <a:pt x="1796" y="273"/>
                  </a:lnTo>
                  <a:lnTo>
                    <a:pt x="1796" y="297"/>
                  </a:lnTo>
                  <a:lnTo>
                    <a:pt x="1796" y="297"/>
                  </a:lnTo>
                  <a:lnTo>
                    <a:pt x="1784" y="297"/>
                  </a:lnTo>
                  <a:lnTo>
                    <a:pt x="1784" y="297"/>
                  </a:lnTo>
                  <a:lnTo>
                    <a:pt x="1760" y="297"/>
                  </a:lnTo>
                  <a:lnTo>
                    <a:pt x="1760" y="297"/>
                  </a:lnTo>
                  <a:lnTo>
                    <a:pt x="1760" y="290"/>
                  </a:lnTo>
                  <a:lnTo>
                    <a:pt x="1760" y="287"/>
                  </a:lnTo>
                  <a:lnTo>
                    <a:pt x="1760" y="285"/>
                  </a:lnTo>
                  <a:lnTo>
                    <a:pt x="1760" y="285"/>
                  </a:lnTo>
                  <a:lnTo>
                    <a:pt x="1756" y="285"/>
                  </a:lnTo>
                  <a:lnTo>
                    <a:pt x="1749" y="285"/>
                  </a:lnTo>
                  <a:lnTo>
                    <a:pt x="1749" y="285"/>
                  </a:lnTo>
                  <a:lnTo>
                    <a:pt x="1737" y="285"/>
                  </a:lnTo>
                  <a:lnTo>
                    <a:pt x="1737" y="285"/>
                  </a:lnTo>
                  <a:lnTo>
                    <a:pt x="1725" y="285"/>
                  </a:lnTo>
                  <a:lnTo>
                    <a:pt x="1725" y="285"/>
                  </a:lnTo>
                  <a:lnTo>
                    <a:pt x="1725" y="278"/>
                  </a:lnTo>
                  <a:lnTo>
                    <a:pt x="1725" y="276"/>
                  </a:lnTo>
                  <a:lnTo>
                    <a:pt x="1725" y="273"/>
                  </a:lnTo>
                  <a:lnTo>
                    <a:pt x="1725" y="273"/>
                  </a:lnTo>
                  <a:lnTo>
                    <a:pt x="1723" y="273"/>
                  </a:lnTo>
                  <a:lnTo>
                    <a:pt x="1718" y="273"/>
                  </a:lnTo>
                  <a:lnTo>
                    <a:pt x="1713" y="273"/>
                  </a:lnTo>
                  <a:lnTo>
                    <a:pt x="1713" y="273"/>
                  </a:lnTo>
                  <a:lnTo>
                    <a:pt x="1706" y="273"/>
                  </a:lnTo>
                  <a:lnTo>
                    <a:pt x="1704" y="273"/>
                  </a:lnTo>
                  <a:lnTo>
                    <a:pt x="1702" y="273"/>
                  </a:lnTo>
                  <a:lnTo>
                    <a:pt x="1702" y="273"/>
                  </a:lnTo>
                  <a:lnTo>
                    <a:pt x="1699" y="271"/>
                  </a:lnTo>
                  <a:lnTo>
                    <a:pt x="1702" y="266"/>
                  </a:lnTo>
                  <a:lnTo>
                    <a:pt x="1702" y="262"/>
                  </a:lnTo>
                  <a:lnTo>
                    <a:pt x="1702" y="262"/>
                  </a:lnTo>
                  <a:lnTo>
                    <a:pt x="1702" y="255"/>
                  </a:lnTo>
                  <a:lnTo>
                    <a:pt x="1702" y="250"/>
                  </a:lnTo>
                  <a:lnTo>
                    <a:pt x="1702" y="250"/>
                  </a:lnTo>
                  <a:lnTo>
                    <a:pt x="1702" y="243"/>
                  </a:lnTo>
                  <a:lnTo>
                    <a:pt x="1702" y="238"/>
                  </a:lnTo>
                  <a:lnTo>
                    <a:pt x="1702" y="238"/>
                  </a:lnTo>
                  <a:lnTo>
                    <a:pt x="1690" y="238"/>
                  </a:lnTo>
                  <a:lnTo>
                    <a:pt x="1690" y="238"/>
                  </a:lnTo>
                  <a:lnTo>
                    <a:pt x="1683" y="238"/>
                  </a:lnTo>
                  <a:lnTo>
                    <a:pt x="1678" y="238"/>
                  </a:lnTo>
                  <a:lnTo>
                    <a:pt x="1678" y="238"/>
                  </a:lnTo>
                  <a:lnTo>
                    <a:pt x="1676" y="236"/>
                  </a:lnTo>
                  <a:lnTo>
                    <a:pt x="1678" y="231"/>
                  </a:lnTo>
                  <a:lnTo>
                    <a:pt x="1678" y="226"/>
                  </a:lnTo>
                  <a:lnTo>
                    <a:pt x="1678" y="226"/>
                  </a:lnTo>
                  <a:lnTo>
                    <a:pt x="1654" y="226"/>
                  </a:lnTo>
                  <a:lnTo>
                    <a:pt x="1654" y="226"/>
                  </a:lnTo>
                  <a:lnTo>
                    <a:pt x="1654" y="231"/>
                  </a:lnTo>
                  <a:lnTo>
                    <a:pt x="1654" y="236"/>
                  </a:lnTo>
                  <a:lnTo>
                    <a:pt x="1654" y="238"/>
                  </a:lnTo>
                  <a:lnTo>
                    <a:pt x="1654" y="238"/>
                  </a:lnTo>
                  <a:lnTo>
                    <a:pt x="1652" y="238"/>
                  </a:lnTo>
                  <a:lnTo>
                    <a:pt x="1647" y="238"/>
                  </a:lnTo>
                  <a:lnTo>
                    <a:pt x="1643" y="238"/>
                  </a:lnTo>
                  <a:lnTo>
                    <a:pt x="1643" y="238"/>
                  </a:lnTo>
                  <a:lnTo>
                    <a:pt x="1636" y="238"/>
                  </a:lnTo>
                  <a:lnTo>
                    <a:pt x="1631" y="236"/>
                  </a:lnTo>
                  <a:lnTo>
                    <a:pt x="1628" y="238"/>
                  </a:lnTo>
                  <a:lnTo>
                    <a:pt x="1628" y="238"/>
                  </a:lnTo>
                  <a:lnTo>
                    <a:pt x="1628" y="243"/>
                  </a:lnTo>
                  <a:lnTo>
                    <a:pt x="1628" y="250"/>
                  </a:lnTo>
                  <a:lnTo>
                    <a:pt x="1628" y="250"/>
                  </a:lnTo>
                  <a:lnTo>
                    <a:pt x="1628" y="255"/>
                  </a:lnTo>
                  <a:lnTo>
                    <a:pt x="1628" y="262"/>
                  </a:lnTo>
                  <a:lnTo>
                    <a:pt x="1628" y="262"/>
                  </a:lnTo>
                  <a:lnTo>
                    <a:pt x="1628" y="273"/>
                  </a:lnTo>
                  <a:lnTo>
                    <a:pt x="1628" y="273"/>
                  </a:lnTo>
                  <a:lnTo>
                    <a:pt x="1631" y="280"/>
                  </a:lnTo>
                  <a:lnTo>
                    <a:pt x="1628" y="285"/>
                  </a:lnTo>
                  <a:lnTo>
                    <a:pt x="1628" y="285"/>
                  </a:lnTo>
                  <a:lnTo>
                    <a:pt x="1624" y="285"/>
                  </a:lnTo>
                  <a:lnTo>
                    <a:pt x="1617" y="285"/>
                  </a:lnTo>
                  <a:lnTo>
                    <a:pt x="1617" y="285"/>
                  </a:lnTo>
                  <a:lnTo>
                    <a:pt x="1617" y="278"/>
                  </a:lnTo>
                  <a:lnTo>
                    <a:pt x="1617" y="273"/>
                  </a:lnTo>
                  <a:lnTo>
                    <a:pt x="1617" y="273"/>
                  </a:lnTo>
                  <a:lnTo>
                    <a:pt x="1593" y="273"/>
                  </a:lnTo>
                  <a:lnTo>
                    <a:pt x="1593" y="273"/>
                  </a:lnTo>
                  <a:lnTo>
                    <a:pt x="1588" y="273"/>
                  </a:lnTo>
                  <a:lnTo>
                    <a:pt x="1581" y="273"/>
                  </a:lnTo>
                  <a:lnTo>
                    <a:pt x="1581" y="273"/>
                  </a:lnTo>
                  <a:lnTo>
                    <a:pt x="1581" y="262"/>
                  </a:lnTo>
                  <a:lnTo>
                    <a:pt x="1581" y="262"/>
                  </a:lnTo>
                  <a:lnTo>
                    <a:pt x="1581" y="250"/>
                  </a:lnTo>
                  <a:lnTo>
                    <a:pt x="1581" y="250"/>
                  </a:lnTo>
                  <a:lnTo>
                    <a:pt x="1581" y="238"/>
                  </a:lnTo>
                  <a:lnTo>
                    <a:pt x="1581" y="238"/>
                  </a:lnTo>
                  <a:lnTo>
                    <a:pt x="1581" y="191"/>
                  </a:lnTo>
                  <a:lnTo>
                    <a:pt x="1581" y="191"/>
                  </a:lnTo>
                  <a:lnTo>
                    <a:pt x="1581" y="179"/>
                  </a:lnTo>
                  <a:lnTo>
                    <a:pt x="1581" y="179"/>
                  </a:lnTo>
                  <a:lnTo>
                    <a:pt x="1581" y="172"/>
                  </a:lnTo>
                  <a:lnTo>
                    <a:pt x="1581" y="165"/>
                  </a:lnTo>
                  <a:lnTo>
                    <a:pt x="1581" y="165"/>
                  </a:lnTo>
                  <a:lnTo>
                    <a:pt x="1577" y="165"/>
                  </a:lnTo>
                  <a:lnTo>
                    <a:pt x="1570" y="165"/>
                  </a:lnTo>
                  <a:lnTo>
                    <a:pt x="1570" y="165"/>
                  </a:lnTo>
                  <a:lnTo>
                    <a:pt x="1570" y="153"/>
                  </a:lnTo>
                  <a:lnTo>
                    <a:pt x="1570" y="153"/>
                  </a:lnTo>
                  <a:lnTo>
                    <a:pt x="1570" y="148"/>
                  </a:lnTo>
                  <a:lnTo>
                    <a:pt x="1570" y="141"/>
                  </a:lnTo>
                  <a:lnTo>
                    <a:pt x="1570" y="141"/>
                  </a:lnTo>
                  <a:lnTo>
                    <a:pt x="1565" y="141"/>
                  </a:lnTo>
                  <a:lnTo>
                    <a:pt x="1558" y="141"/>
                  </a:lnTo>
                  <a:lnTo>
                    <a:pt x="1558" y="141"/>
                  </a:lnTo>
                  <a:lnTo>
                    <a:pt x="1558" y="139"/>
                  </a:lnTo>
                  <a:lnTo>
                    <a:pt x="1558" y="137"/>
                  </a:lnTo>
                  <a:lnTo>
                    <a:pt x="1558" y="130"/>
                  </a:lnTo>
                  <a:lnTo>
                    <a:pt x="1558" y="130"/>
                  </a:lnTo>
                  <a:lnTo>
                    <a:pt x="1558" y="106"/>
                  </a:lnTo>
                  <a:lnTo>
                    <a:pt x="1558" y="106"/>
                  </a:lnTo>
                  <a:lnTo>
                    <a:pt x="1534" y="106"/>
                  </a:lnTo>
                  <a:lnTo>
                    <a:pt x="1534" y="106"/>
                  </a:lnTo>
                  <a:lnTo>
                    <a:pt x="1534" y="118"/>
                  </a:lnTo>
                  <a:lnTo>
                    <a:pt x="1534" y="118"/>
                  </a:lnTo>
                  <a:lnTo>
                    <a:pt x="1534" y="130"/>
                  </a:lnTo>
                  <a:lnTo>
                    <a:pt x="1534" y="130"/>
                  </a:lnTo>
                  <a:lnTo>
                    <a:pt x="1534" y="137"/>
                  </a:lnTo>
                  <a:lnTo>
                    <a:pt x="1534" y="141"/>
                  </a:lnTo>
                  <a:lnTo>
                    <a:pt x="1534" y="141"/>
                  </a:lnTo>
                  <a:lnTo>
                    <a:pt x="1527" y="141"/>
                  </a:lnTo>
                  <a:lnTo>
                    <a:pt x="1522" y="141"/>
                  </a:lnTo>
                  <a:lnTo>
                    <a:pt x="1522" y="141"/>
                  </a:lnTo>
                  <a:lnTo>
                    <a:pt x="1522" y="148"/>
                  </a:lnTo>
                  <a:lnTo>
                    <a:pt x="1522" y="153"/>
                  </a:lnTo>
                  <a:lnTo>
                    <a:pt x="1522" y="153"/>
                  </a:lnTo>
                  <a:lnTo>
                    <a:pt x="1515" y="153"/>
                  </a:lnTo>
                  <a:lnTo>
                    <a:pt x="1511" y="153"/>
                  </a:lnTo>
                  <a:lnTo>
                    <a:pt x="1511" y="153"/>
                  </a:lnTo>
                  <a:lnTo>
                    <a:pt x="1511" y="160"/>
                  </a:lnTo>
                  <a:lnTo>
                    <a:pt x="1511" y="165"/>
                  </a:lnTo>
                  <a:lnTo>
                    <a:pt x="1511" y="165"/>
                  </a:lnTo>
                  <a:lnTo>
                    <a:pt x="1511" y="179"/>
                  </a:lnTo>
                  <a:lnTo>
                    <a:pt x="1511" y="179"/>
                  </a:lnTo>
                  <a:lnTo>
                    <a:pt x="1504" y="177"/>
                  </a:lnTo>
                  <a:lnTo>
                    <a:pt x="1499" y="179"/>
                  </a:lnTo>
                  <a:lnTo>
                    <a:pt x="1499" y="179"/>
                  </a:lnTo>
                  <a:lnTo>
                    <a:pt x="1499" y="184"/>
                  </a:lnTo>
                  <a:lnTo>
                    <a:pt x="1499" y="191"/>
                  </a:lnTo>
                  <a:lnTo>
                    <a:pt x="1499" y="191"/>
                  </a:lnTo>
                  <a:lnTo>
                    <a:pt x="1499" y="203"/>
                  </a:lnTo>
                  <a:lnTo>
                    <a:pt x="1499" y="203"/>
                  </a:lnTo>
                  <a:lnTo>
                    <a:pt x="1499" y="226"/>
                  </a:lnTo>
                  <a:lnTo>
                    <a:pt x="1499" y="226"/>
                  </a:lnTo>
                  <a:lnTo>
                    <a:pt x="1499" y="273"/>
                  </a:lnTo>
                  <a:lnTo>
                    <a:pt x="1499" y="273"/>
                  </a:lnTo>
                  <a:lnTo>
                    <a:pt x="1492" y="273"/>
                  </a:lnTo>
                  <a:lnTo>
                    <a:pt x="1489" y="273"/>
                  </a:lnTo>
                  <a:lnTo>
                    <a:pt x="1487" y="273"/>
                  </a:lnTo>
                  <a:lnTo>
                    <a:pt x="1487" y="273"/>
                  </a:lnTo>
                  <a:lnTo>
                    <a:pt x="1487" y="280"/>
                  </a:lnTo>
                  <a:lnTo>
                    <a:pt x="1487" y="285"/>
                  </a:lnTo>
                  <a:lnTo>
                    <a:pt x="1487" y="285"/>
                  </a:lnTo>
                  <a:lnTo>
                    <a:pt x="1480" y="285"/>
                  </a:lnTo>
                  <a:lnTo>
                    <a:pt x="1475" y="285"/>
                  </a:lnTo>
                  <a:lnTo>
                    <a:pt x="1475" y="285"/>
                  </a:lnTo>
                  <a:lnTo>
                    <a:pt x="1468" y="285"/>
                  </a:lnTo>
                  <a:lnTo>
                    <a:pt x="1464" y="285"/>
                  </a:lnTo>
                  <a:lnTo>
                    <a:pt x="1464" y="285"/>
                  </a:lnTo>
                  <a:lnTo>
                    <a:pt x="1464" y="287"/>
                  </a:lnTo>
                  <a:lnTo>
                    <a:pt x="1464" y="290"/>
                  </a:lnTo>
                  <a:lnTo>
                    <a:pt x="1464" y="297"/>
                  </a:lnTo>
                  <a:lnTo>
                    <a:pt x="1464" y="297"/>
                  </a:lnTo>
                  <a:lnTo>
                    <a:pt x="1456" y="297"/>
                  </a:lnTo>
                  <a:lnTo>
                    <a:pt x="1452" y="297"/>
                  </a:lnTo>
                  <a:lnTo>
                    <a:pt x="1452" y="297"/>
                  </a:lnTo>
                  <a:lnTo>
                    <a:pt x="1452" y="302"/>
                  </a:lnTo>
                  <a:lnTo>
                    <a:pt x="1452" y="309"/>
                  </a:lnTo>
                  <a:lnTo>
                    <a:pt x="1452" y="309"/>
                  </a:lnTo>
                  <a:lnTo>
                    <a:pt x="1452" y="320"/>
                  </a:lnTo>
                  <a:lnTo>
                    <a:pt x="1452" y="320"/>
                  </a:lnTo>
                  <a:lnTo>
                    <a:pt x="1428" y="320"/>
                  </a:lnTo>
                  <a:lnTo>
                    <a:pt x="1428" y="320"/>
                  </a:lnTo>
                  <a:lnTo>
                    <a:pt x="1428" y="297"/>
                  </a:lnTo>
                  <a:lnTo>
                    <a:pt x="1428" y="297"/>
                  </a:lnTo>
                  <a:lnTo>
                    <a:pt x="1428" y="285"/>
                  </a:lnTo>
                  <a:lnTo>
                    <a:pt x="1428" y="285"/>
                  </a:lnTo>
                  <a:lnTo>
                    <a:pt x="1428" y="262"/>
                  </a:lnTo>
                  <a:lnTo>
                    <a:pt x="1428" y="262"/>
                  </a:lnTo>
                  <a:lnTo>
                    <a:pt x="1428" y="214"/>
                  </a:lnTo>
                  <a:lnTo>
                    <a:pt x="1428" y="214"/>
                  </a:lnTo>
                  <a:lnTo>
                    <a:pt x="1428" y="191"/>
                  </a:lnTo>
                  <a:lnTo>
                    <a:pt x="1428" y="191"/>
                  </a:lnTo>
                  <a:lnTo>
                    <a:pt x="1428" y="179"/>
                  </a:lnTo>
                  <a:lnTo>
                    <a:pt x="1428" y="179"/>
                  </a:lnTo>
                  <a:lnTo>
                    <a:pt x="1428" y="153"/>
                  </a:lnTo>
                  <a:lnTo>
                    <a:pt x="1428" y="153"/>
                  </a:lnTo>
                  <a:lnTo>
                    <a:pt x="1428" y="141"/>
                  </a:lnTo>
                  <a:lnTo>
                    <a:pt x="1428" y="141"/>
                  </a:lnTo>
                  <a:lnTo>
                    <a:pt x="1428" y="130"/>
                  </a:lnTo>
                  <a:lnTo>
                    <a:pt x="1428" y="130"/>
                  </a:lnTo>
                  <a:lnTo>
                    <a:pt x="1428" y="118"/>
                  </a:lnTo>
                  <a:lnTo>
                    <a:pt x="1428" y="118"/>
                  </a:lnTo>
                  <a:lnTo>
                    <a:pt x="1421" y="118"/>
                  </a:lnTo>
                  <a:lnTo>
                    <a:pt x="1416" y="118"/>
                  </a:lnTo>
                  <a:lnTo>
                    <a:pt x="1416" y="118"/>
                  </a:lnTo>
                  <a:lnTo>
                    <a:pt x="1416" y="106"/>
                  </a:lnTo>
                  <a:lnTo>
                    <a:pt x="1416" y="106"/>
                  </a:lnTo>
                  <a:lnTo>
                    <a:pt x="1416" y="94"/>
                  </a:lnTo>
                  <a:lnTo>
                    <a:pt x="1416" y="94"/>
                  </a:lnTo>
                  <a:lnTo>
                    <a:pt x="1390" y="94"/>
                  </a:lnTo>
                  <a:lnTo>
                    <a:pt x="1390" y="94"/>
                  </a:lnTo>
                  <a:lnTo>
                    <a:pt x="1367" y="94"/>
                  </a:lnTo>
                  <a:lnTo>
                    <a:pt x="1367" y="94"/>
                  </a:lnTo>
                  <a:lnTo>
                    <a:pt x="1362" y="94"/>
                  </a:lnTo>
                  <a:lnTo>
                    <a:pt x="1358" y="94"/>
                  </a:lnTo>
                  <a:lnTo>
                    <a:pt x="1355" y="94"/>
                  </a:lnTo>
                  <a:lnTo>
                    <a:pt x="1355" y="94"/>
                  </a:lnTo>
                  <a:lnTo>
                    <a:pt x="1355" y="101"/>
                  </a:lnTo>
                  <a:lnTo>
                    <a:pt x="1355" y="106"/>
                  </a:lnTo>
                  <a:lnTo>
                    <a:pt x="1355" y="106"/>
                  </a:lnTo>
                  <a:lnTo>
                    <a:pt x="1358" y="113"/>
                  </a:lnTo>
                  <a:lnTo>
                    <a:pt x="1355" y="118"/>
                  </a:lnTo>
                  <a:lnTo>
                    <a:pt x="1355" y="118"/>
                  </a:lnTo>
                  <a:lnTo>
                    <a:pt x="1350" y="118"/>
                  </a:lnTo>
                  <a:lnTo>
                    <a:pt x="1343" y="118"/>
                  </a:lnTo>
                  <a:lnTo>
                    <a:pt x="1343" y="118"/>
                  </a:lnTo>
                  <a:lnTo>
                    <a:pt x="1343" y="130"/>
                  </a:lnTo>
                  <a:lnTo>
                    <a:pt x="1343" y="130"/>
                  </a:lnTo>
                  <a:lnTo>
                    <a:pt x="1343" y="141"/>
                  </a:lnTo>
                  <a:lnTo>
                    <a:pt x="1343" y="141"/>
                  </a:lnTo>
                  <a:lnTo>
                    <a:pt x="1343" y="153"/>
                  </a:lnTo>
                  <a:lnTo>
                    <a:pt x="1343" y="153"/>
                  </a:lnTo>
                  <a:lnTo>
                    <a:pt x="1343" y="179"/>
                  </a:lnTo>
                  <a:lnTo>
                    <a:pt x="1343" y="179"/>
                  </a:lnTo>
                  <a:lnTo>
                    <a:pt x="1343" y="191"/>
                  </a:lnTo>
                  <a:lnTo>
                    <a:pt x="1343" y="191"/>
                  </a:lnTo>
                  <a:lnTo>
                    <a:pt x="1343" y="214"/>
                  </a:lnTo>
                  <a:lnTo>
                    <a:pt x="1343" y="214"/>
                  </a:lnTo>
                  <a:lnTo>
                    <a:pt x="1343" y="262"/>
                  </a:lnTo>
                  <a:lnTo>
                    <a:pt x="1343" y="262"/>
                  </a:lnTo>
                  <a:lnTo>
                    <a:pt x="1343" y="273"/>
                  </a:lnTo>
                  <a:lnTo>
                    <a:pt x="1343" y="273"/>
                  </a:lnTo>
                  <a:lnTo>
                    <a:pt x="1339" y="273"/>
                  </a:lnTo>
                  <a:lnTo>
                    <a:pt x="1332" y="273"/>
                  </a:lnTo>
                  <a:lnTo>
                    <a:pt x="1332" y="273"/>
                  </a:lnTo>
                  <a:lnTo>
                    <a:pt x="1332" y="278"/>
                  </a:lnTo>
                  <a:lnTo>
                    <a:pt x="1332" y="285"/>
                  </a:lnTo>
                  <a:lnTo>
                    <a:pt x="1332" y="285"/>
                  </a:lnTo>
                  <a:lnTo>
                    <a:pt x="1329" y="285"/>
                  </a:lnTo>
                  <a:lnTo>
                    <a:pt x="1327" y="285"/>
                  </a:lnTo>
                  <a:lnTo>
                    <a:pt x="1320" y="285"/>
                  </a:lnTo>
                  <a:lnTo>
                    <a:pt x="1320" y="285"/>
                  </a:lnTo>
                  <a:lnTo>
                    <a:pt x="1320" y="297"/>
                  </a:lnTo>
                  <a:lnTo>
                    <a:pt x="1320" y="297"/>
                  </a:lnTo>
                  <a:lnTo>
                    <a:pt x="1320" y="309"/>
                  </a:lnTo>
                  <a:lnTo>
                    <a:pt x="1320" y="309"/>
                  </a:lnTo>
                  <a:lnTo>
                    <a:pt x="1320" y="320"/>
                  </a:lnTo>
                  <a:lnTo>
                    <a:pt x="1320" y="320"/>
                  </a:lnTo>
                  <a:lnTo>
                    <a:pt x="1320" y="332"/>
                  </a:lnTo>
                  <a:lnTo>
                    <a:pt x="1320" y="332"/>
                  </a:lnTo>
                  <a:lnTo>
                    <a:pt x="1320" y="344"/>
                  </a:lnTo>
                  <a:lnTo>
                    <a:pt x="1320" y="344"/>
                  </a:lnTo>
                  <a:lnTo>
                    <a:pt x="1320" y="351"/>
                  </a:lnTo>
                  <a:lnTo>
                    <a:pt x="1320" y="356"/>
                  </a:lnTo>
                  <a:lnTo>
                    <a:pt x="1320" y="356"/>
                  </a:lnTo>
                  <a:lnTo>
                    <a:pt x="1317" y="358"/>
                  </a:lnTo>
                  <a:lnTo>
                    <a:pt x="1315" y="356"/>
                  </a:lnTo>
                  <a:lnTo>
                    <a:pt x="1308" y="356"/>
                  </a:lnTo>
                  <a:lnTo>
                    <a:pt x="1308" y="356"/>
                  </a:lnTo>
                  <a:lnTo>
                    <a:pt x="1303" y="356"/>
                  </a:lnTo>
                  <a:lnTo>
                    <a:pt x="1299" y="356"/>
                  </a:lnTo>
                  <a:lnTo>
                    <a:pt x="1296" y="356"/>
                  </a:lnTo>
                  <a:lnTo>
                    <a:pt x="1296" y="356"/>
                  </a:lnTo>
                  <a:lnTo>
                    <a:pt x="1296" y="344"/>
                  </a:lnTo>
                  <a:lnTo>
                    <a:pt x="1296" y="344"/>
                  </a:lnTo>
                  <a:lnTo>
                    <a:pt x="1296" y="332"/>
                  </a:lnTo>
                  <a:lnTo>
                    <a:pt x="1296" y="332"/>
                  </a:lnTo>
                  <a:lnTo>
                    <a:pt x="1296" y="320"/>
                  </a:lnTo>
                  <a:lnTo>
                    <a:pt x="1296" y="320"/>
                  </a:lnTo>
                  <a:lnTo>
                    <a:pt x="1296" y="309"/>
                  </a:lnTo>
                  <a:lnTo>
                    <a:pt x="1296" y="309"/>
                  </a:lnTo>
                  <a:lnTo>
                    <a:pt x="1296" y="302"/>
                  </a:lnTo>
                  <a:lnTo>
                    <a:pt x="1296" y="297"/>
                  </a:lnTo>
                  <a:lnTo>
                    <a:pt x="1296" y="297"/>
                  </a:lnTo>
                  <a:lnTo>
                    <a:pt x="1294" y="297"/>
                  </a:lnTo>
                  <a:lnTo>
                    <a:pt x="1292" y="297"/>
                  </a:lnTo>
                  <a:lnTo>
                    <a:pt x="1287" y="297"/>
                  </a:lnTo>
                  <a:lnTo>
                    <a:pt x="1284" y="297"/>
                  </a:lnTo>
                  <a:lnTo>
                    <a:pt x="1284" y="297"/>
                  </a:lnTo>
                  <a:lnTo>
                    <a:pt x="1282" y="297"/>
                  </a:lnTo>
                  <a:lnTo>
                    <a:pt x="1280" y="297"/>
                  </a:lnTo>
                  <a:lnTo>
                    <a:pt x="1275" y="297"/>
                  </a:lnTo>
                  <a:lnTo>
                    <a:pt x="1273" y="297"/>
                  </a:lnTo>
                  <a:lnTo>
                    <a:pt x="1273" y="297"/>
                  </a:lnTo>
                  <a:lnTo>
                    <a:pt x="1273" y="290"/>
                  </a:lnTo>
                  <a:lnTo>
                    <a:pt x="1273" y="285"/>
                  </a:lnTo>
                  <a:lnTo>
                    <a:pt x="1273" y="285"/>
                  </a:lnTo>
                  <a:lnTo>
                    <a:pt x="1268" y="285"/>
                  </a:lnTo>
                  <a:lnTo>
                    <a:pt x="1261" y="285"/>
                  </a:lnTo>
                  <a:lnTo>
                    <a:pt x="1261" y="285"/>
                  </a:lnTo>
                  <a:lnTo>
                    <a:pt x="1254" y="285"/>
                  </a:lnTo>
                  <a:lnTo>
                    <a:pt x="1249" y="285"/>
                  </a:lnTo>
                  <a:lnTo>
                    <a:pt x="1249" y="285"/>
                  </a:lnTo>
                  <a:lnTo>
                    <a:pt x="1249" y="283"/>
                  </a:lnTo>
                  <a:lnTo>
                    <a:pt x="1249" y="278"/>
                  </a:lnTo>
                  <a:lnTo>
                    <a:pt x="1249" y="273"/>
                  </a:lnTo>
                  <a:lnTo>
                    <a:pt x="1249" y="273"/>
                  </a:lnTo>
                  <a:lnTo>
                    <a:pt x="1237" y="273"/>
                  </a:lnTo>
                  <a:lnTo>
                    <a:pt x="1237" y="273"/>
                  </a:lnTo>
                  <a:lnTo>
                    <a:pt x="1230" y="273"/>
                  </a:lnTo>
                  <a:lnTo>
                    <a:pt x="1226" y="273"/>
                  </a:lnTo>
                  <a:lnTo>
                    <a:pt x="1226" y="273"/>
                  </a:lnTo>
                  <a:lnTo>
                    <a:pt x="1226" y="280"/>
                  </a:lnTo>
                  <a:lnTo>
                    <a:pt x="1226" y="285"/>
                  </a:lnTo>
                  <a:lnTo>
                    <a:pt x="1226" y="285"/>
                  </a:lnTo>
                  <a:lnTo>
                    <a:pt x="1218" y="285"/>
                  </a:lnTo>
                  <a:lnTo>
                    <a:pt x="1214" y="285"/>
                  </a:lnTo>
                  <a:lnTo>
                    <a:pt x="1214" y="285"/>
                  </a:lnTo>
                  <a:lnTo>
                    <a:pt x="1207" y="285"/>
                  </a:lnTo>
                  <a:lnTo>
                    <a:pt x="1202" y="285"/>
                  </a:lnTo>
                  <a:lnTo>
                    <a:pt x="1202" y="285"/>
                  </a:lnTo>
                  <a:lnTo>
                    <a:pt x="1200" y="287"/>
                  </a:lnTo>
                  <a:lnTo>
                    <a:pt x="1202" y="290"/>
                  </a:lnTo>
                  <a:lnTo>
                    <a:pt x="1202" y="295"/>
                  </a:lnTo>
                  <a:lnTo>
                    <a:pt x="1202" y="297"/>
                  </a:lnTo>
                  <a:lnTo>
                    <a:pt x="1202" y="297"/>
                  </a:lnTo>
                  <a:lnTo>
                    <a:pt x="1195" y="297"/>
                  </a:lnTo>
                  <a:lnTo>
                    <a:pt x="1190" y="297"/>
                  </a:lnTo>
                  <a:lnTo>
                    <a:pt x="1190" y="297"/>
                  </a:lnTo>
                  <a:lnTo>
                    <a:pt x="1183" y="297"/>
                  </a:lnTo>
                  <a:lnTo>
                    <a:pt x="1178" y="297"/>
                  </a:lnTo>
                  <a:lnTo>
                    <a:pt x="1178" y="297"/>
                  </a:lnTo>
                  <a:lnTo>
                    <a:pt x="1178" y="302"/>
                  </a:lnTo>
                  <a:lnTo>
                    <a:pt x="1178" y="309"/>
                  </a:lnTo>
                  <a:lnTo>
                    <a:pt x="1178" y="309"/>
                  </a:lnTo>
                  <a:lnTo>
                    <a:pt x="1176" y="316"/>
                  </a:lnTo>
                  <a:lnTo>
                    <a:pt x="1178" y="320"/>
                  </a:lnTo>
                  <a:lnTo>
                    <a:pt x="1178" y="320"/>
                  </a:lnTo>
                  <a:lnTo>
                    <a:pt x="1178" y="332"/>
                  </a:lnTo>
                  <a:lnTo>
                    <a:pt x="1178" y="332"/>
                  </a:lnTo>
                  <a:lnTo>
                    <a:pt x="1178" y="339"/>
                  </a:lnTo>
                  <a:lnTo>
                    <a:pt x="1178" y="344"/>
                  </a:lnTo>
                  <a:lnTo>
                    <a:pt x="1178" y="344"/>
                  </a:lnTo>
                  <a:lnTo>
                    <a:pt x="1176" y="344"/>
                  </a:lnTo>
                  <a:lnTo>
                    <a:pt x="1171" y="344"/>
                  </a:lnTo>
                  <a:lnTo>
                    <a:pt x="1167" y="344"/>
                  </a:lnTo>
                  <a:lnTo>
                    <a:pt x="1167" y="344"/>
                  </a:lnTo>
                  <a:lnTo>
                    <a:pt x="1167" y="320"/>
                  </a:lnTo>
                  <a:lnTo>
                    <a:pt x="1167" y="320"/>
                  </a:lnTo>
                  <a:lnTo>
                    <a:pt x="1160" y="320"/>
                  </a:lnTo>
                  <a:lnTo>
                    <a:pt x="1157" y="320"/>
                  </a:lnTo>
                  <a:lnTo>
                    <a:pt x="1155" y="320"/>
                  </a:lnTo>
                  <a:lnTo>
                    <a:pt x="1155" y="320"/>
                  </a:lnTo>
                  <a:lnTo>
                    <a:pt x="1153" y="318"/>
                  </a:lnTo>
                  <a:lnTo>
                    <a:pt x="1153" y="316"/>
                  </a:lnTo>
                  <a:lnTo>
                    <a:pt x="1155" y="309"/>
                  </a:lnTo>
                  <a:lnTo>
                    <a:pt x="1155" y="309"/>
                  </a:lnTo>
                  <a:lnTo>
                    <a:pt x="1153" y="306"/>
                  </a:lnTo>
                  <a:lnTo>
                    <a:pt x="1155" y="304"/>
                  </a:lnTo>
                  <a:lnTo>
                    <a:pt x="1155" y="299"/>
                  </a:lnTo>
                  <a:lnTo>
                    <a:pt x="1155" y="297"/>
                  </a:lnTo>
                  <a:lnTo>
                    <a:pt x="1155" y="297"/>
                  </a:lnTo>
                  <a:lnTo>
                    <a:pt x="1141" y="297"/>
                  </a:lnTo>
                  <a:lnTo>
                    <a:pt x="1141" y="297"/>
                  </a:lnTo>
                  <a:lnTo>
                    <a:pt x="1136" y="297"/>
                  </a:lnTo>
                  <a:lnTo>
                    <a:pt x="1129" y="297"/>
                  </a:lnTo>
                  <a:lnTo>
                    <a:pt x="1129" y="297"/>
                  </a:lnTo>
                  <a:lnTo>
                    <a:pt x="1129" y="295"/>
                  </a:lnTo>
                  <a:lnTo>
                    <a:pt x="1129" y="292"/>
                  </a:lnTo>
                  <a:lnTo>
                    <a:pt x="1129" y="285"/>
                  </a:lnTo>
                  <a:lnTo>
                    <a:pt x="1129" y="285"/>
                  </a:lnTo>
                  <a:lnTo>
                    <a:pt x="1127" y="285"/>
                  </a:lnTo>
                  <a:lnTo>
                    <a:pt x="1124" y="285"/>
                  </a:lnTo>
                  <a:lnTo>
                    <a:pt x="1120" y="285"/>
                  </a:lnTo>
                  <a:lnTo>
                    <a:pt x="1117" y="285"/>
                  </a:lnTo>
                  <a:lnTo>
                    <a:pt x="1117" y="285"/>
                  </a:lnTo>
                  <a:lnTo>
                    <a:pt x="1117" y="283"/>
                  </a:lnTo>
                  <a:lnTo>
                    <a:pt x="1117" y="278"/>
                  </a:lnTo>
                  <a:lnTo>
                    <a:pt x="1117" y="273"/>
                  </a:lnTo>
                  <a:lnTo>
                    <a:pt x="1117" y="273"/>
                  </a:lnTo>
                  <a:lnTo>
                    <a:pt x="1105" y="273"/>
                  </a:lnTo>
                  <a:lnTo>
                    <a:pt x="1105" y="273"/>
                  </a:lnTo>
                  <a:lnTo>
                    <a:pt x="1094" y="273"/>
                  </a:lnTo>
                  <a:lnTo>
                    <a:pt x="1094" y="273"/>
                  </a:lnTo>
                  <a:lnTo>
                    <a:pt x="1046" y="273"/>
                  </a:lnTo>
                  <a:lnTo>
                    <a:pt x="1046" y="273"/>
                  </a:lnTo>
                  <a:lnTo>
                    <a:pt x="1046" y="297"/>
                  </a:lnTo>
                  <a:lnTo>
                    <a:pt x="1046" y="297"/>
                  </a:lnTo>
                  <a:lnTo>
                    <a:pt x="1023" y="297"/>
                  </a:lnTo>
                  <a:lnTo>
                    <a:pt x="1023" y="297"/>
                  </a:lnTo>
                  <a:lnTo>
                    <a:pt x="1023" y="344"/>
                  </a:lnTo>
                  <a:lnTo>
                    <a:pt x="1023" y="344"/>
                  </a:lnTo>
                  <a:lnTo>
                    <a:pt x="1011" y="344"/>
                  </a:lnTo>
                  <a:lnTo>
                    <a:pt x="1011" y="344"/>
                  </a:lnTo>
                  <a:lnTo>
                    <a:pt x="988" y="344"/>
                  </a:lnTo>
                  <a:lnTo>
                    <a:pt x="988" y="344"/>
                  </a:lnTo>
                  <a:lnTo>
                    <a:pt x="964" y="344"/>
                  </a:lnTo>
                  <a:lnTo>
                    <a:pt x="964" y="344"/>
                  </a:lnTo>
                  <a:lnTo>
                    <a:pt x="952" y="344"/>
                  </a:lnTo>
                  <a:lnTo>
                    <a:pt x="952" y="344"/>
                  </a:lnTo>
                  <a:lnTo>
                    <a:pt x="940" y="344"/>
                  </a:lnTo>
                  <a:lnTo>
                    <a:pt x="940" y="344"/>
                  </a:lnTo>
                  <a:lnTo>
                    <a:pt x="929" y="344"/>
                  </a:lnTo>
                  <a:lnTo>
                    <a:pt x="929" y="344"/>
                  </a:lnTo>
                  <a:lnTo>
                    <a:pt x="922" y="344"/>
                  </a:lnTo>
                  <a:lnTo>
                    <a:pt x="917" y="344"/>
                  </a:lnTo>
                  <a:lnTo>
                    <a:pt x="917" y="344"/>
                  </a:lnTo>
                  <a:lnTo>
                    <a:pt x="917" y="339"/>
                  </a:lnTo>
                  <a:lnTo>
                    <a:pt x="917" y="332"/>
                  </a:lnTo>
                  <a:lnTo>
                    <a:pt x="917" y="332"/>
                  </a:lnTo>
                  <a:lnTo>
                    <a:pt x="915" y="332"/>
                  </a:lnTo>
                  <a:lnTo>
                    <a:pt x="910" y="332"/>
                  </a:lnTo>
                  <a:lnTo>
                    <a:pt x="903" y="332"/>
                  </a:lnTo>
                  <a:lnTo>
                    <a:pt x="903" y="332"/>
                  </a:lnTo>
                  <a:lnTo>
                    <a:pt x="903" y="309"/>
                  </a:lnTo>
                  <a:lnTo>
                    <a:pt x="903" y="309"/>
                  </a:lnTo>
                  <a:lnTo>
                    <a:pt x="903" y="262"/>
                  </a:lnTo>
                  <a:lnTo>
                    <a:pt x="903" y="262"/>
                  </a:lnTo>
                  <a:lnTo>
                    <a:pt x="903" y="250"/>
                  </a:lnTo>
                  <a:lnTo>
                    <a:pt x="903" y="250"/>
                  </a:lnTo>
                  <a:lnTo>
                    <a:pt x="903" y="226"/>
                  </a:lnTo>
                  <a:lnTo>
                    <a:pt x="903" y="226"/>
                  </a:lnTo>
                  <a:lnTo>
                    <a:pt x="903" y="203"/>
                  </a:lnTo>
                  <a:lnTo>
                    <a:pt x="903" y="203"/>
                  </a:lnTo>
                  <a:lnTo>
                    <a:pt x="856" y="203"/>
                  </a:lnTo>
                  <a:lnTo>
                    <a:pt x="856" y="203"/>
                  </a:lnTo>
                  <a:lnTo>
                    <a:pt x="856" y="191"/>
                  </a:lnTo>
                  <a:lnTo>
                    <a:pt x="856" y="191"/>
                  </a:lnTo>
                  <a:lnTo>
                    <a:pt x="856" y="141"/>
                  </a:lnTo>
                  <a:lnTo>
                    <a:pt x="856" y="141"/>
                  </a:lnTo>
                  <a:lnTo>
                    <a:pt x="856" y="118"/>
                  </a:lnTo>
                  <a:lnTo>
                    <a:pt x="856" y="118"/>
                  </a:lnTo>
                  <a:lnTo>
                    <a:pt x="856" y="106"/>
                  </a:lnTo>
                  <a:lnTo>
                    <a:pt x="856" y="106"/>
                  </a:lnTo>
                  <a:lnTo>
                    <a:pt x="856" y="59"/>
                  </a:lnTo>
                  <a:lnTo>
                    <a:pt x="856" y="59"/>
                  </a:lnTo>
                  <a:lnTo>
                    <a:pt x="856" y="47"/>
                  </a:lnTo>
                  <a:lnTo>
                    <a:pt x="856" y="47"/>
                  </a:lnTo>
                  <a:lnTo>
                    <a:pt x="856" y="24"/>
                  </a:lnTo>
                  <a:lnTo>
                    <a:pt x="856" y="24"/>
                  </a:lnTo>
                  <a:lnTo>
                    <a:pt x="851" y="24"/>
                  </a:lnTo>
                  <a:lnTo>
                    <a:pt x="844" y="24"/>
                  </a:lnTo>
                  <a:lnTo>
                    <a:pt x="844" y="24"/>
                  </a:lnTo>
                  <a:lnTo>
                    <a:pt x="844" y="12"/>
                  </a:lnTo>
                  <a:lnTo>
                    <a:pt x="844" y="12"/>
                  </a:lnTo>
                  <a:lnTo>
                    <a:pt x="844" y="0"/>
                  </a:lnTo>
                  <a:lnTo>
                    <a:pt x="844" y="0"/>
                  </a:lnTo>
                  <a:lnTo>
                    <a:pt x="750" y="0"/>
                  </a:lnTo>
                  <a:lnTo>
                    <a:pt x="750" y="0"/>
                  </a:lnTo>
                  <a:lnTo>
                    <a:pt x="750" y="12"/>
                  </a:lnTo>
                  <a:lnTo>
                    <a:pt x="750" y="12"/>
                  </a:lnTo>
                  <a:lnTo>
                    <a:pt x="750" y="35"/>
                  </a:lnTo>
                  <a:lnTo>
                    <a:pt x="750" y="35"/>
                  </a:lnTo>
                  <a:lnTo>
                    <a:pt x="750" y="47"/>
                  </a:lnTo>
                  <a:lnTo>
                    <a:pt x="750" y="47"/>
                  </a:lnTo>
                  <a:lnTo>
                    <a:pt x="750" y="54"/>
                  </a:lnTo>
                  <a:lnTo>
                    <a:pt x="750" y="59"/>
                  </a:lnTo>
                  <a:lnTo>
                    <a:pt x="750" y="59"/>
                  </a:lnTo>
                  <a:lnTo>
                    <a:pt x="743" y="59"/>
                  </a:lnTo>
                  <a:lnTo>
                    <a:pt x="738" y="59"/>
                  </a:lnTo>
                  <a:lnTo>
                    <a:pt x="738" y="59"/>
                  </a:lnTo>
                  <a:lnTo>
                    <a:pt x="738" y="64"/>
                  </a:lnTo>
                  <a:lnTo>
                    <a:pt x="738" y="71"/>
                  </a:lnTo>
                  <a:lnTo>
                    <a:pt x="738" y="71"/>
                  </a:lnTo>
                  <a:lnTo>
                    <a:pt x="738" y="82"/>
                  </a:lnTo>
                  <a:lnTo>
                    <a:pt x="738" y="82"/>
                  </a:lnTo>
                  <a:lnTo>
                    <a:pt x="738" y="106"/>
                  </a:lnTo>
                  <a:lnTo>
                    <a:pt x="738" y="106"/>
                  </a:lnTo>
                  <a:lnTo>
                    <a:pt x="738" y="118"/>
                  </a:lnTo>
                  <a:lnTo>
                    <a:pt x="738" y="118"/>
                  </a:lnTo>
                  <a:lnTo>
                    <a:pt x="738" y="141"/>
                  </a:lnTo>
                  <a:lnTo>
                    <a:pt x="738" y="141"/>
                  </a:lnTo>
                  <a:lnTo>
                    <a:pt x="738" y="238"/>
                  </a:lnTo>
                  <a:lnTo>
                    <a:pt x="738" y="238"/>
                  </a:lnTo>
                  <a:lnTo>
                    <a:pt x="738" y="250"/>
                  </a:lnTo>
                  <a:lnTo>
                    <a:pt x="738" y="250"/>
                  </a:lnTo>
                  <a:lnTo>
                    <a:pt x="738" y="273"/>
                  </a:lnTo>
                  <a:lnTo>
                    <a:pt x="738" y="273"/>
                  </a:lnTo>
                  <a:lnTo>
                    <a:pt x="738" y="320"/>
                  </a:lnTo>
                  <a:lnTo>
                    <a:pt x="738" y="320"/>
                  </a:lnTo>
                  <a:lnTo>
                    <a:pt x="726" y="320"/>
                  </a:lnTo>
                  <a:lnTo>
                    <a:pt x="726" y="320"/>
                  </a:lnTo>
                  <a:lnTo>
                    <a:pt x="726" y="309"/>
                  </a:lnTo>
                  <a:lnTo>
                    <a:pt x="726" y="309"/>
                  </a:lnTo>
                  <a:lnTo>
                    <a:pt x="726" y="297"/>
                  </a:lnTo>
                  <a:lnTo>
                    <a:pt x="726" y="297"/>
                  </a:lnTo>
                  <a:lnTo>
                    <a:pt x="726" y="285"/>
                  </a:lnTo>
                  <a:lnTo>
                    <a:pt x="726" y="285"/>
                  </a:lnTo>
                  <a:lnTo>
                    <a:pt x="726" y="278"/>
                  </a:lnTo>
                  <a:lnTo>
                    <a:pt x="726" y="273"/>
                  </a:lnTo>
                  <a:lnTo>
                    <a:pt x="726" y="273"/>
                  </a:lnTo>
                  <a:lnTo>
                    <a:pt x="724" y="273"/>
                  </a:lnTo>
                  <a:lnTo>
                    <a:pt x="719" y="273"/>
                  </a:lnTo>
                  <a:lnTo>
                    <a:pt x="714" y="273"/>
                  </a:lnTo>
                  <a:lnTo>
                    <a:pt x="714" y="273"/>
                  </a:lnTo>
                  <a:lnTo>
                    <a:pt x="712" y="271"/>
                  </a:lnTo>
                  <a:lnTo>
                    <a:pt x="714" y="266"/>
                  </a:lnTo>
                  <a:lnTo>
                    <a:pt x="714" y="262"/>
                  </a:lnTo>
                  <a:lnTo>
                    <a:pt x="714" y="262"/>
                  </a:lnTo>
                  <a:lnTo>
                    <a:pt x="702" y="262"/>
                  </a:lnTo>
                  <a:lnTo>
                    <a:pt x="702" y="262"/>
                  </a:lnTo>
                  <a:lnTo>
                    <a:pt x="679" y="262"/>
                  </a:lnTo>
                  <a:lnTo>
                    <a:pt x="679" y="262"/>
                  </a:lnTo>
                  <a:lnTo>
                    <a:pt x="679" y="266"/>
                  </a:lnTo>
                  <a:lnTo>
                    <a:pt x="679" y="273"/>
                  </a:lnTo>
                  <a:lnTo>
                    <a:pt x="679" y="273"/>
                  </a:lnTo>
                  <a:lnTo>
                    <a:pt x="667" y="273"/>
                  </a:lnTo>
                  <a:lnTo>
                    <a:pt x="667" y="273"/>
                  </a:lnTo>
                  <a:lnTo>
                    <a:pt x="660" y="273"/>
                  </a:lnTo>
                  <a:lnTo>
                    <a:pt x="653" y="273"/>
                  </a:lnTo>
                  <a:lnTo>
                    <a:pt x="653" y="273"/>
                  </a:lnTo>
                  <a:lnTo>
                    <a:pt x="653" y="278"/>
                  </a:lnTo>
                  <a:lnTo>
                    <a:pt x="653" y="285"/>
                  </a:lnTo>
                  <a:lnTo>
                    <a:pt x="653" y="285"/>
                  </a:lnTo>
                  <a:lnTo>
                    <a:pt x="641" y="285"/>
                  </a:lnTo>
                  <a:lnTo>
                    <a:pt x="641" y="285"/>
                  </a:lnTo>
                  <a:lnTo>
                    <a:pt x="629" y="285"/>
                  </a:lnTo>
                  <a:lnTo>
                    <a:pt x="629" y="285"/>
                  </a:lnTo>
                  <a:lnTo>
                    <a:pt x="629" y="292"/>
                  </a:lnTo>
                  <a:lnTo>
                    <a:pt x="632" y="295"/>
                  </a:lnTo>
                  <a:lnTo>
                    <a:pt x="629" y="297"/>
                  </a:lnTo>
                  <a:lnTo>
                    <a:pt x="629" y="297"/>
                  </a:lnTo>
                  <a:lnTo>
                    <a:pt x="625" y="297"/>
                  </a:lnTo>
                  <a:lnTo>
                    <a:pt x="618" y="297"/>
                  </a:lnTo>
                  <a:lnTo>
                    <a:pt x="618" y="297"/>
                  </a:lnTo>
                  <a:lnTo>
                    <a:pt x="613" y="297"/>
                  </a:lnTo>
                  <a:lnTo>
                    <a:pt x="606" y="297"/>
                  </a:lnTo>
                  <a:lnTo>
                    <a:pt x="606" y="297"/>
                  </a:lnTo>
                  <a:lnTo>
                    <a:pt x="594" y="297"/>
                  </a:lnTo>
                  <a:lnTo>
                    <a:pt x="594" y="297"/>
                  </a:lnTo>
                  <a:lnTo>
                    <a:pt x="582" y="297"/>
                  </a:lnTo>
                  <a:lnTo>
                    <a:pt x="582" y="297"/>
                  </a:lnTo>
                  <a:lnTo>
                    <a:pt x="582" y="302"/>
                  </a:lnTo>
                  <a:lnTo>
                    <a:pt x="582" y="309"/>
                  </a:lnTo>
                  <a:lnTo>
                    <a:pt x="582" y="309"/>
                  </a:lnTo>
                  <a:lnTo>
                    <a:pt x="578" y="309"/>
                  </a:lnTo>
                  <a:lnTo>
                    <a:pt x="571" y="309"/>
                  </a:lnTo>
                  <a:lnTo>
                    <a:pt x="571" y="309"/>
                  </a:lnTo>
                  <a:lnTo>
                    <a:pt x="571" y="316"/>
                  </a:lnTo>
                  <a:lnTo>
                    <a:pt x="571" y="320"/>
                  </a:lnTo>
                  <a:lnTo>
                    <a:pt x="571" y="320"/>
                  </a:lnTo>
                  <a:lnTo>
                    <a:pt x="566" y="320"/>
                  </a:lnTo>
                  <a:lnTo>
                    <a:pt x="559" y="320"/>
                  </a:lnTo>
                  <a:lnTo>
                    <a:pt x="559" y="320"/>
                  </a:lnTo>
                  <a:lnTo>
                    <a:pt x="559" y="328"/>
                  </a:lnTo>
                  <a:lnTo>
                    <a:pt x="559" y="332"/>
                  </a:lnTo>
                  <a:lnTo>
                    <a:pt x="559" y="332"/>
                  </a:lnTo>
                  <a:lnTo>
                    <a:pt x="559" y="356"/>
                  </a:lnTo>
                  <a:lnTo>
                    <a:pt x="559" y="356"/>
                  </a:lnTo>
                  <a:lnTo>
                    <a:pt x="554" y="356"/>
                  </a:lnTo>
                  <a:lnTo>
                    <a:pt x="547" y="356"/>
                  </a:lnTo>
                  <a:lnTo>
                    <a:pt x="547" y="356"/>
                  </a:lnTo>
                  <a:lnTo>
                    <a:pt x="542" y="356"/>
                  </a:lnTo>
                  <a:lnTo>
                    <a:pt x="535" y="356"/>
                  </a:lnTo>
                  <a:lnTo>
                    <a:pt x="535" y="356"/>
                  </a:lnTo>
                  <a:lnTo>
                    <a:pt x="528" y="356"/>
                  </a:lnTo>
                  <a:lnTo>
                    <a:pt x="523" y="356"/>
                  </a:lnTo>
                  <a:lnTo>
                    <a:pt x="523" y="356"/>
                  </a:lnTo>
                  <a:lnTo>
                    <a:pt x="523" y="351"/>
                  </a:lnTo>
                  <a:lnTo>
                    <a:pt x="523" y="344"/>
                  </a:lnTo>
                  <a:lnTo>
                    <a:pt x="523" y="344"/>
                  </a:lnTo>
                  <a:lnTo>
                    <a:pt x="512" y="344"/>
                  </a:lnTo>
                  <a:lnTo>
                    <a:pt x="512" y="344"/>
                  </a:lnTo>
                  <a:lnTo>
                    <a:pt x="500" y="344"/>
                  </a:lnTo>
                  <a:lnTo>
                    <a:pt x="500" y="344"/>
                  </a:lnTo>
                  <a:lnTo>
                    <a:pt x="476" y="344"/>
                  </a:lnTo>
                  <a:lnTo>
                    <a:pt x="476" y="344"/>
                  </a:lnTo>
                  <a:lnTo>
                    <a:pt x="453" y="344"/>
                  </a:lnTo>
                  <a:lnTo>
                    <a:pt x="453" y="344"/>
                  </a:lnTo>
                  <a:lnTo>
                    <a:pt x="453" y="339"/>
                  </a:lnTo>
                  <a:lnTo>
                    <a:pt x="453" y="335"/>
                  </a:lnTo>
                  <a:lnTo>
                    <a:pt x="453" y="332"/>
                  </a:lnTo>
                  <a:lnTo>
                    <a:pt x="453" y="332"/>
                  </a:lnTo>
                  <a:lnTo>
                    <a:pt x="446" y="332"/>
                  </a:lnTo>
                  <a:lnTo>
                    <a:pt x="441" y="332"/>
                  </a:lnTo>
                  <a:lnTo>
                    <a:pt x="441" y="332"/>
                  </a:lnTo>
                  <a:lnTo>
                    <a:pt x="429" y="332"/>
                  </a:lnTo>
                  <a:lnTo>
                    <a:pt x="429" y="332"/>
                  </a:lnTo>
                  <a:lnTo>
                    <a:pt x="429" y="339"/>
                  </a:lnTo>
                  <a:lnTo>
                    <a:pt x="429" y="342"/>
                  </a:lnTo>
                  <a:lnTo>
                    <a:pt x="429" y="344"/>
                  </a:lnTo>
                  <a:lnTo>
                    <a:pt x="429" y="344"/>
                  </a:lnTo>
                  <a:lnTo>
                    <a:pt x="422" y="344"/>
                  </a:lnTo>
                  <a:lnTo>
                    <a:pt x="417" y="344"/>
                  </a:lnTo>
                  <a:lnTo>
                    <a:pt x="417" y="344"/>
                  </a:lnTo>
                  <a:lnTo>
                    <a:pt x="403" y="344"/>
                  </a:lnTo>
                  <a:lnTo>
                    <a:pt x="403" y="344"/>
                  </a:lnTo>
                  <a:lnTo>
                    <a:pt x="399" y="344"/>
                  </a:lnTo>
                  <a:lnTo>
                    <a:pt x="391" y="344"/>
                  </a:lnTo>
                  <a:lnTo>
                    <a:pt x="391" y="344"/>
                  </a:lnTo>
                  <a:lnTo>
                    <a:pt x="387" y="344"/>
                  </a:lnTo>
                  <a:lnTo>
                    <a:pt x="380" y="344"/>
                  </a:lnTo>
                  <a:lnTo>
                    <a:pt x="380" y="344"/>
                  </a:lnTo>
                  <a:lnTo>
                    <a:pt x="380" y="346"/>
                  </a:lnTo>
                  <a:lnTo>
                    <a:pt x="380" y="351"/>
                  </a:lnTo>
                  <a:lnTo>
                    <a:pt x="380" y="356"/>
                  </a:lnTo>
                  <a:lnTo>
                    <a:pt x="380" y="356"/>
                  </a:lnTo>
                  <a:lnTo>
                    <a:pt x="356" y="356"/>
                  </a:lnTo>
                  <a:lnTo>
                    <a:pt x="356" y="356"/>
                  </a:lnTo>
                  <a:lnTo>
                    <a:pt x="344" y="356"/>
                  </a:lnTo>
                  <a:lnTo>
                    <a:pt x="344" y="356"/>
                  </a:lnTo>
                  <a:lnTo>
                    <a:pt x="321" y="356"/>
                  </a:lnTo>
                  <a:lnTo>
                    <a:pt x="321" y="356"/>
                  </a:lnTo>
                  <a:lnTo>
                    <a:pt x="309" y="356"/>
                  </a:lnTo>
                  <a:lnTo>
                    <a:pt x="309" y="356"/>
                  </a:lnTo>
                  <a:lnTo>
                    <a:pt x="297" y="356"/>
                  </a:lnTo>
                  <a:lnTo>
                    <a:pt x="297" y="356"/>
                  </a:lnTo>
                  <a:lnTo>
                    <a:pt x="285" y="356"/>
                  </a:lnTo>
                  <a:lnTo>
                    <a:pt x="285" y="356"/>
                  </a:lnTo>
                  <a:lnTo>
                    <a:pt x="274" y="356"/>
                  </a:lnTo>
                  <a:lnTo>
                    <a:pt x="274" y="356"/>
                  </a:lnTo>
                  <a:lnTo>
                    <a:pt x="262" y="356"/>
                  </a:lnTo>
                  <a:lnTo>
                    <a:pt x="262" y="356"/>
                  </a:lnTo>
                  <a:lnTo>
                    <a:pt x="250" y="356"/>
                  </a:lnTo>
                  <a:lnTo>
                    <a:pt x="250" y="356"/>
                  </a:lnTo>
                  <a:lnTo>
                    <a:pt x="243" y="356"/>
                  </a:lnTo>
                  <a:lnTo>
                    <a:pt x="238" y="356"/>
                  </a:lnTo>
                  <a:lnTo>
                    <a:pt x="238" y="356"/>
                  </a:lnTo>
                  <a:lnTo>
                    <a:pt x="238" y="351"/>
                  </a:lnTo>
                  <a:lnTo>
                    <a:pt x="238" y="344"/>
                  </a:lnTo>
                  <a:lnTo>
                    <a:pt x="238" y="344"/>
                  </a:lnTo>
                  <a:lnTo>
                    <a:pt x="231" y="344"/>
                  </a:lnTo>
                  <a:lnTo>
                    <a:pt x="227" y="344"/>
                  </a:lnTo>
                  <a:lnTo>
                    <a:pt x="227" y="344"/>
                  </a:lnTo>
                  <a:lnTo>
                    <a:pt x="227" y="356"/>
                  </a:lnTo>
                  <a:lnTo>
                    <a:pt x="227" y="356"/>
                  </a:lnTo>
                  <a:lnTo>
                    <a:pt x="215" y="356"/>
                  </a:lnTo>
                  <a:lnTo>
                    <a:pt x="215" y="356"/>
                  </a:lnTo>
                  <a:lnTo>
                    <a:pt x="203" y="356"/>
                  </a:lnTo>
                  <a:lnTo>
                    <a:pt x="203" y="356"/>
                  </a:lnTo>
                  <a:lnTo>
                    <a:pt x="191" y="356"/>
                  </a:lnTo>
                  <a:lnTo>
                    <a:pt x="191" y="356"/>
                  </a:lnTo>
                  <a:lnTo>
                    <a:pt x="179" y="356"/>
                  </a:lnTo>
                  <a:lnTo>
                    <a:pt x="179" y="356"/>
                  </a:lnTo>
                  <a:lnTo>
                    <a:pt x="165" y="356"/>
                  </a:lnTo>
                  <a:lnTo>
                    <a:pt x="165" y="356"/>
                  </a:lnTo>
                  <a:lnTo>
                    <a:pt x="153" y="356"/>
                  </a:lnTo>
                  <a:lnTo>
                    <a:pt x="153" y="356"/>
                  </a:lnTo>
                  <a:lnTo>
                    <a:pt x="130" y="356"/>
                  </a:lnTo>
                  <a:lnTo>
                    <a:pt x="130" y="356"/>
                  </a:lnTo>
                  <a:lnTo>
                    <a:pt x="118" y="356"/>
                  </a:lnTo>
                  <a:lnTo>
                    <a:pt x="118" y="356"/>
                  </a:lnTo>
                  <a:lnTo>
                    <a:pt x="95" y="356"/>
                  </a:lnTo>
                  <a:lnTo>
                    <a:pt x="95" y="356"/>
                  </a:lnTo>
                  <a:lnTo>
                    <a:pt x="0" y="356"/>
                  </a:lnTo>
                  <a:lnTo>
                    <a:pt x="0" y="356"/>
                  </a:lnTo>
                  <a:lnTo>
                    <a:pt x="0" y="379"/>
                  </a:lnTo>
                  <a:lnTo>
                    <a:pt x="0" y="379"/>
                  </a:lnTo>
                  <a:lnTo>
                    <a:pt x="0" y="391"/>
                  </a:lnTo>
                  <a:lnTo>
                    <a:pt x="0" y="391"/>
                  </a:lnTo>
                  <a:lnTo>
                    <a:pt x="0" y="415"/>
                  </a:lnTo>
                  <a:lnTo>
                    <a:pt x="0" y="415"/>
                  </a:lnTo>
                  <a:lnTo>
                    <a:pt x="0" y="429"/>
                  </a:lnTo>
                  <a:lnTo>
                    <a:pt x="0" y="429"/>
                  </a:lnTo>
                  <a:lnTo>
                    <a:pt x="0" y="452"/>
                  </a:lnTo>
                  <a:lnTo>
                    <a:pt x="0" y="452"/>
                  </a:lnTo>
                  <a:lnTo>
                    <a:pt x="0" y="476"/>
                  </a:lnTo>
                  <a:lnTo>
                    <a:pt x="0" y="476"/>
                  </a:lnTo>
                  <a:lnTo>
                    <a:pt x="12" y="476"/>
                  </a:lnTo>
                  <a:lnTo>
                    <a:pt x="12" y="476"/>
                  </a:lnTo>
                  <a:lnTo>
                    <a:pt x="36" y="476"/>
                  </a:lnTo>
                  <a:lnTo>
                    <a:pt x="36" y="476"/>
                  </a:lnTo>
                  <a:lnTo>
                    <a:pt x="83" y="476"/>
                  </a:lnTo>
                  <a:lnTo>
                    <a:pt x="83" y="476"/>
                  </a:lnTo>
                  <a:lnTo>
                    <a:pt x="106" y="476"/>
                  </a:lnTo>
                  <a:lnTo>
                    <a:pt x="106" y="476"/>
                  </a:lnTo>
                  <a:lnTo>
                    <a:pt x="118" y="476"/>
                  </a:lnTo>
                  <a:lnTo>
                    <a:pt x="118" y="476"/>
                  </a:lnTo>
                  <a:lnTo>
                    <a:pt x="142" y="476"/>
                  </a:lnTo>
                  <a:lnTo>
                    <a:pt x="142" y="476"/>
                  </a:lnTo>
                  <a:lnTo>
                    <a:pt x="165" y="476"/>
                  </a:lnTo>
                  <a:lnTo>
                    <a:pt x="165" y="476"/>
                  </a:lnTo>
                  <a:lnTo>
                    <a:pt x="179" y="476"/>
                  </a:lnTo>
                  <a:lnTo>
                    <a:pt x="179" y="476"/>
                  </a:lnTo>
                  <a:lnTo>
                    <a:pt x="203" y="476"/>
                  </a:lnTo>
                  <a:lnTo>
                    <a:pt x="203" y="476"/>
                  </a:lnTo>
                  <a:lnTo>
                    <a:pt x="215" y="476"/>
                  </a:lnTo>
                  <a:lnTo>
                    <a:pt x="215" y="476"/>
                  </a:lnTo>
                  <a:lnTo>
                    <a:pt x="238" y="476"/>
                  </a:lnTo>
                  <a:lnTo>
                    <a:pt x="238" y="476"/>
                  </a:lnTo>
                  <a:lnTo>
                    <a:pt x="250" y="476"/>
                  </a:lnTo>
                  <a:lnTo>
                    <a:pt x="250" y="476"/>
                  </a:lnTo>
                  <a:lnTo>
                    <a:pt x="274" y="476"/>
                  </a:lnTo>
                  <a:lnTo>
                    <a:pt x="274" y="476"/>
                  </a:lnTo>
                  <a:lnTo>
                    <a:pt x="285" y="476"/>
                  </a:lnTo>
                  <a:lnTo>
                    <a:pt x="285" y="476"/>
                  </a:lnTo>
                  <a:lnTo>
                    <a:pt x="309" y="476"/>
                  </a:lnTo>
                  <a:lnTo>
                    <a:pt x="309" y="476"/>
                  </a:lnTo>
                  <a:lnTo>
                    <a:pt x="321" y="476"/>
                  </a:lnTo>
                  <a:lnTo>
                    <a:pt x="321" y="476"/>
                  </a:lnTo>
                  <a:lnTo>
                    <a:pt x="344" y="476"/>
                  </a:lnTo>
                  <a:lnTo>
                    <a:pt x="344" y="476"/>
                  </a:lnTo>
                  <a:lnTo>
                    <a:pt x="356" y="476"/>
                  </a:lnTo>
                  <a:lnTo>
                    <a:pt x="356" y="476"/>
                  </a:lnTo>
                  <a:lnTo>
                    <a:pt x="380" y="476"/>
                  </a:lnTo>
                  <a:lnTo>
                    <a:pt x="380" y="476"/>
                  </a:lnTo>
                  <a:lnTo>
                    <a:pt x="391" y="476"/>
                  </a:lnTo>
                  <a:lnTo>
                    <a:pt x="391" y="476"/>
                  </a:lnTo>
                  <a:lnTo>
                    <a:pt x="441" y="476"/>
                  </a:lnTo>
                  <a:lnTo>
                    <a:pt x="441" y="476"/>
                  </a:lnTo>
                  <a:lnTo>
                    <a:pt x="453" y="476"/>
                  </a:lnTo>
                  <a:lnTo>
                    <a:pt x="453" y="476"/>
                  </a:lnTo>
                  <a:lnTo>
                    <a:pt x="476" y="476"/>
                  </a:lnTo>
                  <a:lnTo>
                    <a:pt x="476" y="476"/>
                  </a:lnTo>
                  <a:lnTo>
                    <a:pt x="488" y="476"/>
                  </a:lnTo>
                  <a:lnTo>
                    <a:pt x="488" y="476"/>
                  </a:lnTo>
                  <a:lnTo>
                    <a:pt x="512" y="476"/>
                  </a:lnTo>
                  <a:lnTo>
                    <a:pt x="512" y="476"/>
                  </a:lnTo>
                  <a:lnTo>
                    <a:pt x="523" y="476"/>
                  </a:lnTo>
                  <a:lnTo>
                    <a:pt x="523" y="476"/>
                  </a:lnTo>
                  <a:lnTo>
                    <a:pt x="547" y="476"/>
                  </a:lnTo>
                  <a:lnTo>
                    <a:pt x="547" y="476"/>
                  </a:lnTo>
                  <a:lnTo>
                    <a:pt x="559" y="476"/>
                  </a:lnTo>
                  <a:lnTo>
                    <a:pt x="559" y="476"/>
                  </a:lnTo>
                  <a:lnTo>
                    <a:pt x="582" y="476"/>
                  </a:lnTo>
                  <a:lnTo>
                    <a:pt x="582" y="476"/>
                  </a:lnTo>
                  <a:lnTo>
                    <a:pt x="594" y="476"/>
                  </a:lnTo>
                  <a:lnTo>
                    <a:pt x="594" y="476"/>
                  </a:lnTo>
                  <a:lnTo>
                    <a:pt x="618" y="476"/>
                  </a:lnTo>
                  <a:lnTo>
                    <a:pt x="618" y="476"/>
                  </a:lnTo>
                  <a:lnTo>
                    <a:pt x="629" y="476"/>
                  </a:lnTo>
                  <a:lnTo>
                    <a:pt x="629" y="476"/>
                  </a:lnTo>
                  <a:lnTo>
                    <a:pt x="653" y="476"/>
                  </a:lnTo>
                  <a:lnTo>
                    <a:pt x="653" y="476"/>
                  </a:lnTo>
                  <a:lnTo>
                    <a:pt x="667" y="476"/>
                  </a:lnTo>
                  <a:lnTo>
                    <a:pt x="667" y="476"/>
                  </a:lnTo>
                  <a:lnTo>
                    <a:pt x="714" y="476"/>
                  </a:lnTo>
                  <a:lnTo>
                    <a:pt x="714" y="476"/>
                  </a:lnTo>
                  <a:lnTo>
                    <a:pt x="726" y="476"/>
                  </a:lnTo>
                  <a:lnTo>
                    <a:pt x="726" y="476"/>
                  </a:lnTo>
                  <a:lnTo>
                    <a:pt x="750" y="476"/>
                  </a:lnTo>
                  <a:lnTo>
                    <a:pt x="750" y="476"/>
                  </a:lnTo>
                  <a:lnTo>
                    <a:pt x="761" y="476"/>
                  </a:lnTo>
                  <a:lnTo>
                    <a:pt x="761" y="476"/>
                  </a:lnTo>
                  <a:lnTo>
                    <a:pt x="785" y="476"/>
                  </a:lnTo>
                  <a:lnTo>
                    <a:pt x="785" y="476"/>
                  </a:lnTo>
                  <a:lnTo>
                    <a:pt x="797" y="476"/>
                  </a:lnTo>
                  <a:lnTo>
                    <a:pt x="797" y="476"/>
                  </a:lnTo>
                  <a:lnTo>
                    <a:pt x="820" y="476"/>
                  </a:lnTo>
                  <a:lnTo>
                    <a:pt x="820" y="476"/>
                  </a:lnTo>
                  <a:lnTo>
                    <a:pt x="832" y="476"/>
                  </a:lnTo>
                  <a:lnTo>
                    <a:pt x="832" y="476"/>
                  </a:lnTo>
                  <a:lnTo>
                    <a:pt x="856" y="476"/>
                  </a:lnTo>
                  <a:lnTo>
                    <a:pt x="856" y="476"/>
                  </a:lnTo>
                  <a:lnTo>
                    <a:pt x="867" y="476"/>
                  </a:lnTo>
                  <a:lnTo>
                    <a:pt x="867" y="476"/>
                  </a:lnTo>
                  <a:lnTo>
                    <a:pt x="891" y="476"/>
                  </a:lnTo>
                  <a:lnTo>
                    <a:pt x="891" y="476"/>
                  </a:lnTo>
                  <a:lnTo>
                    <a:pt x="903" y="476"/>
                  </a:lnTo>
                  <a:lnTo>
                    <a:pt x="903" y="476"/>
                  </a:lnTo>
                  <a:lnTo>
                    <a:pt x="929" y="476"/>
                  </a:lnTo>
                  <a:lnTo>
                    <a:pt x="929" y="476"/>
                  </a:lnTo>
                  <a:lnTo>
                    <a:pt x="940" y="476"/>
                  </a:lnTo>
                  <a:lnTo>
                    <a:pt x="940" y="476"/>
                  </a:lnTo>
                  <a:lnTo>
                    <a:pt x="988" y="476"/>
                  </a:lnTo>
                  <a:lnTo>
                    <a:pt x="988" y="476"/>
                  </a:lnTo>
                  <a:lnTo>
                    <a:pt x="999" y="476"/>
                  </a:lnTo>
                  <a:lnTo>
                    <a:pt x="999" y="476"/>
                  </a:lnTo>
                  <a:lnTo>
                    <a:pt x="1023" y="476"/>
                  </a:lnTo>
                  <a:lnTo>
                    <a:pt x="1023" y="476"/>
                  </a:lnTo>
                  <a:lnTo>
                    <a:pt x="1035" y="476"/>
                  </a:lnTo>
                  <a:lnTo>
                    <a:pt x="1035" y="476"/>
                  </a:lnTo>
                  <a:lnTo>
                    <a:pt x="1058" y="476"/>
                  </a:lnTo>
                  <a:lnTo>
                    <a:pt x="1058" y="476"/>
                  </a:lnTo>
                  <a:lnTo>
                    <a:pt x="1070" y="476"/>
                  </a:lnTo>
                  <a:lnTo>
                    <a:pt x="1070" y="476"/>
                  </a:lnTo>
                  <a:lnTo>
                    <a:pt x="1094" y="476"/>
                  </a:lnTo>
                  <a:lnTo>
                    <a:pt x="1094" y="476"/>
                  </a:lnTo>
                  <a:lnTo>
                    <a:pt x="1105" y="476"/>
                  </a:lnTo>
                  <a:lnTo>
                    <a:pt x="1105" y="476"/>
                  </a:lnTo>
                  <a:lnTo>
                    <a:pt x="1129" y="476"/>
                  </a:lnTo>
                  <a:lnTo>
                    <a:pt x="1129" y="476"/>
                  </a:lnTo>
                  <a:lnTo>
                    <a:pt x="1141" y="476"/>
                  </a:lnTo>
                  <a:lnTo>
                    <a:pt x="1141" y="476"/>
                  </a:lnTo>
                  <a:lnTo>
                    <a:pt x="1167" y="476"/>
                  </a:lnTo>
                  <a:lnTo>
                    <a:pt x="1167" y="476"/>
                  </a:lnTo>
                  <a:lnTo>
                    <a:pt x="1178" y="476"/>
                  </a:lnTo>
                  <a:lnTo>
                    <a:pt x="1178" y="476"/>
                  </a:lnTo>
                  <a:lnTo>
                    <a:pt x="1202" y="476"/>
                  </a:lnTo>
                  <a:lnTo>
                    <a:pt x="1202" y="476"/>
                  </a:lnTo>
                  <a:lnTo>
                    <a:pt x="1214" y="476"/>
                  </a:lnTo>
                  <a:lnTo>
                    <a:pt x="1214" y="476"/>
                  </a:lnTo>
                  <a:lnTo>
                    <a:pt x="1261" y="476"/>
                  </a:lnTo>
                  <a:lnTo>
                    <a:pt x="1261" y="476"/>
                  </a:lnTo>
                  <a:lnTo>
                    <a:pt x="1273" y="476"/>
                  </a:lnTo>
                  <a:lnTo>
                    <a:pt x="1273" y="476"/>
                  </a:lnTo>
                  <a:lnTo>
                    <a:pt x="1296" y="476"/>
                  </a:lnTo>
                  <a:lnTo>
                    <a:pt x="1296" y="476"/>
                  </a:lnTo>
                  <a:lnTo>
                    <a:pt x="1308" y="476"/>
                  </a:lnTo>
                  <a:lnTo>
                    <a:pt x="1308" y="476"/>
                  </a:lnTo>
                  <a:lnTo>
                    <a:pt x="1332" y="476"/>
                  </a:lnTo>
                  <a:lnTo>
                    <a:pt x="1332" y="476"/>
                  </a:lnTo>
                  <a:lnTo>
                    <a:pt x="1343" y="476"/>
                  </a:lnTo>
                  <a:lnTo>
                    <a:pt x="1343" y="476"/>
                  </a:lnTo>
                  <a:lnTo>
                    <a:pt x="1367" y="476"/>
                  </a:lnTo>
                  <a:lnTo>
                    <a:pt x="1367" y="476"/>
                  </a:lnTo>
                  <a:lnTo>
                    <a:pt x="1379" y="476"/>
                  </a:lnTo>
                  <a:lnTo>
                    <a:pt x="1379" y="476"/>
                  </a:lnTo>
                  <a:lnTo>
                    <a:pt x="1405" y="476"/>
                  </a:lnTo>
                  <a:lnTo>
                    <a:pt x="1405" y="476"/>
                  </a:lnTo>
                  <a:lnTo>
                    <a:pt x="1416" y="476"/>
                  </a:lnTo>
                  <a:lnTo>
                    <a:pt x="1416" y="476"/>
                  </a:lnTo>
                  <a:lnTo>
                    <a:pt x="1440" y="476"/>
                  </a:lnTo>
                  <a:lnTo>
                    <a:pt x="1440" y="476"/>
                  </a:lnTo>
                  <a:lnTo>
                    <a:pt x="1452" y="476"/>
                  </a:lnTo>
                  <a:lnTo>
                    <a:pt x="1452" y="476"/>
                  </a:lnTo>
                  <a:lnTo>
                    <a:pt x="1475" y="476"/>
                  </a:lnTo>
                  <a:lnTo>
                    <a:pt x="1475" y="476"/>
                  </a:lnTo>
                  <a:lnTo>
                    <a:pt x="1487" y="476"/>
                  </a:lnTo>
                  <a:lnTo>
                    <a:pt x="1487" y="476"/>
                  </a:lnTo>
                  <a:lnTo>
                    <a:pt x="1534" y="476"/>
                  </a:lnTo>
                  <a:lnTo>
                    <a:pt x="1534" y="476"/>
                  </a:lnTo>
                  <a:lnTo>
                    <a:pt x="1546" y="476"/>
                  </a:lnTo>
                  <a:lnTo>
                    <a:pt x="1546" y="476"/>
                  </a:lnTo>
                  <a:lnTo>
                    <a:pt x="1570" y="476"/>
                  </a:lnTo>
                  <a:lnTo>
                    <a:pt x="1570" y="476"/>
                  </a:lnTo>
                  <a:lnTo>
                    <a:pt x="1581" y="476"/>
                  </a:lnTo>
                  <a:lnTo>
                    <a:pt x="1581" y="476"/>
                  </a:lnTo>
                  <a:lnTo>
                    <a:pt x="1605" y="476"/>
                  </a:lnTo>
                  <a:lnTo>
                    <a:pt x="1605" y="476"/>
                  </a:lnTo>
                  <a:lnTo>
                    <a:pt x="1617" y="476"/>
                  </a:lnTo>
                  <a:lnTo>
                    <a:pt x="1617" y="476"/>
                  </a:lnTo>
                  <a:lnTo>
                    <a:pt x="1643" y="476"/>
                  </a:lnTo>
                  <a:lnTo>
                    <a:pt x="1643" y="476"/>
                  </a:lnTo>
                  <a:lnTo>
                    <a:pt x="1654" y="476"/>
                  </a:lnTo>
                  <a:lnTo>
                    <a:pt x="1654" y="476"/>
                  </a:lnTo>
                  <a:lnTo>
                    <a:pt x="1678" y="476"/>
                  </a:lnTo>
                  <a:lnTo>
                    <a:pt x="1678" y="476"/>
                  </a:lnTo>
                  <a:lnTo>
                    <a:pt x="1690" y="476"/>
                  </a:lnTo>
                  <a:lnTo>
                    <a:pt x="1690" y="476"/>
                  </a:lnTo>
                  <a:lnTo>
                    <a:pt x="1713" y="476"/>
                  </a:lnTo>
                  <a:lnTo>
                    <a:pt x="1713" y="476"/>
                  </a:lnTo>
                  <a:lnTo>
                    <a:pt x="1725" y="476"/>
                  </a:lnTo>
                  <a:lnTo>
                    <a:pt x="1725" y="476"/>
                  </a:lnTo>
                  <a:lnTo>
                    <a:pt x="1749" y="476"/>
                  </a:lnTo>
                  <a:lnTo>
                    <a:pt x="1749" y="476"/>
                  </a:lnTo>
                  <a:lnTo>
                    <a:pt x="1760" y="476"/>
                  </a:lnTo>
                  <a:lnTo>
                    <a:pt x="1760" y="476"/>
                  </a:lnTo>
                  <a:lnTo>
                    <a:pt x="1808" y="476"/>
                  </a:lnTo>
                  <a:lnTo>
                    <a:pt x="1808" y="476"/>
                  </a:lnTo>
                  <a:lnTo>
                    <a:pt x="1819" y="476"/>
                  </a:lnTo>
                  <a:lnTo>
                    <a:pt x="1819" y="476"/>
                  </a:lnTo>
                  <a:lnTo>
                    <a:pt x="1843" y="476"/>
                  </a:lnTo>
                  <a:lnTo>
                    <a:pt x="1843" y="476"/>
                  </a:lnTo>
                  <a:lnTo>
                    <a:pt x="1855" y="476"/>
                  </a:lnTo>
                  <a:lnTo>
                    <a:pt x="1855" y="476"/>
                  </a:lnTo>
                  <a:lnTo>
                    <a:pt x="1878" y="476"/>
                  </a:lnTo>
                  <a:lnTo>
                    <a:pt x="1878" y="476"/>
                  </a:lnTo>
                  <a:lnTo>
                    <a:pt x="1892" y="476"/>
                  </a:lnTo>
                  <a:lnTo>
                    <a:pt x="1892" y="476"/>
                  </a:lnTo>
                  <a:lnTo>
                    <a:pt x="1916" y="476"/>
                  </a:lnTo>
                  <a:lnTo>
                    <a:pt x="1916" y="476"/>
                  </a:lnTo>
                  <a:lnTo>
                    <a:pt x="1928" y="476"/>
                  </a:lnTo>
                  <a:lnTo>
                    <a:pt x="1928" y="476"/>
                  </a:lnTo>
                  <a:lnTo>
                    <a:pt x="1951" y="476"/>
                  </a:lnTo>
                  <a:lnTo>
                    <a:pt x="1951" y="476"/>
                  </a:lnTo>
                  <a:lnTo>
                    <a:pt x="1963" y="476"/>
                  </a:lnTo>
                  <a:lnTo>
                    <a:pt x="1963" y="476"/>
                  </a:lnTo>
                  <a:lnTo>
                    <a:pt x="1987" y="476"/>
                  </a:lnTo>
                  <a:lnTo>
                    <a:pt x="1987" y="476"/>
                  </a:lnTo>
                  <a:lnTo>
                    <a:pt x="1998" y="476"/>
                  </a:lnTo>
                  <a:lnTo>
                    <a:pt x="1998" y="476"/>
                  </a:lnTo>
                  <a:lnTo>
                    <a:pt x="2022" y="476"/>
                  </a:lnTo>
                  <a:lnTo>
                    <a:pt x="2022" y="476"/>
                  </a:lnTo>
                  <a:lnTo>
                    <a:pt x="2034" y="476"/>
                  </a:lnTo>
                  <a:lnTo>
                    <a:pt x="2034" y="476"/>
                  </a:lnTo>
                  <a:lnTo>
                    <a:pt x="2081" y="476"/>
                  </a:lnTo>
                  <a:lnTo>
                    <a:pt x="2081" y="476"/>
                  </a:lnTo>
                  <a:lnTo>
                    <a:pt x="2093" y="476"/>
                  </a:lnTo>
                  <a:lnTo>
                    <a:pt x="2093" y="476"/>
                  </a:lnTo>
                  <a:lnTo>
                    <a:pt x="2116" y="476"/>
                  </a:lnTo>
                  <a:lnTo>
                    <a:pt x="2116" y="476"/>
                  </a:lnTo>
                  <a:lnTo>
                    <a:pt x="2130" y="476"/>
                  </a:lnTo>
                  <a:lnTo>
                    <a:pt x="2130" y="476"/>
                  </a:lnTo>
                  <a:lnTo>
                    <a:pt x="2154" y="476"/>
                  </a:lnTo>
                  <a:lnTo>
                    <a:pt x="2154" y="476"/>
                  </a:lnTo>
                  <a:lnTo>
                    <a:pt x="2166" y="476"/>
                  </a:lnTo>
                  <a:lnTo>
                    <a:pt x="2166" y="476"/>
                  </a:lnTo>
                  <a:lnTo>
                    <a:pt x="2189" y="476"/>
                  </a:lnTo>
                  <a:lnTo>
                    <a:pt x="2189" y="476"/>
                  </a:lnTo>
                  <a:lnTo>
                    <a:pt x="2201" y="476"/>
                  </a:lnTo>
                  <a:lnTo>
                    <a:pt x="2201" y="476"/>
                  </a:lnTo>
                  <a:lnTo>
                    <a:pt x="2225" y="476"/>
                  </a:lnTo>
                  <a:lnTo>
                    <a:pt x="2225" y="476"/>
                  </a:lnTo>
                  <a:lnTo>
                    <a:pt x="2236" y="476"/>
                  </a:lnTo>
                  <a:lnTo>
                    <a:pt x="2236" y="476"/>
                  </a:lnTo>
                  <a:lnTo>
                    <a:pt x="2260" y="476"/>
                  </a:lnTo>
                  <a:lnTo>
                    <a:pt x="2260" y="476"/>
                  </a:lnTo>
                  <a:lnTo>
                    <a:pt x="2272" y="476"/>
                  </a:lnTo>
                  <a:lnTo>
                    <a:pt x="2272" y="476"/>
                  </a:lnTo>
                  <a:lnTo>
                    <a:pt x="2295" y="476"/>
                  </a:lnTo>
                  <a:lnTo>
                    <a:pt x="2295" y="476"/>
                  </a:lnTo>
                  <a:lnTo>
                    <a:pt x="2307" y="476"/>
                  </a:lnTo>
                  <a:lnTo>
                    <a:pt x="2307" y="476"/>
                  </a:lnTo>
                  <a:lnTo>
                    <a:pt x="2331" y="476"/>
                  </a:lnTo>
                  <a:lnTo>
                    <a:pt x="2331" y="226"/>
                  </a:lnTo>
                  <a:close/>
                </a:path>
              </a:pathLst>
            </a:custGeom>
            <a:grpFill/>
            <a:ln>
              <a:noFill/>
            </a:ln>
          </p:spPr>
          <p:txBody>
            <a:bodyPr vert="horz" wrap="square" lIns="91440" tIns="45720" rIns="91440" bIns="45720" numCol="1" anchor="t" anchorCtr="0" compatLnSpc="1"/>
            <a:lstStyle/>
            <a:p>
              <a:endParaRPr lang="en-US" dirty="0"/>
            </a:p>
          </p:txBody>
        </p:sp>
        <p:sp>
          <p:nvSpPr>
            <p:cNvPr id="12" name="Freeform 11"/>
            <p:cNvSpPr/>
            <p:nvPr/>
          </p:nvSpPr>
          <p:spPr bwMode="auto">
            <a:xfrm flipH="1">
              <a:off x="5410516" y="3194420"/>
              <a:ext cx="2948463" cy="602088"/>
            </a:xfrm>
            <a:custGeom>
              <a:avLst/>
              <a:gdLst>
                <a:gd name="T0" fmla="*/ 2260 w 2331"/>
                <a:gd name="T1" fmla="*/ 262 h 476"/>
                <a:gd name="T2" fmla="*/ 2236 w 2331"/>
                <a:gd name="T3" fmla="*/ 273 h 476"/>
                <a:gd name="T4" fmla="*/ 2177 w 2331"/>
                <a:gd name="T5" fmla="*/ 273 h 476"/>
                <a:gd name="T6" fmla="*/ 2135 w 2331"/>
                <a:gd name="T7" fmla="*/ 238 h 476"/>
                <a:gd name="T8" fmla="*/ 2104 w 2331"/>
                <a:gd name="T9" fmla="*/ 285 h 476"/>
                <a:gd name="T10" fmla="*/ 2076 w 2331"/>
                <a:gd name="T11" fmla="*/ 285 h 476"/>
                <a:gd name="T12" fmla="*/ 2053 w 2331"/>
                <a:gd name="T13" fmla="*/ 297 h 476"/>
                <a:gd name="T14" fmla="*/ 1998 w 2331"/>
                <a:gd name="T15" fmla="*/ 320 h 476"/>
                <a:gd name="T16" fmla="*/ 1951 w 2331"/>
                <a:gd name="T17" fmla="*/ 179 h 476"/>
                <a:gd name="T18" fmla="*/ 1904 w 2331"/>
                <a:gd name="T19" fmla="*/ 153 h 476"/>
                <a:gd name="T20" fmla="*/ 1796 w 2331"/>
                <a:gd name="T21" fmla="*/ 262 h 476"/>
                <a:gd name="T22" fmla="*/ 1737 w 2331"/>
                <a:gd name="T23" fmla="*/ 285 h 476"/>
                <a:gd name="T24" fmla="*/ 1702 w 2331"/>
                <a:gd name="T25" fmla="*/ 262 h 476"/>
                <a:gd name="T26" fmla="*/ 1654 w 2331"/>
                <a:gd name="T27" fmla="*/ 231 h 476"/>
                <a:gd name="T28" fmla="*/ 1628 w 2331"/>
                <a:gd name="T29" fmla="*/ 273 h 476"/>
                <a:gd name="T30" fmla="*/ 1581 w 2331"/>
                <a:gd name="T31" fmla="*/ 250 h 476"/>
                <a:gd name="T32" fmla="*/ 1570 w 2331"/>
                <a:gd name="T33" fmla="*/ 141 h 476"/>
                <a:gd name="T34" fmla="*/ 1534 w 2331"/>
                <a:gd name="T35" fmla="*/ 141 h 476"/>
                <a:gd name="T36" fmla="*/ 1499 w 2331"/>
                <a:gd name="T37" fmla="*/ 184 h 476"/>
                <a:gd name="T38" fmla="*/ 1475 w 2331"/>
                <a:gd name="T39" fmla="*/ 285 h 476"/>
                <a:gd name="T40" fmla="*/ 1428 w 2331"/>
                <a:gd name="T41" fmla="*/ 297 h 476"/>
                <a:gd name="T42" fmla="*/ 1428 w 2331"/>
                <a:gd name="T43" fmla="*/ 118 h 476"/>
                <a:gd name="T44" fmla="*/ 1355 w 2331"/>
                <a:gd name="T45" fmla="*/ 106 h 476"/>
                <a:gd name="T46" fmla="*/ 1343 w 2331"/>
                <a:gd name="T47" fmla="*/ 214 h 476"/>
                <a:gd name="T48" fmla="*/ 1320 w 2331"/>
                <a:gd name="T49" fmla="*/ 309 h 476"/>
                <a:gd name="T50" fmla="*/ 1296 w 2331"/>
                <a:gd name="T51" fmla="*/ 356 h 476"/>
                <a:gd name="T52" fmla="*/ 1280 w 2331"/>
                <a:gd name="T53" fmla="*/ 297 h 476"/>
                <a:gd name="T54" fmla="*/ 1237 w 2331"/>
                <a:gd name="T55" fmla="*/ 273 h 476"/>
                <a:gd name="T56" fmla="*/ 1195 w 2331"/>
                <a:gd name="T57" fmla="*/ 297 h 476"/>
                <a:gd name="T58" fmla="*/ 1171 w 2331"/>
                <a:gd name="T59" fmla="*/ 344 h 476"/>
                <a:gd name="T60" fmla="*/ 1141 w 2331"/>
                <a:gd name="T61" fmla="*/ 297 h 476"/>
                <a:gd name="T62" fmla="*/ 1105 w 2331"/>
                <a:gd name="T63" fmla="*/ 273 h 476"/>
                <a:gd name="T64" fmla="*/ 952 w 2331"/>
                <a:gd name="T65" fmla="*/ 344 h 476"/>
                <a:gd name="T66" fmla="*/ 903 w 2331"/>
                <a:gd name="T67" fmla="*/ 262 h 476"/>
                <a:gd name="T68" fmla="*/ 856 w 2331"/>
                <a:gd name="T69" fmla="*/ 59 h 476"/>
                <a:gd name="T70" fmla="*/ 750 w 2331"/>
                <a:gd name="T71" fmla="*/ 35 h 476"/>
                <a:gd name="T72" fmla="*/ 738 w 2331"/>
                <a:gd name="T73" fmla="*/ 141 h 476"/>
                <a:gd name="T74" fmla="*/ 726 w 2331"/>
                <a:gd name="T75" fmla="*/ 278 h 476"/>
                <a:gd name="T76" fmla="*/ 667 w 2331"/>
                <a:gd name="T77" fmla="*/ 273 h 476"/>
                <a:gd name="T78" fmla="*/ 618 w 2331"/>
                <a:gd name="T79" fmla="*/ 297 h 476"/>
                <a:gd name="T80" fmla="*/ 559 w 2331"/>
                <a:gd name="T81" fmla="*/ 320 h 476"/>
                <a:gd name="T82" fmla="*/ 523 w 2331"/>
                <a:gd name="T83" fmla="*/ 344 h 476"/>
                <a:gd name="T84" fmla="*/ 429 w 2331"/>
                <a:gd name="T85" fmla="*/ 339 h 476"/>
                <a:gd name="T86" fmla="*/ 380 w 2331"/>
                <a:gd name="T87" fmla="*/ 356 h 476"/>
                <a:gd name="T88" fmla="*/ 250 w 2331"/>
                <a:gd name="T89" fmla="*/ 356 h 476"/>
                <a:gd name="T90" fmla="*/ 179 w 2331"/>
                <a:gd name="T91" fmla="*/ 356 h 476"/>
                <a:gd name="T92" fmla="*/ 0 w 2331"/>
                <a:gd name="T93" fmla="*/ 415 h 476"/>
                <a:gd name="T94" fmla="*/ 142 w 2331"/>
                <a:gd name="T95" fmla="*/ 476 h 476"/>
                <a:gd name="T96" fmla="*/ 309 w 2331"/>
                <a:gd name="T97" fmla="*/ 476 h 476"/>
                <a:gd name="T98" fmla="*/ 488 w 2331"/>
                <a:gd name="T99" fmla="*/ 476 h 476"/>
                <a:gd name="T100" fmla="*/ 653 w 2331"/>
                <a:gd name="T101" fmla="*/ 476 h 476"/>
                <a:gd name="T102" fmla="*/ 832 w 2331"/>
                <a:gd name="T103" fmla="*/ 476 h 476"/>
                <a:gd name="T104" fmla="*/ 1023 w 2331"/>
                <a:gd name="T105" fmla="*/ 476 h 476"/>
                <a:gd name="T106" fmla="*/ 1178 w 2331"/>
                <a:gd name="T107" fmla="*/ 476 h 476"/>
                <a:gd name="T108" fmla="*/ 1367 w 2331"/>
                <a:gd name="T109" fmla="*/ 476 h 476"/>
                <a:gd name="T110" fmla="*/ 1546 w 2331"/>
                <a:gd name="T111" fmla="*/ 476 h 476"/>
                <a:gd name="T112" fmla="*/ 1713 w 2331"/>
                <a:gd name="T113" fmla="*/ 476 h 476"/>
                <a:gd name="T114" fmla="*/ 1892 w 2331"/>
                <a:gd name="T115" fmla="*/ 476 h 476"/>
                <a:gd name="T116" fmla="*/ 2081 w 2331"/>
                <a:gd name="T117" fmla="*/ 476 h 476"/>
                <a:gd name="T118" fmla="*/ 2236 w 2331"/>
                <a:gd name="T119" fmla="*/ 47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31" h="476">
                  <a:moveTo>
                    <a:pt x="2331" y="226"/>
                  </a:moveTo>
                  <a:lnTo>
                    <a:pt x="2331" y="226"/>
                  </a:lnTo>
                  <a:lnTo>
                    <a:pt x="2295" y="226"/>
                  </a:lnTo>
                  <a:lnTo>
                    <a:pt x="2295" y="226"/>
                  </a:lnTo>
                  <a:lnTo>
                    <a:pt x="2283" y="226"/>
                  </a:lnTo>
                  <a:lnTo>
                    <a:pt x="2283" y="226"/>
                  </a:lnTo>
                  <a:lnTo>
                    <a:pt x="2272" y="226"/>
                  </a:lnTo>
                  <a:lnTo>
                    <a:pt x="2272" y="226"/>
                  </a:lnTo>
                  <a:lnTo>
                    <a:pt x="2272" y="231"/>
                  </a:lnTo>
                  <a:lnTo>
                    <a:pt x="2272" y="238"/>
                  </a:lnTo>
                  <a:lnTo>
                    <a:pt x="2272" y="238"/>
                  </a:lnTo>
                  <a:lnTo>
                    <a:pt x="2267" y="238"/>
                  </a:lnTo>
                  <a:lnTo>
                    <a:pt x="2262" y="236"/>
                  </a:lnTo>
                  <a:lnTo>
                    <a:pt x="2260" y="238"/>
                  </a:lnTo>
                  <a:lnTo>
                    <a:pt x="2260" y="238"/>
                  </a:lnTo>
                  <a:lnTo>
                    <a:pt x="2260" y="250"/>
                  </a:lnTo>
                  <a:lnTo>
                    <a:pt x="2260" y="250"/>
                  </a:lnTo>
                  <a:lnTo>
                    <a:pt x="2260" y="262"/>
                  </a:lnTo>
                  <a:lnTo>
                    <a:pt x="2260" y="262"/>
                  </a:lnTo>
                  <a:lnTo>
                    <a:pt x="2260" y="273"/>
                  </a:lnTo>
                  <a:lnTo>
                    <a:pt x="2260" y="273"/>
                  </a:lnTo>
                  <a:lnTo>
                    <a:pt x="2260" y="297"/>
                  </a:lnTo>
                  <a:lnTo>
                    <a:pt x="2260" y="297"/>
                  </a:lnTo>
                  <a:lnTo>
                    <a:pt x="2260" y="344"/>
                  </a:lnTo>
                  <a:lnTo>
                    <a:pt x="2260" y="344"/>
                  </a:lnTo>
                  <a:lnTo>
                    <a:pt x="2248" y="344"/>
                  </a:lnTo>
                  <a:lnTo>
                    <a:pt x="2248" y="344"/>
                  </a:lnTo>
                  <a:lnTo>
                    <a:pt x="2241" y="344"/>
                  </a:lnTo>
                  <a:lnTo>
                    <a:pt x="2236" y="344"/>
                  </a:lnTo>
                  <a:lnTo>
                    <a:pt x="2236" y="344"/>
                  </a:lnTo>
                  <a:lnTo>
                    <a:pt x="2236" y="332"/>
                  </a:lnTo>
                  <a:lnTo>
                    <a:pt x="2236" y="332"/>
                  </a:lnTo>
                  <a:lnTo>
                    <a:pt x="2236" y="320"/>
                  </a:lnTo>
                  <a:lnTo>
                    <a:pt x="2236" y="320"/>
                  </a:lnTo>
                  <a:lnTo>
                    <a:pt x="2236" y="273"/>
                  </a:lnTo>
                  <a:lnTo>
                    <a:pt x="2236" y="273"/>
                  </a:lnTo>
                  <a:lnTo>
                    <a:pt x="2225" y="273"/>
                  </a:lnTo>
                  <a:lnTo>
                    <a:pt x="2225" y="273"/>
                  </a:lnTo>
                  <a:lnTo>
                    <a:pt x="2213" y="273"/>
                  </a:lnTo>
                  <a:lnTo>
                    <a:pt x="2213" y="273"/>
                  </a:lnTo>
                  <a:lnTo>
                    <a:pt x="2201" y="273"/>
                  </a:lnTo>
                  <a:lnTo>
                    <a:pt x="2201" y="273"/>
                  </a:lnTo>
                  <a:lnTo>
                    <a:pt x="2194" y="273"/>
                  </a:lnTo>
                  <a:lnTo>
                    <a:pt x="2189" y="273"/>
                  </a:lnTo>
                  <a:lnTo>
                    <a:pt x="2189" y="273"/>
                  </a:lnTo>
                  <a:lnTo>
                    <a:pt x="2189" y="278"/>
                  </a:lnTo>
                  <a:lnTo>
                    <a:pt x="2189" y="285"/>
                  </a:lnTo>
                  <a:lnTo>
                    <a:pt x="2189" y="285"/>
                  </a:lnTo>
                  <a:lnTo>
                    <a:pt x="2187" y="285"/>
                  </a:lnTo>
                  <a:lnTo>
                    <a:pt x="2182" y="285"/>
                  </a:lnTo>
                  <a:lnTo>
                    <a:pt x="2177" y="285"/>
                  </a:lnTo>
                  <a:lnTo>
                    <a:pt x="2177" y="285"/>
                  </a:lnTo>
                  <a:lnTo>
                    <a:pt x="2177" y="273"/>
                  </a:lnTo>
                  <a:lnTo>
                    <a:pt x="2177" y="273"/>
                  </a:lnTo>
                  <a:lnTo>
                    <a:pt x="2177" y="262"/>
                  </a:lnTo>
                  <a:lnTo>
                    <a:pt x="2177" y="262"/>
                  </a:lnTo>
                  <a:lnTo>
                    <a:pt x="2177" y="255"/>
                  </a:lnTo>
                  <a:lnTo>
                    <a:pt x="2177" y="250"/>
                  </a:lnTo>
                  <a:lnTo>
                    <a:pt x="2177" y="250"/>
                  </a:lnTo>
                  <a:lnTo>
                    <a:pt x="2170" y="250"/>
                  </a:lnTo>
                  <a:lnTo>
                    <a:pt x="2166" y="250"/>
                  </a:lnTo>
                  <a:lnTo>
                    <a:pt x="2166" y="250"/>
                  </a:lnTo>
                  <a:lnTo>
                    <a:pt x="2166" y="243"/>
                  </a:lnTo>
                  <a:lnTo>
                    <a:pt x="2166" y="238"/>
                  </a:lnTo>
                  <a:lnTo>
                    <a:pt x="2166" y="238"/>
                  </a:lnTo>
                  <a:lnTo>
                    <a:pt x="2163" y="236"/>
                  </a:lnTo>
                  <a:lnTo>
                    <a:pt x="2159" y="238"/>
                  </a:lnTo>
                  <a:lnTo>
                    <a:pt x="2154" y="238"/>
                  </a:lnTo>
                  <a:lnTo>
                    <a:pt x="2154" y="238"/>
                  </a:lnTo>
                  <a:lnTo>
                    <a:pt x="2142" y="238"/>
                  </a:lnTo>
                  <a:lnTo>
                    <a:pt x="2142" y="238"/>
                  </a:lnTo>
                  <a:lnTo>
                    <a:pt x="2135" y="238"/>
                  </a:lnTo>
                  <a:lnTo>
                    <a:pt x="2130" y="238"/>
                  </a:lnTo>
                  <a:lnTo>
                    <a:pt x="2130" y="238"/>
                  </a:lnTo>
                  <a:lnTo>
                    <a:pt x="2128" y="240"/>
                  </a:lnTo>
                  <a:lnTo>
                    <a:pt x="2128" y="243"/>
                  </a:lnTo>
                  <a:lnTo>
                    <a:pt x="2130" y="250"/>
                  </a:lnTo>
                  <a:lnTo>
                    <a:pt x="2130" y="250"/>
                  </a:lnTo>
                  <a:lnTo>
                    <a:pt x="2116" y="250"/>
                  </a:lnTo>
                  <a:lnTo>
                    <a:pt x="2116" y="250"/>
                  </a:lnTo>
                  <a:lnTo>
                    <a:pt x="2111" y="250"/>
                  </a:lnTo>
                  <a:lnTo>
                    <a:pt x="2104" y="250"/>
                  </a:lnTo>
                  <a:lnTo>
                    <a:pt x="2104" y="250"/>
                  </a:lnTo>
                  <a:lnTo>
                    <a:pt x="2104" y="255"/>
                  </a:lnTo>
                  <a:lnTo>
                    <a:pt x="2104" y="262"/>
                  </a:lnTo>
                  <a:lnTo>
                    <a:pt x="2104" y="262"/>
                  </a:lnTo>
                  <a:lnTo>
                    <a:pt x="2104" y="266"/>
                  </a:lnTo>
                  <a:lnTo>
                    <a:pt x="2104" y="273"/>
                  </a:lnTo>
                  <a:lnTo>
                    <a:pt x="2104" y="273"/>
                  </a:lnTo>
                  <a:lnTo>
                    <a:pt x="2104" y="285"/>
                  </a:lnTo>
                  <a:lnTo>
                    <a:pt x="2104" y="285"/>
                  </a:lnTo>
                  <a:lnTo>
                    <a:pt x="2104" y="309"/>
                  </a:lnTo>
                  <a:lnTo>
                    <a:pt x="2104" y="309"/>
                  </a:lnTo>
                  <a:lnTo>
                    <a:pt x="2100" y="309"/>
                  </a:lnTo>
                  <a:lnTo>
                    <a:pt x="2093" y="309"/>
                  </a:lnTo>
                  <a:lnTo>
                    <a:pt x="2093" y="309"/>
                  </a:lnTo>
                  <a:lnTo>
                    <a:pt x="2093" y="304"/>
                  </a:lnTo>
                  <a:lnTo>
                    <a:pt x="2093" y="297"/>
                  </a:lnTo>
                  <a:lnTo>
                    <a:pt x="2093" y="297"/>
                  </a:lnTo>
                  <a:lnTo>
                    <a:pt x="2088" y="297"/>
                  </a:lnTo>
                  <a:lnTo>
                    <a:pt x="2081" y="297"/>
                  </a:lnTo>
                  <a:lnTo>
                    <a:pt x="2081" y="297"/>
                  </a:lnTo>
                  <a:lnTo>
                    <a:pt x="2081" y="295"/>
                  </a:lnTo>
                  <a:lnTo>
                    <a:pt x="2081" y="292"/>
                  </a:lnTo>
                  <a:lnTo>
                    <a:pt x="2081" y="285"/>
                  </a:lnTo>
                  <a:lnTo>
                    <a:pt x="2081" y="285"/>
                  </a:lnTo>
                  <a:lnTo>
                    <a:pt x="2078" y="285"/>
                  </a:lnTo>
                  <a:lnTo>
                    <a:pt x="2076" y="285"/>
                  </a:lnTo>
                  <a:lnTo>
                    <a:pt x="2069" y="285"/>
                  </a:lnTo>
                  <a:lnTo>
                    <a:pt x="2069" y="285"/>
                  </a:lnTo>
                  <a:lnTo>
                    <a:pt x="2069" y="283"/>
                  </a:lnTo>
                  <a:lnTo>
                    <a:pt x="2069" y="278"/>
                  </a:lnTo>
                  <a:lnTo>
                    <a:pt x="2069" y="273"/>
                  </a:lnTo>
                  <a:lnTo>
                    <a:pt x="2069" y="273"/>
                  </a:lnTo>
                  <a:lnTo>
                    <a:pt x="2069" y="266"/>
                  </a:lnTo>
                  <a:lnTo>
                    <a:pt x="2071" y="264"/>
                  </a:lnTo>
                  <a:lnTo>
                    <a:pt x="2069" y="262"/>
                  </a:lnTo>
                  <a:lnTo>
                    <a:pt x="2069" y="262"/>
                  </a:lnTo>
                  <a:lnTo>
                    <a:pt x="2057" y="262"/>
                  </a:lnTo>
                  <a:lnTo>
                    <a:pt x="2057" y="262"/>
                  </a:lnTo>
                  <a:lnTo>
                    <a:pt x="2057" y="266"/>
                  </a:lnTo>
                  <a:lnTo>
                    <a:pt x="2057" y="273"/>
                  </a:lnTo>
                  <a:lnTo>
                    <a:pt x="2057" y="273"/>
                  </a:lnTo>
                  <a:lnTo>
                    <a:pt x="2057" y="297"/>
                  </a:lnTo>
                  <a:lnTo>
                    <a:pt x="2057" y="297"/>
                  </a:lnTo>
                  <a:lnTo>
                    <a:pt x="2053" y="297"/>
                  </a:lnTo>
                  <a:lnTo>
                    <a:pt x="2048" y="297"/>
                  </a:lnTo>
                  <a:lnTo>
                    <a:pt x="2046" y="297"/>
                  </a:lnTo>
                  <a:lnTo>
                    <a:pt x="2046" y="297"/>
                  </a:lnTo>
                  <a:lnTo>
                    <a:pt x="2046" y="304"/>
                  </a:lnTo>
                  <a:lnTo>
                    <a:pt x="2046" y="309"/>
                  </a:lnTo>
                  <a:lnTo>
                    <a:pt x="2046" y="309"/>
                  </a:lnTo>
                  <a:lnTo>
                    <a:pt x="2041" y="309"/>
                  </a:lnTo>
                  <a:lnTo>
                    <a:pt x="2034" y="309"/>
                  </a:lnTo>
                  <a:lnTo>
                    <a:pt x="2034" y="309"/>
                  </a:lnTo>
                  <a:lnTo>
                    <a:pt x="2027" y="309"/>
                  </a:lnTo>
                  <a:lnTo>
                    <a:pt x="2022" y="309"/>
                  </a:lnTo>
                  <a:lnTo>
                    <a:pt x="2022" y="309"/>
                  </a:lnTo>
                  <a:lnTo>
                    <a:pt x="2022" y="311"/>
                  </a:lnTo>
                  <a:lnTo>
                    <a:pt x="2022" y="316"/>
                  </a:lnTo>
                  <a:lnTo>
                    <a:pt x="2022" y="320"/>
                  </a:lnTo>
                  <a:lnTo>
                    <a:pt x="2022" y="320"/>
                  </a:lnTo>
                  <a:lnTo>
                    <a:pt x="1998" y="320"/>
                  </a:lnTo>
                  <a:lnTo>
                    <a:pt x="1998" y="320"/>
                  </a:lnTo>
                  <a:lnTo>
                    <a:pt x="1951" y="320"/>
                  </a:lnTo>
                  <a:lnTo>
                    <a:pt x="1951" y="320"/>
                  </a:lnTo>
                  <a:lnTo>
                    <a:pt x="1951" y="309"/>
                  </a:lnTo>
                  <a:lnTo>
                    <a:pt x="1951" y="309"/>
                  </a:lnTo>
                  <a:lnTo>
                    <a:pt x="1951" y="285"/>
                  </a:lnTo>
                  <a:lnTo>
                    <a:pt x="1951" y="285"/>
                  </a:lnTo>
                  <a:lnTo>
                    <a:pt x="1951" y="273"/>
                  </a:lnTo>
                  <a:lnTo>
                    <a:pt x="1951" y="273"/>
                  </a:lnTo>
                  <a:lnTo>
                    <a:pt x="1951" y="250"/>
                  </a:lnTo>
                  <a:lnTo>
                    <a:pt x="1951" y="250"/>
                  </a:lnTo>
                  <a:lnTo>
                    <a:pt x="1951" y="238"/>
                  </a:lnTo>
                  <a:lnTo>
                    <a:pt x="1951" y="238"/>
                  </a:lnTo>
                  <a:lnTo>
                    <a:pt x="1951" y="214"/>
                  </a:lnTo>
                  <a:lnTo>
                    <a:pt x="1951" y="214"/>
                  </a:lnTo>
                  <a:lnTo>
                    <a:pt x="1951" y="203"/>
                  </a:lnTo>
                  <a:lnTo>
                    <a:pt x="1951" y="203"/>
                  </a:lnTo>
                  <a:lnTo>
                    <a:pt x="1951" y="179"/>
                  </a:lnTo>
                  <a:lnTo>
                    <a:pt x="1951" y="179"/>
                  </a:lnTo>
                  <a:lnTo>
                    <a:pt x="1951" y="153"/>
                  </a:lnTo>
                  <a:lnTo>
                    <a:pt x="1951" y="153"/>
                  </a:lnTo>
                  <a:lnTo>
                    <a:pt x="1944" y="153"/>
                  </a:lnTo>
                  <a:lnTo>
                    <a:pt x="1942" y="156"/>
                  </a:lnTo>
                  <a:lnTo>
                    <a:pt x="1939" y="153"/>
                  </a:lnTo>
                  <a:lnTo>
                    <a:pt x="1939" y="153"/>
                  </a:lnTo>
                  <a:lnTo>
                    <a:pt x="1939" y="148"/>
                  </a:lnTo>
                  <a:lnTo>
                    <a:pt x="1939" y="141"/>
                  </a:lnTo>
                  <a:lnTo>
                    <a:pt x="1939" y="141"/>
                  </a:lnTo>
                  <a:lnTo>
                    <a:pt x="1932" y="141"/>
                  </a:lnTo>
                  <a:lnTo>
                    <a:pt x="1928" y="141"/>
                  </a:lnTo>
                  <a:lnTo>
                    <a:pt x="1928" y="141"/>
                  </a:lnTo>
                  <a:lnTo>
                    <a:pt x="1916" y="141"/>
                  </a:lnTo>
                  <a:lnTo>
                    <a:pt x="1916" y="141"/>
                  </a:lnTo>
                  <a:lnTo>
                    <a:pt x="1904" y="141"/>
                  </a:lnTo>
                  <a:lnTo>
                    <a:pt x="1904" y="141"/>
                  </a:lnTo>
                  <a:lnTo>
                    <a:pt x="1904" y="148"/>
                  </a:lnTo>
                  <a:lnTo>
                    <a:pt x="1904" y="153"/>
                  </a:lnTo>
                  <a:lnTo>
                    <a:pt x="1904" y="153"/>
                  </a:lnTo>
                  <a:lnTo>
                    <a:pt x="1892" y="153"/>
                  </a:lnTo>
                  <a:lnTo>
                    <a:pt x="1892" y="153"/>
                  </a:lnTo>
                  <a:lnTo>
                    <a:pt x="1878" y="153"/>
                  </a:lnTo>
                  <a:lnTo>
                    <a:pt x="1878" y="153"/>
                  </a:lnTo>
                  <a:lnTo>
                    <a:pt x="1866" y="153"/>
                  </a:lnTo>
                  <a:lnTo>
                    <a:pt x="1866" y="153"/>
                  </a:lnTo>
                  <a:lnTo>
                    <a:pt x="1843" y="153"/>
                  </a:lnTo>
                  <a:lnTo>
                    <a:pt x="1843" y="153"/>
                  </a:lnTo>
                  <a:lnTo>
                    <a:pt x="1796" y="153"/>
                  </a:lnTo>
                  <a:lnTo>
                    <a:pt x="1796" y="153"/>
                  </a:lnTo>
                  <a:lnTo>
                    <a:pt x="1796" y="165"/>
                  </a:lnTo>
                  <a:lnTo>
                    <a:pt x="1796" y="165"/>
                  </a:lnTo>
                  <a:lnTo>
                    <a:pt x="1796" y="191"/>
                  </a:lnTo>
                  <a:lnTo>
                    <a:pt x="1796" y="191"/>
                  </a:lnTo>
                  <a:lnTo>
                    <a:pt x="1796" y="238"/>
                  </a:lnTo>
                  <a:lnTo>
                    <a:pt x="1796" y="238"/>
                  </a:lnTo>
                  <a:lnTo>
                    <a:pt x="1796" y="262"/>
                  </a:lnTo>
                  <a:lnTo>
                    <a:pt x="1796" y="262"/>
                  </a:lnTo>
                  <a:lnTo>
                    <a:pt x="1796" y="273"/>
                  </a:lnTo>
                  <a:lnTo>
                    <a:pt x="1796" y="273"/>
                  </a:lnTo>
                  <a:lnTo>
                    <a:pt x="1796" y="297"/>
                  </a:lnTo>
                  <a:lnTo>
                    <a:pt x="1796" y="297"/>
                  </a:lnTo>
                  <a:lnTo>
                    <a:pt x="1784" y="297"/>
                  </a:lnTo>
                  <a:lnTo>
                    <a:pt x="1784" y="297"/>
                  </a:lnTo>
                  <a:lnTo>
                    <a:pt x="1760" y="297"/>
                  </a:lnTo>
                  <a:lnTo>
                    <a:pt x="1760" y="297"/>
                  </a:lnTo>
                  <a:lnTo>
                    <a:pt x="1760" y="290"/>
                  </a:lnTo>
                  <a:lnTo>
                    <a:pt x="1760" y="287"/>
                  </a:lnTo>
                  <a:lnTo>
                    <a:pt x="1760" y="285"/>
                  </a:lnTo>
                  <a:lnTo>
                    <a:pt x="1760" y="285"/>
                  </a:lnTo>
                  <a:lnTo>
                    <a:pt x="1756" y="285"/>
                  </a:lnTo>
                  <a:lnTo>
                    <a:pt x="1749" y="285"/>
                  </a:lnTo>
                  <a:lnTo>
                    <a:pt x="1749" y="285"/>
                  </a:lnTo>
                  <a:lnTo>
                    <a:pt x="1737" y="285"/>
                  </a:lnTo>
                  <a:lnTo>
                    <a:pt x="1737" y="285"/>
                  </a:lnTo>
                  <a:lnTo>
                    <a:pt x="1725" y="285"/>
                  </a:lnTo>
                  <a:lnTo>
                    <a:pt x="1725" y="285"/>
                  </a:lnTo>
                  <a:lnTo>
                    <a:pt x="1725" y="278"/>
                  </a:lnTo>
                  <a:lnTo>
                    <a:pt x="1725" y="276"/>
                  </a:lnTo>
                  <a:lnTo>
                    <a:pt x="1725" y="273"/>
                  </a:lnTo>
                  <a:lnTo>
                    <a:pt x="1725" y="273"/>
                  </a:lnTo>
                  <a:lnTo>
                    <a:pt x="1723" y="273"/>
                  </a:lnTo>
                  <a:lnTo>
                    <a:pt x="1718" y="273"/>
                  </a:lnTo>
                  <a:lnTo>
                    <a:pt x="1713" y="273"/>
                  </a:lnTo>
                  <a:lnTo>
                    <a:pt x="1713" y="273"/>
                  </a:lnTo>
                  <a:lnTo>
                    <a:pt x="1706" y="273"/>
                  </a:lnTo>
                  <a:lnTo>
                    <a:pt x="1704" y="273"/>
                  </a:lnTo>
                  <a:lnTo>
                    <a:pt x="1702" y="273"/>
                  </a:lnTo>
                  <a:lnTo>
                    <a:pt x="1702" y="273"/>
                  </a:lnTo>
                  <a:lnTo>
                    <a:pt x="1699" y="271"/>
                  </a:lnTo>
                  <a:lnTo>
                    <a:pt x="1702" y="266"/>
                  </a:lnTo>
                  <a:lnTo>
                    <a:pt x="1702" y="262"/>
                  </a:lnTo>
                  <a:lnTo>
                    <a:pt x="1702" y="262"/>
                  </a:lnTo>
                  <a:lnTo>
                    <a:pt x="1702" y="255"/>
                  </a:lnTo>
                  <a:lnTo>
                    <a:pt x="1702" y="250"/>
                  </a:lnTo>
                  <a:lnTo>
                    <a:pt x="1702" y="250"/>
                  </a:lnTo>
                  <a:lnTo>
                    <a:pt x="1702" y="243"/>
                  </a:lnTo>
                  <a:lnTo>
                    <a:pt x="1702" y="238"/>
                  </a:lnTo>
                  <a:lnTo>
                    <a:pt x="1702" y="238"/>
                  </a:lnTo>
                  <a:lnTo>
                    <a:pt x="1690" y="238"/>
                  </a:lnTo>
                  <a:lnTo>
                    <a:pt x="1690" y="238"/>
                  </a:lnTo>
                  <a:lnTo>
                    <a:pt x="1683" y="238"/>
                  </a:lnTo>
                  <a:lnTo>
                    <a:pt x="1678" y="238"/>
                  </a:lnTo>
                  <a:lnTo>
                    <a:pt x="1678" y="238"/>
                  </a:lnTo>
                  <a:lnTo>
                    <a:pt x="1676" y="236"/>
                  </a:lnTo>
                  <a:lnTo>
                    <a:pt x="1678" y="231"/>
                  </a:lnTo>
                  <a:lnTo>
                    <a:pt x="1678" y="226"/>
                  </a:lnTo>
                  <a:lnTo>
                    <a:pt x="1678" y="226"/>
                  </a:lnTo>
                  <a:lnTo>
                    <a:pt x="1654" y="226"/>
                  </a:lnTo>
                  <a:lnTo>
                    <a:pt x="1654" y="226"/>
                  </a:lnTo>
                  <a:lnTo>
                    <a:pt x="1654" y="231"/>
                  </a:lnTo>
                  <a:lnTo>
                    <a:pt x="1654" y="236"/>
                  </a:lnTo>
                  <a:lnTo>
                    <a:pt x="1654" y="238"/>
                  </a:lnTo>
                  <a:lnTo>
                    <a:pt x="1654" y="238"/>
                  </a:lnTo>
                  <a:lnTo>
                    <a:pt x="1652" y="238"/>
                  </a:lnTo>
                  <a:lnTo>
                    <a:pt x="1647" y="238"/>
                  </a:lnTo>
                  <a:lnTo>
                    <a:pt x="1643" y="238"/>
                  </a:lnTo>
                  <a:lnTo>
                    <a:pt x="1643" y="238"/>
                  </a:lnTo>
                  <a:lnTo>
                    <a:pt x="1636" y="238"/>
                  </a:lnTo>
                  <a:lnTo>
                    <a:pt x="1631" y="236"/>
                  </a:lnTo>
                  <a:lnTo>
                    <a:pt x="1628" y="238"/>
                  </a:lnTo>
                  <a:lnTo>
                    <a:pt x="1628" y="238"/>
                  </a:lnTo>
                  <a:lnTo>
                    <a:pt x="1628" y="243"/>
                  </a:lnTo>
                  <a:lnTo>
                    <a:pt x="1628" y="250"/>
                  </a:lnTo>
                  <a:lnTo>
                    <a:pt x="1628" y="250"/>
                  </a:lnTo>
                  <a:lnTo>
                    <a:pt x="1628" y="255"/>
                  </a:lnTo>
                  <a:lnTo>
                    <a:pt x="1628" y="262"/>
                  </a:lnTo>
                  <a:lnTo>
                    <a:pt x="1628" y="262"/>
                  </a:lnTo>
                  <a:lnTo>
                    <a:pt x="1628" y="273"/>
                  </a:lnTo>
                  <a:lnTo>
                    <a:pt x="1628" y="273"/>
                  </a:lnTo>
                  <a:lnTo>
                    <a:pt x="1631" y="280"/>
                  </a:lnTo>
                  <a:lnTo>
                    <a:pt x="1628" y="285"/>
                  </a:lnTo>
                  <a:lnTo>
                    <a:pt x="1628" y="285"/>
                  </a:lnTo>
                  <a:lnTo>
                    <a:pt x="1624" y="285"/>
                  </a:lnTo>
                  <a:lnTo>
                    <a:pt x="1617" y="285"/>
                  </a:lnTo>
                  <a:lnTo>
                    <a:pt x="1617" y="285"/>
                  </a:lnTo>
                  <a:lnTo>
                    <a:pt x="1617" y="278"/>
                  </a:lnTo>
                  <a:lnTo>
                    <a:pt x="1617" y="273"/>
                  </a:lnTo>
                  <a:lnTo>
                    <a:pt x="1617" y="273"/>
                  </a:lnTo>
                  <a:lnTo>
                    <a:pt x="1593" y="273"/>
                  </a:lnTo>
                  <a:lnTo>
                    <a:pt x="1593" y="273"/>
                  </a:lnTo>
                  <a:lnTo>
                    <a:pt x="1588" y="273"/>
                  </a:lnTo>
                  <a:lnTo>
                    <a:pt x="1581" y="273"/>
                  </a:lnTo>
                  <a:lnTo>
                    <a:pt x="1581" y="273"/>
                  </a:lnTo>
                  <a:lnTo>
                    <a:pt x="1581" y="262"/>
                  </a:lnTo>
                  <a:lnTo>
                    <a:pt x="1581" y="262"/>
                  </a:lnTo>
                  <a:lnTo>
                    <a:pt x="1581" y="250"/>
                  </a:lnTo>
                  <a:lnTo>
                    <a:pt x="1581" y="250"/>
                  </a:lnTo>
                  <a:lnTo>
                    <a:pt x="1581" y="238"/>
                  </a:lnTo>
                  <a:lnTo>
                    <a:pt x="1581" y="238"/>
                  </a:lnTo>
                  <a:lnTo>
                    <a:pt x="1581" y="191"/>
                  </a:lnTo>
                  <a:lnTo>
                    <a:pt x="1581" y="191"/>
                  </a:lnTo>
                  <a:lnTo>
                    <a:pt x="1581" y="179"/>
                  </a:lnTo>
                  <a:lnTo>
                    <a:pt x="1581" y="179"/>
                  </a:lnTo>
                  <a:lnTo>
                    <a:pt x="1581" y="172"/>
                  </a:lnTo>
                  <a:lnTo>
                    <a:pt x="1581" y="165"/>
                  </a:lnTo>
                  <a:lnTo>
                    <a:pt x="1581" y="165"/>
                  </a:lnTo>
                  <a:lnTo>
                    <a:pt x="1577" y="165"/>
                  </a:lnTo>
                  <a:lnTo>
                    <a:pt x="1570" y="165"/>
                  </a:lnTo>
                  <a:lnTo>
                    <a:pt x="1570" y="165"/>
                  </a:lnTo>
                  <a:lnTo>
                    <a:pt x="1570" y="153"/>
                  </a:lnTo>
                  <a:lnTo>
                    <a:pt x="1570" y="153"/>
                  </a:lnTo>
                  <a:lnTo>
                    <a:pt x="1570" y="148"/>
                  </a:lnTo>
                  <a:lnTo>
                    <a:pt x="1570" y="141"/>
                  </a:lnTo>
                  <a:lnTo>
                    <a:pt x="1570" y="141"/>
                  </a:lnTo>
                  <a:lnTo>
                    <a:pt x="1565" y="141"/>
                  </a:lnTo>
                  <a:lnTo>
                    <a:pt x="1558" y="141"/>
                  </a:lnTo>
                  <a:lnTo>
                    <a:pt x="1558" y="141"/>
                  </a:lnTo>
                  <a:lnTo>
                    <a:pt x="1558" y="139"/>
                  </a:lnTo>
                  <a:lnTo>
                    <a:pt x="1558" y="137"/>
                  </a:lnTo>
                  <a:lnTo>
                    <a:pt x="1558" y="130"/>
                  </a:lnTo>
                  <a:lnTo>
                    <a:pt x="1558" y="130"/>
                  </a:lnTo>
                  <a:lnTo>
                    <a:pt x="1558" y="106"/>
                  </a:lnTo>
                  <a:lnTo>
                    <a:pt x="1558" y="106"/>
                  </a:lnTo>
                  <a:lnTo>
                    <a:pt x="1534" y="106"/>
                  </a:lnTo>
                  <a:lnTo>
                    <a:pt x="1534" y="106"/>
                  </a:lnTo>
                  <a:lnTo>
                    <a:pt x="1534" y="118"/>
                  </a:lnTo>
                  <a:lnTo>
                    <a:pt x="1534" y="118"/>
                  </a:lnTo>
                  <a:lnTo>
                    <a:pt x="1534" y="130"/>
                  </a:lnTo>
                  <a:lnTo>
                    <a:pt x="1534" y="130"/>
                  </a:lnTo>
                  <a:lnTo>
                    <a:pt x="1534" y="137"/>
                  </a:lnTo>
                  <a:lnTo>
                    <a:pt x="1534" y="141"/>
                  </a:lnTo>
                  <a:lnTo>
                    <a:pt x="1534" y="141"/>
                  </a:lnTo>
                  <a:lnTo>
                    <a:pt x="1527" y="141"/>
                  </a:lnTo>
                  <a:lnTo>
                    <a:pt x="1522" y="141"/>
                  </a:lnTo>
                  <a:lnTo>
                    <a:pt x="1522" y="141"/>
                  </a:lnTo>
                  <a:lnTo>
                    <a:pt x="1522" y="148"/>
                  </a:lnTo>
                  <a:lnTo>
                    <a:pt x="1522" y="153"/>
                  </a:lnTo>
                  <a:lnTo>
                    <a:pt x="1522" y="153"/>
                  </a:lnTo>
                  <a:lnTo>
                    <a:pt x="1515" y="153"/>
                  </a:lnTo>
                  <a:lnTo>
                    <a:pt x="1511" y="153"/>
                  </a:lnTo>
                  <a:lnTo>
                    <a:pt x="1511" y="153"/>
                  </a:lnTo>
                  <a:lnTo>
                    <a:pt x="1511" y="160"/>
                  </a:lnTo>
                  <a:lnTo>
                    <a:pt x="1511" y="165"/>
                  </a:lnTo>
                  <a:lnTo>
                    <a:pt x="1511" y="165"/>
                  </a:lnTo>
                  <a:lnTo>
                    <a:pt x="1511" y="179"/>
                  </a:lnTo>
                  <a:lnTo>
                    <a:pt x="1511" y="179"/>
                  </a:lnTo>
                  <a:lnTo>
                    <a:pt x="1504" y="177"/>
                  </a:lnTo>
                  <a:lnTo>
                    <a:pt x="1499" y="179"/>
                  </a:lnTo>
                  <a:lnTo>
                    <a:pt x="1499" y="179"/>
                  </a:lnTo>
                  <a:lnTo>
                    <a:pt x="1499" y="184"/>
                  </a:lnTo>
                  <a:lnTo>
                    <a:pt x="1499" y="191"/>
                  </a:lnTo>
                  <a:lnTo>
                    <a:pt x="1499" y="191"/>
                  </a:lnTo>
                  <a:lnTo>
                    <a:pt x="1499" y="203"/>
                  </a:lnTo>
                  <a:lnTo>
                    <a:pt x="1499" y="203"/>
                  </a:lnTo>
                  <a:lnTo>
                    <a:pt x="1499" y="226"/>
                  </a:lnTo>
                  <a:lnTo>
                    <a:pt x="1499" y="226"/>
                  </a:lnTo>
                  <a:lnTo>
                    <a:pt x="1499" y="273"/>
                  </a:lnTo>
                  <a:lnTo>
                    <a:pt x="1499" y="273"/>
                  </a:lnTo>
                  <a:lnTo>
                    <a:pt x="1492" y="273"/>
                  </a:lnTo>
                  <a:lnTo>
                    <a:pt x="1489" y="273"/>
                  </a:lnTo>
                  <a:lnTo>
                    <a:pt x="1487" y="273"/>
                  </a:lnTo>
                  <a:lnTo>
                    <a:pt x="1487" y="273"/>
                  </a:lnTo>
                  <a:lnTo>
                    <a:pt x="1487" y="280"/>
                  </a:lnTo>
                  <a:lnTo>
                    <a:pt x="1487" y="285"/>
                  </a:lnTo>
                  <a:lnTo>
                    <a:pt x="1487" y="285"/>
                  </a:lnTo>
                  <a:lnTo>
                    <a:pt x="1480" y="285"/>
                  </a:lnTo>
                  <a:lnTo>
                    <a:pt x="1475" y="285"/>
                  </a:lnTo>
                  <a:lnTo>
                    <a:pt x="1475" y="285"/>
                  </a:lnTo>
                  <a:lnTo>
                    <a:pt x="1468" y="285"/>
                  </a:lnTo>
                  <a:lnTo>
                    <a:pt x="1464" y="285"/>
                  </a:lnTo>
                  <a:lnTo>
                    <a:pt x="1464" y="285"/>
                  </a:lnTo>
                  <a:lnTo>
                    <a:pt x="1464" y="287"/>
                  </a:lnTo>
                  <a:lnTo>
                    <a:pt x="1464" y="290"/>
                  </a:lnTo>
                  <a:lnTo>
                    <a:pt x="1464" y="297"/>
                  </a:lnTo>
                  <a:lnTo>
                    <a:pt x="1464" y="297"/>
                  </a:lnTo>
                  <a:lnTo>
                    <a:pt x="1456" y="297"/>
                  </a:lnTo>
                  <a:lnTo>
                    <a:pt x="1452" y="297"/>
                  </a:lnTo>
                  <a:lnTo>
                    <a:pt x="1452" y="297"/>
                  </a:lnTo>
                  <a:lnTo>
                    <a:pt x="1452" y="302"/>
                  </a:lnTo>
                  <a:lnTo>
                    <a:pt x="1452" y="309"/>
                  </a:lnTo>
                  <a:lnTo>
                    <a:pt x="1452" y="309"/>
                  </a:lnTo>
                  <a:lnTo>
                    <a:pt x="1452" y="320"/>
                  </a:lnTo>
                  <a:lnTo>
                    <a:pt x="1452" y="320"/>
                  </a:lnTo>
                  <a:lnTo>
                    <a:pt x="1428" y="320"/>
                  </a:lnTo>
                  <a:lnTo>
                    <a:pt x="1428" y="320"/>
                  </a:lnTo>
                  <a:lnTo>
                    <a:pt x="1428" y="297"/>
                  </a:lnTo>
                  <a:lnTo>
                    <a:pt x="1428" y="297"/>
                  </a:lnTo>
                  <a:lnTo>
                    <a:pt x="1428" y="285"/>
                  </a:lnTo>
                  <a:lnTo>
                    <a:pt x="1428" y="285"/>
                  </a:lnTo>
                  <a:lnTo>
                    <a:pt x="1428" y="262"/>
                  </a:lnTo>
                  <a:lnTo>
                    <a:pt x="1428" y="262"/>
                  </a:lnTo>
                  <a:lnTo>
                    <a:pt x="1428" y="214"/>
                  </a:lnTo>
                  <a:lnTo>
                    <a:pt x="1428" y="214"/>
                  </a:lnTo>
                  <a:lnTo>
                    <a:pt x="1428" y="191"/>
                  </a:lnTo>
                  <a:lnTo>
                    <a:pt x="1428" y="191"/>
                  </a:lnTo>
                  <a:lnTo>
                    <a:pt x="1428" y="179"/>
                  </a:lnTo>
                  <a:lnTo>
                    <a:pt x="1428" y="179"/>
                  </a:lnTo>
                  <a:lnTo>
                    <a:pt x="1428" y="153"/>
                  </a:lnTo>
                  <a:lnTo>
                    <a:pt x="1428" y="153"/>
                  </a:lnTo>
                  <a:lnTo>
                    <a:pt x="1428" y="141"/>
                  </a:lnTo>
                  <a:lnTo>
                    <a:pt x="1428" y="141"/>
                  </a:lnTo>
                  <a:lnTo>
                    <a:pt x="1428" y="130"/>
                  </a:lnTo>
                  <a:lnTo>
                    <a:pt x="1428" y="130"/>
                  </a:lnTo>
                  <a:lnTo>
                    <a:pt x="1428" y="118"/>
                  </a:lnTo>
                  <a:lnTo>
                    <a:pt x="1428" y="118"/>
                  </a:lnTo>
                  <a:lnTo>
                    <a:pt x="1421" y="118"/>
                  </a:lnTo>
                  <a:lnTo>
                    <a:pt x="1416" y="118"/>
                  </a:lnTo>
                  <a:lnTo>
                    <a:pt x="1416" y="118"/>
                  </a:lnTo>
                  <a:lnTo>
                    <a:pt x="1416" y="106"/>
                  </a:lnTo>
                  <a:lnTo>
                    <a:pt x="1416" y="106"/>
                  </a:lnTo>
                  <a:lnTo>
                    <a:pt x="1416" y="94"/>
                  </a:lnTo>
                  <a:lnTo>
                    <a:pt x="1416" y="94"/>
                  </a:lnTo>
                  <a:lnTo>
                    <a:pt x="1390" y="94"/>
                  </a:lnTo>
                  <a:lnTo>
                    <a:pt x="1390" y="94"/>
                  </a:lnTo>
                  <a:lnTo>
                    <a:pt x="1367" y="94"/>
                  </a:lnTo>
                  <a:lnTo>
                    <a:pt x="1367" y="94"/>
                  </a:lnTo>
                  <a:lnTo>
                    <a:pt x="1362" y="94"/>
                  </a:lnTo>
                  <a:lnTo>
                    <a:pt x="1358" y="94"/>
                  </a:lnTo>
                  <a:lnTo>
                    <a:pt x="1355" y="94"/>
                  </a:lnTo>
                  <a:lnTo>
                    <a:pt x="1355" y="94"/>
                  </a:lnTo>
                  <a:lnTo>
                    <a:pt x="1355" y="101"/>
                  </a:lnTo>
                  <a:lnTo>
                    <a:pt x="1355" y="106"/>
                  </a:lnTo>
                  <a:lnTo>
                    <a:pt x="1355" y="106"/>
                  </a:lnTo>
                  <a:lnTo>
                    <a:pt x="1358" y="113"/>
                  </a:lnTo>
                  <a:lnTo>
                    <a:pt x="1355" y="118"/>
                  </a:lnTo>
                  <a:lnTo>
                    <a:pt x="1355" y="118"/>
                  </a:lnTo>
                  <a:lnTo>
                    <a:pt x="1350" y="118"/>
                  </a:lnTo>
                  <a:lnTo>
                    <a:pt x="1343" y="118"/>
                  </a:lnTo>
                  <a:lnTo>
                    <a:pt x="1343" y="118"/>
                  </a:lnTo>
                  <a:lnTo>
                    <a:pt x="1343" y="130"/>
                  </a:lnTo>
                  <a:lnTo>
                    <a:pt x="1343" y="130"/>
                  </a:lnTo>
                  <a:lnTo>
                    <a:pt x="1343" y="141"/>
                  </a:lnTo>
                  <a:lnTo>
                    <a:pt x="1343" y="141"/>
                  </a:lnTo>
                  <a:lnTo>
                    <a:pt x="1343" y="153"/>
                  </a:lnTo>
                  <a:lnTo>
                    <a:pt x="1343" y="153"/>
                  </a:lnTo>
                  <a:lnTo>
                    <a:pt x="1343" y="179"/>
                  </a:lnTo>
                  <a:lnTo>
                    <a:pt x="1343" y="179"/>
                  </a:lnTo>
                  <a:lnTo>
                    <a:pt x="1343" y="191"/>
                  </a:lnTo>
                  <a:lnTo>
                    <a:pt x="1343" y="191"/>
                  </a:lnTo>
                  <a:lnTo>
                    <a:pt x="1343" y="214"/>
                  </a:lnTo>
                  <a:lnTo>
                    <a:pt x="1343" y="214"/>
                  </a:lnTo>
                  <a:lnTo>
                    <a:pt x="1343" y="262"/>
                  </a:lnTo>
                  <a:lnTo>
                    <a:pt x="1343" y="262"/>
                  </a:lnTo>
                  <a:lnTo>
                    <a:pt x="1343" y="273"/>
                  </a:lnTo>
                  <a:lnTo>
                    <a:pt x="1343" y="273"/>
                  </a:lnTo>
                  <a:lnTo>
                    <a:pt x="1339" y="273"/>
                  </a:lnTo>
                  <a:lnTo>
                    <a:pt x="1332" y="273"/>
                  </a:lnTo>
                  <a:lnTo>
                    <a:pt x="1332" y="273"/>
                  </a:lnTo>
                  <a:lnTo>
                    <a:pt x="1332" y="278"/>
                  </a:lnTo>
                  <a:lnTo>
                    <a:pt x="1332" y="285"/>
                  </a:lnTo>
                  <a:lnTo>
                    <a:pt x="1332" y="285"/>
                  </a:lnTo>
                  <a:lnTo>
                    <a:pt x="1329" y="285"/>
                  </a:lnTo>
                  <a:lnTo>
                    <a:pt x="1327" y="285"/>
                  </a:lnTo>
                  <a:lnTo>
                    <a:pt x="1320" y="285"/>
                  </a:lnTo>
                  <a:lnTo>
                    <a:pt x="1320" y="285"/>
                  </a:lnTo>
                  <a:lnTo>
                    <a:pt x="1320" y="297"/>
                  </a:lnTo>
                  <a:lnTo>
                    <a:pt x="1320" y="297"/>
                  </a:lnTo>
                  <a:lnTo>
                    <a:pt x="1320" y="309"/>
                  </a:lnTo>
                  <a:lnTo>
                    <a:pt x="1320" y="309"/>
                  </a:lnTo>
                  <a:lnTo>
                    <a:pt x="1320" y="320"/>
                  </a:lnTo>
                  <a:lnTo>
                    <a:pt x="1320" y="320"/>
                  </a:lnTo>
                  <a:lnTo>
                    <a:pt x="1320" y="332"/>
                  </a:lnTo>
                  <a:lnTo>
                    <a:pt x="1320" y="332"/>
                  </a:lnTo>
                  <a:lnTo>
                    <a:pt x="1320" y="344"/>
                  </a:lnTo>
                  <a:lnTo>
                    <a:pt x="1320" y="344"/>
                  </a:lnTo>
                  <a:lnTo>
                    <a:pt x="1320" y="351"/>
                  </a:lnTo>
                  <a:lnTo>
                    <a:pt x="1320" y="356"/>
                  </a:lnTo>
                  <a:lnTo>
                    <a:pt x="1320" y="356"/>
                  </a:lnTo>
                  <a:lnTo>
                    <a:pt x="1317" y="358"/>
                  </a:lnTo>
                  <a:lnTo>
                    <a:pt x="1315" y="356"/>
                  </a:lnTo>
                  <a:lnTo>
                    <a:pt x="1308" y="356"/>
                  </a:lnTo>
                  <a:lnTo>
                    <a:pt x="1308" y="356"/>
                  </a:lnTo>
                  <a:lnTo>
                    <a:pt x="1303" y="356"/>
                  </a:lnTo>
                  <a:lnTo>
                    <a:pt x="1299" y="356"/>
                  </a:lnTo>
                  <a:lnTo>
                    <a:pt x="1296" y="356"/>
                  </a:lnTo>
                  <a:lnTo>
                    <a:pt x="1296" y="356"/>
                  </a:lnTo>
                  <a:lnTo>
                    <a:pt x="1296" y="344"/>
                  </a:lnTo>
                  <a:lnTo>
                    <a:pt x="1296" y="344"/>
                  </a:lnTo>
                  <a:lnTo>
                    <a:pt x="1296" y="332"/>
                  </a:lnTo>
                  <a:lnTo>
                    <a:pt x="1296" y="332"/>
                  </a:lnTo>
                  <a:lnTo>
                    <a:pt x="1296" y="320"/>
                  </a:lnTo>
                  <a:lnTo>
                    <a:pt x="1296" y="320"/>
                  </a:lnTo>
                  <a:lnTo>
                    <a:pt x="1296" y="309"/>
                  </a:lnTo>
                  <a:lnTo>
                    <a:pt x="1296" y="309"/>
                  </a:lnTo>
                  <a:lnTo>
                    <a:pt x="1296" y="302"/>
                  </a:lnTo>
                  <a:lnTo>
                    <a:pt x="1296" y="297"/>
                  </a:lnTo>
                  <a:lnTo>
                    <a:pt x="1296" y="297"/>
                  </a:lnTo>
                  <a:lnTo>
                    <a:pt x="1294" y="297"/>
                  </a:lnTo>
                  <a:lnTo>
                    <a:pt x="1292" y="297"/>
                  </a:lnTo>
                  <a:lnTo>
                    <a:pt x="1287" y="297"/>
                  </a:lnTo>
                  <a:lnTo>
                    <a:pt x="1284" y="297"/>
                  </a:lnTo>
                  <a:lnTo>
                    <a:pt x="1284" y="297"/>
                  </a:lnTo>
                  <a:lnTo>
                    <a:pt x="1282" y="297"/>
                  </a:lnTo>
                  <a:lnTo>
                    <a:pt x="1280" y="297"/>
                  </a:lnTo>
                  <a:lnTo>
                    <a:pt x="1275" y="297"/>
                  </a:lnTo>
                  <a:lnTo>
                    <a:pt x="1273" y="297"/>
                  </a:lnTo>
                  <a:lnTo>
                    <a:pt x="1273" y="297"/>
                  </a:lnTo>
                  <a:lnTo>
                    <a:pt x="1273" y="290"/>
                  </a:lnTo>
                  <a:lnTo>
                    <a:pt x="1273" y="285"/>
                  </a:lnTo>
                  <a:lnTo>
                    <a:pt x="1273" y="285"/>
                  </a:lnTo>
                  <a:lnTo>
                    <a:pt x="1268" y="285"/>
                  </a:lnTo>
                  <a:lnTo>
                    <a:pt x="1261" y="285"/>
                  </a:lnTo>
                  <a:lnTo>
                    <a:pt x="1261" y="285"/>
                  </a:lnTo>
                  <a:lnTo>
                    <a:pt x="1254" y="285"/>
                  </a:lnTo>
                  <a:lnTo>
                    <a:pt x="1249" y="285"/>
                  </a:lnTo>
                  <a:lnTo>
                    <a:pt x="1249" y="285"/>
                  </a:lnTo>
                  <a:lnTo>
                    <a:pt x="1249" y="283"/>
                  </a:lnTo>
                  <a:lnTo>
                    <a:pt x="1249" y="278"/>
                  </a:lnTo>
                  <a:lnTo>
                    <a:pt x="1249" y="273"/>
                  </a:lnTo>
                  <a:lnTo>
                    <a:pt x="1249" y="273"/>
                  </a:lnTo>
                  <a:lnTo>
                    <a:pt x="1237" y="273"/>
                  </a:lnTo>
                  <a:lnTo>
                    <a:pt x="1237" y="273"/>
                  </a:lnTo>
                  <a:lnTo>
                    <a:pt x="1230" y="273"/>
                  </a:lnTo>
                  <a:lnTo>
                    <a:pt x="1226" y="273"/>
                  </a:lnTo>
                  <a:lnTo>
                    <a:pt x="1226" y="273"/>
                  </a:lnTo>
                  <a:lnTo>
                    <a:pt x="1226" y="280"/>
                  </a:lnTo>
                  <a:lnTo>
                    <a:pt x="1226" y="285"/>
                  </a:lnTo>
                  <a:lnTo>
                    <a:pt x="1226" y="285"/>
                  </a:lnTo>
                  <a:lnTo>
                    <a:pt x="1218" y="285"/>
                  </a:lnTo>
                  <a:lnTo>
                    <a:pt x="1214" y="285"/>
                  </a:lnTo>
                  <a:lnTo>
                    <a:pt x="1214" y="285"/>
                  </a:lnTo>
                  <a:lnTo>
                    <a:pt x="1207" y="285"/>
                  </a:lnTo>
                  <a:lnTo>
                    <a:pt x="1202" y="285"/>
                  </a:lnTo>
                  <a:lnTo>
                    <a:pt x="1202" y="285"/>
                  </a:lnTo>
                  <a:lnTo>
                    <a:pt x="1200" y="287"/>
                  </a:lnTo>
                  <a:lnTo>
                    <a:pt x="1202" y="290"/>
                  </a:lnTo>
                  <a:lnTo>
                    <a:pt x="1202" y="295"/>
                  </a:lnTo>
                  <a:lnTo>
                    <a:pt x="1202" y="297"/>
                  </a:lnTo>
                  <a:lnTo>
                    <a:pt x="1202" y="297"/>
                  </a:lnTo>
                  <a:lnTo>
                    <a:pt x="1195" y="297"/>
                  </a:lnTo>
                  <a:lnTo>
                    <a:pt x="1190" y="297"/>
                  </a:lnTo>
                  <a:lnTo>
                    <a:pt x="1190" y="297"/>
                  </a:lnTo>
                  <a:lnTo>
                    <a:pt x="1183" y="297"/>
                  </a:lnTo>
                  <a:lnTo>
                    <a:pt x="1178" y="297"/>
                  </a:lnTo>
                  <a:lnTo>
                    <a:pt x="1178" y="297"/>
                  </a:lnTo>
                  <a:lnTo>
                    <a:pt x="1178" y="302"/>
                  </a:lnTo>
                  <a:lnTo>
                    <a:pt x="1178" y="309"/>
                  </a:lnTo>
                  <a:lnTo>
                    <a:pt x="1178" y="309"/>
                  </a:lnTo>
                  <a:lnTo>
                    <a:pt x="1176" y="316"/>
                  </a:lnTo>
                  <a:lnTo>
                    <a:pt x="1178" y="320"/>
                  </a:lnTo>
                  <a:lnTo>
                    <a:pt x="1178" y="320"/>
                  </a:lnTo>
                  <a:lnTo>
                    <a:pt x="1178" y="332"/>
                  </a:lnTo>
                  <a:lnTo>
                    <a:pt x="1178" y="332"/>
                  </a:lnTo>
                  <a:lnTo>
                    <a:pt x="1178" y="339"/>
                  </a:lnTo>
                  <a:lnTo>
                    <a:pt x="1178" y="344"/>
                  </a:lnTo>
                  <a:lnTo>
                    <a:pt x="1178" y="344"/>
                  </a:lnTo>
                  <a:lnTo>
                    <a:pt x="1176" y="344"/>
                  </a:lnTo>
                  <a:lnTo>
                    <a:pt x="1171" y="344"/>
                  </a:lnTo>
                  <a:lnTo>
                    <a:pt x="1167" y="344"/>
                  </a:lnTo>
                  <a:lnTo>
                    <a:pt x="1167" y="344"/>
                  </a:lnTo>
                  <a:lnTo>
                    <a:pt x="1167" y="320"/>
                  </a:lnTo>
                  <a:lnTo>
                    <a:pt x="1167" y="320"/>
                  </a:lnTo>
                  <a:lnTo>
                    <a:pt x="1160" y="320"/>
                  </a:lnTo>
                  <a:lnTo>
                    <a:pt x="1157" y="320"/>
                  </a:lnTo>
                  <a:lnTo>
                    <a:pt x="1155" y="320"/>
                  </a:lnTo>
                  <a:lnTo>
                    <a:pt x="1155" y="320"/>
                  </a:lnTo>
                  <a:lnTo>
                    <a:pt x="1153" y="318"/>
                  </a:lnTo>
                  <a:lnTo>
                    <a:pt x="1153" y="316"/>
                  </a:lnTo>
                  <a:lnTo>
                    <a:pt x="1155" y="309"/>
                  </a:lnTo>
                  <a:lnTo>
                    <a:pt x="1155" y="309"/>
                  </a:lnTo>
                  <a:lnTo>
                    <a:pt x="1153" y="306"/>
                  </a:lnTo>
                  <a:lnTo>
                    <a:pt x="1155" y="304"/>
                  </a:lnTo>
                  <a:lnTo>
                    <a:pt x="1155" y="299"/>
                  </a:lnTo>
                  <a:lnTo>
                    <a:pt x="1155" y="297"/>
                  </a:lnTo>
                  <a:lnTo>
                    <a:pt x="1155" y="297"/>
                  </a:lnTo>
                  <a:lnTo>
                    <a:pt x="1141" y="297"/>
                  </a:lnTo>
                  <a:lnTo>
                    <a:pt x="1141" y="297"/>
                  </a:lnTo>
                  <a:lnTo>
                    <a:pt x="1136" y="297"/>
                  </a:lnTo>
                  <a:lnTo>
                    <a:pt x="1129" y="297"/>
                  </a:lnTo>
                  <a:lnTo>
                    <a:pt x="1129" y="297"/>
                  </a:lnTo>
                  <a:lnTo>
                    <a:pt x="1129" y="295"/>
                  </a:lnTo>
                  <a:lnTo>
                    <a:pt x="1129" y="292"/>
                  </a:lnTo>
                  <a:lnTo>
                    <a:pt x="1129" y="285"/>
                  </a:lnTo>
                  <a:lnTo>
                    <a:pt x="1129" y="285"/>
                  </a:lnTo>
                  <a:lnTo>
                    <a:pt x="1127" y="285"/>
                  </a:lnTo>
                  <a:lnTo>
                    <a:pt x="1124" y="285"/>
                  </a:lnTo>
                  <a:lnTo>
                    <a:pt x="1120" y="285"/>
                  </a:lnTo>
                  <a:lnTo>
                    <a:pt x="1117" y="285"/>
                  </a:lnTo>
                  <a:lnTo>
                    <a:pt x="1117" y="285"/>
                  </a:lnTo>
                  <a:lnTo>
                    <a:pt x="1117" y="283"/>
                  </a:lnTo>
                  <a:lnTo>
                    <a:pt x="1117" y="278"/>
                  </a:lnTo>
                  <a:lnTo>
                    <a:pt x="1117" y="273"/>
                  </a:lnTo>
                  <a:lnTo>
                    <a:pt x="1117" y="273"/>
                  </a:lnTo>
                  <a:lnTo>
                    <a:pt x="1105" y="273"/>
                  </a:lnTo>
                  <a:lnTo>
                    <a:pt x="1105" y="273"/>
                  </a:lnTo>
                  <a:lnTo>
                    <a:pt x="1094" y="273"/>
                  </a:lnTo>
                  <a:lnTo>
                    <a:pt x="1094" y="273"/>
                  </a:lnTo>
                  <a:lnTo>
                    <a:pt x="1046" y="273"/>
                  </a:lnTo>
                  <a:lnTo>
                    <a:pt x="1046" y="273"/>
                  </a:lnTo>
                  <a:lnTo>
                    <a:pt x="1046" y="297"/>
                  </a:lnTo>
                  <a:lnTo>
                    <a:pt x="1046" y="297"/>
                  </a:lnTo>
                  <a:lnTo>
                    <a:pt x="1023" y="297"/>
                  </a:lnTo>
                  <a:lnTo>
                    <a:pt x="1023" y="297"/>
                  </a:lnTo>
                  <a:lnTo>
                    <a:pt x="1023" y="344"/>
                  </a:lnTo>
                  <a:lnTo>
                    <a:pt x="1023" y="344"/>
                  </a:lnTo>
                  <a:lnTo>
                    <a:pt x="1011" y="344"/>
                  </a:lnTo>
                  <a:lnTo>
                    <a:pt x="1011" y="344"/>
                  </a:lnTo>
                  <a:lnTo>
                    <a:pt x="988" y="344"/>
                  </a:lnTo>
                  <a:lnTo>
                    <a:pt x="988" y="344"/>
                  </a:lnTo>
                  <a:lnTo>
                    <a:pt x="964" y="344"/>
                  </a:lnTo>
                  <a:lnTo>
                    <a:pt x="964" y="344"/>
                  </a:lnTo>
                  <a:lnTo>
                    <a:pt x="952" y="344"/>
                  </a:lnTo>
                  <a:lnTo>
                    <a:pt x="952" y="344"/>
                  </a:lnTo>
                  <a:lnTo>
                    <a:pt x="940" y="344"/>
                  </a:lnTo>
                  <a:lnTo>
                    <a:pt x="940" y="344"/>
                  </a:lnTo>
                  <a:lnTo>
                    <a:pt x="929" y="344"/>
                  </a:lnTo>
                  <a:lnTo>
                    <a:pt x="929" y="344"/>
                  </a:lnTo>
                  <a:lnTo>
                    <a:pt x="922" y="344"/>
                  </a:lnTo>
                  <a:lnTo>
                    <a:pt x="917" y="344"/>
                  </a:lnTo>
                  <a:lnTo>
                    <a:pt x="917" y="344"/>
                  </a:lnTo>
                  <a:lnTo>
                    <a:pt x="917" y="339"/>
                  </a:lnTo>
                  <a:lnTo>
                    <a:pt x="917" y="332"/>
                  </a:lnTo>
                  <a:lnTo>
                    <a:pt x="917" y="332"/>
                  </a:lnTo>
                  <a:lnTo>
                    <a:pt x="915" y="332"/>
                  </a:lnTo>
                  <a:lnTo>
                    <a:pt x="910" y="332"/>
                  </a:lnTo>
                  <a:lnTo>
                    <a:pt x="903" y="332"/>
                  </a:lnTo>
                  <a:lnTo>
                    <a:pt x="903" y="332"/>
                  </a:lnTo>
                  <a:lnTo>
                    <a:pt x="903" y="309"/>
                  </a:lnTo>
                  <a:lnTo>
                    <a:pt x="903" y="309"/>
                  </a:lnTo>
                  <a:lnTo>
                    <a:pt x="903" y="262"/>
                  </a:lnTo>
                  <a:lnTo>
                    <a:pt x="903" y="262"/>
                  </a:lnTo>
                  <a:lnTo>
                    <a:pt x="903" y="250"/>
                  </a:lnTo>
                  <a:lnTo>
                    <a:pt x="903" y="250"/>
                  </a:lnTo>
                  <a:lnTo>
                    <a:pt x="903" y="226"/>
                  </a:lnTo>
                  <a:lnTo>
                    <a:pt x="903" y="226"/>
                  </a:lnTo>
                  <a:lnTo>
                    <a:pt x="903" y="203"/>
                  </a:lnTo>
                  <a:lnTo>
                    <a:pt x="903" y="203"/>
                  </a:lnTo>
                  <a:lnTo>
                    <a:pt x="856" y="203"/>
                  </a:lnTo>
                  <a:lnTo>
                    <a:pt x="856" y="203"/>
                  </a:lnTo>
                  <a:lnTo>
                    <a:pt x="856" y="191"/>
                  </a:lnTo>
                  <a:lnTo>
                    <a:pt x="856" y="191"/>
                  </a:lnTo>
                  <a:lnTo>
                    <a:pt x="856" y="141"/>
                  </a:lnTo>
                  <a:lnTo>
                    <a:pt x="856" y="141"/>
                  </a:lnTo>
                  <a:lnTo>
                    <a:pt x="856" y="118"/>
                  </a:lnTo>
                  <a:lnTo>
                    <a:pt x="856" y="118"/>
                  </a:lnTo>
                  <a:lnTo>
                    <a:pt x="856" y="106"/>
                  </a:lnTo>
                  <a:lnTo>
                    <a:pt x="856" y="106"/>
                  </a:lnTo>
                  <a:lnTo>
                    <a:pt x="856" y="59"/>
                  </a:lnTo>
                  <a:lnTo>
                    <a:pt x="856" y="59"/>
                  </a:lnTo>
                  <a:lnTo>
                    <a:pt x="856" y="47"/>
                  </a:lnTo>
                  <a:lnTo>
                    <a:pt x="856" y="47"/>
                  </a:lnTo>
                  <a:lnTo>
                    <a:pt x="856" y="24"/>
                  </a:lnTo>
                  <a:lnTo>
                    <a:pt x="856" y="24"/>
                  </a:lnTo>
                  <a:lnTo>
                    <a:pt x="851" y="24"/>
                  </a:lnTo>
                  <a:lnTo>
                    <a:pt x="844" y="24"/>
                  </a:lnTo>
                  <a:lnTo>
                    <a:pt x="844" y="24"/>
                  </a:lnTo>
                  <a:lnTo>
                    <a:pt x="844" y="12"/>
                  </a:lnTo>
                  <a:lnTo>
                    <a:pt x="844" y="12"/>
                  </a:lnTo>
                  <a:lnTo>
                    <a:pt x="844" y="0"/>
                  </a:lnTo>
                  <a:lnTo>
                    <a:pt x="844" y="0"/>
                  </a:lnTo>
                  <a:lnTo>
                    <a:pt x="750" y="0"/>
                  </a:lnTo>
                  <a:lnTo>
                    <a:pt x="750" y="0"/>
                  </a:lnTo>
                  <a:lnTo>
                    <a:pt x="750" y="12"/>
                  </a:lnTo>
                  <a:lnTo>
                    <a:pt x="750" y="12"/>
                  </a:lnTo>
                  <a:lnTo>
                    <a:pt x="750" y="35"/>
                  </a:lnTo>
                  <a:lnTo>
                    <a:pt x="750" y="35"/>
                  </a:lnTo>
                  <a:lnTo>
                    <a:pt x="750" y="47"/>
                  </a:lnTo>
                  <a:lnTo>
                    <a:pt x="750" y="47"/>
                  </a:lnTo>
                  <a:lnTo>
                    <a:pt x="750" y="54"/>
                  </a:lnTo>
                  <a:lnTo>
                    <a:pt x="750" y="59"/>
                  </a:lnTo>
                  <a:lnTo>
                    <a:pt x="750" y="59"/>
                  </a:lnTo>
                  <a:lnTo>
                    <a:pt x="743" y="59"/>
                  </a:lnTo>
                  <a:lnTo>
                    <a:pt x="738" y="59"/>
                  </a:lnTo>
                  <a:lnTo>
                    <a:pt x="738" y="59"/>
                  </a:lnTo>
                  <a:lnTo>
                    <a:pt x="738" y="64"/>
                  </a:lnTo>
                  <a:lnTo>
                    <a:pt x="738" y="71"/>
                  </a:lnTo>
                  <a:lnTo>
                    <a:pt x="738" y="71"/>
                  </a:lnTo>
                  <a:lnTo>
                    <a:pt x="738" y="82"/>
                  </a:lnTo>
                  <a:lnTo>
                    <a:pt x="738" y="82"/>
                  </a:lnTo>
                  <a:lnTo>
                    <a:pt x="738" y="106"/>
                  </a:lnTo>
                  <a:lnTo>
                    <a:pt x="738" y="106"/>
                  </a:lnTo>
                  <a:lnTo>
                    <a:pt x="738" y="118"/>
                  </a:lnTo>
                  <a:lnTo>
                    <a:pt x="738" y="118"/>
                  </a:lnTo>
                  <a:lnTo>
                    <a:pt x="738" y="141"/>
                  </a:lnTo>
                  <a:lnTo>
                    <a:pt x="738" y="141"/>
                  </a:lnTo>
                  <a:lnTo>
                    <a:pt x="738" y="238"/>
                  </a:lnTo>
                  <a:lnTo>
                    <a:pt x="738" y="238"/>
                  </a:lnTo>
                  <a:lnTo>
                    <a:pt x="738" y="250"/>
                  </a:lnTo>
                  <a:lnTo>
                    <a:pt x="738" y="250"/>
                  </a:lnTo>
                  <a:lnTo>
                    <a:pt x="738" y="273"/>
                  </a:lnTo>
                  <a:lnTo>
                    <a:pt x="738" y="273"/>
                  </a:lnTo>
                  <a:lnTo>
                    <a:pt x="738" y="320"/>
                  </a:lnTo>
                  <a:lnTo>
                    <a:pt x="738" y="320"/>
                  </a:lnTo>
                  <a:lnTo>
                    <a:pt x="726" y="320"/>
                  </a:lnTo>
                  <a:lnTo>
                    <a:pt x="726" y="320"/>
                  </a:lnTo>
                  <a:lnTo>
                    <a:pt x="726" y="309"/>
                  </a:lnTo>
                  <a:lnTo>
                    <a:pt x="726" y="309"/>
                  </a:lnTo>
                  <a:lnTo>
                    <a:pt x="726" y="297"/>
                  </a:lnTo>
                  <a:lnTo>
                    <a:pt x="726" y="297"/>
                  </a:lnTo>
                  <a:lnTo>
                    <a:pt x="726" y="285"/>
                  </a:lnTo>
                  <a:lnTo>
                    <a:pt x="726" y="285"/>
                  </a:lnTo>
                  <a:lnTo>
                    <a:pt x="726" y="278"/>
                  </a:lnTo>
                  <a:lnTo>
                    <a:pt x="726" y="273"/>
                  </a:lnTo>
                  <a:lnTo>
                    <a:pt x="726" y="273"/>
                  </a:lnTo>
                  <a:lnTo>
                    <a:pt x="724" y="273"/>
                  </a:lnTo>
                  <a:lnTo>
                    <a:pt x="719" y="273"/>
                  </a:lnTo>
                  <a:lnTo>
                    <a:pt x="714" y="273"/>
                  </a:lnTo>
                  <a:lnTo>
                    <a:pt x="714" y="273"/>
                  </a:lnTo>
                  <a:lnTo>
                    <a:pt x="712" y="271"/>
                  </a:lnTo>
                  <a:lnTo>
                    <a:pt x="714" y="266"/>
                  </a:lnTo>
                  <a:lnTo>
                    <a:pt x="714" y="262"/>
                  </a:lnTo>
                  <a:lnTo>
                    <a:pt x="714" y="262"/>
                  </a:lnTo>
                  <a:lnTo>
                    <a:pt x="702" y="262"/>
                  </a:lnTo>
                  <a:lnTo>
                    <a:pt x="702" y="262"/>
                  </a:lnTo>
                  <a:lnTo>
                    <a:pt x="679" y="262"/>
                  </a:lnTo>
                  <a:lnTo>
                    <a:pt x="679" y="262"/>
                  </a:lnTo>
                  <a:lnTo>
                    <a:pt x="679" y="266"/>
                  </a:lnTo>
                  <a:lnTo>
                    <a:pt x="679" y="273"/>
                  </a:lnTo>
                  <a:lnTo>
                    <a:pt x="679" y="273"/>
                  </a:lnTo>
                  <a:lnTo>
                    <a:pt x="667" y="273"/>
                  </a:lnTo>
                  <a:lnTo>
                    <a:pt x="667" y="273"/>
                  </a:lnTo>
                  <a:lnTo>
                    <a:pt x="660" y="273"/>
                  </a:lnTo>
                  <a:lnTo>
                    <a:pt x="653" y="273"/>
                  </a:lnTo>
                  <a:lnTo>
                    <a:pt x="653" y="273"/>
                  </a:lnTo>
                  <a:lnTo>
                    <a:pt x="653" y="278"/>
                  </a:lnTo>
                  <a:lnTo>
                    <a:pt x="653" y="285"/>
                  </a:lnTo>
                  <a:lnTo>
                    <a:pt x="653" y="285"/>
                  </a:lnTo>
                  <a:lnTo>
                    <a:pt x="641" y="285"/>
                  </a:lnTo>
                  <a:lnTo>
                    <a:pt x="641" y="285"/>
                  </a:lnTo>
                  <a:lnTo>
                    <a:pt x="629" y="285"/>
                  </a:lnTo>
                  <a:lnTo>
                    <a:pt x="629" y="285"/>
                  </a:lnTo>
                  <a:lnTo>
                    <a:pt x="629" y="292"/>
                  </a:lnTo>
                  <a:lnTo>
                    <a:pt x="632" y="295"/>
                  </a:lnTo>
                  <a:lnTo>
                    <a:pt x="629" y="297"/>
                  </a:lnTo>
                  <a:lnTo>
                    <a:pt x="629" y="297"/>
                  </a:lnTo>
                  <a:lnTo>
                    <a:pt x="625" y="297"/>
                  </a:lnTo>
                  <a:lnTo>
                    <a:pt x="618" y="297"/>
                  </a:lnTo>
                  <a:lnTo>
                    <a:pt x="618" y="297"/>
                  </a:lnTo>
                  <a:lnTo>
                    <a:pt x="613" y="297"/>
                  </a:lnTo>
                  <a:lnTo>
                    <a:pt x="606" y="297"/>
                  </a:lnTo>
                  <a:lnTo>
                    <a:pt x="606" y="297"/>
                  </a:lnTo>
                  <a:lnTo>
                    <a:pt x="594" y="297"/>
                  </a:lnTo>
                  <a:lnTo>
                    <a:pt x="594" y="297"/>
                  </a:lnTo>
                  <a:lnTo>
                    <a:pt x="582" y="297"/>
                  </a:lnTo>
                  <a:lnTo>
                    <a:pt x="582" y="297"/>
                  </a:lnTo>
                  <a:lnTo>
                    <a:pt x="582" y="302"/>
                  </a:lnTo>
                  <a:lnTo>
                    <a:pt x="582" y="309"/>
                  </a:lnTo>
                  <a:lnTo>
                    <a:pt x="582" y="309"/>
                  </a:lnTo>
                  <a:lnTo>
                    <a:pt x="578" y="309"/>
                  </a:lnTo>
                  <a:lnTo>
                    <a:pt x="571" y="309"/>
                  </a:lnTo>
                  <a:lnTo>
                    <a:pt x="571" y="309"/>
                  </a:lnTo>
                  <a:lnTo>
                    <a:pt x="571" y="316"/>
                  </a:lnTo>
                  <a:lnTo>
                    <a:pt x="571" y="320"/>
                  </a:lnTo>
                  <a:lnTo>
                    <a:pt x="571" y="320"/>
                  </a:lnTo>
                  <a:lnTo>
                    <a:pt x="566" y="320"/>
                  </a:lnTo>
                  <a:lnTo>
                    <a:pt x="559" y="320"/>
                  </a:lnTo>
                  <a:lnTo>
                    <a:pt x="559" y="320"/>
                  </a:lnTo>
                  <a:lnTo>
                    <a:pt x="559" y="328"/>
                  </a:lnTo>
                  <a:lnTo>
                    <a:pt x="559" y="332"/>
                  </a:lnTo>
                  <a:lnTo>
                    <a:pt x="559" y="332"/>
                  </a:lnTo>
                  <a:lnTo>
                    <a:pt x="559" y="356"/>
                  </a:lnTo>
                  <a:lnTo>
                    <a:pt x="559" y="356"/>
                  </a:lnTo>
                  <a:lnTo>
                    <a:pt x="554" y="356"/>
                  </a:lnTo>
                  <a:lnTo>
                    <a:pt x="547" y="356"/>
                  </a:lnTo>
                  <a:lnTo>
                    <a:pt x="547" y="356"/>
                  </a:lnTo>
                  <a:lnTo>
                    <a:pt x="542" y="356"/>
                  </a:lnTo>
                  <a:lnTo>
                    <a:pt x="535" y="356"/>
                  </a:lnTo>
                  <a:lnTo>
                    <a:pt x="535" y="356"/>
                  </a:lnTo>
                  <a:lnTo>
                    <a:pt x="528" y="356"/>
                  </a:lnTo>
                  <a:lnTo>
                    <a:pt x="523" y="356"/>
                  </a:lnTo>
                  <a:lnTo>
                    <a:pt x="523" y="356"/>
                  </a:lnTo>
                  <a:lnTo>
                    <a:pt x="523" y="351"/>
                  </a:lnTo>
                  <a:lnTo>
                    <a:pt x="523" y="344"/>
                  </a:lnTo>
                  <a:lnTo>
                    <a:pt x="523" y="344"/>
                  </a:lnTo>
                  <a:lnTo>
                    <a:pt x="512" y="344"/>
                  </a:lnTo>
                  <a:lnTo>
                    <a:pt x="512" y="344"/>
                  </a:lnTo>
                  <a:lnTo>
                    <a:pt x="500" y="344"/>
                  </a:lnTo>
                  <a:lnTo>
                    <a:pt x="500" y="344"/>
                  </a:lnTo>
                  <a:lnTo>
                    <a:pt x="476" y="344"/>
                  </a:lnTo>
                  <a:lnTo>
                    <a:pt x="476" y="344"/>
                  </a:lnTo>
                  <a:lnTo>
                    <a:pt x="453" y="344"/>
                  </a:lnTo>
                  <a:lnTo>
                    <a:pt x="453" y="344"/>
                  </a:lnTo>
                  <a:lnTo>
                    <a:pt x="453" y="339"/>
                  </a:lnTo>
                  <a:lnTo>
                    <a:pt x="453" y="335"/>
                  </a:lnTo>
                  <a:lnTo>
                    <a:pt x="453" y="332"/>
                  </a:lnTo>
                  <a:lnTo>
                    <a:pt x="453" y="332"/>
                  </a:lnTo>
                  <a:lnTo>
                    <a:pt x="446" y="332"/>
                  </a:lnTo>
                  <a:lnTo>
                    <a:pt x="441" y="332"/>
                  </a:lnTo>
                  <a:lnTo>
                    <a:pt x="441" y="332"/>
                  </a:lnTo>
                  <a:lnTo>
                    <a:pt x="429" y="332"/>
                  </a:lnTo>
                  <a:lnTo>
                    <a:pt x="429" y="332"/>
                  </a:lnTo>
                  <a:lnTo>
                    <a:pt x="429" y="339"/>
                  </a:lnTo>
                  <a:lnTo>
                    <a:pt x="429" y="342"/>
                  </a:lnTo>
                  <a:lnTo>
                    <a:pt x="429" y="344"/>
                  </a:lnTo>
                  <a:lnTo>
                    <a:pt x="429" y="344"/>
                  </a:lnTo>
                  <a:lnTo>
                    <a:pt x="422" y="344"/>
                  </a:lnTo>
                  <a:lnTo>
                    <a:pt x="417" y="344"/>
                  </a:lnTo>
                  <a:lnTo>
                    <a:pt x="417" y="344"/>
                  </a:lnTo>
                  <a:lnTo>
                    <a:pt x="403" y="344"/>
                  </a:lnTo>
                  <a:lnTo>
                    <a:pt x="403" y="344"/>
                  </a:lnTo>
                  <a:lnTo>
                    <a:pt x="399" y="344"/>
                  </a:lnTo>
                  <a:lnTo>
                    <a:pt x="391" y="344"/>
                  </a:lnTo>
                  <a:lnTo>
                    <a:pt x="391" y="344"/>
                  </a:lnTo>
                  <a:lnTo>
                    <a:pt x="387" y="344"/>
                  </a:lnTo>
                  <a:lnTo>
                    <a:pt x="380" y="344"/>
                  </a:lnTo>
                  <a:lnTo>
                    <a:pt x="380" y="344"/>
                  </a:lnTo>
                  <a:lnTo>
                    <a:pt x="380" y="346"/>
                  </a:lnTo>
                  <a:lnTo>
                    <a:pt x="380" y="351"/>
                  </a:lnTo>
                  <a:lnTo>
                    <a:pt x="380" y="356"/>
                  </a:lnTo>
                  <a:lnTo>
                    <a:pt x="380" y="356"/>
                  </a:lnTo>
                  <a:lnTo>
                    <a:pt x="356" y="356"/>
                  </a:lnTo>
                  <a:lnTo>
                    <a:pt x="356" y="356"/>
                  </a:lnTo>
                  <a:lnTo>
                    <a:pt x="344" y="356"/>
                  </a:lnTo>
                  <a:lnTo>
                    <a:pt x="344" y="356"/>
                  </a:lnTo>
                  <a:lnTo>
                    <a:pt x="321" y="356"/>
                  </a:lnTo>
                  <a:lnTo>
                    <a:pt x="321" y="356"/>
                  </a:lnTo>
                  <a:lnTo>
                    <a:pt x="309" y="356"/>
                  </a:lnTo>
                  <a:lnTo>
                    <a:pt x="309" y="356"/>
                  </a:lnTo>
                  <a:lnTo>
                    <a:pt x="297" y="356"/>
                  </a:lnTo>
                  <a:lnTo>
                    <a:pt x="297" y="356"/>
                  </a:lnTo>
                  <a:lnTo>
                    <a:pt x="285" y="356"/>
                  </a:lnTo>
                  <a:lnTo>
                    <a:pt x="285" y="356"/>
                  </a:lnTo>
                  <a:lnTo>
                    <a:pt x="274" y="356"/>
                  </a:lnTo>
                  <a:lnTo>
                    <a:pt x="274" y="356"/>
                  </a:lnTo>
                  <a:lnTo>
                    <a:pt x="262" y="356"/>
                  </a:lnTo>
                  <a:lnTo>
                    <a:pt x="262" y="356"/>
                  </a:lnTo>
                  <a:lnTo>
                    <a:pt x="250" y="356"/>
                  </a:lnTo>
                  <a:lnTo>
                    <a:pt x="250" y="356"/>
                  </a:lnTo>
                  <a:lnTo>
                    <a:pt x="243" y="356"/>
                  </a:lnTo>
                  <a:lnTo>
                    <a:pt x="238" y="356"/>
                  </a:lnTo>
                  <a:lnTo>
                    <a:pt x="238" y="356"/>
                  </a:lnTo>
                  <a:lnTo>
                    <a:pt x="238" y="351"/>
                  </a:lnTo>
                  <a:lnTo>
                    <a:pt x="238" y="344"/>
                  </a:lnTo>
                  <a:lnTo>
                    <a:pt x="238" y="344"/>
                  </a:lnTo>
                  <a:lnTo>
                    <a:pt x="231" y="344"/>
                  </a:lnTo>
                  <a:lnTo>
                    <a:pt x="227" y="344"/>
                  </a:lnTo>
                  <a:lnTo>
                    <a:pt x="227" y="344"/>
                  </a:lnTo>
                  <a:lnTo>
                    <a:pt x="227" y="356"/>
                  </a:lnTo>
                  <a:lnTo>
                    <a:pt x="227" y="356"/>
                  </a:lnTo>
                  <a:lnTo>
                    <a:pt x="215" y="356"/>
                  </a:lnTo>
                  <a:lnTo>
                    <a:pt x="215" y="356"/>
                  </a:lnTo>
                  <a:lnTo>
                    <a:pt x="203" y="356"/>
                  </a:lnTo>
                  <a:lnTo>
                    <a:pt x="203" y="356"/>
                  </a:lnTo>
                  <a:lnTo>
                    <a:pt x="191" y="356"/>
                  </a:lnTo>
                  <a:lnTo>
                    <a:pt x="191" y="356"/>
                  </a:lnTo>
                  <a:lnTo>
                    <a:pt x="179" y="356"/>
                  </a:lnTo>
                  <a:lnTo>
                    <a:pt x="179" y="356"/>
                  </a:lnTo>
                  <a:lnTo>
                    <a:pt x="165" y="356"/>
                  </a:lnTo>
                  <a:lnTo>
                    <a:pt x="165" y="356"/>
                  </a:lnTo>
                  <a:lnTo>
                    <a:pt x="153" y="356"/>
                  </a:lnTo>
                  <a:lnTo>
                    <a:pt x="153" y="356"/>
                  </a:lnTo>
                  <a:lnTo>
                    <a:pt x="130" y="356"/>
                  </a:lnTo>
                  <a:lnTo>
                    <a:pt x="130" y="356"/>
                  </a:lnTo>
                  <a:lnTo>
                    <a:pt x="118" y="356"/>
                  </a:lnTo>
                  <a:lnTo>
                    <a:pt x="118" y="356"/>
                  </a:lnTo>
                  <a:lnTo>
                    <a:pt x="95" y="356"/>
                  </a:lnTo>
                  <a:lnTo>
                    <a:pt x="95" y="356"/>
                  </a:lnTo>
                  <a:lnTo>
                    <a:pt x="0" y="356"/>
                  </a:lnTo>
                  <a:lnTo>
                    <a:pt x="0" y="356"/>
                  </a:lnTo>
                  <a:lnTo>
                    <a:pt x="0" y="379"/>
                  </a:lnTo>
                  <a:lnTo>
                    <a:pt x="0" y="379"/>
                  </a:lnTo>
                  <a:lnTo>
                    <a:pt x="0" y="391"/>
                  </a:lnTo>
                  <a:lnTo>
                    <a:pt x="0" y="391"/>
                  </a:lnTo>
                  <a:lnTo>
                    <a:pt x="0" y="415"/>
                  </a:lnTo>
                  <a:lnTo>
                    <a:pt x="0" y="415"/>
                  </a:lnTo>
                  <a:lnTo>
                    <a:pt x="0" y="429"/>
                  </a:lnTo>
                  <a:lnTo>
                    <a:pt x="0" y="429"/>
                  </a:lnTo>
                  <a:lnTo>
                    <a:pt x="0" y="452"/>
                  </a:lnTo>
                  <a:lnTo>
                    <a:pt x="0" y="452"/>
                  </a:lnTo>
                  <a:lnTo>
                    <a:pt x="0" y="476"/>
                  </a:lnTo>
                  <a:lnTo>
                    <a:pt x="0" y="476"/>
                  </a:lnTo>
                  <a:lnTo>
                    <a:pt x="12" y="476"/>
                  </a:lnTo>
                  <a:lnTo>
                    <a:pt x="12" y="476"/>
                  </a:lnTo>
                  <a:lnTo>
                    <a:pt x="36" y="476"/>
                  </a:lnTo>
                  <a:lnTo>
                    <a:pt x="36" y="476"/>
                  </a:lnTo>
                  <a:lnTo>
                    <a:pt x="83" y="476"/>
                  </a:lnTo>
                  <a:lnTo>
                    <a:pt x="83" y="476"/>
                  </a:lnTo>
                  <a:lnTo>
                    <a:pt x="106" y="476"/>
                  </a:lnTo>
                  <a:lnTo>
                    <a:pt x="106" y="476"/>
                  </a:lnTo>
                  <a:lnTo>
                    <a:pt x="118" y="476"/>
                  </a:lnTo>
                  <a:lnTo>
                    <a:pt x="118" y="476"/>
                  </a:lnTo>
                  <a:lnTo>
                    <a:pt x="142" y="476"/>
                  </a:lnTo>
                  <a:lnTo>
                    <a:pt x="142" y="476"/>
                  </a:lnTo>
                  <a:lnTo>
                    <a:pt x="165" y="476"/>
                  </a:lnTo>
                  <a:lnTo>
                    <a:pt x="165" y="476"/>
                  </a:lnTo>
                  <a:lnTo>
                    <a:pt x="179" y="476"/>
                  </a:lnTo>
                  <a:lnTo>
                    <a:pt x="179" y="476"/>
                  </a:lnTo>
                  <a:lnTo>
                    <a:pt x="203" y="476"/>
                  </a:lnTo>
                  <a:lnTo>
                    <a:pt x="203" y="476"/>
                  </a:lnTo>
                  <a:lnTo>
                    <a:pt x="215" y="476"/>
                  </a:lnTo>
                  <a:lnTo>
                    <a:pt x="215" y="476"/>
                  </a:lnTo>
                  <a:lnTo>
                    <a:pt x="238" y="476"/>
                  </a:lnTo>
                  <a:lnTo>
                    <a:pt x="238" y="476"/>
                  </a:lnTo>
                  <a:lnTo>
                    <a:pt x="250" y="476"/>
                  </a:lnTo>
                  <a:lnTo>
                    <a:pt x="250" y="476"/>
                  </a:lnTo>
                  <a:lnTo>
                    <a:pt x="274" y="476"/>
                  </a:lnTo>
                  <a:lnTo>
                    <a:pt x="274" y="476"/>
                  </a:lnTo>
                  <a:lnTo>
                    <a:pt x="285" y="476"/>
                  </a:lnTo>
                  <a:lnTo>
                    <a:pt x="285" y="476"/>
                  </a:lnTo>
                  <a:lnTo>
                    <a:pt x="309" y="476"/>
                  </a:lnTo>
                  <a:lnTo>
                    <a:pt x="309" y="476"/>
                  </a:lnTo>
                  <a:lnTo>
                    <a:pt x="321" y="476"/>
                  </a:lnTo>
                  <a:lnTo>
                    <a:pt x="321" y="476"/>
                  </a:lnTo>
                  <a:lnTo>
                    <a:pt x="344" y="476"/>
                  </a:lnTo>
                  <a:lnTo>
                    <a:pt x="344" y="476"/>
                  </a:lnTo>
                  <a:lnTo>
                    <a:pt x="356" y="476"/>
                  </a:lnTo>
                  <a:lnTo>
                    <a:pt x="356" y="476"/>
                  </a:lnTo>
                  <a:lnTo>
                    <a:pt x="380" y="476"/>
                  </a:lnTo>
                  <a:lnTo>
                    <a:pt x="380" y="476"/>
                  </a:lnTo>
                  <a:lnTo>
                    <a:pt x="391" y="476"/>
                  </a:lnTo>
                  <a:lnTo>
                    <a:pt x="391" y="476"/>
                  </a:lnTo>
                  <a:lnTo>
                    <a:pt x="441" y="476"/>
                  </a:lnTo>
                  <a:lnTo>
                    <a:pt x="441" y="476"/>
                  </a:lnTo>
                  <a:lnTo>
                    <a:pt x="453" y="476"/>
                  </a:lnTo>
                  <a:lnTo>
                    <a:pt x="453" y="476"/>
                  </a:lnTo>
                  <a:lnTo>
                    <a:pt x="476" y="476"/>
                  </a:lnTo>
                  <a:lnTo>
                    <a:pt x="476" y="476"/>
                  </a:lnTo>
                  <a:lnTo>
                    <a:pt x="488" y="476"/>
                  </a:lnTo>
                  <a:lnTo>
                    <a:pt x="488" y="476"/>
                  </a:lnTo>
                  <a:lnTo>
                    <a:pt x="512" y="476"/>
                  </a:lnTo>
                  <a:lnTo>
                    <a:pt x="512" y="476"/>
                  </a:lnTo>
                  <a:lnTo>
                    <a:pt x="523" y="476"/>
                  </a:lnTo>
                  <a:lnTo>
                    <a:pt x="523" y="476"/>
                  </a:lnTo>
                  <a:lnTo>
                    <a:pt x="547" y="476"/>
                  </a:lnTo>
                  <a:lnTo>
                    <a:pt x="547" y="476"/>
                  </a:lnTo>
                  <a:lnTo>
                    <a:pt x="559" y="476"/>
                  </a:lnTo>
                  <a:lnTo>
                    <a:pt x="559" y="476"/>
                  </a:lnTo>
                  <a:lnTo>
                    <a:pt x="582" y="476"/>
                  </a:lnTo>
                  <a:lnTo>
                    <a:pt x="582" y="476"/>
                  </a:lnTo>
                  <a:lnTo>
                    <a:pt x="594" y="476"/>
                  </a:lnTo>
                  <a:lnTo>
                    <a:pt x="594" y="476"/>
                  </a:lnTo>
                  <a:lnTo>
                    <a:pt x="618" y="476"/>
                  </a:lnTo>
                  <a:lnTo>
                    <a:pt x="618" y="476"/>
                  </a:lnTo>
                  <a:lnTo>
                    <a:pt x="629" y="476"/>
                  </a:lnTo>
                  <a:lnTo>
                    <a:pt x="629" y="476"/>
                  </a:lnTo>
                  <a:lnTo>
                    <a:pt x="653" y="476"/>
                  </a:lnTo>
                  <a:lnTo>
                    <a:pt x="653" y="476"/>
                  </a:lnTo>
                  <a:lnTo>
                    <a:pt x="667" y="476"/>
                  </a:lnTo>
                  <a:lnTo>
                    <a:pt x="667" y="476"/>
                  </a:lnTo>
                  <a:lnTo>
                    <a:pt x="714" y="476"/>
                  </a:lnTo>
                  <a:lnTo>
                    <a:pt x="714" y="476"/>
                  </a:lnTo>
                  <a:lnTo>
                    <a:pt x="726" y="476"/>
                  </a:lnTo>
                  <a:lnTo>
                    <a:pt x="726" y="476"/>
                  </a:lnTo>
                  <a:lnTo>
                    <a:pt x="750" y="476"/>
                  </a:lnTo>
                  <a:lnTo>
                    <a:pt x="750" y="476"/>
                  </a:lnTo>
                  <a:lnTo>
                    <a:pt x="761" y="476"/>
                  </a:lnTo>
                  <a:lnTo>
                    <a:pt x="761" y="476"/>
                  </a:lnTo>
                  <a:lnTo>
                    <a:pt x="785" y="476"/>
                  </a:lnTo>
                  <a:lnTo>
                    <a:pt x="785" y="476"/>
                  </a:lnTo>
                  <a:lnTo>
                    <a:pt x="797" y="476"/>
                  </a:lnTo>
                  <a:lnTo>
                    <a:pt x="797" y="476"/>
                  </a:lnTo>
                  <a:lnTo>
                    <a:pt x="820" y="476"/>
                  </a:lnTo>
                  <a:lnTo>
                    <a:pt x="820" y="476"/>
                  </a:lnTo>
                  <a:lnTo>
                    <a:pt x="832" y="476"/>
                  </a:lnTo>
                  <a:lnTo>
                    <a:pt x="832" y="476"/>
                  </a:lnTo>
                  <a:lnTo>
                    <a:pt x="856" y="476"/>
                  </a:lnTo>
                  <a:lnTo>
                    <a:pt x="856" y="476"/>
                  </a:lnTo>
                  <a:lnTo>
                    <a:pt x="867" y="476"/>
                  </a:lnTo>
                  <a:lnTo>
                    <a:pt x="867" y="476"/>
                  </a:lnTo>
                  <a:lnTo>
                    <a:pt x="891" y="476"/>
                  </a:lnTo>
                  <a:lnTo>
                    <a:pt x="891" y="476"/>
                  </a:lnTo>
                  <a:lnTo>
                    <a:pt x="903" y="476"/>
                  </a:lnTo>
                  <a:lnTo>
                    <a:pt x="903" y="476"/>
                  </a:lnTo>
                  <a:lnTo>
                    <a:pt x="929" y="476"/>
                  </a:lnTo>
                  <a:lnTo>
                    <a:pt x="929" y="476"/>
                  </a:lnTo>
                  <a:lnTo>
                    <a:pt x="940" y="476"/>
                  </a:lnTo>
                  <a:lnTo>
                    <a:pt x="940" y="476"/>
                  </a:lnTo>
                  <a:lnTo>
                    <a:pt x="988" y="476"/>
                  </a:lnTo>
                  <a:lnTo>
                    <a:pt x="988" y="476"/>
                  </a:lnTo>
                  <a:lnTo>
                    <a:pt x="999" y="476"/>
                  </a:lnTo>
                  <a:lnTo>
                    <a:pt x="999" y="476"/>
                  </a:lnTo>
                  <a:lnTo>
                    <a:pt x="1023" y="476"/>
                  </a:lnTo>
                  <a:lnTo>
                    <a:pt x="1023" y="476"/>
                  </a:lnTo>
                  <a:lnTo>
                    <a:pt x="1035" y="476"/>
                  </a:lnTo>
                  <a:lnTo>
                    <a:pt x="1035" y="476"/>
                  </a:lnTo>
                  <a:lnTo>
                    <a:pt x="1058" y="476"/>
                  </a:lnTo>
                  <a:lnTo>
                    <a:pt x="1058" y="476"/>
                  </a:lnTo>
                  <a:lnTo>
                    <a:pt x="1070" y="476"/>
                  </a:lnTo>
                  <a:lnTo>
                    <a:pt x="1070" y="476"/>
                  </a:lnTo>
                  <a:lnTo>
                    <a:pt x="1094" y="476"/>
                  </a:lnTo>
                  <a:lnTo>
                    <a:pt x="1094" y="476"/>
                  </a:lnTo>
                  <a:lnTo>
                    <a:pt x="1105" y="476"/>
                  </a:lnTo>
                  <a:lnTo>
                    <a:pt x="1105" y="476"/>
                  </a:lnTo>
                  <a:lnTo>
                    <a:pt x="1129" y="476"/>
                  </a:lnTo>
                  <a:lnTo>
                    <a:pt x="1129" y="476"/>
                  </a:lnTo>
                  <a:lnTo>
                    <a:pt x="1141" y="476"/>
                  </a:lnTo>
                  <a:lnTo>
                    <a:pt x="1141" y="476"/>
                  </a:lnTo>
                  <a:lnTo>
                    <a:pt x="1167" y="476"/>
                  </a:lnTo>
                  <a:lnTo>
                    <a:pt x="1167" y="476"/>
                  </a:lnTo>
                  <a:lnTo>
                    <a:pt x="1178" y="476"/>
                  </a:lnTo>
                  <a:lnTo>
                    <a:pt x="1178" y="476"/>
                  </a:lnTo>
                  <a:lnTo>
                    <a:pt x="1202" y="476"/>
                  </a:lnTo>
                  <a:lnTo>
                    <a:pt x="1202" y="476"/>
                  </a:lnTo>
                  <a:lnTo>
                    <a:pt x="1214" y="476"/>
                  </a:lnTo>
                  <a:lnTo>
                    <a:pt x="1214" y="476"/>
                  </a:lnTo>
                  <a:lnTo>
                    <a:pt x="1261" y="476"/>
                  </a:lnTo>
                  <a:lnTo>
                    <a:pt x="1261" y="476"/>
                  </a:lnTo>
                  <a:lnTo>
                    <a:pt x="1273" y="476"/>
                  </a:lnTo>
                  <a:lnTo>
                    <a:pt x="1273" y="476"/>
                  </a:lnTo>
                  <a:lnTo>
                    <a:pt x="1296" y="476"/>
                  </a:lnTo>
                  <a:lnTo>
                    <a:pt x="1296" y="476"/>
                  </a:lnTo>
                  <a:lnTo>
                    <a:pt x="1308" y="476"/>
                  </a:lnTo>
                  <a:lnTo>
                    <a:pt x="1308" y="476"/>
                  </a:lnTo>
                  <a:lnTo>
                    <a:pt x="1332" y="476"/>
                  </a:lnTo>
                  <a:lnTo>
                    <a:pt x="1332" y="476"/>
                  </a:lnTo>
                  <a:lnTo>
                    <a:pt x="1343" y="476"/>
                  </a:lnTo>
                  <a:lnTo>
                    <a:pt x="1343" y="476"/>
                  </a:lnTo>
                  <a:lnTo>
                    <a:pt x="1367" y="476"/>
                  </a:lnTo>
                  <a:lnTo>
                    <a:pt x="1367" y="476"/>
                  </a:lnTo>
                  <a:lnTo>
                    <a:pt x="1379" y="476"/>
                  </a:lnTo>
                  <a:lnTo>
                    <a:pt x="1379" y="476"/>
                  </a:lnTo>
                  <a:lnTo>
                    <a:pt x="1405" y="476"/>
                  </a:lnTo>
                  <a:lnTo>
                    <a:pt x="1405" y="476"/>
                  </a:lnTo>
                  <a:lnTo>
                    <a:pt x="1416" y="476"/>
                  </a:lnTo>
                  <a:lnTo>
                    <a:pt x="1416" y="476"/>
                  </a:lnTo>
                  <a:lnTo>
                    <a:pt x="1440" y="476"/>
                  </a:lnTo>
                  <a:lnTo>
                    <a:pt x="1440" y="476"/>
                  </a:lnTo>
                  <a:lnTo>
                    <a:pt x="1452" y="476"/>
                  </a:lnTo>
                  <a:lnTo>
                    <a:pt x="1452" y="476"/>
                  </a:lnTo>
                  <a:lnTo>
                    <a:pt x="1475" y="476"/>
                  </a:lnTo>
                  <a:lnTo>
                    <a:pt x="1475" y="476"/>
                  </a:lnTo>
                  <a:lnTo>
                    <a:pt x="1487" y="476"/>
                  </a:lnTo>
                  <a:lnTo>
                    <a:pt x="1487" y="476"/>
                  </a:lnTo>
                  <a:lnTo>
                    <a:pt x="1534" y="476"/>
                  </a:lnTo>
                  <a:lnTo>
                    <a:pt x="1534" y="476"/>
                  </a:lnTo>
                  <a:lnTo>
                    <a:pt x="1546" y="476"/>
                  </a:lnTo>
                  <a:lnTo>
                    <a:pt x="1546" y="476"/>
                  </a:lnTo>
                  <a:lnTo>
                    <a:pt x="1570" y="476"/>
                  </a:lnTo>
                  <a:lnTo>
                    <a:pt x="1570" y="476"/>
                  </a:lnTo>
                  <a:lnTo>
                    <a:pt x="1581" y="476"/>
                  </a:lnTo>
                  <a:lnTo>
                    <a:pt x="1581" y="476"/>
                  </a:lnTo>
                  <a:lnTo>
                    <a:pt x="1605" y="476"/>
                  </a:lnTo>
                  <a:lnTo>
                    <a:pt x="1605" y="476"/>
                  </a:lnTo>
                  <a:lnTo>
                    <a:pt x="1617" y="476"/>
                  </a:lnTo>
                  <a:lnTo>
                    <a:pt x="1617" y="476"/>
                  </a:lnTo>
                  <a:lnTo>
                    <a:pt x="1643" y="476"/>
                  </a:lnTo>
                  <a:lnTo>
                    <a:pt x="1643" y="476"/>
                  </a:lnTo>
                  <a:lnTo>
                    <a:pt x="1654" y="476"/>
                  </a:lnTo>
                  <a:lnTo>
                    <a:pt x="1654" y="476"/>
                  </a:lnTo>
                  <a:lnTo>
                    <a:pt x="1678" y="476"/>
                  </a:lnTo>
                  <a:lnTo>
                    <a:pt x="1678" y="476"/>
                  </a:lnTo>
                  <a:lnTo>
                    <a:pt x="1690" y="476"/>
                  </a:lnTo>
                  <a:lnTo>
                    <a:pt x="1690" y="476"/>
                  </a:lnTo>
                  <a:lnTo>
                    <a:pt x="1713" y="476"/>
                  </a:lnTo>
                  <a:lnTo>
                    <a:pt x="1713" y="476"/>
                  </a:lnTo>
                  <a:lnTo>
                    <a:pt x="1725" y="476"/>
                  </a:lnTo>
                  <a:lnTo>
                    <a:pt x="1725" y="476"/>
                  </a:lnTo>
                  <a:lnTo>
                    <a:pt x="1749" y="476"/>
                  </a:lnTo>
                  <a:lnTo>
                    <a:pt x="1749" y="476"/>
                  </a:lnTo>
                  <a:lnTo>
                    <a:pt x="1760" y="476"/>
                  </a:lnTo>
                  <a:lnTo>
                    <a:pt x="1760" y="476"/>
                  </a:lnTo>
                  <a:lnTo>
                    <a:pt x="1808" y="476"/>
                  </a:lnTo>
                  <a:lnTo>
                    <a:pt x="1808" y="476"/>
                  </a:lnTo>
                  <a:lnTo>
                    <a:pt x="1819" y="476"/>
                  </a:lnTo>
                  <a:lnTo>
                    <a:pt x="1819" y="476"/>
                  </a:lnTo>
                  <a:lnTo>
                    <a:pt x="1843" y="476"/>
                  </a:lnTo>
                  <a:lnTo>
                    <a:pt x="1843" y="476"/>
                  </a:lnTo>
                  <a:lnTo>
                    <a:pt x="1855" y="476"/>
                  </a:lnTo>
                  <a:lnTo>
                    <a:pt x="1855" y="476"/>
                  </a:lnTo>
                  <a:lnTo>
                    <a:pt x="1878" y="476"/>
                  </a:lnTo>
                  <a:lnTo>
                    <a:pt x="1878" y="476"/>
                  </a:lnTo>
                  <a:lnTo>
                    <a:pt x="1892" y="476"/>
                  </a:lnTo>
                  <a:lnTo>
                    <a:pt x="1892" y="476"/>
                  </a:lnTo>
                  <a:lnTo>
                    <a:pt x="1916" y="476"/>
                  </a:lnTo>
                  <a:lnTo>
                    <a:pt x="1916" y="476"/>
                  </a:lnTo>
                  <a:lnTo>
                    <a:pt x="1928" y="476"/>
                  </a:lnTo>
                  <a:lnTo>
                    <a:pt x="1928" y="476"/>
                  </a:lnTo>
                  <a:lnTo>
                    <a:pt x="1951" y="476"/>
                  </a:lnTo>
                  <a:lnTo>
                    <a:pt x="1951" y="476"/>
                  </a:lnTo>
                  <a:lnTo>
                    <a:pt x="1963" y="476"/>
                  </a:lnTo>
                  <a:lnTo>
                    <a:pt x="1963" y="476"/>
                  </a:lnTo>
                  <a:lnTo>
                    <a:pt x="1987" y="476"/>
                  </a:lnTo>
                  <a:lnTo>
                    <a:pt x="1987" y="476"/>
                  </a:lnTo>
                  <a:lnTo>
                    <a:pt x="1998" y="476"/>
                  </a:lnTo>
                  <a:lnTo>
                    <a:pt x="1998" y="476"/>
                  </a:lnTo>
                  <a:lnTo>
                    <a:pt x="2022" y="476"/>
                  </a:lnTo>
                  <a:lnTo>
                    <a:pt x="2022" y="476"/>
                  </a:lnTo>
                  <a:lnTo>
                    <a:pt x="2034" y="476"/>
                  </a:lnTo>
                  <a:lnTo>
                    <a:pt x="2034" y="476"/>
                  </a:lnTo>
                  <a:lnTo>
                    <a:pt x="2081" y="476"/>
                  </a:lnTo>
                  <a:lnTo>
                    <a:pt x="2081" y="476"/>
                  </a:lnTo>
                  <a:lnTo>
                    <a:pt x="2093" y="476"/>
                  </a:lnTo>
                  <a:lnTo>
                    <a:pt x="2093" y="476"/>
                  </a:lnTo>
                  <a:lnTo>
                    <a:pt x="2116" y="476"/>
                  </a:lnTo>
                  <a:lnTo>
                    <a:pt x="2116" y="476"/>
                  </a:lnTo>
                  <a:lnTo>
                    <a:pt x="2130" y="476"/>
                  </a:lnTo>
                  <a:lnTo>
                    <a:pt x="2130" y="476"/>
                  </a:lnTo>
                  <a:lnTo>
                    <a:pt x="2154" y="476"/>
                  </a:lnTo>
                  <a:lnTo>
                    <a:pt x="2154" y="476"/>
                  </a:lnTo>
                  <a:lnTo>
                    <a:pt x="2166" y="476"/>
                  </a:lnTo>
                  <a:lnTo>
                    <a:pt x="2166" y="476"/>
                  </a:lnTo>
                  <a:lnTo>
                    <a:pt x="2189" y="476"/>
                  </a:lnTo>
                  <a:lnTo>
                    <a:pt x="2189" y="476"/>
                  </a:lnTo>
                  <a:lnTo>
                    <a:pt x="2201" y="476"/>
                  </a:lnTo>
                  <a:lnTo>
                    <a:pt x="2201" y="476"/>
                  </a:lnTo>
                  <a:lnTo>
                    <a:pt x="2225" y="476"/>
                  </a:lnTo>
                  <a:lnTo>
                    <a:pt x="2225" y="476"/>
                  </a:lnTo>
                  <a:lnTo>
                    <a:pt x="2236" y="476"/>
                  </a:lnTo>
                  <a:lnTo>
                    <a:pt x="2236" y="476"/>
                  </a:lnTo>
                  <a:lnTo>
                    <a:pt x="2260" y="476"/>
                  </a:lnTo>
                  <a:lnTo>
                    <a:pt x="2260" y="476"/>
                  </a:lnTo>
                  <a:lnTo>
                    <a:pt x="2272" y="476"/>
                  </a:lnTo>
                  <a:lnTo>
                    <a:pt x="2272" y="476"/>
                  </a:lnTo>
                  <a:lnTo>
                    <a:pt x="2295" y="476"/>
                  </a:lnTo>
                  <a:lnTo>
                    <a:pt x="2295" y="476"/>
                  </a:lnTo>
                  <a:lnTo>
                    <a:pt x="2307" y="476"/>
                  </a:lnTo>
                  <a:lnTo>
                    <a:pt x="2307" y="476"/>
                  </a:lnTo>
                  <a:lnTo>
                    <a:pt x="2331" y="476"/>
                  </a:lnTo>
                  <a:lnTo>
                    <a:pt x="2331" y="226"/>
                  </a:lnTo>
                  <a:close/>
                </a:path>
              </a:pathLst>
            </a:custGeom>
            <a:grpFill/>
            <a:ln>
              <a:noFill/>
            </a:ln>
          </p:spPr>
          <p:txBody>
            <a:bodyPr vert="horz" wrap="square" lIns="91440" tIns="45720" rIns="91440" bIns="45720" numCol="1" anchor="t" anchorCtr="0" compatLnSpc="1"/>
            <a:lstStyle/>
            <a:p>
              <a:endParaRPr lang="en-US" dirty="0"/>
            </a:p>
          </p:txBody>
        </p:sp>
      </p:grpSp>
      <p:sp>
        <p:nvSpPr>
          <p:cNvPr id="2" name="Title 1"/>
          <p:cNvSpPr>
            <a:spLocks noGrp="1"/>
          </p:cNvSpPr>
          <p:nvPr>
            <p:ph type="title"/>
          </p:nvPr>
        </p:nvSpPr>
        <p:spPr>
          <a:xfrm>
            <a:off x="838200" y="4076217"/>
            <a:ext cx="10515600" cy="1325563"/>
          </a:xfrm>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showMasterSp="0" userDrawn="1">
  <p:cSld name="9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showMasterSp="0" userDrawn="1">
  <p:cSld name="8_Title Only">
    <p:spTree>
      <p:nvGrpSpPr>
        <p:cNvPr id="1" name=""/>
        <p:cNvGrpSpPr/>
        <p:nvPr/>
      </p:nvGrpSpPr>
      <p:grpSpPr>
        <a:xfrm>
          <a:off x="0" y="0"/>
          <a:ext cx="0" cy="0"/>
          <a:chOff x="0" y="0"/>
          <a:chExt cx="0" cy="0"/>
        </a:xfrm>
      </p:grpSpPr>
      <p:sp>
        <p:nvSpPr>
          <p:cNvPr id="10" name="Picture Placeholder 5"/>
          <p:cNvSpPr>
            <a:spLocks noGrp="1"/>
          </p:cNvSpPr>
          <p:nvPr>
            <p:ph type="pic" sz="quarter" idx="13"/>
          </p:nvPr>
        </p:nvSpPr>
        <p:spPr>
          <a:xfrm>
            <a:off x="0" y="0"/>
            <a:ext cx="12192000" cy="6858000"/>
          </a:xfrm>
        </p:spPr>
        <p:txBody>
          <a:bodyPr>
            <a:normAutofit/>
          </a:bodyPr>
          <a:lstStyle>
            <a:lvl1pPr marL="0" indent="0">
              <a:buNone/>
              <a:defRPr sz="2000">
                <a:solidFill>
                  <a:schemeClr val="bg1">
                    <a:lumMod val="65000"/>
                  </a:schemeClr>
                </a:solidFill>
              </a:defRPr>
            </a:lvl1pPr>
          </a:lstStyle>
          <a:p>
            <a:endParaRPr lang="en-US"/>
          </a:p>
        </p:txBody>
      </p:sp>
      <p:sp>
        <p:nvSpPr>
          <p:cNvPr id="11" name="Picture Placeholder 5"/>
          <p:cNvSpPr>
            <a:spLocks noGrp="1"/>
          </p:cNvSpPr>
          <p:nvPr>
            <p:ph type="pic" sz="quarter" idx="14"/>
          </p:nvPr>
        </p:nvSpPr>
        <p:spPr>
          <a:xfrm>
            <a:off x="6229627" y="1908717"/>
            <a:ext cx="5004430" cy="1560197"/>
          </a:xfrm>
        </p:spPr>
        <p:txBody>
          <a:bodyPr>
            <a:normAutofit/>
          </a:bodyPr>
          <a:lstStyle>
            <a:lvl1pPr marL="0" indent="0">
              <a:buNone/>
              <a:defRPr sz="20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showMasterSp="0" userDrawn="1">
  <p:cSld name="4_Title Only">
    <p:spTree>
      <p:nvGrpSpPr>
        <p:cNvPr id="1" name=""/>
        <p:cNvGrpSpPr/>
        <p:nvPr/>
      </p:nvGrpSpPr>
      <p:grpSpPr>
        <a:xfrm>
          <a:off x="0" y="0"/>
          <a:ext cx="0" cy="0"/>
          <a:chOff x="0" y="0"/>
          <a:chExt cx="0" cy="0"/>
        </a:xfrm>
      </p:grpSpPr>
      <p:sp>
        <p:nvSpPr>
          <p:cNvPr id="9" name="Content Placeholder 2"/>
          <p:cNvSpPr>
            <a:spLocks noGrp="1"/>
          </p:cNvSpPr>
          <p:nvPr>
            <p:ph idx="1"/>
          </p:nvPr>
        </p:nvSpPr>
        <p:spPr>
          <a:xfrm>
            <a:off x="0" y="1493420"/>
            <a:ext cx="12192000" cy="3871161"/>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showMasterSp="0">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flipH="1">
            <a:off x="11082199" y="-141204"/>
            <a:ext cx="1197076" cy="506329"/>
            <a:chOff x="-110315" y="-141204"/>
            <a:chExt cx="1656388" cy="700605"/>
          </a:xfrm>
        </p:grpSpPr>
        <p:sp>
          <p:nvSpPr>
            <p:cNvPr id="19" name="Freeform 18"/>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showMasterSp="0" userDrawn="1">
  <p:cSld name="51_Title Only">
    <p:spTree>
      <p:nvGrpSpPr>
        <p:cNvPr id="1" name=""/>
        <p:cNvGrpSpPr/>
        <p:nvPr/>
      </p:nvGrpSpPr>
      <p:grpSpPr>
        <a:xfrm>
          <a:off x="0" y="0"/>
          <a:ext cx="0" cy="0"/>
          <a:chOff x="0" y="0"/>
          <a:chExt cx="0" cy="0"/>
        </a:xfrm>
      </p:grpSpPr>
      <p:sp>
        <p:nvSpPr>
          <p:cNvPr id="12" name="Picture Placeholder 11"/>
          <p:cNvSpPr>
            <a:spLocks noGrp="1"/>
          </p:cNvSpPr>
          <p:nvPr>
            <p:ph type="pic" sz="quarter" idx="14"/>
          </p:nvPr>
        </p:nvSpPr>
        <p:spPr>
          <a:xfrm>
            <a:off x="0" y="255363"/>
            <a:ext cx="6896457" cy="6519960"/>
          </a:xfrm>
          <a:prstGeom prst="ellipse">
            <a:avLst/>
          </a:prstGeom>
          <a:noFill/>
        </p:spPr>
        <p:txBody>
          <a:bodyPr wrap="square">
            <a:noAutofit/>
          </a:bodyPr>
          <a:lstStyle>
            <a:lvl1pPr marL="0" indent="0">
              <a:buNone/>
              <a:defRPr sz="20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flipH="1">
            <a:off x="11082199" y="-141204"/>
            <a:ext cx="1197076" cy="506329"/>
            <a:chOff x="-110315" y="-141204"/>
            <a:chExt cx="1656388" cy="700605"/>
          </a:xfrm>
        </p:grpSpPr>
        <p:sp>
          <p:nvSpPr>
            <p:cNvPr id="19" name="Freeform 18"/>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showMasterSp="0"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userDrawn="1"/>
        </p:nvGrpSpPr>
        <p:grpSpPr>
          <a:xfrm flipH="1">
            <a:off x="5497462" y="-141204"/>
            <a:ext cx="1197076" cy="506329"/>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showMasterSp="0" userDrawn="1">
  <p:cSld name="60_Title Only">
    <p:spTree>
      <p:nvGrpSpPr>
        <p:cNvPr id="1" name=""/>
        <p:cNvGrpSpPr/>
        <p:nvPr/>
      </p:nvGrpSpPr>
      <p:grpSpPr>
        <a:xfrm>
          <a:off x="0" y="0"/>
          <a:ext cx="0" cy="0"/>
          <a:chOff x="0" y="0"/>
          <a:chExt cx="0" cy="0"/>
        </a:xfrm>
      </p:grpSpPr>
      <p:sp>
        <p:nvSpPr>
          <p:cNvPr id="19" name="Picture Placeholder 5"/>
          <p:cNvSpPr>
            <a:spLocks noGrp="1"/>
          </p:cNvSpPr>
          <p:nvPr>
            <p:ph type="pic" sz="quarter" idx="15"/>
          </p:nvPr>
        </p:nvSpPr>
        <p:spPr>
          <a:xfrm>
            <a:off x="0" y="0"/>
            <a:ext cx="12192000" cy="6858000"/>
          </a:xfrm>
        </p:spPr>
        <p:txBody>
          <a:bodyPr>
            <a:normAutofit/>
          </a:bodyPr>
          <a:lstStyle>
            <a:lvl1pPr marL="0" indent="0">
              <a:buNone/>
              <a:defRPr sz="20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lgn="ct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userDrawn="1"/>
        </p:nvGrpSpPr>
        <p:grpSpPr>
          <a:xfrm flipH="1">
            <a:off x="5497462" y="-141204"/>
            <a:ext cx="1197076" cy="506329"/>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2" name="Picture Placeholder 21"/>
          <p:cNvSpPr>
            <a:spLocks noGrp="1"/>
          </p:cNvSpPr>
          <p:nvPr>
            <p:ph type="pic" sz="quarter" idx="16"/>
          </p:nvPr>
        </p:nvSpPr>
        <p:spPr>
          <a:xfrm>
            <a:off x="4647582" y="1817612"/>
            <a:ext cx="2896837" cy="2904407"/>
          </a:xfrm>
          <a:custGeom>
            <a:avLst/>
            <a:gdLst>
              <a:gd name="connsiteX0" fmla="*/ 1452040 w 2896837"/>
              <a:gd name="connsiteY0" fmla="*/ 0 h 2904407"/>
              <a:gd name="connsiteX1" fmla="*/ 2476393 w 2896837"/>
              <a:gd name="connsiteY1" fmla="*/ 424366 h 2904407"/>
              <a:gd name="connsiteX2" fmla="*/ 2896837 w 2896837"/>
              <a:gd name="connsiteY2" fmla="*/ 1448977 h 2904407"/>
              <a:gd name="connsiteX3" fmla="*/ 2476393 w 2896837"/>
              <a:gd name="connsiteY3" fmla="*/ 2473049 h 2904407"/>
              <a:gd name="connsiteX4" fmla="*/ 1448821 w 2896837"/>
              <a:gd name="connsiteY4" fmla="*/ 2904407 h 2904407"/>
              <a:gd name="connsiteX5" fmla="*/ 427820 w 2896837"/>
              <a:gd name="connsiteY5" fmla="*/ 2473049 h 2904407"/>
              <a:gd name="connsiteX6" fmla="*/ 0 w 2896837"/>
              <a:gd name="connsiteY6" fmla="*/ 1446556 h 2904407"/>
              <a:gd name="connsiteX7" fmla="*/ 427820 w 2896837"/>
              <a:gd name="connsiteY7" fmla="*/ 424366 h 2904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6837" h="2904407">
                <a:moveTo>
                  <a:pt x="1452040" y="0"/>
                </a:moveTo>
                <a:lnTo>
                  <a:pt x="2476393" y="424366"/>
                </a:lnTo>
                <a:lnTo>
                  <a:pt x="2896837" y="1448977"/>
                </a:lnTo>
                <a:lnTo>
                  <a:pt x="2476393" y="2473049"/>
                </a:lnTo>
                <a:lnTo>
                  <a:pt x="1448821" y="2904407"/>
                </a:lnTo>
                <a:lnTo>
                  <a:pt x="427820" y="2473049"/>
                </a:lnTo>
                <a:lnTo>
                  <a:pt x="0" y="1446556"/>
                </a:lnTo>
                <a:lnTo>
                  <a:pt x="427820" y="424366"/>
                </a:lnTo>
                <a:close/>
              </a:path>
            </a:pathLst>
          </a:custGeom>
        </p:spPr>
        <p:txBody>
          <a:bodyPr wrap="square">
            <a:noAutofit/>
          </a:bodyPr>
          <a:lstStyle>
            <a:lvl1pPr marL="0" indent="0">
              <a:buNone/>
              <a:defRPr sz="2000">
                <a:solidFill>
                  <a:schemeClr val="bg1">
                    <a:lumMod val="65000"/>
                  </a:schemeClr>
                </a:solidFill>
              </a:defRPr>
            </a:lvl1pPr>
          </a:lstStyle>
          <a:p>
            <a:endParaRPr lang="en-US"/>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showMasterSp="0" userDrawn="1">
  <p:cSld name="58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userDrawn="1"/>
        </p:nvGrpSpPr>
        <p:grpSpPr>
          <a:xfrm flipH="1">
            <a:off x="5497462" y="-141204"/>
            <a:ext cx="1197076" cy="506329"/>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1" name="Oval 10"/>
          <p:cNvSpPr/>
          <p:nvPr userDrawn="1"/>
        </p:nvSpPr>
        <p:spPr>
          <a:xfrm>
            <a:off x="6319050" y="4899185"/>
            <a:ext cx="3305200" cy="734021"/>
          </a:xfrm>
          <a:prstGeom prst="ellipse">
            <a:avLst/>
          </a:prstGeom>
          <a:gradFill flip="none" rotWithShape="1">
            <a:gsLst>
              <a:gs pos="0">
                <a:schemeClr val="tx2">
                  <a:lumMod val="75000"/>
                </a:schemeClr>
              </a:gs>
              <a:gs pos="100000">
                <a:schemeClr val="bg1">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sp>
        <p:nvSpPr>
          <p:cNvPr id="12" name="Oval 11"/>
          <p:cNvSpPr/>
          <p:nvPr userDrawn="1"/>
        </p:nvSpPr>
        <p:spPr>
          <a:xfrm>
            <a:off x="3019412" y="4908130"/>
            <a:ext cx="3305200" cy="734021"/>
          </a:xfrm>
          <a:prstGeom prst="ellipse">
            <a:avLst/>
          </a:prstGeom>
          <a:gradFill flip="none" rotWithShape="1">
            <a:gsLst>
              <a:gs pos="0">
                <a:schemeClr val="tx2">
                  <a:lumMod val="75000"/>
                </a:schemeClr>
              </a:gs>
              <a:gs pos="100000">
                <a:schemeClr val="bg1">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sp>
        <p:nvSpPr>
          <p:cNvPr id="19" name="Block Arc 18"/>
          <p:cNvSpPr/>
          <p:nvPr userDrawn="1"/>
        </p:nvSpPr>
        <p:spPr>
          <a:xfrm rot="8100000">
            <a:off x="3071296" y="2195614"/>
            <a:ext cx="3106302" cy="3106302"/>
          </a:xfrm>
          <a:prstGeom prst="blockArc">
            <a:avLst>
              <a:gd name="adj1" fmla="val 5306531"/>
              <a:gd name="adj2" fmla="val 21527698"/>
              <a:gd name="adj3" fmla="val 5564"/>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Oval 19"/>
          <p:cNvSpPr/>
          <p:nvPr userDrawn="1"/>
        </p:nvSpPr>
        <p:spPr>
          <a:xfrm>
            <a:off x="3205302" y="2302683"/>
            <a:ext cx="2811961" cy="2811961"/>
          </a:xfrm>
          <a:prstGeom prst="ellipse">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Block Arc 22"/>
          <p:cNvSpPr/>
          <p:nvPr userDrawn="1"/>
        </p:nvSpPr>
        <p:spPr>
          <a:xfrm rot="18900000">
            <a:off x="6256392" y="2195614"/>
            <a:ext cx="3106302" cy="3106302"/>
          </a:xfrm>
          <a:prstGeom prst="blockArc">
            <a:avLst>
              <a:gd name="adj1" fmla="val 5306531"/>
              <a:gd name="adj2" fmla="val 21527698"/>
              <a:gd name="adj3" fmla="val 5564"/>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Oval 23"/>
          <p:cNvSpPr/>
          <p:nvPr userDrawn="1"/>
        </p:nvSpPr>
        <p:spPr>
          <a:xfrm>
            <a:off x="6390398" y="2302683"/>
            <a:ext cx="2811961" cy="2811961"/>
          </a:xfrm>
          <a:prstGeom prst="ellipse">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Picture Placeholder 5"/>
          <p:cNvSpPr>
            <a:spLocks noGrp="1"/>
          </p:cNvSpPr>
          <p:nvPr>
            <p:ph type="pic" sz="quarter" idx="15"/>
          </p:nvPr>
        </p:nvSpPr>
        <p:spPr>
          <a:xfrm>
            <a:off x="3333118" y="2428383"/>
            <a:ext cx="2556329" cy="2558444"/>
          </a:xfrm>
          <a:prstGeom prst="ellipse">
            <a:avLst/>
          </a:prstGeom>
          <a:noFill/>
        </p:spPr>
        <p:txBody>
          <a:bodyPr>
            <a:normAutofit/>
          </a:bodyPr>
          <a:lstStyle>
            <a:lvl1pPr marL="0" indent="0">
              <a:buNone/>
              <a:defRPr sz="2000">
                <a:solidFill>
                  <a:schemeClr val="bg1">
                    <a:lumMod val="65000"/>
                  </a:schemeClr>
                </a:solidFill>
              </a:defRPr>
            </a:lvl1pPr>
          </a:lstStyle>
          <a:p>
            <a:endParaRPr lang="en-US" dirty="0"/>
          </a:p>
        </p:txBody>
      </p:sp>
      <p:sp>
        <p:nvSpPr>
          <p:cNvPr id="27" name="Picture Placeholder 5"/>
          <p:cNvSpPr>
            <a:spLocks noGrp="1"/>
          </p:cNvSpPr>
          <p:nvPr>
            <p:ph type="pic" sz="quarter" idx="16"/>
          </p:nvPr>
        </p:nvSpPr>
        <p:spPr>
          <a:xfrm>
            <a:off x="6510502" y="2428383"/>
            <a:ext cx="2556329" cy="2558444"/>
          </a:xfrm>
          <a:prstGeom prst="ellipse">
            <a:avLst/>
          </a:prstGeom>
          <a:noFill/>
        </p:spPr>
        <p:txBody>
          <a:bodyPr>
            <a:normAutofit/>
          </a:bodyPr>
          <a:lstStyle>
            <a:lvl1pPr marL="0" indent="0">
              <a:buNone/>
              <a:defRPr sz="2000">
                <a:solidFill>
                  <a:schemeClr val="bg1">
                    <a:lumMod val="65000"/>
                  </a:schemeClr>
                </a:solidFill>
              </a:defRPr>
            </a:lvl1pPr>
          </a:lstStyle>
          <a:p>
            <a:endParaRPr lang="en-US" dirty="0"/>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showMasterSp="0" userDrawn="1">
  <p:cSld name="55_Title Only">
    <p:spTree>
      <p:nvGrpSpPr>
        <p:cNvPr id="1" name=""/>
        <p:cNvGrpSpPr/>
        <p:nvPr/>
      </p:nvGrpSpPr>
      <p:grpSpPr>
        <a:xfrm>
          <a:off x="0" y="0"/>
          <a:ext cx="0" cy="0"/>
          <a:chOff x="0" y="0"/>
          <a:chExt cx="0" cy="0"/>
        </a:xfrm>
      </p:grpSpPr>
      <p:sp>
        <p:nvSpPr>
          <p:cNvPr id="20" name="Picture Placeholder 5"/>
          <p:cNvSpPr>
            <a:spLocks noGrp="1"/>
          </p:cNvSpPr>
          <p:nvPr>
            <p:ph type="pic" sz="quarter" idx="15"/>
          </p:nvPr>
        </p:nvSpPr>
        <p:spPr>
          <a:xfrm>
            <a:off x="1579809" y="4049892"/>
            <a:ext cx="2801821" cy="1820242"/>
          </a:xfrm>
        </p:spPr>
        <p:txBody>
          <a:bodyPr>
            <a:normAutofit/>
          </a:bodyPr>
          <a:lstStyle>
            <a:lvl1pPr marL="0" indent="0">
              <a:buNone/>
              <a:defRPr sz="2000">
                <a:solidFill>
                  <a:schemeClr val="bg1">
                    <a:lumMod val="65000"/>
                  </a:schemeClr>
                </a:solidFill>
              </a:defRPr>
            </a:lvl1pPr>
          </a:lstStyle>
          <a:p>
            <a:endParaRPr lang="en-US"/>
          </a:p>
        </p:txBody>
      </p:sp>
      <p:sp>
        <p:nvSpPr>
          <p:cNvPr id="22" name="Picture Placeholder 5"/>
          <p:cNvSpPr>
            <a:spLocks noGrp="1"/>
          </p:cNvSpPr>
          <p:nvPr>
            <p:ph type="pic" sz="quarter" idx="16"/>
          </p:nvPr>
        </p:nvSpPr>
        <p:spPr>
          <a:xfrm>
            <a:off x="4731768" y="4049892"/>
            <a:ext cx="2801821" cy="1820242"/>
          </a:xfrm>
        </p:spPr>
        <p:txBody>
          <a:bodyPr>
            <a:normAutofit/>
          </a:bodyPr>
          <a:lstStyle>
            <a:lvl1pPr marL="0" indent="0">
              <a:buNone/>
              <a:defRPr sz="2000">
                <a:solidFill>
                  <a:schemeClr val="bg1">
                    <a:lumMod val="65000"/>
                  </a:schemeClr>
                </a:solidFill>
              </a:defRPr>
            </a:lvl1pPr>
          </a:lstStyle>
          <a:p>
            <a:endParaRPr lang="en-US"/>
          </a:p>
        </p:txBody>
      </p:sp>
      <p:sp>
        <p:nvSpPr>
          <p:cNvPr id="23" name="Picture Placeholder 5"/>
          <p:cNvSpPr>
            <a:spLocks noGrp="1"/>
          </p:cNvSpPr>
          <p:nvPr>
            <p:ph type="pic" sz="quarter" idx="17"/>
          </p:nvPr>
        </p:nvSpPr>
        <p:spPr>
          <a:xfrm>
            <a:off x="7868745" y="4049892"/>
            <a:ext cx="2801821" cy="1820242"/>
          </a:xfrm>
        </p:spPr>
        <p:txBody>
          <a:bodyPr>
            <a:normAutofit/>
          </a:bodyPr>
          <a:lstStyle>
            <a:lvl1pPr marL="0" indent="0">
              <a:buNone/>
              <a:defRPr sz="20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lgn="ct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userDrawn="1"/>
        </p:nvGrpSpPr>
        <p:grpSpPr>
          <a:xfrm flipH="1">
            <a:off x="5497462" y="-141204"/>
            <a:ext cx="1197076" cy="506329"/>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showMasterSp="0" userDrawn="1">
  <p:cSld name="5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userDrawn="1"/>
        </p:nvGrpSpPr>
        <p:grpSpPr>
          <a:xfrm flipH="1">
            <a:off x="5497462" y="-141204"/>
            <a:ext cx="1197076" cy="506329"/>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1" name="Rounded Rectangle 10"/>
          <p:cNvSpPr/>
          <p:nvPr userDrawn="1"/>
        </p:nvSpPr>
        <p:spPr>
          <a:xfrm>
            <a:off x="935725" y="1974153"/>
            <a:ext cx="2286000" cy="3817048"/>
          </a:xfrm>
          <a:prstGeom prst="roundRect">
            <a:avLst>
              <a:gd name="adj" fmla="val 357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a typeface="Roboto" panose="02000000000000000000" pitchFamily="2" charset="0"/>
            </a:endParaRPr>
          </a:p>
        </p:txBody>
      </p:sp>
      <p:sp>
        <p:nvSpPr>
          <p:cNvPr id="12" name="Rounded Rectangle 11"/>
          <p:cNvSpPr/>
          <p:nvPr userDrawn="1"/>
        </p:nvSpPr>
        <p:spPr>
          <a:xfrm>
            <a:off x="3613908" y="1974153"/>
            <a:ext cx="2286000" cy="3817048"/>
          </a:xfrm>
          <a:prstGeom prst="roundRect">
            <a:avLst>
              <a:gd name="adj" fmla="val 357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a typeface="Roboto" panose="02000000000000000000" pitchFamily="2" charset="0"/>
            </a:endParaRPr>
          </a:p>
        </p:txBody>
      </p:sp>
      <p:sp>
        <p:nvSpPr>
          <p:cNvPr id="19" name="Rounded Rectangle 18"/>
          <p:cNvSpPr/>
          <p:nvPr userDrawn="1"/>
        </p:nvSpPr>
        <p:spPr>
          <a:xfrm>
            <a:off x="6292091" y="1974153"/>
            <a:ext cx="2286000" cy="3817048"/>
          </a:xfrm>
          <a:prstGeom prst="roundRect">
            <a:avLst>
              <a:gd name="adj" fmla="val 357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a typeface="Roboto" panose="02000000000000000000" pitchFamily="2" charset="0"/>
            </a:endParaRPr>
          </a:p>
        </p:txBody>
      </p:sp>
      <p:sp>
        <p:nvSpPr>
          <p:cNvPr id="20" name="Rounded Rectangle 19"/>
          <p:cNvSpPr/>
          <p:nvPr userDrawn="1"/>
        </p:nvSpPr>
        <p:spPr>
          <a:xfrm>
            <a:off x="8970274" y="1974153"/>
            <a:ext cx="2286000" cy="3817048"/>
          </a:xfrm>
          <a:prstGeom prst="roundRect">
            <a:avLst>
              <a:gd name="adj" fmla="val 357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a typeface="Roboto" panose="02000000000000000000" pitchFamily="2" charset="0"/>
            </a:endParaRPr>
          </a:p>
        </p:txBody>
      </p:sp>
      <p:sp>
        <p:nvSpPr>
          <p:cNvPr id="22" name="Rectangle 21"/>
          <p:cNvSpPr/>
          <p:nvPr userDrawn="1"/>
        </p:nvSpPr>
        <p:spPr>
          <a:xfrm>
            <a:off x="935726" y="4623826"/>
            <a:ext cx="2286000" cy="6400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a typeface="Roboto" panose="02000000000000000000" pitchFamily="2" charset="0"/>
            </a:endParaRPr>
          </a:p>
        </p:txBody>
      </p:sp>
      <p:sp>
        <p:nvSpPr>
          <p:cNvPr id="23" name="Rectangle 22"/>
          <p:cNvSpPr/>
          <p:nvPr userDrawn="1"/>
        </p:nvSpPr>
        <p:spPr>
          <a:xfrm>
            <a:off x="3613909" y="4623826"/>
            <a:ext cx="2286000" cy="640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a typeface="Roboto" panose="02000000000000000000" pitchFamily="2" charset="0"/>
            </a:endParaRPr>
          </a:p>
        </p:txBody>
      </p:sp>
      <p:sp>
        <p:nvSpPr>
          <p:cNvPr id="24" name="Rectangle 23"/>
          <p:cNvSpPr/>
          <p:nvPr userDrawn="1"/>
        </p:nvSpPr>
        <p:spPr>
          <a:xfrm>
            <a:off x="6292092" y="4623826"/>
            <a:ext cx="2286000" cy="6400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a typeface="Roboto" panose="02000000000000000000" pitchFamily="2" charset="0"/>
            </a:endParaRPr>
          </a:p>
        </p:txBody>
      </p:sp>
      <p:sp>
        <p:nvSpPr>
          <p:cNvPr id="25" name="Rectangle 24"/>
          <p:cNvSpPr/>
          <p:nvPr userDrawn="1"/>
        </p:nvSpPr>
        <p:spPr>
          <a:xfrm>
            <a:off x="8970275" y="4623826"/>
            <a:ext cx="2286000" cy="64008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pitchFamily="2" charset="0"/>
              <a:ea typeface="Roboto" panose="02000000000000000000" pitchFamily="2" charset="0"/>
            </a:endParaRPr>
          </a:p>
        </p:txBody>
      </p:sp>
      <p:sp>
        <p:nvSpPr>
          <p:cNvPr id="30" name="Picture Placeholder 5"/>
          <p:cNvSpPr>
            <a:spLocks noGrp="1"/>
          </p:cNvSpPr>
          <p:nvPr>
            <p:ph type="pic" sz="quarter" idx="15"/>
          </p:nvPr>
        </p:nvSpPr>
        <p:spPr>
          <a:xfrm>
            <a:off x="935725" y="2296269"/>
            <a:ext cx="2285999" cy="1630794"/>
          </a:xfrm>
        </p:spPr>
        <p:txBody>
          <a:bodyPr>
            <a:normAutofit/>
          </a:bodyPr>
          <a:lstStyle>
            <a:lvl1pPr marL="0" indent="0">
              <a:buNone/>
              <a:defRPr sz="2000">
                <a:solidFill>
                  <a:schemeClr val="bg1">
                    <a:lumMod val="65000"/>
                  </a:schemeClr>
                </a:solidFill>
              </a:defRPr>
            </a:lvl1pPr>
          </a:lstStyle>
          <a:p>
            <a:endParaRPr lang="en-US"/>
          </a:p>
        </p:txBody>
      </p:sp>
      <p:sp>
        <p:nvSpPr>
          <p:cNvPr id="31" name="Picture Placeholder 5"/>
          <p:cNvSpPr>
            <a:spLocks noGrp="1"/>
          </p:cNvSpPr>
          <p:nvPr>
            <p:ph type="pic" sz="quarter" idx="16"/>
          </p:nvPr>
        </p:nvSpPr>
        <p:spPr>
          <a:xfrm>
            <a:off x="3613905" y="2296269"/>
            <a:ext cx="2285999" cy="1630794"/>
          </a:xfrm>
        </p:spPr>
        <p:txBody>
          <a:bodyPr>
            <a:normAutofit/>
          </a:bodyPr>
          <a:lstStyle>
            <a:lvl1pPr marL="0" indent="0">
              <a:buNone/>
              <a:defRPr sz="2000">
                <a:solidFill>
                  <a:schemeClr val="bg1">
                    <a:lumMod val="65000"/>
                  </a:schemeClr>
                </a:solidFill>
              </a:defRPr>
            </a:lvl1pPr>
          </a:lstStyle>
          <a:p>
            <a:endParaRPr lang="en-US"/>
          </a:p>
        </p:txBody>
      </p:sp>
      <p:sp>
        <p:nvSpPr>
          <p:cNvPr id="32" name="Picture Placeholder 5"/>
          <p:cNvSpPr>
            <a:spLocks noGrp="1"/>
          </p:cNvSpPr>
          <p:nvPr>
            <p:ph type="pic" sz="quarter" idx="17"/>
          </p:nvPr>
        </p:nvSpPr>
        <p:spPr>
          <a:xfrm>
            <a:off x="6292090" y="2296269"/>
            <a:ext cx="2285999" cy="1630794"/>
          </a:xfrm>
        </p:spPr>
        <p:txBody>
          <a:bodyPr>
            <a:normAutofit/>
          </a:bodyPr>
          <a:lstStyle>
            <a:lvl1pPr marL="0" indent="0">
              <a:buNone/>
              <a:defRPr sz="2000">
                <a:solidFill>
                  <a:schemeClr val="bg1">
                    <a:lumMod val="65000"/>
                  </a:schemeClr>
                </a:solidFill>
              </a:defRPr>
            </a:lvl1pPr>
          </a:lstStyle>
          <a:p>
            <a:endParaRPr lang="en-US"/>
          </a:p>
        </p:txBody>
      </p:sp>
      <p:sp>
        <p:nvSpPr>
          <p:cNvPr id="33" name="Picture Placeholder 5"/>
          <p:cNvSpPr>
            <a:spLocks noGrp="1"/>
          </p:cNvSpPr>
          <p:nvPr>
            <p:ph type="pic" sz="quarter" idx="18"/>
          </p:nvPr>
        </p:nvSpPr>
        <p:spPr>
          <a:xfrm>
            <a:off x="8970275" y="2296269"/>
            <a:ext cx="2285999" cy="1630794"/>
          </a:xfrm>
        </p:spPr>
        <p:txBody>
          <a:bodyPr>
            <a:normAutofit/>
          </a:bodyPr>
          <a:lstStyle>
            <a:lvl1pPr marL="0" indent="0">
              <a:buNone/>
              <a:defRPr sz="2000">
                <a:solidFill>
                  <a:schemeClr val="bg1">
                    <a:lumMod val="65000"/>
                  </a:schemeClr>
                </a:solidFill>
              </a:defRPr>
            </a:lvl1pPr>
          </a:lstStyle>
          <a:p>
            <a:endParaRPr lang="en-US"/>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showMasterSp="0" userDrawn="1">
  <p:cSld name="43_Title Only">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screen"/>
          <a:stretch>
            <a:fillRect/>
          </a:stretch>
        </p:blipFill>
        <p:spPr>
          <a:xfrm>
            <a:off x="0" y="0"/>
            <a:ext cx="12192000" cy="6858000"/>
          </a:xfrm>
          <a:prstGeom prst="rect">
            <a:avLst/>
          </a:prstGeom>
        </p:spPr>
      </p:pic>
      <p:sp>
        <p:nvSpPr>
          <p:cNvPr id="20" name="Picture Placeholder 19"/>
          <p:cNvSpPr>
            <a:spLocks noGrp="1"/>
          </p:cNvSpPr>
          <p:nvPr>
            <p:ph type="pic" sz="quarter" idx="14"/>
          </p:nvPr>
        </p:nvSpPr>
        <p:spPr>
          <a:xfrm>
            <a:off x="2960916" y="1403350"/>
            <a:ext cx="6007735" cy="3691164"/>
          </a:xfrm>
          <a:custGeom>
            <a:avLst/>
            <a:gdLst>
              <a:gd name="connsiteX0" fmla="*/ 2036535 w 6007735"/>
              <a:gd name="connsiteY0" fmla="*/ 0 h 3691164"/>
              <a:gd name="connsiteX1" fmla="*/ 6007735 w 6007735"/>
              <a:gd name="connsiteY1" fmla="*/ 2079172 h 3691164"/>
              <a:gd name="connsiteX2" fmla="*/ 4136571 w 6007735"/>
              <a:gd name="connsiteY2" fmla="*/ 3691164 h 3691164"/>
              <a:gd name="connsiteX3" fmla="*/ 0 w 6007735"/>
              <a:gd name="connsiteY3" fmla="*/ 1281793 h 3691164"/>
            </a:gdLst>
            <a:ahLst/>
            <a:cxnLst>
              <a:cxn ang="0">
                <a:pos x="connsiteX0" y="connsiteY0"/>
              </a:cxn>
              <a:cxn ang="0">
                <a:pos x="connsiteX1" y="connsiteY1"/>
              </a:cxn>
              <a:cxn ang="0">
                <a:pos x="connsiteX2" y="connsiteY2"/>
              </a:cxn>
              <a:cxn ang="0">
                <a:pos x="connsiteX3" y="connsiteY3"/>
              </a:cxn>
            </a:cxnLst>
            <a:rect l="l" t="t" r="r" b="b"/>
            <a:pathLst>
              <a:path w="6007735" h="3691164">
                <a:moveTo>
                  <a:pt x="2036535" y="0"/>
                </a:moveTo>
                <a:lnTo>
                  <a:pt x="6007735" y="2079172"/>
                </a:lnTo>
                <a:lnTo>
                  <a:pt x="4136571" y="3691164"/>
                </a:lnTo>
                <a:lnTo>
                  <a:pt x="0" y="1281793"/>
                </a:lnTo>
                <a:close/>
              </a:path>
            </a:pathLst>
          </a:custGeom>
        </p:spPr>
        <p:txBody>
          <a:bodyPr wrap="square">
            <a:noAutofit/>
          </a:bodyPr>
          <a:lstStyle>
            <a:lvl1pPr marL="0" indent="0">
              <a:buNone/>
              <a:defRPr sz="20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lgn="ct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userDrawn="1"/>
        </p:nvGrpSpPr>
        <p:grpSpPr>
          <a:xfrm flipH="1">
            <a:off x="5497462" y="-141204"/>
            <a:ext cx="1197076" cy="506329"/>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showMasterSp="0" userDrawn="1">
  <p:cSld name="42_Title Only">
    <p:spTree>
      <p:nvGrpSpPr>
        <p:cNvPr id="1" name=""/>
        <p:cNvGrpSpPr/>
        <p:nvPr/>
      </p:nvGrpSpPr>
      <p:grpSpPr>
        <a:xfrm>
          <a:off x="0" y="0"/>
          <a:ext cx="0" cy="0"/>
          <a:chOff x="0" y="0"/>
          <a:chExt cx="0" cy="0"/>
        </a:xfrm>
      </p:grpSpPr>
      <p:sp>
        <p:nvSpPr>
          <p:cNvPr id="19" name="Picture Placeholder 18"/>
          <p:cNvSpPr>
            <a:spLocks noGrp="1"/>
          </p:cNvSpPr>
          <p:nvPr>
            <p:ph type="pic" sz="quarter" idx="14"/>
          </p:nvPr>
        </p:nvSpPr>
        <p:spPr>
          <a:xfrm>
            <a:off x="1753622" y="1101160"/>
            <a:ext cx="2272671" cy="4875814"/>
          </a:xfrm>
          <a:custGeom>
            <a:avLst/>
            <a:gdLst>
              <a:gd name="connsiteX0" fmla="*/ 315379 w 2272671"/>
              <a:gd name="connsiteY0" fmla="*/ 0 h 4875814"/>
              <a:gd name="connsiteX1" fmla="*/ 1957292 w 2272671"/>
              <a:gd name="connsiteY1" fmla="*/ 0 h 4875814"/>
              <a:gd name="connsiteX2" fmla="*/ 2272671 w 2272671"/>
              <a:gd name="connsiteY2" fmla="*/ 315379 h 4875814"/>
              <a:gd name="connsiteX3" fmla="*/ 2272671 w 2272671"/>
              <a:gd name="connsiteY3" fmla="*/ 4560435 h 4875814"/>
              <a:gd name="connsiteX4" fmla="*/ 1957292 w 2272671"/>
              <a:gd name="connsiteY4" fmla="*/ 4875814 h 4875814"/>
              <a:gd name="connsiteX5" fmla="*/ 315379 w 2272671"/>
              <a:gd name="connsiteY5" fmla="*/ 4875814 h 4875814"/>
              <a:gd name="connsiteX6" fmla="*/ 0 w 2272671"/>
              <a:gd name="connsiteY6" fmla="*/ 4560435 h 4875814"/>
              <a:gd name="connsiteX7" fmla="*/ 0 w 2272671"/>
              <a:gd name="connsiteY7" fmla="*/ 315379 h 4875814"/>
              <a:gd name="connsiteX8" fmla="*/ 315379 w 2272671"/>
              <a:gd name="connsiteY8" fmla="*/ 0 h 4875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72671" h="4875814">
                <a:moveTo>
                  <a:pt x="315379" y="0"/>
                </a:moveTo>
                <a:lnTo>
                  <a:pt x="1957292" y="0"/>
                </a:lnTo>
                <a:cubicBezTo>
                  <a:pt x="2131471" y="0"/>
                  <a:pt x="2272671" y="141200"/>
                  <a:pt x="2272671" y="315379"/>
                </a:cubicBezTo>
                <a:lnTo>
                  <a:pt x="2272671" y="4560435"/>
                </a:lnTo>
                <a:cubicBezTo>
                  <a:pt x="2272671" y="4734614"/>
                  <a:pt x="2131471" y="4875814"/>
                  <a:pt x="1957292" y="4875814"/>
                </a:cubicBezTo>
                <a:lnTo>
                  <a:pt x="315379" y="4875814"/>
                </a:lnTo>
                <a:cubicBezTo>
                  <a:pt x="141200" y="4875814"/>
                  <a:pt x="0" y="4734614"/>
                  <a:pt x="0" y="4560435"/>
                </a:cubicBezTo>
                <a:lnTo>
                  <a:pt x="0" y="315379"/>
                </a:lnTo>
                <a:cubicBezTo>
                  <a:pt x="0" y="141200"/>
                  <a:pt x="141200" y="0"/>
                  <a:pt x="315379" y="0"/>
                </a:cubicBezTo>
                <a:close/>
              </a:path>
            </a:pathLst>
          </a:custGeom>
        </p:spPr>
        <p:txBody>
          <a:bodyPr wrap="square">
            <a:noAutofit/>
          </a:bodyPr>
          <a:lstStyle>
            <a:lvl1pPr marL="0" indent="0">
              <a:buNone/>
              <a:defRPr sz="20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lgn="ct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userDrawn="1"/>
        </p:nvGrpSpPr>
        <p:grpSpPr>
          <a:xfrm flipH="1">
            <a:off x="5497462" y="-141204"/>
            <a:ext cx="1197076" cy="506329"/>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showMasterSp="0" userDrawn="1">
  <p:cSld name="41_Title Only">
    <p:spTree>
      <p:nvGrpSpPr>
        <p:cNvPr id="1" name=""/>
        <p:cNvGrpSpPr/>
        <p:nvPr/>
      </p:nvGrpSpPr>
      <p:grpSpPr>
        <a:xfrm>
          <a:off x="0" y="0"/>
          <a:ext cx="0" cy="0"/>
          <a:chOff x="0" y="0"/>
          <a:chExt cx="0" cy="0"/>
        </a:xfrm>
      </p:grpSpPr>
      <p:sp>
        <p:nvSpPr>
          <p:cNvPr id="19" name="Picture Placeholder 18"/>
          <p:cNvSpPr>
            <a:spLocks noGrp="1"/>
          </p:cNvSpPr>
          <p:nvPr>
            <p:ph type="pic" sz="quarter" idx="14"/>
          </p:nvPr>
        </p:nvSpPr>
        <p:spPr>
          <a:xfrm>
            <a:off x="8785582" y="1286934"/>
            <a:ext cx="2049682" cy="4268047"/>
          </a:xfrm>
          <a:custGeom>
            <a:avLst/>
            <a:gdLst>
              <a:gd name="connsiteX0" fmla="*/ 6365 w 2049682"/>
              <a:gd name="connsiteY0" fmla="*/ 0 h 4268047"/>
              <a:gd name="connsiteX1" fmla="*/ 2011489 w 2049682"/>
              <a:gd name="connsiteY1" fmla="*/ 160198 h 4268047"/>
              <a:gd name="connsiteX2" fmla="*/ 2049682 w 2049682"/>
              <a:gd name="connsiteY2" fmla="*/ 4204393 h 4268047"/>
              <a:gd name="connsiteX3" fmla="*/ 0 w 2049682"/>
              <a:gd name="connsiteY3" fmla="*/ 4268047 h 4268047"/>
            </a:gdLst>
            <a:ahLst/>
            <a:cxnLst>
              <a:cxn ang="0">
                <a:pos x="connsiteX0" y="connsiteY0"/>
              </a:cxn>
              <a:cxn ang="0">
                <a:pos x="connsiteX1" y="connsiteY1"/>
              </a:cxn>
              <a:cxn ang="0">
                <a:pos x="connsiteX2" y="connsiteY2"/>
              </a:cxn>
              <a:cxn ang="0">
                <a:pos x="connsiteX3" y="connsiteY3"/>
              </a:cxn>
            </a:cxnLst>
            <a:rect l="l" t="t" r="r" b="b"/>
            <a:pathLst>
              <a:path w="2049682" h="4268047">
                <a:moveTo>
                  <a:pt x="6365" y="0"/>
                </a:moveTo>
                <a:lnTo>
                  <a:pt x="2011489" y="160198"/>
                </a:lnTo>
                <a:lnTo>
                  <a:pt x="2049682" y="4204393"/>
                </a:lnTo>
                <a:lnTo>
                  <a:pt x="0" y="4268047"/>
                </a:lnTo>
                <a:close/>
              </a:path>
            </a:pathLst>
          </a:custGeom>
        </p:spPr>
        <p:txBody>
          <a:bodyPr wrap="square">
            <a:noAutofit/>
          </a:bodyPr>
          <a:lstStyle>
            <a:lvl1pPr marL="0" indent="0">
              <a:buNone/>
              <a:defRPr sz="20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lgn="ct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userDrawn="1"/>
        </p:nvGrpSpPr>
        <p:grpSpPr>
          <a:xfrm flipH="1">
            <a:off x="5497462" y="-141204"/>
            <a:ext cx="1197076" cy="506329"/>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showMasterSp="0" userDrawn="1">
  <p:cSld name="40_Title Only">
    <p:spTree>
      <p:nvGrpSpPr>
        <p:cNvPr id="1" name=""/>
        <p:cNvGrpSpPr/>
        <p:nvPr/>
      </p:nvGrpSpPr>
      <p:grpSpPr>
        <a:xfrm>
          <a:off x="0" y="0"/>
          <a:ext cx="0" cy="0"/>
          <a:chOff x="0" y="0"/>
          <a:chExt cx="0" cy="0"/>
        </a:xfrm>
      </p:grpSpPr>
      <p:sp>
        <p:nvSpPr>
          <p:cNvPr id="19" name="Picture Placeholder 5"/>
          <p:cNvSpPr>
            <a:spLocks noGrp="1"/>
          </p:cNvSpPr>
          <p:nvPr>
            <p:ph type="pic" sz="quarter" idx="14"/>
          </p:nvPr>
        </p:nvSpPr>
        <p:spPr>
          <a:xfrm>
            <a:off x="0" y="0"/>
            <a:ext cx="12192000" cy="6108700"/>
          </a:xfrm>
        </p:spPr>
        <p:txBody>
          <a:bodyPr>
            <a:normAutofit/>
          </a:bodyPr>
          <a:lstStyle>
            <a:lvl1pPr marL="0" indent="0">
              <a:buNone/>
              <a:defRPr sz="2000">
                <a:solidFill>
                  <a:schemeClr val="bg1">
                    <a:lumMod val="65000"/>
                  </a:schemeClr>
                </a:solidFill>
              </a:defRPr>
            </a:lvl1pPr>
          </a:lstStyle>
          <a:p>
            <a:endParaRPr lang="en-US"/>
          </a:p>
        </p:txBody>
      </p:sp>
      <p:sp>
        <p:nvSpPr>
          <p:cNvPr id="20" name="Picture Placeholder 5"/>
          <p:cNvSpPr>
            <a:spLocks noGrp="1"/>
          </p:cNvSpPr>
          <p:nvPr>
            <p:ph type="pic" sz="quarter" idx="15"/>
          </p:nvPr>
        </p:nvSpPr>
        <p:spPr>
          <a:xfrm>
            <a:off x="2814210" y="749300"/>
            <a:ext cx="2389507" cy="5073124"/>
          </a:xfrm>
        </p:spPr>
        <p:txBody>
          <a:bodyPr>
            <a:normAutofit/>
          </a:bodyPr>
          <a:lstStyle>
            <a:lvl1pPr marL="0" indent="0">
              <a:buNone/>
              <a:defRPr sz="20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lgn="ct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userDrawn="1"/>
        </p:nvGrpSpPr>
        <p:grpSpPr>
          <a:xfrm flipH="1">
            <a:off x="5497462" y="-141204"/>
            <a:ext cx="1197076" cy="506329"/>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showMasterSp="0" userDrawn="1">
  <p:cSld name="39_Title Only">
    <p:spTree>
      <p:nvGrpSpPr>
        <p:cNvPr id="1" name=""/>
        <p:cNvGrpSpPr/>
        <p:nvPr/>
      </p:nvGrpSpPr>
      <p:grpSpPr>
        <a:xfrm>
          <a:off x="0" y="0"/>
          <a:ext cx="0" cy="0"/>
          <a:chOff x="0" y="0"/>
          <a:chExt cx="0" cy="0"/>
        </a:xfrm>
      </p:grpSpPr>
      <p:sp>
        <p:nvSpPr>
          <p:cNvPr id="19" name="Picture Placeholder 18"/>
          <p:cNvSpPr>
            <a:spLocks noGrp="1"/>
          </p:cNvSpPr>
          <p:nvPr>
            <p:ph type="pic" sz="quarter" idx="14"/>
          </p:nvPr>
        </p:nvSpPr>
        <p:spPr>
          <a:xfrm>
            <a:off x="5983160" y="1830580"/>
            <a:ext cx="4608975" cy="3601337"/>
          </a:xfrm>
          <a:custGeom>
            <a:avLst/>
            <a:gdLst>
              <a:gd name="connsiteX0" fmla="*/ 4378555 w 4608975"/>
              <a:gd name="connsiteY0" fmla="*/ 0 h 3601337"/>
              <a:gd name="connsiteX1" fmla="*/ 4608975 w 4608975"/>
              <a:gd name="connsiteY1" fmla="*/ 3295159 h 3601337"/>
              <a:gd name="connsiteX2" fmla="*/ 230420 w 4608975"/>
              <a:gd name="connsiteY2" fmla="*/ 3601337 h 3601337"/>
              <a:gd name="connsiteX3" fmla="*/ 0 w 4608975"/>
              <a:gd name="connsiteY3" fmla="*/ 306179 h 3601337"/>
            </a:gdLst>
            <a:ahLst/>
            <a:cxnLst>
              <a:cxn ang="0">
                <a:pos x="connsiteX0" y="connsiteY0"/>
              </a:cxn>
              <a:cxn ang="0">
                <a:pos x="connsiteX1" y="connsiteY1"/>
              </a:cxn>
              <a:cxn ang="0">
                <a:pos x="connsiteX2" y="connsiteY2"/>
              </a:cxn>
              <a:cxn ang="0">
                <a:pos x="connsiteX3" y="connsiteY3"/>
              </a:cxn>
            </a:cxnLst>
            <a:rect l="l" t="t" r="r" b="b"/>
            <a:pathLst>
              <a:path w="4608975" h="3601337">
                <a:moveTo>
                  <a:pt x="4378555" y="0"/>
                </a:moveTo>
                <a:lnTo>
                  <a:pt x="4608975" y="3295159"/>
                </a:lnTo>
                <a:lnTo>
                  <a:pt x="230420" y="3601337"/>
                </a:lnTo>
                <a:lnTo>
                  <a:pt x="0" y="306179"/>
                </a:lnTo>
                <a:close/>
              </a:path>
            </a:pathLst>
          </a:custGeom>
        </p:spPr>
        <p:txBody>
          <a:bodyPr wrap="square">
            <a:noAutofit/>
          </a:bodyPr>
          <a:lstStyle>
            <a:lvl1pPr marL="0" indent="0">
              <a:buNone/>
              <a:defRPr sz="20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lgn="ct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userDrawn="1"/>
        </p:nvGrpSpPr>
        <p:grpSpPr>
          <a:xfrm flipH="1">
            <a:off x="5497462" y="-141204"/>
            <a:ext cx="1197076" cy="506329"/>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showMasterSp="0" userDrawn="1">
  <p:cSld name="37_Title Only">
    <p:spTree>
      <p:nvGrpSpPr>
        <p:cNvPr id="1" name=""/>
        <p:cNvGrpSpPr/>
        <p:nvPr/>
      </p:nvGrpSpPr>
      <p:grpSpPr>
        <a:xfrm>
          <a:off x="0" y="0"/>
          <a:ext cx="0" cy="0"/>
          <a:chOff x="0" y="0"/>
          <a:chExt cx="0" cy="0"/>
        </a:xfrm>
      </p:grpSpPr>
      <p:pic>
        <p:nvPicPr>
          <p:cNvPr id="11" name="Picture Placeholder 3"/>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29000"/>
                    </a14:imgEffect>
                    <a14:imgEffect>
                      <a14:colorTemperature colorTemp="5900"/>
                    </a14:imgEffect>
                    <a14:imgEffect>
                      <a14:saturation sat="66000"/>
                    </a14:imgEffect>
                  </a14:imgLayer>
                </a14:imgProps>
              </a:ext>
            </a:extLst>
          </a:blip>
          <a:srcRect/>
          <a:stretch>
            <a:fillRect/>
          </a:stretch>
        </p:blipFill>
        <p:spPr>
          <a:xfrm>
            <a:off x="0" y="4756426"/>
            <a:ext cx="12192000" cy="2101574"/>
          </a:xfrm>
          <a:prstGeom prst="rect">
            <a:avLst/>
          </a:prstGeom>
          <a:solidFill>
            <a:schemeClr val="tx1">
              <a:lumMod val="75000"/>
              <a:lumOff val="25000"/>
            </a:schemeClr>
          </a:solidFill>
        </p:spPr>
      </p:pic>
      <p:sp>
        <p:nvSpPr>
          <p:cNvPr id="20" name="Picture Placeholder 5"/>
          <p:cNvSpPr>
            <a:spLocks noGrp="1"/>
          </p:cNvSpPr>
          <p:nvPr>
            <p:ph type="pic" sz="quarter" idx="14"/>
          </p:nvPr>
        </p:nvSpPr>
        <p:spPr>
          <a:xfrm>
            <a:off x="4266151" y="2048604"/>
            <a:ext cx="3705667" cy="2083311"/>
          </a:xfrm>
        </p:spPr>
        <p:txBody>
          <a:bodyPr>
            <a:normAutofit/>
          </a:bodyPr>
          <a:lstStyle>
            <a:lvl1pPr marL="0" indent="0">
              <a:buNone/>
              <a:defRPr sz="20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lgn="ct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userDrawn="1"/>
        </p:nvGrpSpPr>
        <p:grpSpPr>
          <a:xfrm flipH="1">
            <a:off x="5497462" y="-141204"/>
            <a:ext cx="1197076" cy="506329"/>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showMasterSp="0" userDrawn="1">
  <p:cSld name="7_Title Only">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1609447"/>
            <a:ext cx="4064000" cy="4521201"/>
          </a:xfrm>
        </p:spPr>
        <p:txBody>
          <a:bodyPr>
            <a:normAutofit/>
          </a:bodyPr>
          <a:lstStyle>
            <a:lvl1pPr marL="0" indent="0">
              <a:buNone/>
              <a:defRPr sz="2000">
                <a:solidFill>
                  <a:schemeClr val="bg1">
                    <a:lumMod val="65000"/>
                  </a:schemeClr>
                </a:solidFill>
              </a:defRPr>
            </a:lvl1pPr>
          </a:lstStyle>
          <a:p>
            <a:endParaRPr lang="en-US"/>
          </a:p>
        </p:txBody>
      </p:sp>
      <p:sp>
        <p:nvSpPr>
          <p:cNvPr id="20" name="Picture Placeholder 5"/>
          <p:cNvSpPr>
            <a:spLocks noGrp="1"/>
          </p:cNvSpPr>
          <p:nvPr>
            <p:ph type="pic" sz="quarter" idx="14"/>
          </p:nvPr>
        </p:nvSpPr>
        <p:spPr>
          <a:xfrm>
            <a:off x="4064000" y="1609447"/>
            <a:ext cx="4064000" cy="4521201"/>
          </a:xfrm>
        </p:spPr>
        <p:txBody>
          <a:bodyPr>
            <a:normAutofit/>
          </a:bodyPr>
          <a:lstStyle>
            <a:lvl1pPr marL="0" indent="0">
              <a:buNone/>
              <a:defRPr sz="2000">
                <a:solidFill>
                  <a:schemeClr val="bg1">
                    <a:lumMod val="65000"/>
                  </a:schemeClr>
                </a:solidFill>
              </a:defRPr>
            </a:lvl1pPr>
          </a:lstStyle>
          <a:p>
            <a:endParaRPr lang="en-US"/>
          </a:p>
        </p:txBody>
      </p:sp>
      <p:sp>
        <p:nvSpPr>
          <p:cNvPr id="22" name="Picture Placeholder 5"/>
          <p:cNvSpPr>
            <a:spLocks noGrp="1"/>
          </p:cNvSpPr>
          <p:nvPr>
            <p:ph type="pic" sz="quarter" idx="15"/>
          </p:nvPr>
        </p:nvSpPr>
        <p:spPr>
          <a:xfrm>
            <a:off x="8128000" y="1609447"/>
            <a:ext cx="4064000" cy="4521201"/>
          </a:xfrm>
        </p:spPr>
        <p:txBody>
          <a:bodyPr>
            <a:normAutofit/>
          </a:bodyPr>
          <a:lstStyle>
            <a:lvl1pPr marL="0" indent="0">
              <a:buNone/>
              <a:defRPr sz="2000">
                <a:solidFill>
                  <a:schemeClr val="bg1">
                    <a:lumMod val="65000"/>
                  </a:schemeClr>
                </a:solidFill>
              </a:defRPr>
            </a:lvl1pPr>
          </a:lstStyle>
          <a:p>
            <a:endParaRPr lang="en-US"/>
          </a:p>
        </p:txBody>
      </p:sp>
      <p:sp>
        <p:nvSpPr>
          <p:cNvPr id="2" name="Title 1"/>
          <p:cNvSpPr>
            <a:spLocks noGrp="1"/>
          </p:cNvSpPr>
          <p:nvPr>
            <p:ph type="title"/>
          </p:nvPr>
        </p:nvSpPr>
        <p:spPr/>
        <p:txBody>
          <a:bodyPr/>
          <a:lstStyle>
            <a:lvl1pPr algn="ct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userDrawn="1"/>
        </p:nvGrpSpPr>
        <p:grpSpPr>
          <a:xfrm flipH="1">
            <a:off x="5497462" y="-141204"/>
            <a:ext cx="1197076" cy="506329"/>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showMasterSp="0" userDrawn="1">
  <p:cSld name="6_Title Only">
    <p:spTree>
      <p:nvGrpSpPr>
        <p:cNvPr id="1" name=""/>
        <p:cNvGrpSpPr/>
        <p:nvPr/>
      </p:nvGrpSpPr>
      <p:grpSpPr>
        <a:xfrm>
          <a:off x="0" y="0"/>
          <a:ext cx="0" cy="0"/>
          <a:chOff x="0" y="0"/>
          <a:chExt cx="0" cy="0"/>
        </a:xfrm>
      </p:grpSpPr>
      <p:sp>
        <p:nvSpPr>
          <p:cNvPr id="12" name="Content Placeholder 2"/>
          <p:cNvSpPr>
            <a:spLocks noGrp="1"/>
          </p:cNvSpPr>
          <p:nvPr>
            <p:ph idx="1"/>
          </p:nvPr>
        </p:nvSpPr>
        <p:spPr>
          <a:xfrm>
            <a:off x="442193" y="1829450"/>
            <a:ext cx="11307616" cy="4006965"/>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2" name="Title 1"/>
          <p:cNvSpPr>
            <a:spLocks noGrp="1"/>
          </p:cNvSpPr>
          <p:nvPr>
            <p:ph type="title"/>
          </p:nvPr>
        </p:nvSpPr>
        <p:spPr/>
        <p:txBody>
          <a:bodyPr/>
          <a:lstStyle>
            <a:lvl1pPr algn="ct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a:xfrm>
            <a:off x="10623592" y="6427003"/>
            <a:ext cx="429579" cy="140772"/>
          </a:xfrm>
        </p:spPr>
        <p:txBody>
          <a:bodyPr/>
          <a:lstStyle>
            <a:lvl1pPr algn="ctr">
              <a:defRPr/>
            </a:lvl1pPr>
          </a:lstStyle>
          <a:p>
            <a:fld id="{75F62417-4A12-46BB-B530-A96D3E44AFD3}" type="slidenum">
              <a:rPr lang="en-US" smtClean="0"/>
            </a:fld>
            <a:endParaRPr lang="en-US"/>
          </a:p>
        </p:txBody>
      </p:sp>
      <p:sp>
        <p:nvSpPr>
          <p:cNvPr id="13" name="Rectangle 12"/>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userDrawn="1"/>
        </p:nvGrpSpPr>
        <p:grpSpPr>
          <a:xfrm flipH="1">
            <a:off x="5497462" y="-141204"/>
            <a:ext cx="1197076" cy="506329"/>
            <a:chOff x="-110315" y="-141204"/>
            <a:chExt cx="1656388" cy="700605"/>
          </a:xfrm>
        </p:grpSpPr>
        <p:sp>
          <p:nvSpPr>
            <p:cNvPr id="18" name="Freeform 1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2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showMasterSp="0">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8_Title Only">
    <p:spTree>
      <p:nvGrpSpPr>
        <p:cNvPr id="1" name=""/>
        <p:cNvGrpSpPr/>
        <p:nvPr/>
      </p:nvGrpSpPr>
      <p:grpSpPr>
        <a:xfrm>
          <a:off x="0" y="0"/>
          <a:ext cx="0" cy="0"/>
          <a:chOff x="0" y="0"/>
          <a:chExt cx="0" cy="0"/>
        </a:xfrm>
      </p:grpSpPr>
      <p:sp>
        <p:nvSpPr>
          <p:cNvPr id="7" name="Picture Placeholder 6"/>
          <p:cNvSpPr>
            <a:spLocks noGrp="1"/>
          </p:cNvSpPr>
          <p:nvPr>
            <p:ph type="pic" sz="quarter" idx="23"/>
          </p:nvPr>
        </p:nvSpPr>
        <p:spPr>
          <a:xfrm>
            <a:off x="0" y="2268665"/>
            <a:ext cx="12192000" cy="3816047"/>
          </a:xfrm>
          <a:custGeom>
            <a:avLst/>
            <a:gdLst>
              <a:gd name="connsiteX0" fmla="*/ 12192000 w 12192000"/>
              <a:gd name="connsiteY0" fmla="*/ 0 h 3816047"/>
              <a:gd name="connsiteX1" fmla="*/ 12192000 w 12192000"/>
              <a:gd name="connsiteY1" fmla="*/ 3816047 h 3816047"/>
              <a:gd name="connsiteX2" fmla="*/ 0 w 12192000"/>
              <a:gd name="connsiteY2" fmla="*/ 3816047 h 3816047"/>
              <a:gd name="connsiteX3" fmla="*/ 0 w 12192000"/>
              <a:gd name="connsiteY3" fmla="*/ 1904351 h 3816047"/>
              <a:gd name="connsiteX4" fmla="*/ 1569155 w 12192000"/>
              <a:gd name="connsiteY4" fmla="*/ 1192948 h 3816047"/>
              <a:gd name="connsiteX5" fmla="*/ 3646311 w 12192000"/>
              <a:gd name="connsiteY5" fmla="*/ 1196751 h 3816047"/>
              <a:gd name="connsiteX6" fmla="*/ 5926667 w 12192000"/>
              <a:gd name="connsiteY6" fmla="*/ 654222 h 3816047"/>
              <a:gd name="connsiteX7" fmla="*/ 8229600 w 12192000"/>
              <a:gd name="connsiteY7" fmla="*/ 948396 h 3816047"/>
              <a:gd name="connsiteX8" fmla="*/ 10103556 w 12192000"/>
              <a:gd name="connsiteY8" fmla="*/ 732501 h 3816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3816047">
                <a:moveTo>
                  <a:pt x="12192000" y="0"/>
                </a:moveTo>
                <a:lnTo>
                  <a:pt x="12192000" y="3816047"/>
                </a:lnTo>
                <a:lnTo>
                  <a:pt x="0" y="3816047"/>
                </a:lnTo>
                <a:lnTo>
                  <a:pt x="0" y="1904351"/>
                </a:lnTo>
                <a:lnTo>
                  <a:pt x="1569155" y="1192948"/>
                </a:lnTo>
                <a:lnTo>
                  <a:pt x="3646311" y="1196751"/>
                </a:lnTo>
                <a:lnTo>
                  <a:pt x="5926667" y="654222"/>
                </a:lnTo>
                <a:lnTo>
                  <a:pt x="8229600" y="948396"/>
                </a:lnTo>
                <a:lnTo>
                  <a:pt x="10103556" y="732501"/>
                </a:lnTo>
                <a:close/>
              </a:path>
            </a:pathLst>
          </a:custGeom>
        </p:spPr>
        <p:txBody>
          <a:bodyPr wrap="square">
            <a:no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showMasterSp="0" userDrawn="1">
  <p:cSld name="15_Blank">
    <p:spTree>
      <p:nvGrpSpPr>
        <p:cNvPr id="1" name=""/>
        <p:cNvGrpSpPr/>
        <p:nvPr/>
      </p:nvGrpSpPr>
      <p:grpSpPr>
        <a:xfrm>
          <a:off x="0" y="0"/>
          <a:ext cx="0" cy="0"/>
          <a:chOff x="0" y="0"/>
          <a:chExt cx="0" cy="0"/>
        </a:xfrm>
      </p:grpSpPr>
      <p:sp>
        <p:nvSpPr>
          <p:cNvPr id="3" name="Rectangle 2"/>
          <p:cNvSpPr/>
          <p:nvPr userDrawn="1"/>
        </p:nvSpPr>
        <p:spPr>
          <a:xfrm>
            <a:off x="0" y="4381502"/>
            <a:ext cx="12192000" cy="247649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userDrawn="1"/>
        </p:nvSpPr>
        <p:spPr>
          <a:xfrm>
            <a:off x="554182" y="904202"/>
            <a:ext cx="11083636" cy="50495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5"/>
          <p:cNvSpPr>
            <a:spLocks noGrp="1"/>
          </p:cNvSpPr>
          <p:nvPr>
            <p:ph type="pic" sz="quarter" idx="13"/>
          </p:nvPr>
        </p:nvSpPr>
        <p:spPr>
          <a:xfrm>
            <a:off x="554181" y="904202"/>
            <a:ext cx="5604673" cy="5049597"/>
          </a:xfrm>
        </p:spPr>
        <p:txBody>
          <a:bodyPr>
            <a:normAutofit/>
          </a:bodyPr>
          <a:lstStyle>
            <a:lvl1pPr marL="0" indent="0">
              <a:buNone/>
              <a:defRPr sz="2000">
                <a:solidFill>
                  <a:schemeClr val="bg1">
                    <a:lumMod val="65000"/>
                  </a:schemeClr>
                </a:solidFill>
              </a:defRPr>
            </a:lvl1pPr>
          </a:lstStyle>
          <a:p>
            <a:endParaRPr lang="en-US"/>
          </a:p>
        </p:txBody>
      </p:sp>
      <p:sp>
        <p:nvSpPr>
          <p:cNvPr id="9" name="Picture Placeholder 5"/>
          <p:cNvSpPr>
            <a:spLocks noGrp="1"/>
          </p:cNvSpPr>
          <p:nvPr>
            <p:ph type="pic" sz="quarter" idx="14"/>
          </p:nvPr>
        </p:nvSpPr>
        <p:spPr>
          <a:xfrm>
            <a:off x="6158855" y="2483757"/>
            <a:ext cx="5478964" cy="1707243"/>
          </a:xfrm>
        </p:spPr>
        <p:txBody>
          <a:bodyPr>
            <a:normAutofit/>
          </a:bodyPr>
          <a:lstStyle>
            <a:lvl1pPr marL="0" indent="0">
              <a:buNone/>
              <a:defRPr sz="2000">
                <a:solidFill>
                  <a:schemeClr val="bg1">
                    <a:lumMod val="65000"/>
                  </a:schemeClr>
                </a:solidFill>
              </a:defRPr>
            </a:lvl1pPr>
          </a:lstStyle>
          <a:p>
            <a:endParaRPr lang="en-US"/>
          </a:p>
        </p:txBody>
      </p:sp>
      <p:sp>
        <p:nvSpPr>
          <p:cNvPr id="4" name="Slide Number Placeholder 3"/>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showMasterSp="0" userDrawn="1">
  <p:cSld name="14_Blank">
    <p:spTree>
      <p:nvGrpSpPr>
        <p:cNvPr id="1" name=""/>
        <p:cNvGrpSpPr/>
        <p:nvPr/>
      </p:nvGrpSpPr>
      <p:grpSpPr>
        <a:xfrm>
          <a:off x="0" y="0"/>
          <a:ext cx="0" cy="0"/>
          <a:chOff x="0" y="0"/>
          <a:chExt cx="0" cy="0"/>
        </a:xfrm>
      </p:grpSpPr>
      <p:sp>
        <p:nvSpPr>
          <p:cNvPr id="5" name="Picture Placeholder 5"/>
          <p:cNvSpPr>
            <a:spLocks noGrp="1"/>
          </p:cNvSpPr>
          <p:nvPr>
            <p:ph type="pic" sz="quarter" idx="13"/>
          </p:nvPr>
        </p:nvSpPr>
        <p:spPr>
          <a:xfrm>
            <a:off x="1" y="0"/>
            <a:ext cx="12192000" cy="5181600"/>
          </a:xfrm>
        </p:spPr>
        <p:txBody>
          <a:bodyPr>
            <a:normAutofit/>
          </a:bodyPr>
          <a:lstStyle>
            <a:lvl1pPr marL="0" indent="0">
              <a:buNone/>
              <a:defRPr sz="2000">
                <a:solidFill>
                  <a:schemeClr val="bg1">
                    <a:lumMod val="65000"/>
                  </a:schemeClr>
                </a:solidFill>
              </a:defRPr>
            </a:lvl1pPr>
          </a:lstStyle>
          <a:p>
            <a:endParaRPr lang="en-US"/>
          </a:p>
        </p:txBody>
      </p:sp>
      <p:sp>
        <p:nvSpPr>
          <p:cNvPr id="4" name="Slide Number Placeholder 3"/>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showMasterSp="0" userDrawn="1">
  <p:cSld name="13_Blank">
    <p:spTree>
      <p:nvGrpSpPr>
        <p:cNvPr id="1" name=""/>
        <p:cNvGrpSpPr/>
        <p:nvPr/>
      </p:nvGrpSpPr>
      <p:grpSpPr>
        <a:xfrm>
          <a:off x="0" y="0"/>
          <a:ext cx="0" cy="0"/>
          <a:chOff x="0" y="0"/>
          <a:chExt cx="0" cy="0"/>
        </a:xfrm>
      </p:grpSpPr>
      <p:sp>
        <p:nvSpPr>
          <p:cNvPr id="5" name="Picture Placeholder 5"/>
          <p:cNvSpPr>
            <a:spLocks noGrp="1"/>
          </p:cNvSpPr>
          <p:nvPr>
            <p:ph type="pic" sz="quarter" idx="13"/>
          </p:nvPr>
        </p:nvSpPr>
        <p:spPr>
          <a:xfrm>
            <a:off x="8209821" y="0"/>
            <a:ext cx="3982179" cy="6858000"/>
          </a:xfrm>
        </p:spPr>
        <p:txBody>
          <a:bodyPr>
            <a:normAutofit/>
          </a:bodyPr>
          <a:lstStyle>
            <a:lvl1pPr marL="0" indent="0">
              <a:buNone/>
              <a:defRPr sz="2000">
                <a:solidFill>
                  <a:schemeClr val="bg1">
                    <a:lumMod val="65000"/>
                  </a:schemeClr>
                </a:solidFill>
              </a:defRPr>
            </a:lvl1pPr>
          </a:lstStyle>
          <a:p>
            <a:endParaRPr lang="en-US"/>
          </a:p>
        </p:txBody>
      </p:sp>
      <p:sp>
        <p:nvSpPr>
          <p:cNvPr id="4" name="Slide Number Placeholder 3"/>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showMasterSp="0" userDrawn="1">
  <p:cSld name="12_Blank">
    <p:spTree>
      <p:nvGrpSpPr>
        <p:cNvPr id="1" name=""/>
        <p:cNvGrpSpPr/>
        <p:nvPr/>
      </p:nvGrpSpPr>
      <p:grpSpPr>
        <a:xfrm>
          <a:off x="0" y="0"/>
          <a:ext cx="0" cy="0"/>
          <a:chOff x="0" y="0"/>
          <a:chExt cx="0" cy="0"/>
        </a:xfrm>
      </p:grpSpPr>
      <p:sp>
        <p:nvSpPr>
          <p:cNvPr id="5" name="Picture Placeholder 5"/>
          <p:cNvSpPr>
            <a:spLocks noGrp="1"/>
          </p:cNvSpPr>
          <p:nvPr>
            <p:ph type="pic" sz="quarter" idx="13"/>
          </p:nvPr>
        </p:nvSpPr>
        <p:spPr>
          <a:xfrm>
            <a:off x="244474" y="311645"/>
            <a:ext cx="11703049" cy="6234711"/>
          </a:xfrm>
        </p:spPr>
        <p:txBody>
          <a:bodyPr>
            <a:normAutofit/>
          </a:bodyPr>
          <a:lstStyle>
            <a:lvl1pPr marL="0" indent="0">
              <a:buNone/>
              <a:defRPr sz="2000">
                <a:solidFill>
                  <a:schemeClr val="bg1">
                    <a:lumMod val="65000"/>
                  </a:schemeClr>
                </a:solidFill>
              </a:defRPr>
            </a:lvl1pPr>
          </a:lstStyle>
          <a:p>
            <a:endParaRPr lang="en-US"/>
          </a:p>
        </p:txBody>
      </p:sp>
      <p:sp>
        <p:nvSpPr>
          <p:cNvPr id="4" name="Slide Number Placeholder 3"/>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showMasterSp="0" userDrawn="1">
  <p:cSld name="10_Blank">
    <p:spTree>
      <p:nvGrpSpPr>
        <p:cNvPr id="1" name=""/>
        <p:cNvGrpSpPr/>
        <p:nvPr/>
      </p:nvGrpSpPr>
      <p:grpSpPr>
        <a:xfrm>
          <a:off x="0" y="0"/>
          <a:ext cx="0" cy="0"/>
          <a:chOff x="0" y="0"/>
          <a:chExt cx="0" cy="0"/>
        </a:xfrm>
      </p:grpSpPr>
      <p:sp>
        <p:nvSpPr>
          <p:cNvPr id="5" name="Picture Placeholder 5"/>
          <p:cNvSpPr>
            <a:spLocks noGrp="1"/>
          </p:cNvSpPr>
          <p:nvPr>
            <p:ph type="pic" sz="quarter" idx="14"/>
          </p:nvPr>
        </p:nvSpPr>
        <p:spPr>
          <a:xfrm>
            <a:off x="4011789" y="0"/>
            <a:ext cx="8180211" cy="6858000"/>
          </a:xfrm>
        </p:spPr>
        <p:txBody>
          <a:bodyPr>
            <a:normAutofit/>
          </a:bodyPr>
          <a:lstStyle>
            <a:lvl1pPr marL="0" indent="0">
              <a:buNone/>
              <a:defRPr sz="2000">
                <a:solidFill>
                  <a:schemeClr val="bg1">
                    <a:lumMod val="65000"/>
                  </a:schemeClr>
                </a:solidFill>
              </a:defRPr>
            </a:lvl1pPr>
          </a:lstStyle>
          <a:p>
            <a:endParaRPr lang="en-US"/>
          </a:p>
        </p:txBody>
      </p:sp>
      <p:sp>
        <p:nvSpPr>
          <p:cNvPr id="4" name="Slide Number Placeholder 3"/>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showMasterSp="0" userDrawn="1">
  <p:cSld name="8_Blank">
    <p:spTree>
      <p:nvGrpSpPr>
        <p:cNvPr id="1" name=""/>
        <p:cNvGrpSpPr/>
        <p:nvPr/>
      </p:nvGrpSpPr>
      <p:grpSpPr>
        <a:xfrm>
          <a:off x="0" y="0"/>
          <a:ext cx="0" cy="0"/>
          <a:chOff x="0" y="0"/>
          <a:chExt cx="0" cy="0"/>
        </a:xfrm>
      </p:grpSpPr>
      <p:sp>
        <p:nvSpPr>
          <p:cNvPr id="8" name="Content Placeholder 2"/>
          <p:cNvSpPr>
            <a:spLocks noGrp="1"/>
          </p:cNvSpPr>
          <p:nvPr>
            <p:ph idx="1"/>
          </p:nvPr>
        </p:nvSpPr>
        <p:spPr>
          <a:xfrm>
            <a:off x="5613401" y="0"/>
            <a:ext cx="6578598" cy="6858000"/>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Slide Number Placeholder 3"/>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grpSp>
        <p:nvGrpSpPr>
          <p:cNvPr id="5" name="Group 4"/>
          <p:cNvGrpSpPr/>
          <p:nvPr userDrawn="1"/>
        </p:nvGrpSpPr>
        <p:grpSpPr>
          <a:xfrm rot="17100000">
            <a:off x="-16747" y="-1879921"/>
            <a:ext cx="2982489" cy="3308000"/>
            <a:chOff x="5572978" y="-198137"/>
            <a:chExt cx="1060705" cy="1797350"/>
          </a:xfrm>
        </p:grpSpPr>
        <p:sp>
          <p:nvSpPr>
            <p:cNvPr id="6" name="Isosceles Triangle 5"/>
            <p:cNvSpPr/>
            <p:nvPr/>
          </p:nvSpPr>
          <p:spPr>
            <a:xfrm rot="753665" flipV="1">
              <a:off x="5572979" y="-79160"/>
              <a:ext cx="1060704" cy="1678373"/>
            </a:xfrm>
            <a:prstGeom prst="triangle">
              <a:avLst/>
            </a:prstGeom>
            <a:solidFill>
              <a:schemeClr val="accent3">
                <a:alpha val="52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Isosceles Triangle 6"/>
            <p:cNvSpPr/>
            <p:nvPr/>
          </p:nvSpPr>
          <p:spPr>
            <a:xfrm rot="19800000" flipH="1" flipV="1">
              <a:off x="5572978" y="-198137"/>
              <a:ext cx="1060704" cy="1678373"/>
            </a:xfrm>
            <a:prstGeom prst="triangle">
              <a:avLst/>
            </a:pr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showMasterSp="0" userDrawn="1">
  <p:cSld name="7_Blank">
    <p:spTree>
      <p:nvGrpSpPr>
        <p:cNvPr id="1" name=""/>
        <p:cNvGrpSpPr/>
        <p:nvPr/>
      </p:nvGrpSpPr>
      <p:grpSpPr>
        <a:xfrm>
          <a:off x="0" y="0"/>
          <a:ext cx="0" cy="0"/>
          <a:chOff x="0" y="0"/>
          <a:chExt cx="0" cy="0"/>
        </a:xfrm>
      </p:grpSpPr>
      <p:sp>
        <p:nvSpPr>
          <p:cNvPr id="5" name="Content Placeholder 2"/>
          <p:cNvSpPr>
            <a:spLocks noGrp="1"/>
          </p:cNvSpPr>
          <p:nvPr>
            <p:ph idx="1"/>
          </p:nvPr>
        </p:nvSpPr>
        <p:spPr>
          <a:xfrm>
            <a:off x="2578100" y="0"/>
            <a:ext cx="9613899" cy="6858000"/>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Slide Number Placeholder 3"/>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showMasterSp="0" userDrawn="1">
  <p:cSld name="6_Blank">
    <p:spTree>
      <p:nvGrpSpPr>
        <p:cNvPr id="1" name=""/>
        <p:cNvGrpSpPr/>
        <p:nvPr/>
      </p:nvGrpSpPr>
      <p:grpSpPr>
        <a:xfrm>
          <a:off x="0" y="0"/>
          <a:ext cx="0" cy="0"/>
          <a:chOff x="0" y="0"/>
          <a:chExt cx="0" cy="0"/>
        </a:xfrm>
      </p:grpSpPr>
      <p:sp>
        <p:nvSpPr>
          <p:cNvPr id="5" name="Content Placeholder 2"/>
          <p:cNvSpPr>
            <a:spLocks noGrp="1"/>
          </p:cNvSpPr>
          <p:nvPr>
            <p:ph idx="1"/>
          </p:nvPr>
        </p:nvSpPr>
        <p:spPr>
          <a:xfrm>
            <a:off x="0" y="1407886"/>
            <a:ext cx="12191999" cy="5450114"/>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Slide Number Placeholder 3"/>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showMasterSp="0" userDrawn="1">
  <p:cSld name="5_Blank">
    <p:spTree>
      <p:nvGrpSpPr>
        <p:cNvPr id="1" name=""/>
        <p:cNvGrpSpPr/>
        <p:nvPr/>
      </p:nvGrpSpPr>
      <p:grpSpPr>
        <a:xfrm>
          <a:off x="0" y="0"/>
          <a:ext cx="0" cy="0"/>
          <a:chOff x="0" y="0"/>
          <a:chExt cx="0" cy="0"/>
        </a:xfrm>
      </p:grpSpPr>
      <p:sp>
        <p:nvSpPr>
          <p:cNvPr id="5" name="Content Placeholder 2"/>
          <p:cNvSpPr>
            <a:spLocks noGrp="1"/>
          </p:cNvSpPr>
          <p:nvPr>
            <p:ph idx="1"/>
          </p:nvPr>
        </p:nvSpPr>
        <p:spPr>
          <a:xfrm>
            <a:off x="2355924" y="0"/>
            <a:ext cx="9836075" cy="6858000"/>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Slide Number Placeholder 3"/>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showMasterSp="0" userDrawn="1">
  <p:cSld name="4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
        <p:nvSpPr>
          <p:cNvPr id="3" name="Rectangle 2"/>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p:cNvGrpSpPr/>
          <p:nvPr userDrawn="1"/>
        </p:nvGrpSpPr>
        <p:grpSpPr>
          <a:xfrm>
            <a:off x="-292942" y="-372064"/>
            <a:ext cx="4141042" cy="1751543"/>
            <a:chOff x="-110315" y="-141204"/>
            <a:chExt cx="1656388" cy="700605"/>
          </a:xfrm>
        </p:grpSpPr>
        <p:sp>
          <p:nvSpPr>
            <p:cNvPr id="6" name="Freeform 5"/>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1">
                <a:lumMod val="50000"/>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Freeform 6"/>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lumMod val="75000"/>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cxnSp>
        <p:nvCxnSpPr>
          <p:cNvPr id="14" name="Straight Connector 13"/>
          <p:cNvCxnSpPr/>
          <p:nvPr userDrawn="1"/>
        </p:nvCxnSpPr>
        <p:spPr>
          <a:xfrm>
            <a:off x="0" y="4267200"/>
            <a:ext cx="6654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userDrawn="1">
            <p:ph type="ctrTitle" hasCustomPrompt="1"/>
          </p:nvPr>
        </p:nvSpPr>
        <p:spPr>
          <a:xfrm>
            <a:off x="1524000" y="1797779"/>
            <a:ext cx="5130800" cy="2387600"/>
          </a:xfrm>
        </p:spPr>
        <p:txBody>
          <a:bodyPr vert="horz" wrap="square" lIns="91416" tIns="45708" rIns="91416" bIns="45708" rtlCol="0" anchor="ctr">
            <a:noAutofit/>
          </a:bodyPr>
          <a:lstStyle>
            <a:lvl1pPr>
              <a:defRPr lang="en-US" sz="7200" kern="1200" spc="-300">
                <a:solidFill>
                  <a:schemeClr val="bg1"/>
                </a:solidFill>
                <a:ea typeface="Roboto" panose="02000000000000000000" pitchFamily="2" charset="0"/>
              </a:defRPr>
            </a:lvl1pPr>
          </a:lstStyle>
          <a:p>
            <a:pPr marL="0" lvl="0"/>
            <a:r>
              <a:rPr lang="en-US" dirty="0"/>
              <a:t>CLICK TO EDIT</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5_Title Only">
    <p:spTree>
      <p:nvGrpSpPr>
        <p:cNvPr id="1" name=""/>
        <p:cNvGrpSpPr/>
        <p:nvPr/>
      </p:nvGrpSpPr>
      <p:grpSpPr>
        <a:xfrm>
          <a:off x="0" y="0"/>
          <a:ext cx="0" cy="0"/>
          <a:chOff x="0" y="0"/>
          <a:chExt cx="0" cy="0"/>
        </a:xfrm>
      </p:grpSpPr>
      <p:sp>
        <p:nvSpPr>
          <p:cNvPr id="6" name="Picture Placeholder 5"/>
          <p:cNvSpPr>
            <a:spLocks noGrp="1"/>
          </p:cNvSpPr>
          <p:nvPr>
            <p:ph type="pic" sz="quarter" idx="23"/>
          </p:nvPr>
        </p:nvSpPr>
        <p:spPr>
          <a:xfrm>
            <a:off x="904902" y="1936998"/>
            <a:ext cx="10979607" cy="2565926"/>
          </a:xfrm>
        </p:spPr>
        <p:txBody>
          <a:bodyPr>
            <a:normAutofit/>
          </a:bodyPr>
          <a:lstStyle>
            <a:lvl1pPr marL="0" indent="0">
              <a:buNone/>
              <a:defRPr sz="2000">
                <a:solidFill>
                  <a:schemeClr val="bg1">
                    <a:lumMod val="65000"/>
                  </a:schemeClr>
                </a:solidFill>
              </a:defRPr>
            </a:lvl1pPr>
          </a:lstStyle>
          <a:p>
            <a:endParaRPr lang="en-US" dirty="0"/>
          </a:p>
        </p:txBody>
      </p:sp>
      <p:sp>
        <p:nvSpPr>
          <p:cNvPr id="2" name="Title 1"/>
          <p:cNvSpPr>
            <a:spLocks noGrp="1"/>
          </p:cNvSpPr>
          <p:nvPr>
            <p:ph type="title"/>
          </p:nvPr>
        </p:nvSpPr>
        <p:spPr/>
        <p:txBody>
          <a:bodyPr/>
          <a:lstStyle>
            <a:lvl1pPr>
              <a:defRPr/>
            </a:lvl1pPr>
          </a:lstStyle>
          <a:p>
            <a:r>
              <a:rPr lang="en-US" dirty="0"/>
              <a:t>Click to edit Master title style</a:t>
            </a:r>
            <a:endParaRPr lang="en-US" dirty="0"/>
          </a:p>
        </p:txBody>
      </p:sp>
      <p:sp>
        <p:nvSpPr>
          <p:cNvPr id="5" name="Slide Number Placeholder 4"/>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showMasterSp="0" userDrawn="1">
  <p:cSld name="1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
        <p:nvSpPr>
          <p:cNvPr id="3" name="Rectangle 2"/>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p:nvPr userDrawn="1"/>
        </p:nvGrpSpPr>
        <p:grpSpPr>
          <a:xfrm flipV="1">
            <a:off x="-762640" y="3114720"/>
            <a:ext cx="11131907" cy="4708479"/>
            <a:chOff x="-110315" y="-141204"/>
            <a:chExt cx="1656388" cy="700605"/>
          </a:xfrm>
        </p:grpSpPr>
        <p:sp>
          <p:nvSpPr>
            <p:cNvPr id="10" name="Freeform 9"/>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1">
                <a:lumMod val="50000"/>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1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lumMod val="75000"/>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5" name="Title 1"/>
          <p:cNvSpPr>
            <a:spLocks noGrp="1"/>
          </p:cNvSpPr>
          <p:nvPr userDrawn="1">
            <p:ph type="ctrTitle" hasCustomPrompt="1"/>
          </p:nvPr>
        </p:nvSpPr>
        <p:spPr>
          <a:xfrm>
            <a:off x="1524000" y="1797779"/>
            <a:ext cx="5130800" cy="2387600"/>
          </a:xfrm>
        </p:spPr>
        <p:txBody>
          <a:bodyPr vert="horz" wrap="square" lIns="91416" tIns="45708" rIns="91416" bIns="45708" rtlCol="0" anchor="ctr">
            <a:noAutofit/>
          </a:bodyPr>
          <a:lstStyle>
            <a:lvl1pPr>
              <a:defRPr lang="en-US" sz="7200" kern="1200" spc="-300">
                <a:solidFill>
                  <a:schemeClr val="bg1"/>
                </a:solidFill>
                <a:ea typeface="Roboto" panose="02000000000000000000" pitchFamily="2" charset="0"/>
              </a:defRPr>
            </a:lvl1pPr>
          </a:lstStyle>
          <a:p>
            <a:pPr marL="0" lvl="0"/>
            <a:r>
              <a:rPr lang="en-US" dirty="0"/>
              <a:t>CLICK TO EDIT</a:t>
            </a:r>
            <a:endParaRPr lang="en-US" dirty="0"/>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showMasterSp="0" userDrawn="1">
  <p:cSld name="3_Blank">
    <p:spTree>
      <p:nvGrpSpPr>
        <p:cNvPr id="1" name=""/>
        <p:cNvGrpSpPr/>
        <p:nvPr/>
      </p:nvGrpSpPr>
      <p:grpSpPr>
        <a:xfrm>
          <a:off x="0" y="0"/>
          <a:ext cx="0" cy="0"/>
          <a:chOff x="0" y="0"/>
          <a:chExt cx="0" cy="0"/>
        </a:xfrm>
      </p:grpSpPr>
      <p:sp>
        <p:nvSpPr>
          <p:cNvPr id="9" name="Content Placeholder 2"/>
          <p:cNvSpPr>
            <a:spLocks noGrp="1"/>
          </p:cNvSpPr>
          <p:nvPr>
            <p:ph idx="1"/>
          </p:nvPr>
        </p:nvSpPr>
        <p:spPr>
          <a:xfrm>
            <a:off x="0" y="0"/>
            <a:ext cx="12192000" cy="6858000"/>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Slide Number Placeholder 3"/>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
        <p:nvSpPr>
          <p:cNvPr id="5" name="Freeform 4"/>
          <p:cNvSpPr/>
          <p:nvPr userDrawn="1"/>
        </p:nvSpPr>
        <p:spPr>
          <a:xfrm flipH="1">
            <a:off x="-1" y="0"/>
            <a:ext cx="5800428" cy="6858000"/>
          </a:xfrm>
          <a:custGeom>
            <a:avLst/>
            <a:gdLst>
              <a:gd name="connsiteX0" fmla="*/ 6216694 w 6216694"/>
              <a:gd name="connsiteY0" fmla="*/ 0 h 6858000"/>
              <a:gd name="connsiteX1" fmla="*/ 4121942 w 6216694"/>
              <a:gd name="connsiteY1" fmla="*/ 0 h 6858000"/>
              <a:gd name="connsiteX2" fmla="*/ 2162482 w 6216694"/>
              <a:gd name="connsiteY2" fmla="*/ 0 h 6858000"/>
              <a:gd name="connsiteX3" fmla="*/ 1845641 w 6216694"/>
              <a:gd name="connsiteY3" fmla="*/ 0 h 6858000"/>
              <a:gd name="connsiteX4" fmla="*/ 0 w 6216694"/>
              <a:gd name="connsiteY4" fmla="*/ 6858000 h 6858000"/>
              <a:gd name="connsiteX5" fmla="*/ 2162482 w 6216694"/>
              <a:gd name="connsiteY5" fmla="*/ 6858000 h 6858000"/>
              <a:gd name="connsiteX6" fmla="*/ 2276301 w 6216694"/>
              <a:gd name="connsiteY6" fmla="*/ 6858000 h 6858000"/>
              <a:gd name="connsiteX7" fmla="*/ 6216694 w 621669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6694" h="6858000">
                <a:moveTo>
                  <a:pt x="6216694" y="0"/>
                </a:moveTo>
                <a:lnTo>
                  <a:pt x="4121942" y="0"/>
                </a:lnTo>
                <a:lnTo>
                  <a:pt x="2162482" y="0"/>
                </a:lnTo>
                <a:lnTo>
                  <a:pt x="1845641" y="0"/>
                </a:lnTo>
                <a:lnTo>
                  <a:pt x="0" y="6858000"/>
                </a:lnTo>
                <a:lnTo>
                  <a:pt x="2162482" y="6858000"/>
                </a:lnTo>
                <a:lnTo>
                  <a:pt x="2276301" y="6858000"/>
                </a:lnTo>
                <a:lnTo>
                  <a:pt x="6216694"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6" name="Group 5"/>
          <p:cNvGrpSpPr/>
          <p:nvPr userDrawn="1"/>
        </p:nvGrpSpPr>
        <p:grpSpPr>
          <a:xfrm flipV="1">
            <a:off x="-590035" y="3937472"/>
            <a:ext cx="8655637" cy="3661088"/>
            <a:chOff x="-110315" y="-141204"/>
            <a:chExt cx="1656388" cy="700605"/>
          </a:xfrm>
        </p:grpSpPr>
        <p:sp>
          <p:nvSpPr>
            <p:cNvPr id="7" name="Freeform 6"/>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1">
                <a:lumMod val="50000"/>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Freeform 7"/>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lumMod val="75000"/>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showMasterSp="0" userDrawn="1">
  <p:cSld name="9_Blank">
    <p:spTree>
      <p:nvGrpSpPr>
        <p:cNvPr id="1" name=""/>
        <p:cNvGrpSpPr/>
        <p:nvPr/>
      </p:nvGrpSpPr>
      <p:grpSpPr>
        <a:xfrm>
          <a:off x="0" y="0"/>
          <a:ext cx="0" cy="0"/>
          <a:chOff x="0" y="0"/>
          <a:chExt cx="0" cy="0"/>
        </a:xfrm>
      </p:grpSpPr>
      <p:sp>
        <p:nvSpPr>
          <p:cNvPr id="9" name="Content Placeholder 2"/>
          <p:cNvSpPr>
            <a:spLocks noGrp="1"/>
          </p:cNvSpPr>
          <p:nvPr>
            <p:ph idx="1"/>
          </p:nvPr>
        </p:nvSpPr>
        <p:spPr>
          <a:xfrm>
            <a:off x="0" y="0"/>
            <a:ext cx="12192000" cy="6858000"/>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Slide Number Placeholder 3"/>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showMasterSp="0" userDrawn="1">
  <p:cSld name="17_Blank">
    <p:spTree>
      <p:nvGrpSpPr>
        <p:cNvPr id="1" name=""/>
        <p:cNvGrpSpPr/>
        <p:nvPr/>
      </p:nvGrpSpPr>
      <p:grpSpPr>
        <a:xfrm>
          <a:off x="0" y="0"/>
          <a:ext cx="0" cy="0"/>
          <a:chOff x="0" y="0"/>
          <a:chExt cx="0" cy="0"/>
        </a:xfrm>
      </p:grpSpPr>
      <p:sp>
        <p:nvSpPr>
          <p:cNvPr id="6" name="Content Placeholder 2"/>
          <p:cNvSpPr>
            <a:spLocks noGrp="1"/>
          </p:cNvSpPr>
          <p:nvPr>
            <p:ph idx="13"/>
          </p:nvPr>
        </p:nvSpPr>
        <p:spPr>
          <a:xfrm>
            <a:off x="6235513" y="3620606"/>
            <a:ext cx="4940487" cy="1524422"/>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9" name="Content Placeholder 2"/>
          <p:cNvSpPr>
            <a:spLocks noGrp="1"/>
          </p:cNvSpPr>
          <p:nvPr>
            <p:ph idx="1"/>
          </p:nvPr>
        </p:nvSpPr>
        <p:spPr>
          <a:xfrm>
            <a:off x="0" y="0"/>
            <a:ext cx="12192000" cy="6858000"/>
          </a:xfrm>
          <a:prstGeom prst="rect">
            <a:avLst/>
          </a:prstGeo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Slide Number Placeholder 3"/>
          <p:cNvSpPr>
            <a:spLocks noGrp="1"/>
          </p:cNvSpPr>
          <p:nvPr>
            <p:ph type="sldNum" sz="quarter" idx="12"/>
          </p:nvPr>
        </p:nvSpPr>
        <p:spPr/>
        <p:txBody>
          <a:bodyPr/>
          <a:lstStyle>
            <a:lvl1pPr algn="ctr">
              <a:defRPr/>
            </a:lvl1pPr>
          </a:lstStyle>
          <a:p>
            <a:fld id="{75F62417-4A12-46BB-B530-A96D3E44AFD3}" type="slidenum">
              <a:rPr lang="en-US" smtClean="0"/>
            </a:fld>
            <a:endParaRPr lang="en-US"/>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95" Type="http://schemas.openxmlformats.org/officeDocument/2006/relationships/theme" Target="../theme/theme1.xml"/><Relationship Id="rId94" Type="http://schemas.openxmlformats.org/officeDocument/2006/relationships/slideLayout" Target="../slideLayouts/slideLayout94.xml"/><Relationship Id="rId93" Type="http://schemas.openxmlformats.org/officeDocument/2006/relationships/slideLayout" Target="../slideLayouts/slideLayout93.xml"/><Relationship Id="rId92" Type="http://schemas.openxmlformats.org/officeDocument/2006/relationships/slideLayout" Target="../slideLayouts/slideLayout92.xml"/><Relationship Id="rId91" Type="http://schemas.openxmlformats.org/officeDocument/2006/relationships/slideLayout" Target="../slideLayouts/slideLayout91.xml"/><Relationship Id="rId90" Type="http://schemas.openxmlformats.org/officeDocument/2006/relationships/slideLayout" Target="../slideLayouts/slideLayout90.xml"/><Relationship Id="rId9" Type="http://schemas.openxmlformats.org/officeDocument/2006/relationships/slideLayout" Target="../slideLayouts/slideLayout9.xml"/><Relationship Id="rId89" Type="http://schemas.openxmlformats.org/officeDocument/2006/relationships/slideLayout" Target="../slideLayouts/slideLayout89.xml"/><Relationship Id="rId88" Type="http://schemas.openxmlformats.org/officeDocument/2006/relationships/slideLayout" Target="../slideLayouts/slideLayout88.xml"/><Relationship Id="rId87" Type="http://schemas.openxmlformats.org/officeDocument/2006/relationships/slideLayout" Target="../slideLayouts/slideLayout87.xml"/><Relationship Id="rId86" Type="http://schemas.openxmlformats.org/officeDocument/2006/relationships/slideLayout" Target="../slideLayouts/slideLayout86.xml"/><Relationship Id="rId85" Type="http://schemas.openxmlformats.org/officeDocument/2006/relationships/slideLayout" Target="../slideLayouts/slideLayout85.xml"/><Relationship Id="rId84" Type="http://schemas.openxmlformats.org/officeDocument/2006/relationships/slideLayout" Target="../slideLayouts/slideLayout84.xml"/><Relationship Id="rId83" Type="http://schemas.openxmlformats.org/officeDocument/2006/relationships/slideLayout" Target="../slideLayouts/slideLayout83.xml"/><Relationship Id="rId82" Type="http://schemas.openxmlformats.org/officeDocument/2006/relationships/slideLayout" Target="../slideLayouts/slideLayout82.xml"/><Relationship Id="rId81" Type="http://schemas.openxmlformats.org/officeDocument/2006/relationships/slideLayout" Target="../slideLayouts/slideLayout81.xml"/><Relationship Id="rId80" Type="http://schemas.openxmlformats.org/officeDocument/2006/relationships/slideLayout" Target="../slideLayouts/slideLayout80.xml"/><Relationship Id="rId8" Type="http://schemas.openxmlformats.org/officeDocument/2006/relationships/slideLayout" Target="../slideLayouts/slideLayout8.xml"/><Relationship Id="rId79" Type="http://schemas.openxmlformats.org/officeDocument/2006/relationships/slideLayout" Target="../slideLayouts/slideLayout79.xml"/><Relationship Id="rId78" Type="http://schemas.openxmlformats.org/officeDocument/2006/relationships/slideLayout" Target="../slideLayouts/slideLayout78.xml"/><Relationship Id="rId77" Type="http://schemas.openxmlformats.org/officeDocument/2006/relationships/slideLayout" Target="../slideLayouts/slideLayout77.xml"/><Relationship Id="rId76" Type="http://schemas.openxmlformats.org/officeDocument/2006/relationships/slideLayout" Target="../slideLayouts/slideLayout76.xml"/><Relationship Id="rId75" Type="http://schemas.openxmlformats.org/officeDocument/2006/relationships/slideLayout" Target="../slideLayouts/slideLayout75.xml"/><Relationship Id="rId74" Type="http://schemas.openxmlformats.org/officeDocument/2006/relationships/slideLayout" Target="../slideLayouts/slideLayout74.xml"/><Relationship Id="rId73" Type="http://schemas.openxmlformats.org/officeDocument/2006/relationships/slideLayout" Target="../slideLayouts/slideLayout73.xml"/><Relationship Id="rId72" Type="http://schemas.openxmlformats.org/officeDocument/2006/relationships/slideLayout" Target="../slideLayouts/slideLayout72.xml"/><Relationship Id="rId71" Type="http://schemas.openxmlformats.org/officeDocument/2006/relationships/slideLayout" Target="../slideLayouts/slideLayout71.xml"/><Relationship Id="rId70" Type="http://schemas.openxmlformats.org/officeDocument/2006/relationships/slideLayout" Target="../slideLayouts/slideLayout70.xml"/><Relationship Id="rId7" Type="http://schemas.openxmlformats.org/officeDocument/2006/relationships/slideLayout" Target="../slideLayouts/slideLayout7.xml"/><Relationship Id="rId69" Type="http://schemas.openxmlformats.org/officeDocument/2006/relationships/slideLayout" Target="../slideLayouts/slideLayout69.xml"/><Relationship Id="rId68" Type="http://schemas.openxmlformats.org/officeDocument/2006/relationships/slideLayout" Target="../slideLayouts/slideLayout68.xml"/><Relationship Id="rId67" Type="http://schemas.openxmlformats.org/officeDocument/2006/relationships/slideLayout" Target="../slideLayouts/slideLayout67.xml"/><Relationship Id="rId66" Type="http://schemas.openxmlformats.org/officeDocument/2006/relationships/slideLayout" Target="../slideLayouts/slideLayout66.xml"/><Relationship Id="rId65" Type="http://schemas.openxmlformats.org/officeDocument/2006/relationships/slideLayout" Target="../slideLayouts/slideLayout65.xml"/><Relationship Id="rId64" Type="http://schemas.openxmlformats.org/officeDocument/2006/relationships/slideLayout" Target="../slideLayouts/slideLayout64.xml"/><Relationship Id="rId63" Type="http://schemas.openxmlformats.org/officeDocument/2006/relationships/slideLayout" Target="../slideLayouts/slideLayout63.xml"/><Relationship Id="rId62" Type="http://schemas.openxmlformats.org/officeDocument/2006/relationships/slideLayout" Target="../slideLayouts/slideLayout62.xml"/><Relationship Id="rId61" Type="http://schemas.openxmlformats.org/officeDocument/2006/relationships/slideLayout" Target="../slideLayouts/slideLayout61.xml"/><Relationship Id="rId60" Type="http://schemas.openxmlformats.org/officeDocument/2006/relationships/slideLayout" Target="../slideLayouts/slideLayout60.xml"/><Relationship Id="rId6" Type="http://schemas.openxmlformats.org/officeDocument/2006/relationships/slideLayout" Target="../slideLayouts/slideLayout6.xml"/><Relationship Id="rId59" Type="http://schemas.openxmlformats.org/officeDocument/2006/relationships/slideLayout" Target="../slideLayouts/slideLayout59.xml"/><Relationship Id="rId58" Type="http://schemas.openxmlformats.org/officeDocument/2006/relationships/slideLayout" Target="../slideLayouts/slideLayout58.xml"/><Relationship Id="rId57" Type="http://schemas.openxmlformats.org/officeDocument/2006/relationships/slideLayout" Target="../slideLayouts/slideLayout57.xml"/><Relationship Id="rId56" Type="http://schemas.openxmlformats.org/officeDocument/2006/relationships/slideLayout" Target="../slideLayouts/slideLayout56.xml"/><Relationship Id="rId55" Type="http://schemas.openxmlformats.org/officeDocument/2006/relationships/slideLayout" Target="../slideLayouts/slideLayout55.xml"/><Relationship Id="rId54" Type="http://schemas.openxmlformats.org/officeDocument/2006/relationships/slideLayout" Target="../slideLayouts/slideLayout54.xml"/><Relationship Id="rId53" Type="http://schemas.openxmlformats.org/officeDocument/2006/relationships/slideLayout" Target="../slideLayouts/slideLayout53.xml"/><Relationship Id="rId52" Type="http://schemas.openxmlformats.org/officeDocument/2006/relationships/slideLayout" Target="../slideLayouts/slideLayout52.xml"/><Relationship Id="rId51" Type="http://schemas.openxmlformats.org/officeDocument/2006/relationships/slideLayout" Target="../slideLayouts/slideLayout51.xml"/><Relationship Id="rId50" Type="http://schemas.openxmlformats.org/officeDocument/2006/relationships/slideLayout" Target="../slideLayouts/slideLayout50.xml"/><Relationship Id="rId5" Type="http://schemas.openxmlformats.org/officeDocument/2006/relationships/slideLayout" Target="../slideLayouts/slideLayout5.xml"/><Relationship Id="rId49" Type="http://schemas.openxmlformats.org/officeDocument/2006/relationships/slideLayout" Target="../slideLayouts/slideLayout49.xml"/><Relationship Id="rId48" Type="http://schemas.openxmlformats.org/officeDocument/2006/relationships/slideLayout" Target="../slideLayouts/slideLayout48.xml"/><Relationship Id="rId47" Type="http://schemas.openxmlformats.org/officeDocument/2006/relationships/slideLayout" Target="../slideLayouts/slideLayout47.xml"/><Relationship Id="rId46" Type="http://schemas.openxmlformats.org/officeDocument/2006/relationships/slideLayout" Target="../slideLayouts/slideLayout46.xml"/><Relationship Id="rId45" Type="http://schemas.openxmlformats.org/officeDocument/2006/relationships/slideLayout" Target="../slideLayouts/slideLayout45.xml"/><Relationship Id="rId44" Type="http://schemas.openxmlformats.org/officeDocument/2006/relationships/slideLayout" Target="../slideLayouts/slideLayout44.xml"/><Relationship Id="rId43" Type="http://schemas.openxmlformats.org/officeDocument/2006/relationships/slideLayout" Target="../slideLayouts/slideLayout43.xml"/><Relationship Id="rId42" Type="http://schemas.openxmlformats.org/officeDocument/2006/relationships/slideLayout" Target="../slideLayouts/slideLayout42.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wrap="square" anchor="ctr">
            <a:noAutofit/>
          </a:bodyPr>
          <a:lstStyle/>
          <a:p>
            <a:pPr marL="0" lvl="0" fontAlgn="base">
              <a:spcAft>
                <a:spcPct val="0"/>
              </a:spcAft>
            </a:pPr>
            <a:r>
              <a:rPr lang="en-US" dirty="0"/>
              <a:t>Click to edit Master title style</a:t>
            </a:r>
            <a:endParaRPr lang="en-US" dirty="0"/>
          </a:p>
        </p:txBody>
      </p:sp>
      <p:cxnSp>
        <p:nvCxnSpPr>
          <p:cNvPr id="15" name="Straight Connector 14"/>
          <p:cNvCxnSpPr/>
          <p:nvPr userDrawn="1"/>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6" name="Slide Number Placeholder 5"/>
          <p:cNvSpPr>
            <a:spLocks noGrp="1"/>
          </p:cNvSpPr>
          <p:nvPr userDrawn="1">
            <p:ph type="sldNum" sz="quarter" idx="4"/>
          </p:nvPr>
        </p:nvSpPr>
        <p:spPr>
          <a:xfrm>
            <a:off x="10588943" y="6440085"/>
            <a:ext cx="429579" cy="140772"/>
          </a:xfrm>
          <a:prstGeom prst="rect">
            <a:avLst/>
          </a:prstGeom>
          <a:noFill/>
          <a:ln>
            <a:noFill/>
          </a:ln>
        </p:spPr>
        <p:txBody>
          <a:bodyPr wrap="square" anchor="ctr">
            <a:noAutofit/>
          </a:bodyPr>
          <a:lstStyle>
            <a:lvl1pPr>
              <a:defRPr lang="en-US" sz="1000" smtClean="0">
                <a:solidFill>
                  <a:schemeClr val="tx1">
                    <a:lumMod val="85000"/>
                    <a:lumOff val="15000"/>
                  </a:schemeClr>
                </a:solidFill>
                <a:latin typeface="Calibri Light" panose="020F0302020204030204" pitchFamily="34" charset="0"/>
                <a:ea typeface="Roboto" panose="02000000000000000000" pitchFamily="2" charset="0"/>
                <a:cs typeface="Roboto" panose="02000000000000000000" pitchFamily="2" charset="0"/>
              </a:defRPr>
            </a:lvl1pPr>
          </a:lstStyle>
          <a:p>
            <a:pPr algn="ctr"/>
            <a:fld id="{75F62417-4A12-46BB-B530-A96D3E44AFD3}" type="slidenum">
              <a:rPr lang="en-US" smtClean="0"/>
            </a:fld>
            <a:endParaRPr lang="en-US" dirty="0"/>
          </a:p>
        </p:txBody>
      </p:sp>
      <p:sp>
        <p:nvSpPr>
          <p:cNvPr id="8" name="Rectangle 7"/>
          <p:cNvSpPr/>
          <p:nvPr userDrawn="1"/>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userDrawn="1"/>
        </p:nvGrpSpPr>
        <p:grpSpPr>
          <a:xfrm>
            <a:off x="-110315" y="-141204"/>
            <a:ext cx="1197076" cy="506329"/>
            <a:chOff x="-110315" y="-141204"/>
            <a:chExt cx="1656388" cy="700605"/>
          </a:xfrm>
        </p:grpSpPr>
        <p:sp>
          <p:nvSpPr>
            <p:cNvPr id="27" name="Freeform 26"/>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 name="Freeform 22"/>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 id="2147483704" r:id="rId56"/>
    <p:sldLayoutId id="2147483705" r:id="rId57"/>
    <p:sldLayoutId id="2147483706" r:id="rId58"/>
    <p:sldLayoutId id="2147483707" r:id="rId59"/>
    <p:sldLayoutId id="2147483708" r:id="rId60"/>
    <p:sldLayoutId id="2147483709" r:id="rId61"/>
    <p:sldLayoutId id="2147483710" r:id="rId62"/>
    <p:sldLayoutId id="2147483711" r:id="rId63"/>
    <p:sldLayoutId id="2147483712" r:id="rId64"/>
    <p:sldLayoutId id="2147483713" r:id="rId65"/>
    <p:sldLayoutId id="2147483714" r:id="rId66"/>
    <p:sldLayoutId id="2147483715" r:id="rId67"/>
    <p:sldLayoutId id="2147483716" r:id="rId68"/>
    <p:sldLayoutId id="2147483717" r:id="rId69"/>
    <p:sldLayoutId id="2147483718" r:id="rId70"/>
    <p:sldLayoutId id="2147483719" r:id="rId71"/>
    <p:sldLayoutId id="2147483720" r:id="rId72"/>
    <p:sldLayoutId id="2147483721" r:id="rId73"/>
    <p:sldLayoutId id="2147483722" r:id="rId74"/>
    <p:sldLayoutId id="2147483723" r:id="rId75"/>
    <p:sldLayoutId id="2147483724" r:id="rId76"/>
    <p:sldLayoutId id="2147483725" r:id="rId77"/>
    <p:sldLayoutId id="2147483726" r:id="rId78"/>
    <p:sldLayoutId id="2147483727" r:id="rId79"/>
    <p:sldLayoutId id="2147483728" r:id="rId80"/>
    <p:sldLayoutId id="2147483729" r:id="rId81"/>
    <p:sldLayoutId id="2147483730" r:id="rId82"/>
    <p:sldLayoutId id="2147483731" r:id="rId83"/>
    <p:sldLayoutId id="2147483732" r:id="rId84"/>
    <p:sldLayoutId id="2147483733" r:id="rId85"/>
    <p:sldLayoutId id="2147483734" r:id="rId86"/>
    <p:sldLayoutId id="2147483735" r:id="rId87"/>
    <p:sldLayoutId id="2147483736" r:id="rId88"/>
    <p:sldLayoutId id="2147483737" r:id="rId89"/>
    <p:sldLayoutId id="2147483738" r:id="rId90"/>
    <p:sldLayoutId id="2147483739" r:id="rId91"/>
    <p:sldLayoutId id="2147483740" r:id="rId92"/>
    <p:sldLayoutId id="2147483741" r:id="rId93"/>
    <p:sldLayoutId id="2147483742" r:id="rId94"/>
  </p:sldLayoutIdLst>
  <p:hf hdr="0" ftr="0" dt="0"/>
  <p:txStyles>
    <p:titleStyle>
      <a:lvl1pPr algn="l" defTabSz="914400" rtl="0" eaLnBrk="1" latinLnBrk="0" hangingPunct="1">
        <a:lnSpc>
          <a:spcPct val="90000"/>
        </a:lnSpc>
        <a:spcBef>
          <a:spcPct val="0"/>
        </a:spcBef>
        <a:buNone/>
        <a:defRPr lang="en-US" sz="3600" b="1" kern="0" spc="-150" dirty="0">
          <a:solidFill>
            <a:schemeClr val="tx1">
              <a:lumMod val="75000"/>
              <a:lumOff val="25000"/>
            </a:schemeClr>
          </a:solidFill>
          <a:latin typeface="Playfair Display" panose="00000500000000000000" pitchFamily="2" charset="0"/>
          <a:ea typeface="Open Sans" panose="020B0606030504020204" pitchFamily="34" charset="0"/>
          <a:cs typeface="Lato" panose="020F050202020403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3.xml"/><Relationship Id="rId1" Type="http://schemas.openxmlformats.org/officeDocument/2006/relationships/image" Target="../media/image8.jpe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84.xml"/><Relationship Id="rId1" Type="http://schemas.openxmlformats.org/officeDocument/2006/relationships/image" Target="../media/image18.jpe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85.xml"/><Relationship Id="rId1" Type="http://schemas.openxmlformats.org/officeDocument/2006/relationships/image" Target="../media/image19.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image" Target="../media/image20.jpeg"/></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37.xml"/><Relationship Id="rId1" Type="http://schemas.openxmlformats.org/officeDocument/2006/relationships/image" Target="../media/image21.jpe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image" Target="../media/image22.jpeg"/></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56.xml"/><Relationship Id="rId1" Type="http://schemas.openxmlformats.org/officeDocument/2006/relationships/image" Target="../media/image23.jpe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image" Target="../media/image25.jpeg"/><Relationship Id="rId1" Type="http://schemas.openxmlformats.org/officeDocument/2006/relationships/image" Target="../media/image24.jpeg"/></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61.xml"/><Relationship Id="rId1" Type="http://schemas.openxmlformats.org/officeDocument/2006/relationships/image" Target="../media/image26.jpeg"/></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7.pn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7.xml"/><Relationship Id="rId1" Type="http://schemas.openxmlformats.org/officeDocument/2006/relationships/image" Target="../media/image9.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image" Target="../media/image28.jpeg"/><Relationship Id="rId1" Type="http://schemas.openxmlformats.org/officeDocument/2006/relationships/chart" Target="../charts/char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66.xml"/><Relationship Id="rId1" Type="http://schemas.openxmlformats.org/officeDocument/2006/relationships/tags" Target="../tags/tag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78.xml"/><Relationship Id="rId1" Type="http://schemas.openxmlformats.org/officeDocument/2006/relationships/image" Target="../media/image10.jpe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50.xml"/><Relationship Id="rId1" Type="http://schemas.openxmlformats.org/officeDocument/2006/relationships/image" Target="../media/image11.jpeg"/></Relationships>
</file>

<file path=ppt/slides/_rels/slide5.xml.rels><?xml version="1.0" encoding="UTF-8" standalone="yes"?>
<Relationships xmlns="http://schemas.openxmlformats.org/package/2006/relationships"><Relationship Id="rId9" Type="http://schemas.openxmlformats.org/officeDocument/2006/relationships/image" Target="../media/image13.jpeg"/><Relationship Id="rId8" Type="http://schemas.openxmlformats.org/officeDocument/2006/relationships/image" Target="../media/image12.jpeg"/><Relationship Id="rId7" Type="http://schemas.openxmlformats.org/officeDocument/2006/relationships/tags" Target="../tags/tag3.xml"/><Relationship Id="rId6" Type="http://schemas.openxmlformats.org/officeDocument/2006/relationships/tags" Target="../tags/tag2.xml"/><Relationship Id="rId5" Type="http://schemas.openxmlformats.org/officeDocument/2006/relationships/tags" Target="../tags/tag1.xml"/><Relationship Id="rId4" Type="http://schemas.microsoft.com/office/2007/relationships/hdphoto" Target="../media/image3.wdp"/><Relationship Id="rId3" Type="http://schemas.openxmlformats.org/officeDocument/2006/relationships/image" Target="../media/image2.png"/><Relationship Id="rId2" Type="http://schemas.openxmlformats.org/officeDocument/2006/relationships/image" Target="../media/image1.png"/><Relationship Id="rId10" Type="http://schemas.openxmlformats.org/officeDocument/2006/relationships/slideLayout" Target="../slideLayouts/slideLayout49.xml"/><Relationship Id="rId1" Type="http://schemas.openxmlformats.org/officeDocument/2006/relationships/chart" Target="../charts/chart1.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46.xml"/><Relationship Id="rId1" Type="http://schemas.openxmlformats.org/officeDocument/2006/relationships/image" Target="../media/image14.jpe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92.xml"/><Relationship Id="rId2" Type="http://schemas.openxmlformats.org/officeDocument/2006/relationships/tags" Target="../tags/tag4.xml"/><Relationship Id="rId1" Type="http://schemas.openxmlformats.org/officeDocument/2006/relationships/image" Target="../media/image15.jpe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44.xml"/><Relationship Id="rId1" Type="http://schemas.openxmlformats.org/officeDocument/2006/relationships/image" Target="../media/image16.jpe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43.xml"/><Relationship Id="rId1"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rotWithShape="1">
          <a:blip r:embed="rId1" cstate="screen"/>
          <a:srcRect/>
          <a:stretch>
            <a:fillRect/>
          </a:stretch>
        </p:blipFill>
        <p:spPr>
          <a:xfrm>
            <a:off x="0" y="1482435"/>
            <a:ext cx="12192000" cy="3893129"/>
          </a:xfrm>
          <a:prstGeom prst="rect">
            <a:avLst/>
          </a:prstGeom>
        </p:spPr>
      </p:pic>
      <p:sp>
        <p:nvSpPr>
          <p:cNvPr id="2" name="Rectangle 1"/>
          <p:cNvSpPr/>
          <p:nvPr/>
        </p:nvSpPr>
        <p:spPr>
          <a:xfrm>
            <a:off x="7785513" y="875873"/>
            <a:ext cx="3930724" cy="31055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7942580" y="2189105"/>
            <a:ext cx="4865976" cy="400110"/>
          </a:xfrm>
          <a:prstGeom prst="rect">
            <a:avLst/>
          </a:prstGeom>
        </p:spPr>
        <p:txBody>
          <a:bodyPr wrap="square">
            <a:spAutoFit/>
          </a:bodyPr>
          <a:lstStyle/>
          <a:p>
            <a:pPr>
              <a:buClr>
                <a:srgbClr val="E24848"/>
              </a:buClr>
              <a:defRPr/>
            </a:pPr>
            <a:r>
              <a:rPr lang="zh-CN" altLang="en-US" sz="2000" noProof="1">
                <a:solidFill>
                  <a:schemeClr val="bg1"/>
                </a:solidFill>
                <a:latin typeface="文悦古典明朝体 (非商业使用) W5" pitchFamily="50" charset="-122"/>
                <a:ea typeface="文悦古典明朝体 (非商业使用) W5" pitchFamily="50" charset="-122"/>
                <a:cs typeface="Open Sans Light" panose="020B0306030504020204" pitchFamily="34" charset="0"/>
              </a:rPr>
              <a:t>这就是我梦中最美的颜色</a:t>
            </a:r>
            <a:r>
              <a:rPr lang="en-US" altLang="zh-CN" sz="2000" noProof="1">
                <a:solidFill>
                  <a:schemeClr val="bg1"/>
                </a:solidFill>
                <a:latin typeface="文悦古典明朝体 (非商业使用) W5" pitchFamily="50" charset="-122"/>
                <a:ea typeface="文悦古典明朝体 (非商业使用) W5" pitchFamily="50" charset="-122"/>
                <a:cs typeface="Open Sans Light" panose="020B0306030504020204" pitchFamily="34" charset="0"/>
              </a:rPr>
              <a:t>~</a:t>
            </a:r>
            <a:endParaRPr lang="en-US" sz="2000" noProof="1">
              <a:solidFill>
                <a:schemeClr val="bg1"/>
              </a:solidFill>
              <a:latin typeface="文悦古典明朝体 (非商业使用) W5" pitchFamily="50" charset="-122"/>
              <a:ea typeface="文悦古典明朝体 (非商业使用) W5" pitchFamily="50" charset="-122"/>
              <a:cs typeface="Open Sans Light" panose="020B0306030504020204" pitchFamily="34" charset="0"/>
            </a:endParaRPr>
          </a:p>
        </p:txBody>
      </p:sp>
      <p:sp>
        <p:nvSpPr>
          <p:cNvPr id="13" name="Rectangle 12"/>
          <p:cNvSpPr/>
          <p:nvPr/>
        </p:nvSpPr>
        <p:spPr>
          <a:xfrm>
            <a:off x="7963219" y="2543452"/>
            <a:ext cx="3403281" cy="830997"/>
          </a:xfrm>
          <a:prstGeom prst="rect">
            <a:avLst/>
          </a:prstGeom>
        </p:spPr>
        <p:txBody>
          <a:bodyPr wrap="square">
            <a:spAutoFit/>
          </a:bodyPr>
          <a:lstStyle/>
          <a:p>
            <a:pPr>
              <a:buClr>
                <a:srgbClr val="E24848"/>
              </a:buClr>
              <a:defRPr/>
            </a:pPr>
            <a:r>
              <a:rPr lang="en-US" sz="1200"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a:t>
            </a:r>
            <a:endParaRPr lang="en-US" sz="1200" noProof="1">
              <a:solidFill>
                <a:schemeClr val="bg1"/>
              </a:solidFill>
              <a:latin typeface="+mj-lt"/>
              <a:ea typeface="Open Sans Light" panose="020B0306030504020204" pitchFamily="34" charset="0"/>
              <a:cs typeface="Open Sans Light" panose="020B0306030504020204" pitchFamily="34" charset="0"/>
            </a:endParaRPr>
          </a:p>
        </p:txBody>
      </p:sp>
      <p:sp>
        <p:nvSpPr>
          <p:cNvPr id="21" name="Freeform 20"/>
          <p:cNvSpPr/>
          <p:nvPr/>
        </p:nvSpPr>
        <p:spPr>
          <a:xfrm flipV="1">
            <a:off x="10793090" y="875872"/>
            <a:ext cx="923147" cy="215843"/>
          </a:xfrm>
          <a:custGeom>
            <a:avLst/>
            <a:gdLst>
              <a:gd name="connsiteX0" fmla="*/ 6216694 w 6216694"/>
              <a:gd name="connsiteY0" fmla="*/ 0 h 6858000"/>
              <a:gd name="connsiteX1" fmla="*/ 4121942 w 6216694"/>
              <a:gd name="connsiteY1" fmla="*/ 0 h 6858000"/>
              <a:gd name="connsiteX2" fmla="*/ 2162482 w 6216694"/>
              <a:gd name="connsiteY2" fmla="*/ 0 h 6858000"/>
              <a:gd name="connsiteX3" fmla="*/ 1845641 w 6216694"/>
              <a:gd name="connsiteY3" fmla="*/ 0 h 6858000"/>
              <a:gd name="connsiteX4" fmla="*/ 0 w 6216694"/>
              <a:gd name="connsiteY4" fmla="*/ 6858000 h 6858000"/>
              <a:gd name="connsiteX5" fmla="*/ 2162482 w 6216694"/>
              <a:gd name="connsiteY5" fmla="*/ 6858000 h 6858000"/>
              <a:gd name="connsiteX6" fmla="*/ 2276301 w 6216694"/>
              <a:gd name="connsiteY6" fmla="*/ 6858000 h 6858000"/>
              <a:gd name="connsiteX7" fmla="*/ 6216694 w 621669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6694" h="6858000">
                <a:moveTo>
                  <a:pt x="6216694" y="0"/>
                </a:moveTo>
                <a:lnTo>
                  <a:pt x="4121942" y="0"/>
                </a:lnTo>
                <a:lnTo>
                  <a:pt x="2162482" y="0"/>
                </a:lnTo>
                <a:lnTo>
                  <a:pt x="1845641" y="0"/>
                </a:lnTo>
                <a:lnTo>
                  <a:pt x="0" y="6858000"/>
                </a:lnTo>
                <a:lnTo>
                  <a:pt x="2162482" y="6858000"/>
                </a:lnTo>
                <a:lnTo>
                  <a:pt x="2276301" y="6858000"/>
                </a:lnTo>
                <a:lnTo>
                  <a:pt x="6216694"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Title 1"/>
          <p:cNvSpPr txBox="1"/>
          <p:nvPr/>
        </p:nvSpPr>
        <p:spPr>
          <a:xfrm>
            <a:off x="7891780" y="1091716"/>
            <a:ext cx="2705797" cy="1062387"/>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zh-CN" altLang="en-US" sz="6600" spc="-151" dirty="0">
                <a:solidFill>
                  <a:schemeClr val="bg1"/>
                </a:solidFill>
                <a:latin typeface="文悦古典明朝体 (非商业使用) W5" pitchFamily="50" charset="-122"/>
                <a:ea typeface="文悦古典明朝体 (非商业使用) W5" pitchFamily="50" charset="-122"/>
                <a:cs typeface="Lato" panose="020F0502020204030203" pitchFamily="34" charset="0"/>
              </a:rPr>
              <a:t>珊瑚色</a:t>
            </a:r>
            <a:endParaRPr lang="en-US" sz="6600" spc="-151" dirty="0">
              <a:solidFill>
                <a:schemeClr val="bg1"/>
              </a:solidFill>
              <a:latin typeface="文悦古典明朝体 (非商业使用) W5" pitchFamily="50" charset="-122"/>
              <a:ea typeface="文悦古典明朝体 (非商业使用) W5" pitchFamily="50" charset="-122"/>
              <a:cs typeface="Lato" panose="020F0502020204030203" pitchFamily="34" charset="0"/>
            </a:endParaRPr>
          </a:p>
        </p:txBody>
      </p:sp>
      <p:sp>
        <p:nvSpPr>
          <p:cNvPr id="24" name="Rectangle 23"/>
          <p:cNvSpPr/>
          <p:nvPr/>
        </p:nvSpPr>
        <p:spPr>
          <a:xfrm>
            <a:off x="11018886" y="6430516"/>
            <a:ext cx="946673" cy="159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Connector 25"/>
          <p:cNvCxnSpPr/>
          <p:nvPr/>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9" name="Title 11"/>
          <p:cNvSpPr txBox="1"/>
          <p:nvPr/>
        </p:nvSpPr>
        <p:spPr>
          <a:xfrm>
            <a:off x="693461" y="500131"/>
            <a:ext cx="3436056" cy="192814"/>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100" dirty="0">
                <a:solidFill>
                  <a:schemeClr val="accent1"/>
                </a:solidFill>
                <a:ea typeface="Open Sans Light" panose="020B0306030504020204" pitchFamily="34" charset="0"/>
                <a:cs typeface="Open Sans Light" panose="020B0306030504020204" pitchFamily="34" charset="0"/>
              </a:rPr>
              <a:t>Insert Your Creative Idea </a:t>
            </a:r>
            <a:endParaRPr lang="en-US" sz="1100" dirty="0">
              <a:solidFill>
                <a:schemeClr val="accent1"/>
              </a:solidFill>
              <a:ea typeface="Open Sans Light" panose="020B0306030504020204" pitchFamily="34" charset="0"/>
              <a:cs typeface="Open Sans Light" panose="020B0306030504020204" pitchFamily="34" charset="0"/>
            </a:endParaRPr>
          </a:p>
        </p:txBody>
      </p:sp>
      <p:sp>
        <p:nvSpPr>
          <p:cNvPr id="20" name="Title 11"/>
          <p:cNvSpPr txBox="1"/>
          <p:nvPr/>
        </p:nvSpPr>
        <p:spPr>
          <a:xfrm>
            <a:off x="677333" y="258714"/>
            <a:ext cx="4064000" cy="241417"/>
          </a:xfrm>
          <a:prstGeom prst="rect">
            <a:avLst/>
          </a:prstGeom>
        </p:spPr>
        <p:txBody>
          <a:bodyPr vert="horz" wrap="square"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400" b="1" dirty="0">
                <a:solidFill>
                  <a:schemeClr val="tx1">
                    <a:lumMod val="85000"/>
                    <a:lumOff val="15000"/>
                  </a:schemeClr>
                </a:solidFill>
                <a:latin typeface="Playfair Display" panose="00000500000000000000" pitchFamily="2" charset="0"/>
                <a:ea typeface="Roboto" panose="02000000000000000000" pitchFamily="2" charset="0"/>
                <a:cs typeface="Lato" panose="020F0502020204030203" pitchFamily="34" charset="0"/>
              </a:rPr>
              <a:t>About </a:t>
            </a:r>
            <a:r>
              <a:rPr lang="en-US" sz="1400" dirty="0">
                <a:solidFill>
                  <a:schemeClr val="tx1">
                    <a:lumMod val="85000"/>
                    <a:lumOff val="15000"/>
                  </a:schemeClr>
                </a:solidFill>
                <a:latin typeface="Playfair Display" panose="00000500000000000000" pitchFamily="2" charset="0"/>
                <a:ea typeface="Roboto" panose="02000000000000000000" pitchFamily="2" charset="0"/>
                <a:cs typeface="Lato" panose="020F0502020204030203" pitchFamily="34" charset="0"/>
              </a:rPr>
              <a:t>Us</a:t>
            </a:r>
            <a:endParaRPr lang="en-US" sz="1400" dirty="0">
              <a:solidFill>
                <a:schemeClr val="tx1">
                  <a:lumMod val="85000"/>
                  <a:lumOff val="15000"/>
                </a:schemeClr>
              </a:solidFill>
              <a:latin typeface="Playfair Display" panose="00000500000000000000" pitchFamily="2" charset="0"/>
              <a:ea typeface="Roboto" panose="02000000000000000000" pitchFamily="2" charset="0"/>
              <a:cs typeface="Lato" panose="020F0502020204030203" pitchFamily="34" charset="0"/>
            </a:endParaRPr>
          </a:p>
        </p:txBody>
      </p:sp>
      <p:sp>
        <p:nvSpPr>
          <p:cNvPr id="3" name="Slide Number Placeholder 2"/>
          <p:cNvSpPr>
            <a:spLocks noGrp="1"/>
          </p:cNvSpPr>
          <p:nvPr>
            <p:ph type="sldNum" sz="quarter" idx="12"/>
          </p:nvPr>
        </p:nvSpPr>
        <p:spPr/>
        <p:txBody>
          <a:bodyPr/>
          <a:lstStyle/>
          <a:p>
            <a:fld id="{75F62417-4A12-46BB-B530-A96D3E44AFD3}" type="slidenum">
              <a:rPr lang="en-US" smtClean="0"/>
            </a:fld>
            <a:endParaRPr lang="en-US"/>
          </a:p>
        </p:txBody>
      </p:sp>
      <p:grpSp>
        <p:nvGrpSpPr>
          <p:cNvPr id="18" name="Group 56"/>
          <p:cNvGrpSpPr/>
          <p:nvPr/>
        </p:nvGrpSpPr>
        <p:grpSpPr>
          <a:xfrm flipV="1">
            <a:off x="-124696" y="4710548"/>
            <a:ext cx="1956113" cy="827380"/>
            <a:chOff x="-110315" y="-141204"/>
            <a:chExt cx="1656388" cy="700605"/>
          </a:xfrm>
        </p:grpSpPr>
        <p:sp>
          <p:nvSpPr>
            <p:cNvPr id="22" name="Freeform 5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bg2"/>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 name="Freeform 58"/>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2">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Tree>
  </p:cSld>
  <p:clrMapOvr>
    <a:masterClrMapping/>
  </p:clrMapOvr>
  <p:transition spd="slow" advClick="0" advTm="0">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5" name="Straight Connector 44"/>
          <p:cNvCxnSpPr/>
          <p:nvPr/>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7" name="图片占位符 6"/>
          <p:cNvPicPr>
            <a:picLocks noGrp="1" noChangeAspect="1"/>
          </p:cNvPicPr>
          <p:nvPr>
            <p:ph type="pic" sz="quarter" idx="14"/>
          </p:nvPr>
        </p:nvPicPr>
        <p:blipFill>
          <a:blip r:embed="rId1" cstate="screen"/>
          <a:srcRect/>
          <a:stretch>
            <a:fillRect/>
          </a:stretch>
        </p:blipFill>
        <p:spPr>
          <a:solidFill>
            <a:schemeClr val="bg1">
              <a:lumMod val="85000"/>
            </a:schemeClr>
          </a:solidFill>
        </p:spPr>
      </p:pic>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sp>
        <p:nvSpPr>
          <p:cNvPr id="55" name="Rectangle 54"/>
          <p:cNvSpPr/>
          <p:nvPr/>
        </p:nvSpPr>
        <p:spPr>
          <a:xfrm>
            <a:off x="825500" y="3327400"/>
            <a:ext cx="7302500" cy="2742272"/>
          </a:xfrm>
          <a:prstGeom prst="rect">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dirty="0"/>
          </a:p>
        </p:txBody>
      </p:sp>
      <p:sp>
        <p:nvSpPr>
          <p:cNvPr id="3" name="Title 1"/>
          <p:cNvSpPr txBox="1"/>
          <p:nvPr/>
        </p:nvSpPr>
        <p:spPr>
          <a:xfrm>
            <a:off x="1222402" y="3770242"/>
            <a:ext cx="4251298" cy="1959164"/>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2800"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Under Perfect</a:t>
            </a:r>
            <a:endParaRPr lang="en-US" sz="2800"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a:p>
            <a:pPr algn="l"/>
            <a:r>
              <a:rPr lang="en-US" sz="2800"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Competition, In The Long Run No Company Makes</a:t>
            </a:r>
            <a:endParaRPr lang="en-US" sz="2800"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a:p>
            <a:pPr algn="l"/>
            <a:r>
              <a:rPr lang="en-US" sz="2800" spc="-151" dirty="0">
                <a:solidFill>
                  <a:schemeClr val="accent1"/>
                </a:solidFill>
                <a:latin typeface="Playfair Display" panose="00000500000000000000" pitchFamily="2" charset="0"/>
                <a:ea typeface="Open Sans" panose="020B0606030504020204" pitchFamily="34" charset="0"/>
                <a:cs typeface="Lato" panose="020F0502020204030203" pitchFamily="34" charset="0"/>
              </a:rPr>
              <a:t>An Economic Profit.</a:t>
            </a:r>
            <a:endParaRPr lang="en-US" sz="2800" spc="-151" dirty="0">
              <a:solidFill>
                <a:schemeClr val="accent1"/>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4" name="Rectangle 3"/>
          <p:cNvSpPr/>
          <p:nvPr/>
        </p:nvSpPr>
        <p:spPr>
          <a:xfrm>
            <a:off x="1276192" y="3508632"/>
            <a:ext cx="2156010" cy="261610"/>
          </a:xfrm>
          <a:prstGeom prst="rect">
            <a:avLst/>
          </a:prstGeom>
        </p:spPr>
        <p:txBody>
          <a:bodyPr wrap="square">
            <a:spAutoFit/>
          </a:bodyPr>
          <a:lstStyle/>
          <a:p>
            <a:pPr>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grpSp>
        <p:nvGrpSpPr>
          <p:cNvPr id="57" name="Group 56"/>
          <p:cNvGrpSpPr/>
          <p:nvPr/>
        </p:nvGrpSpPr>
        <p:grpSpPr>
          <a:xfrm flipV="1">
            <a:off x="1276192" y="2871498"/>
            <a:ext cx="1197076" cy="506329"/>
            <a:chOff x="-110315" y="-141204"/>
            <a:chExt cx="1656388" cy="700605"/>
          </a:xfrm>
        </p:grpSpPr>
        <p:sp>
          <p:nvSpPr>
            <p:cNvPr id="58" name="Freeform 57"/>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9" name="Freeform 58"/>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2">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0" name="Freeform 53"/>
          <p:cNvSpPr/>
          <p:nvPr/>
        </p:nvSpPr>
        <p:spPr bwMode="auto">
          <a:xfrm>
            <a:off x="6816724" y="4109267"/>
            <a:ext cx="688975" cy="1281113"/>
          </a:xfrm>
          <a:custGeom>
            <a:avLst/>
            <a:gdLst>
              <a:gd name="T0" fmla="*/ 1290 w 2168"/>
              <a:gd name="T1" fmla="*/ 36 h 4035"/>
              <a:gd name="T2" fmla="*/ 1486 w 2168"/>
              <a:gd name="T3" fmla="*/ 156 h 4035"/>
              <a:gd name="T4" fmla="*/ 1624 w 2168"/>
              <a:gd name="T5" fmla="*/ 339 h 4035"/>
              <a:gd name="T6" fmla="*/ 1682 w 2168"/>
              <a:gd name="T7" fmla="*/ 569 h 4035"/>
              <a:gd name="T8" fmla="*/ 1667 w 2168"/>
              <a:gd name="T9" fmla="*/ 738 h 4035"/>
              <a:gd name="T10" fmla="*/ 1612 w 2168"/>
              <a:gd name="T11" fmla="*/ 882 h 4035"/>
              <a:gd name="T12" fmla="*/ 1523 w 2168"/>
              <a:gd name="T13" fmla="*/ 1006 h 4035"/>
              <a:gd name="T14" fmla="*/ 1407 w 2168"/>
              <a:gd name="T15" fmla="*/ 1104 h 4035"/>
              <a:gd name="T16" fmla="*/ 1394 w 2168"/>
              <a:gd name="T17" fmla="*/ 1304 h 4035"/>
              <a:gd name="T18" fmla="*/ 1585 w 2168"/>
              <a:gd name="T19" fmla="*/ 1345 h 4035"/>
              <a:gd name="T20" fmla="*/ 1651 w 2168"/>
              <a:gd name="T21" fmla="*/ 1401 h 4035"/>
              <a:gd name="T22" fmla="*/ 1627 w 2168"/>
              <a:gd name="T23" fmla="*/ 1466 h 4035"/>
              <a:gd name="T24" fmla="*/ 1530 w 2168"/>
              <a:gd name="T25" fmla="*/ 1502 h 4035"/>
              <a:gd name="T26" fmla="*/ 1409 w 2168"/>
              <a:gd name="T27" fmla="*/ 2009 h 4035"/>
              <a:gd name="T28" fmla="*/ 1450 w 2168"/>
              <a:gd name="T29" fmla="*/ 2418 h 4035"/>
              <a:gd name="T30" fmla="*/ 1534 w 2168"/>
              <a:gd name="T31" fmla="*/ 2717 h 4035"/>
              <a:gd name="T32" fmla="*/ 1686 w 2168"/>
              <a:gd name="T33" fmla="*/ 2865 h 4035"/>
              <a:gd name="T34" fmla="*/ 1751 w 2168"/>
              <a:gd name="T35" fmla="*/ 2907 h 4035"/>
              <a:gd name="T36" fmla="*/ 1767 w 2168"/>
              <a:gd name="T37" fmla="*/ 2974 h 4035"/>
              <a:gd name="T38" fmla="*/ 1735 w 2168"/>
              <a:gd name="T39" fmla="*/ 3039 h 4035"/>
              <a:gd name="T40" fmla="*/ 1676 w 2168"/>
              <a:gd name="T41" fmla="*/ 3068 h 4035"/>
              <a:gd name="T42" fmla="*/ 2069 w 2168"/>
              <a:gd name="T43" fmla="*/ 3428 h 4035"/>
              <a:gd name="T44" fmla="*/ 2110 w 2168"/>
              <a:gd name="T45" fmla="*/ 3526 h 4035"/>
              <a:gd name="T46" fmla="*/ 2065 w 2168"/>
              <a:gd name="T47" fmla="*/ 3618 h 4035"/>
              <a:gd name="T48" fmla="*/ 2123 w 2168"/>
              <a:gd name="T49" fmla="*/ 3707 h 4035"/>
              <a:gd name="T50" fmla="*/ 2167 w 2168"/>
              <a:gd name="T51" fmla="*/ 3775 h 4035"/>
              <a:gd name="T52" fmla="*/ 2155 w 2168"/>
              <a:gd name="T53" fmla="*/ 3977 h 4035"/>
              <a:gd name="T54" fmla="*/ 2094 w 2168"/>
              <a:gd name="T55" fmla="*/ 4031 h 4035"/>
              <a:gd name="T56" fmla="*/ 65 w 2168"/>
              <a:gd name="T57" fmla="*/ 4026 h 4035"/>
              <a:gd name="T58" fmla="*/ 8 w 2168"/>
              <a:gd name="T59" fmla="*/ 3966 h 4035"/>
              <a:gd name="T60" fmla="*/ 4 w 2168"/>
              <a:gd name="T61" fmla="*/ 3765 h 4035"/>
              <a:gd name="T62" fmla="*/ 54 w 2168"/>
              <a:gd name="T63" fmla="*/ 3701 h 4035"/>
              <a:gd name="T64" fmla="*/ 93 w 2168"/>
              <a:gd name="T65" fmla="*/ 3607 h 4035"/>
              <a:gd name="T66" fmla="*/ 58 w 2168"/>
              <a:gd name="T67" fmla="*/ 3513 h 4035"/>
              <a:gd name="T68" fmla="*/ 148 w 2168"/>
              <a:gd name="T69" fmla="*/ 3383 h 4035"/>
              <a:gd name="T70" fmla="*/ 492 w 2168"/>
              <a:gd name="T71" fmla="*/ 3065 h 4035"/>
              <a:gd name="T72" fmla="*/ 427 w 2168"/>
              <a:gd name="T73" fmla="*/ 3032 h 4035"/>
              <a:gd name="T74" fmla="*/ 400 w 2168"/>
              <a:gd name="T75" fmla="*/ 2963 h 4035"/>
              <a:gd name="T76" fmla="*/ 424 w 2168"/>
              <a:gd name="T77" fmla="*/ 2899 h 4035"/>
              <a:gd name="T78" fmla="*/ 491 w 2168"/>
              <a:gd name="T79" fmla="*/ 2862 h 4035"/>
              <a:gd name="T80" fmla="*/ 648 w 2168"/>
              <a:gd name="T81" fmla="*/ 2685 h 4035"/>
              <a:gd name="T82" fmla="*/ 724 w 2168"/>
              <a:gd name="T83" fmla="*/ 2377 h 4035"/>
              <a:gd name="T84" fmla="*/ 763 w 2168"/>
              <a:gd name="T85" fmla="*/ 1910 h 4035"/>
              <a:gd name="T86" fmla="*/ 623 w 2168"/>
              <a:gd name="T87" fmla="*/ 1501 h 4035"/>
              <a:gd name="T88" fmla="*/ 534 w 2168"/>
              <a:gd name="T89" fmla="*/ 1459 h 4035"/>
              <a:gd name="T90" fmla="*/ 522 w 2168"/>
              <a:gd name="T91" fmla="*/ 1392 h 4035"/>
              <a:gd name="T92" fmla="*/ 596 w 2168"/>
              <a:gd name="T93" fmla="*/ 1341 h 4035"/>
              <a:gd name="T94" fmla="*/ 775 w 2168"/>
              <a:gd name="T95" fmla="*/ 1276 h 4035"/>
              <a:gd name="T96" fmla="*/ 745 w 2168"/>
              <a:gd name="T97" fmla="*/ 1093 h 4035"/>
              <a:gd name="T98" fmla="*/ 632 w 2168"/>
              <a:gd name="T99" fmla="*/ 992 h 4035"/>
              <a:gd name="T100" fmla="*/ 548 w 2168"/>
              <a:gd name="T101" fmla="*/ 865 h 4035"/>
              <a:gd name="T102" fmla="*/ 497 w 2168"/>
              <a:gd name="T103" fmla="*/ 718 h 4035"/>
              <a:gd name="T104" fmla="*/ 488 w 2168"/>
              <a:gd name="T105" fmla="*/ 537 h 4035"/>
              <a:gd name="T106" fmla="*/ 558 w 2168"/>
              <a:gd name="T107" fmla="*/ 313 h 4035"/>
              <a:gd name="T108" fmla="*/ 703 w 2168"/>
              <a:gd name="T109" fmla="*/ 137 h 4035"/>
              <a:gd name="T110" fmla="*/ 906 w 2168"/>
              <a:gd name="T111" fmla="*/ 27 h 4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68" h="4035">
                <a:moveTo>
                  <a:pt x="1084" y="0"/>
                </a:moveTo>
                <a:lnTo>
                  <a:pt x="1115" y="1"/>
                </a:lnTo>
                <a:lnTo>
                  <a:pt x="1146" y="3"/>
                </a:lnTo>
                <a:lnTo>
                  <a:pt x="1175" y="6"/>
                </a:lnTo>
                <a:lnTo>
                  <a:pt x="1205" y="12"/>
                </a:lnTo>
                <a:lnTo>
                  <a:pt x="1233" y="19"/>
                </a:lnTo>
                <a:lnTo>
                  <a:pt x="1263" y="27"/>
                </a:lnTo>
                <a:lnTo>
                  <a:pt x="1290" y="36"/>
                </a:lnTo>
                <a:lnTo>
                  <a:pt x="1318" y="47"/>
                </a:lnTo>
                <a:lnTo>
                  <a:pt x="1344" y="59"/>
                </a:lnTo>
                <a:lnTo>
                  <a:pt x="1369" y="72"/>
                </a:lnTo>
                <a:lnTo>
                  <a:pt x="1394" y="86"/>
                </a:lnTo>
                <a:lnTo>
                  <a:pt x="1419" y="102"/>
                </a:lnTo>
                <a:lnTo>
                  <a:pt x="1443" y="119"/>
                </a:lnTo>
                <a:lnTo>
                  <a:pt x="1465" y="137"/>
                </a:lnTo>
                <a:lnTo>
                  <a:pt x="1486" y="156"/>
                </a:lnTo>
                <a:lnTo>
                  <a:pt x="1508" y="175"/>
                </a:lnTo>
                <a:lnTo>
                  <a:pt x="1528" y="196"/>
                </a:lnTo>
                <a:lnTo>
                  <a:pt x="1546" y="218"/>
                </a:lnTo>
                <a:lnTo>
                  <a:pt x="1564" y="240"/>
                </a:lnTo>
                <a:lnTo>
                  <a:pt x="1581" y="264"/>
                </a:lnTo>
                <a:lnTo>
                  <a:pt x="1597" y="289"/>
                </a:lnTo>
                <a:lnTo>
                  <a:pt x="1611" y="313"/>
                </a:lnTo>
                <a:lnTo>
                  <a:pt x="1624" y="339"/>
                </a:lnTo>
                <a:lnTo>
                  <a:pt x="1636" y="366"/>
                </a:lnTo>
                <a:lnTo>
                  <a:pt x="1647" y="393"/>
                </a:lnTo>
                <a:lnTo>
                  <a:pt x="1656" y="421"/>
                </a:lnTo>
                <a:lnTo>
                  <a:pt x="1664" y="449"/>
                </a:lnTo>
                <a:lnTo>
                  <a:pt x="1671" y="479"/>
                </a:lnTo>
                <a:lnTo>
                  <a:pt x="1676" y="508"/>
                </a:lnTo>
                <a:lnTo>
                  <a:pt x="1680" y="537"/>
                </a:lnTo>
                <a:lnTo>
                  <a:pt x="1682" y="569"/>
                </a:lnTo>
                <a:lnTo>
                  <a:pt x="1683" y="599"/>
                </a:lnTo>
                <a:lnTo>
                  <a:pt x="1683" y="619"/>
                </a:lnTo>
                <a:lnTo>
                  <a:pt x="1682" y="639"/>
                </a:lnTo>
                <a:lnTo>
                  <a:pt x="1680" y="660"/>
                </a:lnTo>
                <a:lnTo>
                  <a:pt x="1678" y="680"/>
                </a:lnTo>
                <a:lnTo>
                  <a:pt x="1675" y="699"/>
                </a:lnTo>
                <a:lnTo>
                  <a:pt x="1671" y="718"/>
                </a:lnTo>
                <a:lnTo>
                  <a:pt x="1667" y="738"/>
                </a:lnTo>
                <a:lnTo>
                  <a:pt x="1662" y="757"/>
                </a:lnTo>
                <a:lnTo>
                  <a:pt x="1656" y="775"/>
                </a:lnTo>
                <a:lnTo>
                  <a:pt x="1651" y="795"/>
                </a:lnTo>
                <a:lnTo>
                  <a:pt x="1644" y="813"/>
                </a:lnTo>
                <a:lnTo>
                  <a:pt x="1637" y="831"/>
                </a:lnTo>
                <a:lnTo>
                  <a:pt x="1629" y="849"/>
                </a:lnTo>
                <a:lnTo>
                  <a:pt x="1621" y="865"/>
                </a:lnTo>
                <a:lnTo>
                  <a:pt x="1612" y="882"/>
                </a:lnTo>
                <a:lnTo>
                  <a:pt x="1602" y="899"/>
                </a:lnTo>
                <a:lnTo>
                  <a:pt x="1593" y="916"/>
                </a:lnTo>
                <a:lnTo>
                  <a:pt x="1582" y="932"/>
                </a:lnTo>
                <a:lnTo>
                  <a:pt x="1572" y="947"/>
                </a:lnTo>
                <a:lnTo>
                  <a:pt x="1561" y="962"/>
                </a:lnTo>
                <a:lnTo>
                  <a:pt x="1548" y="978"/>
                </a:lnTo>
                <a:lnTo>
                  <a:pt x="1536" y="992"/>
                </a:lnTo>
                <a:lnTo>
                  <a:pt x="1523" y="1006"/>
                </a:lnTo>
                <a:lnTo>
                  <a:pt x="1510" y="1019"/>
                </a:lnTo>
                <a:lnTo>
                  <a:pt x="1496" y="1033"/>
                </a:lnTo>
                <a:lnTo>
                  <a:pt x="1483" y="1046"/>
                </a:lnTo>
                <a:lnTo>
                  <a:pt x="1468" y="1059"/>
                </a:lnTo>
                <a:lnTo>
                  <a:pt x="1454" y="1070"/>
                </a:lnTo>
                <a:lnTo>
                  <a:pt x="1438" y="1082"/>
                </a:lnTo>
                <a:lnTo>
                  <a:pt x="1422" y="1093"/>
                </a:lnTo>
                <a:lnTo>
                  <a:pt x="1407" y="1104"/>
                </a:lnTo>
                <a:lnTo>
                  <a:pt x="1391" y="1114"/>
                </a:lnTo>
                <a:lnTo>
                  <a:pt x="1391" y="1141"/>
                </a:lnTo>
                <a:lnTo>
                  <a:pt x="1392" y="1168"/>
                </a:lnTo>
                <a:lnTo>
                  <a:pt x="1392" y="1195"/>
                </a:lnTo>
                <a:lnTo>
                  <a:pt x="1393" y="1222"/>
                </a:lnTo>
                <a:lnTo>
                  <a:pt x="1393" y="1249"/>
                </a:lnTo>
                <a:lnTo>
                  <a:pt x="1394" y="1276"/>
                </a:lnTo>
                <a:lnTo>
                  <a:pt x="1394" y="1304"/>
                </a:lnTo>
                <a:lnTo>
                  <a:pt x="1394" y="1331"/>
                </a:lnTo>
                <a:lnTo>
                  <a:pt x="1499" y="1331"/>
                </a:lnTo>
                <a:lnTo>
                  <a:pt x="1514" y="1332"/>
                </a:lnTo>
                <a:lnTo>
                  <a:pt x="1530" y="1333"/>
                </a:lnTo>
                <a:lnTo>
                  <a:pt x="1545" y="1335"/>
                </a:lnTo>
                <a:lnTo>
                  <a:pt x="1558" y="1338"/>
                </a:lnTo>
                <a:lnTo>
                  <a:pt x="1572" y="1341"/>
                </a:lnTo>
                <a:lnTo>
                  <a:pt x="1585" y="1345"/>
                </a:lnTo>
                <a:lnTo>
                  <a:pt x="1597" y="1351"/>
                </a:lnTo>
                <a:lnTo>
                  <a:pt x="1608" y="1357"/>
                </a:lnTo>
                <a:lnTo>
                  <a:pt x="1618" y="1362"/>
                </a:lnTo>
                <a:lnTo>
                  <a:pt x="1627" y="1369"/>
                </a:lnTo>
                <a:lnTo>
                  <a:pt x="1635" y="1377"/>
                </a:lnTo>
                <a:lnTo>
                  <a:pt x="1642" y="1384"/>
                </a:lnTo>
                <a:lnTo>
                  <a:pt x="1646" y="1392"/>
                </a:lnTo>
                <a:lnTo>
                  <a:pt x="1651" y="1401"/>
                </a:lnTo>
                <a:lnTo>
                  <a:pt x="1653" y="1408"/>
                </a:lnTo>
                <a:lnTo>
                  <a:pt x="1653" y="1417"/>
                </a:lnTo>
                <a:lnTo>
                  <a:pt x="1653" y="1426"/>
                </a:lnTo>
                <a:lnTo>
                  <a:pt x="1651" y="1435"/>
                </a:lnTo>
                <a:lnTo>
                  <a:pt x="1646" y="1443"/>
                </a:lnTo>
                <a:lnTo>
                  <a:pt x="1642" y="1451"/>
                </a:lnTo>
                <a:lnTo>
                  <a:pt x="1635" y="1459"/>
                </a:lnTo>
                <a:lnTo>
                  <a:pt x="1627" y="1466"/>
                </a:lnTo>
                <a:lnTo>
                  <a:pt x="1618" y="1473"/>
                </a:lnTo>
                <a:lnTo>
                  <a:pt x="1608" y="1478"/>
                </a:lnTo>
                <a:lnTo>
                  <a:pt x="1597" y="1484"/>
                </a:lnTo>
                <a:lnTo>
                  <a:pt x="1585" y="1489"/>
                </a:lnTo>
                <a:lnTo>
                  <a:pt x="1572" y="1494"/>
                </a:lnTo>
                <a:lnTo>
                  <a:pt x="1558" y="1497"/>
                </a:lnTo>
                <a:lnTo>
                  <a:pt x="1545" y="1501"/>
                </a:lnTo>
                <a:lnTo>
                  <a:pt x="1530" y="1502"/>
                </a:lnTo>
                <a:lnTo>
                  <a:pt x="1514" y="1504"/>
                </a:lnTo>
                <a:lnTo>
                  <a:pt x="1499" y="1504"/>
                </a:lnTo>
                <a:lnTo>
                  <a:pt x="1396" y="1504"/>
                </a:lnTo>
                <a:lnTo>
                  <a:pt x="1398" y="1607"/>
                </a:lnTo>
                <a:lnTo>
                  <a:pt x="1399" y="1709"/>
                </a:lnTo>
                <a:lnTo>
                  <a:pt x="1401" y="1811"/>
                </a:lnTo>
                <a:lnTo>
                  <a:pt x="1404" y="1910"/>
                </a:lnTo>
                <a:lnTo>
                  <a:pt x="1409" y="2009"/>
                </a:lnTo>
                <a:lnTo>
                  <a:pt x="1414" y="2104"/>
                </a:lnTo>
                <a:lnTo>
                  <a:pt x="1418" y="2152"/>
                </a:lnTo>
                <a:lnTo>
                  <a:pt x="1422" y="2198"/>
                </a:lnTo>
                <a:lnTo>
                  <a:pt x="1427" y="2244"/>
                </a:lnTo>
                <a:lnTo>
                  <a:pt x="1432" y="2289"/>
                </a:lnTo>
                <a:lnTo>
                  <a:pt x="1438" y="2333"/>
                </a:lnTo>
                <a:lnTo>
                  <a:pt x="1444" y="2377"/>
                </a:lnTo>
                <a:lnTo>
                  <a:pt x="1450" y="2418"/>
                </a:lnTo>
                <a:lnTo>
                  <a:pt x="1458" y="2460"/>
                </a:lnTo>
                <a:lnTo>
                  <a:pt x="1467" y="2500"/>
                </a:lnTo>
                <a:lnTo>
                  <a:pt x="1476" y="2540"/>
                </a:lnTo>
                <a:lnTo>
                  <a:pt x="1486" y="2578"/>
                </a:lnTo>
                <a:lnTo>
                  <a:pt x="1496" y="2614"/>
                </a:lnTo>
                <a:lnTo>
                  <a:pt x="1508" y="2650"/>
                </a:lnTo>
                <a:lnTo>
                  <a:pt x="1520" y="2685"/>
                </a:lnTo>
                <a:lnTo>
                  <a:pt x="1534" y="2717"/>
                </a:lnTo>
                <a:lnTo>
                  <a:pt x="1548" y="2750"/>
                </a:lnTo>
                <a:lnTo>
                  <a:pt x="1564" y="2780"/>
                </a:lnTo>
                <a:lnTo>
                  <a:pt x="1580" y="2808"/>
                </a:lnTo>
                <a:lnTo>
                  <a:pt x="1598" y="2836"/>
                </a:lnTo>
                <a:lnTo>
                  <a:pt x="1616" y="2862"/>
                </a:lnTo>
                <a:lnTo>
                  <a:pt x="1666" y="2862"/>
                </a:lnTo>
                <a:lnTo>
                  <a:pt x="1676" y="2862"/>
                </a:lnTo>
                <a:lnTo>
                  <a:pt x="1686" y="2865"/>
                </a:lnTo>
                <a:lnTo>
                  <a:pt x="1697" y="2867"/>
                </a:lnTo>
                <a:lnTo>
                  <a:pt x="1706" y="2870"/>
                </a:lnTo>
                <a:lnTo>
                  <a:pt x="1715" y="2875"/>
                </a:lnTo>
                <a:lnTo>
                  <a:pt x="1724" y="2879"/>
                </a:lnTo>
                <a:lnTo>
                  <a:pt x="1731" y="2885"/>
                </a:lnTo>
                <a:lnTo>
                  <a:pt x="1738" y="2892"/>
                </a:lnTo>
                <a:lnTo>
                  <a:pt x="1745" y="2899"/>
                </a:lnTo>
                <a:lnTo>
                  <a:pt x="1751" y="2907"/>
                </a:lnTo>
                <a:lnTo>
                  <a:pt x="1756" y="2915"/>
                </a:lnTo>
                <a:lnTo>
                  <a:pt x="1760" y="2924"/>
                </a:lnTo>
                <a:lnTo>
                  <a:pt x="1763" y="2933"/>
                </a:lnTo>
                <a:lnTo>
                  <a:pt x="1766" y="2943"/>
                </a:lnTo>
                <a:lnTo>
                  <a:pt x="1767" y="2953"/>
                </a:lnTo>
                <a:lnTo>
                  <a:pt x="1767" y="2963"/>
                </a:lnTo>
                <a:lnTo>
                  <a:pt x="1767" y="2963"/>
                </a:lnTo>
                <a:lnTo>
                  <a:pt x="1767" y="2974"/>
                </a:lnTo>
                <a:lnTo>
                  <a:pt x="1766" y="2983"/>
                </a:lnTo>
                <a:lnTo>
                  <a:pt x="1764" y="2992"/>
                </a:lnTo>
                <a:lnTo>
                  <a:pt x="1761" y="3001"/>
                </a:lnTo>
                <a:lnTo>
                  <a:pt x="1757" y="3010"/>
                </a:lnTo>
                <a:lnTo>
                  <a:pt x="1753" y="3017"/>
                </a:lnTo>
                <a:lnTo>
                  <a:pt x="1747" y="3025"/>
                </a:lnTo>
                <a:lnTo>
                  <a:pt x="1742" y="3032"/>
                </a:lnTo>
                <a:lnTo>
                  <a:pt x="1735" y="3039"/>
                </a:lnTo>
                <a:lnTo>
                  <a:pt x="1728" y="3044"/>
                </a:lnTo>
                <a:lnTo>
                  <a:pt x="1720" y="3050"/>
                </a:lnTo>
                <a:lnTo>
                  <a:pt x="1712" y="3055"/>
                </a:lnTo>
                <a:lnTo>
                  <a:pt x="1703" y="3058"/>
                </a:lnTo>
                <a:lnTo>
                  <a:pt x="1694" y="3061"/>
                </a:lnTo>
                <a:lnTo>
                  <a:pt x="1685" y="3064"/>
                </a:lnTo>
                <a:lnTo>
                  <a:pt x="1675" y="3065"/>
                </a:lnTo>
                <a:lnTo>
                  <a:pt x="1676" y="3068"/>
                </a:lnTo>
                <a:lnTo>
                  <a:pt x="1726" y="3113"/>
                </a:lnTo>
                <a:lnTo>
                  <a:pt x="1774" y="3158"/>
                </a:lnTo>
                <a:lnTo>
                  <a:pt x="1824" y="3203"/>
                </a:lnTo>
                <a:lnTo>
                  <a:pt x="1873" y="3248"/>
                </a:lnTo>
                <a:lnTo>
                  <a:pt x="1921" y="3293"/>
                </a:lnTo>
                <a:lnTo>
                  <a:pt x="1971" y="3338"/>
                </a:lnTo>
                <a:lnTo>
                  <a:pt x="2020" y="3383"/>
                </a:lnTo>
                <a:lnTo>
                  <a:pt x="2069" y="3428"/>
                </a:lnTo>
                <a:lnTo>
                  <a:pt x="2080" y="3440"/>
                </a:lnTo>
                <a:lnTo>
                  <a:pt x="2089" y="3453"/>
                </a:lnTo>
                <a:lnTo>
                  <a:pt x="2096" y="3465"/>
                </a:lnTo>
                <a:lnTo>
                  <a:pt x="2101" y="3477"/>
                </a:lnTo>
                <a:lnTo>
                  <a:pt x="2106" y="3490"/>
                </a:lnTo>
                <a:lnTo>
                  <a:pt x="2109" y="3502"/>
                </a:lnTo>
                <a:lnTo>
                  <a:pt x="2110" y="3513"/>
                </a:lnTo>
                <a:lnTo>
                  <a:pt x="2110" y="3526"/>
                </a:lnTo>
                <a:lnTo>
                  <a:pt x="2108" y="3537"/>
                </a:lnTo>
                <a:lnTo>
                  <a:pt x="2106" y="3549"/>
                </a:lnTo>
                <a:lnTo>
                  <a:pt x="2102" y="3561"/>
                </a:lnTo>
                <a:lnTo>
                  <a:pt x="2097" y="3572"/>
                </a:lnTo>
                <a:lnTo>
                  <a:pt x="2090" y="3583"/>
                </a:lnTo>
                <a:lnTo>
                  <a:pt x="2083" y="3595"/>
                </a:lnTo>
                <a:lnTo>
                  <a:pt x="2074" y="3607"/>
                </a:lnTo>
                <a:lnTo>
                  <a:pt x="2065" y="3618"/>
                </a:lnTo>
                <a:lnTo>
                  <a:pt x="2065" y="3618"/>
                </a:lnTo>
                <a:lnTo>
                  <a:pt x="2065" y="3685"/>
                </a:lnTo>
                <a:lnTo>
                  <a:pt x="2077" y="3686"/>
                </a:lnTo>
                <a:lnTo>
                  <a:pt x="2087" y="3689"/>
                </a:lnTo>
                <a:lnTo>
                  <a:pt x="2096" y="3692"/>
                </a:lnTo>
                <a:lnTo>
                  <a:pt x="2106" y="3695"/>
                </a:lnTo>
                <a:lnTo>
                  <a:pt x="2115" y="3701"/>
                </a:lnTo>
                <a:lnTo>
                  <a:pt x="2123" y="3707"/>
                </a:lnTo>
                <a:lnTo>
                  <a:pt x="2131" y="3712"/>
                </a:lnTo>
                <a:lnTo>
                  <a:pt x="2138" y="3720"/>
                </a:lnTo>
                <a:lnTo>
                  <a:pt x="2145" y="3728"/>
                </a:lnTo>
                <a:lnTo>
                  <a:pt x="2151" y="3736"/>
                </a:lnTo>
                <a:lnTo>
                  <a:pt x="2155" y="3745"/>
                </a:lnTo>
                <a:lnTo>
                  <a:pt x="2160" y="3755"/>
                </a:lnTo>
                <a:lnTo>
                  <a:pt x="2163" y="3765"/>
                </a:lnTo>
                <a:lnTo>
                  <a:pt x="2167" y="3775"/>
                </a:lnTo>
                <a:lnTo>
                  <a:pt x="2168" y="3787"/>
                </a:lnTo>
                <a:lnTo>
                  <a:pt x="2168" y="3798"/>
                </a:lnTo>
                <a:lnTo>
                  <a:pt x="2168" y="3924"/>
                </a:lnTo>
                <a:lnTo>
                  <a:pt x="2168" y="3935"/>
                </a:lnTo>
                <a:lnTo>
                  <a:pt x="2165" y="3946"/>
                </a:lnTo>
                <a:lnTo>
                  <a:pt x="2163" y="3956"/>
                </a:lnTo>
                <a:lnTo>
                  <a:pt x="2160" y="3966"/>
                </a:lnTo>
                <a:lnTo>
                  <a:pt x="2155" y="3977"/>
                </a:lnTo>
                <a:lnTo>
                  <a:pt x="2150" y="3986"/>
                </a:lnTo>
                <a:lnTo>
                  <a:pt x="2144" y="3995"/>
                </a:lnTo>
                <a:lnTo>
                  <a:pt x="2137" y="4002"/>
                </a:lnTo>
                <a:lnTo>
                  <a:pt x="2129" y="4009"/>
                </a:lnTo>
                <a:lnTo>
                  <a:pt x="2122" y="4016"/>
                </a:lnTo>
                <a:lnTo>
                  <a:pt x="2113" y="4022"/>
                </a:lnTo>
                <a:lnTo>
                  <a:pt x="2102" y="4026"/>
                </a:lnTo>
                <a:lnTo>
                  <a:pt x="2094" y="4031"/>
                </a:lnTo>
                <a:lnTo>
                  <a:pt x="2083" y="4033"/>
                </a:lnTo>
                <a:lnTo>
                  <a:pt x="2072" y="4034"/>
                </a:lnTo>
                <a:lnTo>
                  <a:pt x="2062" y="4035"/>
                </a:lnTo>
                <a:lnTo>
                  <a:pt x="107" y="4035"/>
                </a:lnTo>
                <a:lnTo>
                  <a:pt x="96" y="4034"/>
                </a:lnTo>
                <a:lnTo>
                  <a:pt x="85" y="4033"/>
                </a:lnTo>
                <a:lnTo>
                  <a:pt x="75" y="4031"/>
                </a:lnTo>
                <a:lnTo>
                  <a:pt x="65" y="4026"/>
                </a:lnTo>
                <a:lnTo>
                  <a:pt x="56" y="4022"/>
                </a:lnTo>
                <a:lnTo>
                  <a:pt x="47" y="4016"/>
                </a:lnTo>
                <a:lnTo>
                  <a:pt x="39" y="4009"/>
                </a:lnTo>
                <a:lnTo>
                  <a:pt x="31" y="4002"/>
                </a:lnTo>
                <a:lnTo>
                  <a:pt x="25" y="3995"/>
                </a:lnTo>
                <a:lnTo>
                  <a:pt x="18" y="3986"/>
                </a:lnTo>
                <a:lnTo>
                  <a:pt x="12" y="3977"/>
                </a:lnTo>
                <a:lnTo>
                  <a:pt x="8" y="3966"/>
                </a:lnTo>
                <a:lnTo>
                  <a:pt x="4" y="3956"/>
                </a:lnTo>
                <a:lnTo>
                  <a:pt x="2" y="3946"/>
                </a:lnTo>
                <a:lnTo>
                  <a:pt x="0" y="3935"/>
                </a:lnTo>
                <a:lnTo>
                  <a:pt x="0" y="3924"/>
                </a:lnTo>
                <a:lnTo>
                  <a:pt x="0" y="3798"/>
                </a:lnTo>
                <a:lnTo>
                  <a:pt x="0" y="3787"/>
                </a:lnTo>
                <a:lnTo>
                  <a:pt x="2" y="3775"/>
                </a:lnTo>
                <a:lnTo>
                  <a:pt x="4" y="3765"/>
                </a:lnTo>
                <a:lnTo>
                  <a:pt x="8" y="3755"/>
                </a:lnTo>
                <a:lnTo>
                  <a:pt x="12" y="3745"/>
                </a:lnTo>
                <a:lnTo>
                  <a:pt x="18" y="3736"/>
                </a:lnTo>
                <a:lnTo>
                  <a:pt x="24" y="3728"/>
                </a:lnTo>
                <a:lnTo>
                  <a:pt x="30" y="3720"/>
                </a:lnTo>
                <a:lnTo>
                  <a:pt x="37" y="3712"/>
                </a:lnTo>
                <a:lnTo>
                  <a:pt x="45" y="3707"/>
                </a:lnTo>
                <a:lnTo>
                  <a:pt x="54" y="3701"/>
                </a:lnTo>
                <a:lnTo>
                  <a:pt x="63" y="3695"/>
                </a:lnTo>
                <a:lnTo>
                  <a:pt x="72" y="3692"/>
                </a:lnTo>
                <a:lnTo>
                  <a:pt x="82" y="3689"/>
                </a:lnTo>
                <a:lnTo>
                  <a:pt x="92" y="3686"/>
                </a:lnTo>
                <a:lnTo>
                  <a:pt x="102" y="3685"/>
                </a:lnTo>
                <a:lnTo>
                  <a:pt x="102" y="3618"/>
                </a:lnTo>
                <a:lnTo>
                  <a:pt x="103" y="3618"/>
                </a:lnTo>
                <a:lnTo>
                  <a:pt x="93" y="3607"/>
                </a:lnTo>
                <a:lnTo>
                  <a:pt x="85" y="3595"/>
                </a:lnTo>
                <a:lnTo>
                  <a:pt x="78" y="3583"/>
                </a:lnTo>
                <a:lnTo>
                  <a:pt x="71" y="3572"/>
                </a:lnTo>
                <a:lnTo>
                  <a:pt x="66" y="3561"/>
                </a:lnTo>
                <a:lnTo>
                  <a:pt x="62" y="3549"/>
                </a:lnTo>
                <a:lnTo>
                  <a:pt x="60" y="3537"/>
                </a:lnTo>
                <a:lnTo>
                  <a:pt x="58" y="3526"/>
                </a:lnTo>
                <a:lnTo>
                  <a:pt x="58" y="3513"/>
                </a:lnTo>
                <a:lnTo>
                  <a:pt x="60" y="3502"/>
                </a:lnTo>
                <a:lnTo>
                  <a:pt x="62" y="3490"/>
                </a:lnTo>
                <a:lnTo>
                  <a:pt x="66" y="3477"/>
                </a:lnTo>
                <a:lnTo>
                  <a:pt x="72" y="3465"/>
                </a:lnTo>
                <a:lnTo>
                  <a:pt x="80" y="3453"/>
                </a:lnTo>
                <a:lnTo>
                  <a:pt x="89" y="3440"/>
                </a:lnTo>
                <a:lnTo>
                  <a:pt x="99" y="3428"/>
                </a:lnTo>
                <a:lnTo>
                  <a:pt x="148" y="3383"/>
                </a:lnTo>
                <a:lnTo>
                  <a:pt x="197" y="3338"/>
                </a:lnTo>
                <a:lnTo>
                  <a:pt x="246" y="3293"/>
                </a:lnTo>
                <a:lnTo>
                  <a:pt x="296" y="3248"/>
                </a:lnTo>
                <a:lnTo>
                  <a:pt x="344" y="3203"/>
                </a:lnTo>
                <a:lnTo>
                  <a:pt x="394" y="3158"/>
                </a:lnTo>
                <a:lnTo>
                  <a:pt x="443" y="3113"/>
                </a:lnTo>
                <a:lnTo>
                  <a:pt x="491" y="3068"/>
                </a:lnTo>
                <a:lnTo>
                  <a:pt x="492" y="3065"/>
                </a:lnTo>
                <a:lnTo>
                  <a:pt x="482" y="3064"/>
                </a:lnTo>
                <a:lnTo>
                  <a:pt x="473" y="3061"/>
                </a:lnTo>
                <a:lnTo>
                  <a:pt x="464" y="3058"/>
                </a:lnTo>
                <a:lnTo>
                  <a:pt x="456" y="3055"/>
                </a:lnTo>
                <a:lnTo>
                  <a:pt x="449" y="3050"/>
                </a:lnTo>
                <a:lnTo>
                  <a:pt x="441" y="3044"/>
                </a:lnTo>
                <a:lnTo>
                  <a:pt x="434" y="3039"/>
                </a:lnTo>
                <a:lnTo>
                  <a:pt x="427" y="3032"/>
                </a:lnTo>
                <a:lnTo>
                  <a:pt x="420" y="3025"/>
                </a:lnTo>
                <a:lnTo>
                  <a:pt x="416" y="3017"/>
                </a:lnTo>
                <a:lnTo>
                  <a:pt x="412" y="3010"/>
                </a:lnTo>
                <a:lnTo>
                  <a:pt x="407" y="3001"/>
                </a:lnTo>
                <a:lnTo>
                  <a:pt x="405" y="2992"/>
                </a:lnTo>
                <a:lnTo>
                  <a:pt x="403" y="2983"/>
                </a:lnTo>
                <a:lnTo>
                  <a:pt x="400" y="2974"/>
                </a:lnTo>
                <a:lnTo>
                  <a:pt x="400" y="2963"/>
                </a:lnTo>
                <a:lnTo>
                  <a:pt x="400" y="2963"/>
                </a:lnTo>
                <a:lnTo>
                  <a:pt x="400" y="2953"/>
                </a:lnTo>
                <a:lnTo>
                  <a:pt x="403" y="2943"/>
                </a:lnTo>
                <a:lnTo>
                  <a:pt x="405" y="2933"/>
                </a:lnTo>
                <a:lnTo>
                  <a:pt x="408" y="2924"/>
                </a:lnTo>
                <a:lnTo>
                  <a:pt x="413" y="2915"/>
                </a:lnTo>
                <a:lnTo>
                  <a:pt x="417" y="2907"/>
                </a:lnTo>
                <a:lnTo>
                  <a:pt x="424" y="2899"/>
                </a:lnTo>
                <a:lnTo>
                  <a:pt x="429" y="2892"/>
                </a:lnTo>
                <a:lnTo>
                  <a:pt x="437" y="2885"/>
                </a:lnTo>
                <a:lnTo>
                  <a:pt x="445" y="2879"/>
                </a:lnTo>
                <a:lnTo>
                  <a:pt x="453" y="2875"/>
                </a:lnTo>
                <a:lnTo>
                  <a:pt x="462" y="2870"/>
                </a:lnTo>
                <a:lnTo>
                  <a:pt x="471" y="2867"/>
                </a:lnTo>
                <a:lnTo>
                  <a:pt x="481" y="2865"/>
                </a:lnTo>
                <a:lnTo>
                  <a:pt x="491" y="2862"/>
                </a:lnTo>
                <a:lnTo>
                  <a:pt x="501" y="2862"/>
                </a:lnTo>
                <a:lnTo>
                  <a:pt x="552" y="2862"/>
                </a:lnTo>
                <a:lnTo>
                  <a:pt x="571" y="2836"/>
                </a:lnTo>
                <a:lnTo>
                  <a:pt x="588" y="2808"/>
                </a:lnTo>
                <a:lnTo>
                  <a:pt x="605" y="2780"/>
                </a:lnTo>
                <a:lnTo>
                  <a:pt x="620" y="2750"/>
                </a:lnTo>
                <a:lnTo>
                  <a:pt x="634" y="2717"/>
                </a:lnTo>
                <a:lnTo>
                  <a:pt x="648" y="2685"/>
                </a:lnTo>
                <a:lnTo>
                  <a:pt x="660" y="2650"/>
                </a:lnTo>
                <a:lnTo>
                  <a:pt x="671" y="2614"/>
                </a:lnTo>
                <a:lnTo>
                  <a:pt x="682" y="2578"/>
                </a:lnTo>
                <a:lnTo>
                  <a:pt x="693" y="2540"/>
                </a:lnTo>
                <a:lnTo>
                  <a:pt x="702" y="2500"/>
                </a:lnTo>
                <a:lnTo>
                  <a:pt x="709" y="2460"/>
                </a:lnTo>
                <a:lnTo>
                  <a:pt x="717" y="2418"/>
                </a:lnTo>
                <a:lnTo>
                  <a:pt x="724" y="2377"/>
                </a:lnTo>
                <a:lnTo>
                  <a:pt x="731" y="2333"/>
                </a:lnTo>
                <a:lnTo>
                  <a:pt x="736" y="2289"/>
                </a:lnTo>
                <a:lnTo>
                  <a:pt x="741" y="2244"/>
                </a:lnTo>
                <a:lnTo>
                  <a:pt x="745" y="2198"/>
                </a:lnTo>
                <a:lnTo>
                  <a:pt x="750" y="2152"/>
                </a:lnTo>
                <a:lnTo>
                  <a:pt x="753" y="2104"/>
                </a:lnTo>
                <a:lnTo>
                  <a:pt x="759" y="2009"/>
                </a:lnTo>
                <a:lnTo>
                  <a:pt x="763" y="1910"/>
                </a:lnTo>
                <a:lnTo>
                  <a:pt x="767" y="1811"/>
                </a:lnTo>
                <a:lnTo>
                  <a:pt x="769" y="1709"/>
                </a:lnTo>
                <a:lnTo>
                  <a:pt x="771" y="1607"/>
                </a:lnTo>
                <a:lnTo>
                  <a:pt x="772" y="1504"/>
                </a:lnTo>
                <a:lnTo>
                  <a:pt x="669" y="1504"/>
                </a:lnTo>
                <a:lnTo>
                  <a:pt x="653" y="1504"/>
                </a:lnTo>
                <a:lnTo>
                  <a:pt x="639" y="1502"/>
                </a:lnTo>
                <a:lnTo>
                  <a:pt x="623" y="1501"/>
                </a:lnTo>
                <a:lnTo>
                  <a:pt x="609" y="1497"/>
                </a:lnTo>
                <a:lnTo>
                  <a:pt x="596" y="1494"/>
                </a:lnTo>
                <a:lnTo>
                  <a:pt x="584" y="1489"/>
                </a:lnTo>
                <a:lnTo>
                  <a:pt x="571" y="1484"/>
                </a:lnTo>
                <a:lnTo>
                  <a:pt x="560" y="1478"/>
                </a:lnTo>
                <a:lnTo>
                  <a:pt x="550" y="1473"/>
                </a:lnTo>
                <a:lnTo>
                  <a:pt x="542" y="1466"/>
                </a:lnTo>
                <a:lnTo>
                  <a:pt x="534" y="1459"/>
                </a:lnTo>
                <a:lnTo>
                  <a:pt x="527" y="1451"/>
                </a:lnTo>
                <a:lnTo>
                  <a:pt x="522" y="1443"/>
                </a:lnTo>
                <a:lnTo>
                  <a:pt x="518" y="1435"/>
                </a:lnTo>
                <a:lnTo>
                  <a:pt x="516" y="1426"/>
                </a:lnTo>
                <a:lnTo>
                  <a:pt x="515" y="1417"/>
                </a:lnTo>
                <a:lnTo>
                  <a:pt x="516" y="1408"/>
                </a:lnTo>
                <a:lnTo>
                  <a:pt x="518" y="1401"/>
                </a:lnTo>
                <a:lnTo>
                  <a:pt x="522" y="1392"/>
                </a:lnTo>
                <a:lnTo>
                  <a:pt x="527" y="1384"/>
                </a:lnTo>
                <a:lnTo>
                  <a:pt x="534" y="1377"/>
                </a:lnTo>
                <a:lnTo>
                  <a:pt x="542" y="1369"/>
                </a:lnTo>
                <a:lnTo>
                  <a:pt x="550" y="1362"/>
                </a:lnTo>
                <a:lnTo>
                  <a:pt x="560" y="1357"/>
                </a:lnTo>
                <a:lnTo>
                  <a:pt x="571" y="1351"/>
                </a:lnTo>
                <a:lnTo>
                  <a:pt x="584" y="1345"/>
                </a:lnTo>
                <a:lnTo>
                  <a:pt x="596" y="1341"/>
                </a:lnTo>
                <a:lnTo>
                  <a:pt x="609" y="1338"/>
                </a:lnTo>
                <a:lnTo>
                  <a:pt x="623" y="1335"/>
                </a:lnTo>
                <a:lnTo>
                  <a:pt x="639" y="1333"/>
                </a:lnTo>
                <a:lnTo>
                  <a:pt x="653" y="1332"/>
                </a:lnTo>
                <a:lnTo>
                  <a:pt x="669" y="1331"/>
                </a:lnTo>
                <a:lnTo>
                  <a:pt x="774" y="1331"/>
                </a:lnTo>
                <a:lnTo>
                  <a:pt x="774" y="1304"/>
                </a:lnTo>
                <a:lnTo>
                  <a:pt x="775" y="1276"/>
                </a:lnTo>
                <a:lnTo>
                  <a:pt x="775" y="1249"/>
                </a:lnTo>
                <a:lnTo>
                  <a:pt x="776" y="1222"/>
                </a:lnTo>
                <a:lnTo>
                  <a:pt x="776" y="1195"/>
                </a:lnTo>
                <a:lnTo>
                  <a:pt x="776" y="1168"/>
                </a:lnTo>
                <a:lnTo>
                  <a:pt x="777" y="1141"/>
                </a:lnTo>
                <a:lnTo>
                  <a:pt x="778" y="1114"/>
                </a:lnTo>
                <a:lnTo>
                  <a:pt x="761" y="1104"/>
                </a:lnTo>
                <a:lnTo>
                  <a:pt x="745" y="1093"/>
                </a:lnTo>
                <a:lnTo>
                  <a:pt x="730" y="1082"/>
                </a:lnTo>
                <a:lnTo>
                  <a:pt x="715" y="1070"/>
                </a:lnTo>
                <a:lnTo>
                  <a:pt x="699" y="1059"/>
                </a:lnTo>
                <a:lnTo>
                  <a:pt x="686" y="1046"/>
                </a:lnTo>
                <a:lnTo>
                  <a:pt x="671" y="1033"/>
                </a:lnTo>
                <a:lnTo>
                  <a:pt x="658" y="1019"/>
                </a:lnTo>
                <a:lnTo>
                  <a:pt x="644" y="1006"/>
                </a:lnTo>
                <a:lnTo>
                  <a:pt x="632" y="992"/>
                </a:lnTo>
                <a:lnTo>
                  <a:pt x="620" y="978"/>
                </a:lnTo>
                <a:lnTo>
                  <a:pt x="608" y="962"/>
                </a:lnTo>
                <a:lnTo>
                  <a:pt x="597" y="947"/>
                </a:lnTo>
                <a:lnTo>
                  <a:pt x="586" y="932"/>
                </a:lnTo>
                <a:lnTo>
                  <a:pt x="576" y="916"/>
                </a:lnTo>
                <a:lnTo>
                  <a:pt x="566" y="899"/>
                </a:lnTo>
                <a:lnTo>
                  <a:pt x="557" y="882"/>
                </a:lnTo>
                <a:lnTo>
                  <a:pt x="548" y="865"/>
                </a:lnTo>
                <a:lnTo>
                  <a:pt x="539" y="849"/>
                </a:lnTo>
                <a:lnTo>
                  <a:pt x="532" y="831"/>
                </a:lnTo>
                <a:lnTo>
                  <a:pt x="524" y="813"/>
                </a:lnTo>
                <a:lnTo>
                  <a:pt x="517" y="795"/>
                </a:lnTo>
                <a:lnTo>
                  <a:pt x="512" y="775"/>
                </a:lnTo>
                <a:lnTo>
                  <a:pt x="506" y="757"/>
                </a:lnTo>
                <a:lnTo>
                  <a:pt x="501" y="738"/>
                </a:lnTo>
                <a:lnTo>
                  <a:pt x="497" y="718"/>
                </a:lnTo>
                <a:lnTo>
                  <a:pt x="494" y="699"/>
                </a:lnTo>
                <a:lnTo>
                  <a:pt x="490" y="680"/>
                </a:lnTo>
                <a:lnTo>
                  <a:pt x="488" y="660"/>
                </a:lnTo>
                <a:lnTo>
                  <a:pt x="487" y="639"/>
                </a:lnTo>
                <a:lnTo>
                  <a:pt x="486" y="619"/>
                </a:lnTo>
                <a:lnTo>
                  <a:pt x="485" y="599"/>
                </a:lnTo>
                <a:lnTo>
                  <a:pt x="486" y="569"/>
                </a:lnTo>
                <a:lnTo>
                  <a:pt x="488" y="537"/>
                </a:lnTo>
                <a:lnTo>
                  <a:pt x="492" y="508"/>
                </a:lnTo>
                <a:lnTo>
                  <a:pt x="497" y="479"/>
                </a:lnTo>
                <a:lnTo>
                  <a:pt x="504" y="449"/>
                </a:lnTo>
                <a:lnTo>
                  <a:pt x="512" y="421"/>
                </a:lnTo>
                <a:lnTo>
                  <a:pt x="522" y="393"/>
                </a:lnTo>
                <a:lnTo>
                  <a:pt x="532" y="366"/>
                </a:lnTo>
                <a:lnTo>
                  <a:pt x="544" y="339"/>
                </a:lnTo>
                <a:lnTo>
                  <a:pt x="558" y="313"/>
                </a:lnTo>
                <a:lnTo>
                  <a:pt x="572" y="289"/>
                </a:lnTo>
                <a:lnTo>
                  <a:pt x="587" y="264"/>
                </a:lnTo>
                <a:lnTo>
                  <a:pt x="604" y="240"/>
                </a:lnTo>
                <a:lnTo>
                  <a:pt x="622" y="218"/>
                </a:lnTo>
                <a:lnTo>
                  <a:pt x="641" y="196"/>
                </a:lnTo>
                <a:lnTo>
                  <a:pt x="660" y="175"/>
                </a:lnTo>
                <a:lnTo>
                  <a:pt x="681" y="156"/>
                </a:lnTo>
                <a:lnTo>
                  <a:pt x="703" y="137"/>
                </a:lnTo>
                <a:lnTo>
                  <a:pt x="725" y="119"/>
                </a:lnTo>
                <a:lnTo>
                  <a:pt x="749" y="102"/>
                </a:lnTo>
                <a:lnTo>
                  <a:pt x="774" y="86"/>
                </a:lnTo>
                <a:lnTo>
                  <a:pt x="798" y="72"/>
                </a:lnTo>
                <a:lnTo>
                  <a:pt x="824" y="59"/>
                </a:lnTo>
                <a:lnTo>
                  <a:pt x="851" y="47"/>
                </a:lnTo>
                <a:lnTo>
                  <a:pt x="878" y="36"/>
                </a:lnTo>
                <a:lnTo>
                  <a:pt x="906" y="27"/>
                </a:lnTo>
                <a:lnTo>
                  <a:pt x="934" y="19"/>
                </a:lnTo>
                <a:lnTo>
                  <a:pt x="964" y="12"/>
                </a:lnTo>
                <a:lnTo>
                  <a:pt x="993" y="6"/>
                </a:lnTo>
                <a:lnTo>
                  <a:pt x="1023" y="3"/>
                </a:lnTo>
                <a:lnTo>
                  <a:pt x="1053" y="1"/>
                </a:lnTo>
                <a:lnTo>
                  <a:pt x="1084" y="0"/>
                </a:lnTo>
                <a:close/>
              </a:path>
            </a:pathLst>
          </a:custGeom>
          <a:solidFill>
            <a:schemeClr val="accent2"/>
          </a:solidFill>
          <a:ln>
            <a:noFill/>
          </a:ln>
        </p:spPr>
        <p:txBody>
          <a:bodyPr vert="horz" wrap="square" lIns="91440" tIns="45720" rIns="91440" bIns="45720" numCol="1" anchor="t" anchorCtr="0" compatLnSpc="1"/>
          <a:lstStyle/>
          <a:p>
            <a:endParaRPr lang="en-US"/>
          </a:p>
        </p:txBody>
      </p:sp>
    </p:spTree>
  </p:cSld>
  <p:clrMapOvr>
    <a:masterClrMapping/>
  </p:clrMapOvr>
  <p:transition spd="slow" advClick="0" advTm="0">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5613401" y="0"/>
            <a:ext cx="6578599" cy="6858000"/>
          </a:xfrm>
          <a:prstGeom prst="rect">
            <a:avLst/>
          </a:prstGeom>
          <a:blipFill>
            <a:blip r:embed="rId1" cstate="screen"/>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Rectangle 42"/>
          <p:cNvSpPr/>
          <p:nvPr/>
        </p:nvSpPr>
        <p:spPr>
          <a:xfrm>
            <a:off x="11018886" y="6430516"/>
            <a:ext cx="946673" cy="1599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10"/>
          <p:cNvSpPr>
            <a:spLocks noChangeArrowheads="1"/>
          </p:cNvSpPr>
          <p:nvPr/>
        </p:nvSpPr>
        <p:spPr bwMode="auto">
          <a:xfrm>
            <a:off x="8773112" y="6430516"/>
            <a:ext cx="1820233" cy="142945"/>
          </a:xfrm>
          <a:prstGeom prst="rect">
            <a:avLst/>
          </a:prstGeom>
          <a:noFill/>
          <a:ln>
            <a:noFill/>
          </a:ln>
        </p:spPr>
        <p:txBody>
          <a:bodyPr wrap="square" anchor="ct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defRPr/>
            </a:pPr>
            <a:r>
              <a:rPr lang="en-US" sz="1000" dirty="0">
                <a:solidFill>
                  <a:schemeClr val="bg1"/>
                </a:solidFill>
                <a:latin typeface="Calibri Light" panose="020F0302020204030204" pitchFamily="34" charset="0"/>
                <a:ea typeface="Roboto" panose="02000000000000000000" pitchFamily="2" charset="0"/>
                <a:cs typeface="Roboto" panose="02000000000000000000" pitchFamily="2" charset="0"/>
              </a:rPr>
              <a:t>www.yourcompanylogo.com</a:t>
            </a:r>
            <a:endParaRPr lang="en-US" sz="1000" dirty="0">
              <a:solidFill>
                <a:schemeClr val="bg1"/>
              </a:solidFill>
              <a:latin typeface="Calibri Light" panose="020F0302020204030204" pitchFamily="34" charset="0"/>
              <a:ea typeface="Roboto" panose="02000000000000000000" pitchFamily="2" charset="0"/>
              <a:cs typeface="Roboto" panose="02000000000000000000" pitchFamily="2" charset="0"/>
            </a:endParaRPr>
          </a:p>
        </p:txBody>
      </p:sp>
      <p:cxnSp>
        <p:nvCxnSpPr>
          <p:cNvPr id="45" name="Straight Connector 44"/>
          <p:cNvCxnSpPr/>
          <p:nvPr/>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2128383" y="2263061"/>
            <a:ext cx="4828629" cy="1302836"/>
          </a:xfrm>
          <a:prstGeom prst="rect">
            <a:avLst/>
          </a:prstGeom>
        </p:spPr>
        <p:txBody>
          <a:bodyPr vert="horz" lIns="91440" tIns="45720" rIns="91440" bIns="45720" rtlCol="0" anchor="ctr">
            <a:noAutofit/>
          </a:bodyPr>
          <a:lstStyle/>
          <a:p>
            <a:pPr algn="r" defTabSz="913765">
              <a:spcBef>
                <a:spcPct val="0"/>
              </a:spcBef>
            </a:pPr>
            <a:r>
              <a:rPr lang="en-US" sz="2800" noProof="1">
                <a:solidFill>
                  <a:schemeClr val="tx1">
                    <a:lumMod val="85000"/>
                    <a:lumOff val="15000"/>
                  </a:schemeClr>
                </a:solidFill>
                <a:latin typeface="Playfair Display" panose="00000500000000000000" pitchFamily="2" charset="0"/>
                <a:ea typeface="Roboto Light" panose="02000000000000000000" pitchFamily="2" charset="0"/>
                <a:cs typeface="Lato Light" panose="020F0302020204030203" pitchFamily="34" charset="0"/>
              </a:rPr>
              <a:t>Success Usually Comes To </a:t>
            </a:r>
            <a:r>
              <a:rPr lang="en-US" sz="2800" b="1" noProof="1">
                <a:solidFill>
                  <a:schemeClr val="accent2"/>
                </a:solidFill>
                <a:latin typeface="Playfair Display" panose="00000500000000000000" pitchFamily="2" charset="0"/>
                <a:ea typeface="Roboto Light" panose="02000000000000000000" pitchFamily="2" charset="0"/>
                <a:cs typeface="Lato Light" panose="020F0302020204030203" pitchFamily="34" charset="0"/>
              </a:rPr>
              <a:t>Those Who Are Too Busy To </a:t>
            </a:r>
            <a:r>
              <a:rPr lang="en-US" sz="6600" noProof="1">
                <a:solidFill>
                  <a:schemeClr val="tx1">
                    <a:lumMod val="85000"/>
                    <a:lumOff val="15000"/>
                  </a:schemeClr>
                </a:solidFill>
                <a:latin typeface="Playfair Display" panose="00000500000000000000" pitchFamily="2" charset="0"/>
                <a:ea typeface="Roboto Light" panose="02000000000000000000" pitchFamily="2" charset="0"/>
                <a:cs typeface="Lato Light" panose="020F0302020204030203" pitchFamily="34" charset="0"/>
              </a:rPr>
              <a:t>part two</a:t>
            </a:r>
            <a:endParaRPr lang="en-US" sz="2800" noProof="1">
              <a:solidFill>
                <a:schemeClr val="tx1">
                  <a:lumMod val="85000"/>
                  <a:lumOff val="15000"/>
                </a:schemeClr>
              </a:solidFill>
              <a:latin typeface="Playfair Display" panose="00000500000000000000" pitchFamily="2" charset="0"/>
              <a:ea typeface="Roboto Light" panose="02000000000000000000" pitchFamily="2" charset="0"/>
              <a:cs typeface="Lato Light" panose="020F0302020204030203" pitchFamily="34" charset="0"/>
            </a:endParaRPr>
          </a:p>
        </p:txBody>
      </p:sp>
      <p:cxnSp>
        <p:nvCxnSpPr>
          <p:cNvPr id="16" name="Straight Connector 15"/>
          <p:cNvCxnSpPr/>
          <p:nvPr/>
        </p:nvCxnSpPr>
        <p:spPr>
          <a:xfrm>
            <a:off x="2080212" y="3841670"/>
            <a:ext cx="4876800"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145527" y="4026636"/>
            <a:ext cx="4811485" cy="830997"/>
          </a:xfrm>
          <a:prstGeom prst="rect">
            <a:avLst/>
          </a:prstGeom>
        </p:spPr>
        <p:txBody>
          <a:bodyPr wrap="square">
            <a:spAutoFit/>
          </a:bodyPr>
          <a:lstStyle/>
          <a:p>
            <a:pPr algn="r">
              <a:buClr>
                <a:srgbClr val="E24848"/>
              </a:buClr>
              <a:defRPr/>
            </a:pPr>
            <a:r>
              <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Nam auctor</a:t>
            </a:r>
            <a:endPar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2" name="Slide Number Placeholder 1"/>
          <p:cNvSpPr>
            <a:spLocks noGrp="1"/>
          </p:cNvSpPr>
          <p:nvPr>
            <p:ph type="sldNum" sz="quarter" idx="12"/>
          </p:nvPr>
        </p:nvSpPr>
        <p:spPr>
          <a:xfrm>
            <a:off x="10593345" y="6432689"/>
            <a:ext cx="429579" cy="140772"/>
          </a:xfrm>
        </p:spPr>
        <p:txBody>
          <a:bodyPr/>
          <a:lstStyle/>
          <a:p>
            <a:fld id="{75F62417-4A12-46BB-B530-A96D3E44AFD3}" type="slidenum">
              <a:rPr lang="en-US" smtClean="0">
                <a:solidFill>
                  <a:schemeClr val="bg1"/>
                </a:solidFill>
              </a:rPr>
            </a:fld>
            <a:endParaRPr lang="en-US" dirty="0">
              <a:solidFill>
                <a:schemeClr val="bg1"/>
              </a:solidFill>
            </a:endParaRPr>
          </a:p>
        </p:txBody>
      </p:sp>
      <p:sp>
        <p:nvSpPr>
          <p:cNvPr id="14" name="文本框 13"/>
          <p:cNvSpPr txBox="1"/>
          <p:nvPr/>
        </p:nvSpPr>
        <p:spPr>
          <a:xfrm>
            <a:off x="11056366" y="6193325"/>
            <a:ext cx="842154" cy="276999"/>
          </a:xfrm>
          <a:prstGeom prst="rect">
            <a:avLst/>
          </a:prstGeom>
          <a:noFill/>
        </p:spPr>
        <p:txBody>
          <a:bodyPr wrap="none" rtlCol="0">
            <a:spAutoFit/>
          </a:bodyPr>
          <a:lstStyle/>
          <a:p>
            <a:r>
              <a:rPr lang="en-US" altLang="zh-CN" sz="1200" dirty="0">
                <a:solidFill>
                  <a:schemeClr val="bg1"/>
                </a:solidFill>
                <a:latin typeface="Arial Black" panose="020B0A04020102020204" pitchFamily="34" charset="0"/>
              </a:rPr>
              <a:t>IBAOTU</a:t>
            </a:r>
            <a:endParaRPr lang="zh-CN" altLang="en-US" sz="1200" dirty="0">
              <a:solidFill>
                <a:schemeClr val="bg1"/>
              </a:solidFill>
              <a:latin typeface="Arial Black" panose="020B0A04020102020204" pitchFamily="34" charset="0"/>
            </a:endParaRPr>
          </a:p>
        </p:txBody>
      </p:sp>
    </p:spTree>
  </p:cSld>
  <p:clrMapOvr>
    <a:masterClrMapping/>
  </p:clrMapOvr>
  <p:transition spd="slow" advClick="0" advTm="0">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p:nvPr/>
        </p:nvSpPr>
        <p:spPr>
          <a:xfrm>
            <a:off x="904902" y="644336"/>
            <a:ext cx="4352898"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3600" b="1" spc="-151" dirty="0">
                <a:solidFill>
                  <a:schemeClr val="accent1"/>
                </a:solidFill>
                <a:latin typeface="Playfair Display" panose="00000500000000000000" pitchFamily="2" charset="0"/>
                <a:ea typeface="Open Sans" panose="020B0606030504020204" pitchFamily="34" charset="0"/>
                <a:cs typeface="Lato" panose="020F0502020204030203" pitchFamily="34" charset="0"/>
              </a:rPr>
              <a:t>What </a:t>
            </a:r>
            <a:r>
              <a:rPr lang="en-US" sz="3600"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We Do</a:t>
            </a:r>
            <a:endParaRPr lang="en-US" sz="3600"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4" name="Rectangle 3"/>
          <p:cNvSpPr/>
          <p:nvPr/>
        </p:nvSpPr>
        <p:spPr>
          <a:xfrm>
            <a:off x="958692" y="1290667"/>
            <a:ext cx="2156010" cy="261610"/>
          </a:xfrm>
          <a:prstGeom prst="rect">
            <a:avLst/>
          </a:prstGeom>
        </p:spPr>
        <p:txBody>
          <a:bodyPr wrap="square">
            <a:spAutoFit/>
          </a:bodyPr>
          <a:lstStyle/>
          <a:p>
            <a:pPr>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cxnSp>
        <p:nvCxnSpPr>
          <p:cNvPr id="45" name="Straight Connector 44"/>
          <p:cNvCxnSpPr/>
          <p:nvPr/>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cxnSp>
        <p:nvCxnSpPr>
          <p:cNvPr id="6" name="Straight Connector 5"/>
          <p:cNvCxnSpPr/>
          <p:nvPr/>
        </p:nvCxnSpPr>
        <p:spPr>
          <a:xfrm>
            <a:off x="675264" y="4139881"/>
            <a:ext cx="10841473"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Freeform 104"/>
          <p:cNvSpPr/>
          <p:nvPr/>
        </p:nvSpPr>
        <p:spPr bwMode="auto">
          <a:xfrm>
            <a:off x="1049603" y="3970743"/>
            <a:ext cx="341637" cy="338275"/>
          </a:xfrm>
          <a:custGeom>
            <a:avLst/>
            <a:gdLst>
              <a:gd name="T0" fmla="*/ 160590631 w 322"/>
              <a:gd name="T1" fmla="*/ 0 h 322"/>
              <a:gd name="T2" fmla="*/ 192116981 w 322"/>
              <a:gd name="T3" fmla="*/ 3892545 h 322"/>
              <a:gd name="T4" fmla="*/ 222658691 w 322"/>
              <a:gd name="T5" fmla="*/ 13622922 h 322"/>
              <a:gd name="T6" fmla="*/ 249259855 w 322"/>
              <a:gd name="T7" fmla="*/ 27246830 h 322"/>
              <a:gd name="T8" fmla="*/ 272905113 w 322"/>
              <a:gd name="T9" fmla="*/ 46708569 h 322"/>
              <a:gd name="T10" fmla="*/ 291624193 w 322"/>
              <a:gd name="T11" fmla="*/ 70062854 h 322"/>
              <a:gd name="T12" fmla="*/ 306402728 w 322"/>
              <a:gd name="T13" fmla="*/ 97308697 h 322"/>
              <a:gd name="T14" fmla="*/ 315269452 w 322"/>
              <a:gd name="T15" fmla="*/ 126501800 h 322"/>
              <a:gd name="T16" fmla="*/ 317239725 w 322"/>
              <a:gd name="T17" fmla="*/ 158613818 h 322"/>
              <a:gd name="T18" fmla="*/ 316254092 w 322"/>
              <a:gd name="T19" fmla="*/ 175156641 h 322"/>
              <a:gd name="T20" fmla="*/ 310343274 w 322"/>
              <a:gd name="T21" fmla="*/ 204348757 h 322"/>
              <a:gd name="T22" fmla="*/ 298520644 w 322"/>
              <a:gd name="T23" fmla="*/ 232568230 h 322"/>
              <a:gd name="T24" fmla="*/ 282757470 w 322"/>
              <a:gd name="T25" fmla="*/ 255922515 h 322"/>
              <a:gd name="T26" fmla="*/ 263052757 w 322"/>
              <a:gd name="T27" fmla="*/ 277330527 h 322"/>
              <a:gd name="T28" fmla="*/ 239407498 w 322"/>
              <a:gd name="T29" fmla="*/ 292899721 h 322"/>
              <a:gd name="T30" fmla="*/ 211821694 w 322"/>
              <a:gd name="T31" fmla="*/ 305550000 h 322"/>
              <a:gd name="T32" fmla="*/ 183250257 w 322"/>
              <a:gd name="T33" fmla="*/ 312362447 h 322"/>
              <a:gd name="T34" fmla="*/ 168471722 w 322"/>
              <a:gd name="T35" fmla="*/ 313335090 h 322"/>
              <a:gd name="T36" fmla="*/ 133003835 w 322"/>
              <a:gd name="T37" fmla="*/ 311388818 h 322"/>
              <a:gd name="T38" fmla="*/ 100491852 w 322"/>
              <a:gd name="T39" fmla="*/ 302631084 h 322"/>
              <a:gd name="T40" fmla="*/ 70935776 w 322"/>
              <a:gd name="T41" fmla="*/ 288034533 h 322"/>
              <a:gd name="T42" fmla="*/ 46304884 w 322"/>
              <a:gd name="T43" fmla="*/ 268572794 h 322"/>
              <a:gd name="T44" fmla="*/ 26601164 w 322"/>
              <a:gd name="T45" fmla="*/ 243272236 h 322"/>
              <a:gd name="T46" fmla="*/ 10836997 w 322"/>
              <a:gd name="T47" fmla="*/ 216999036 h 322"/>
              <a:gd name="T48" fmla="*/ 2955905 w 322"/>
              <a:gd name="T49" fmla="*/ 185860647 h 322"/>
              <a:gd name="T50" fmla="*/ 0 w 322"/>
              <a:gd name="T51" fmla="*/ 152775000 h 322"/>
              <a:gd name="T52" fmla="*/ 985633 w 322"/>
              <a:gd name="T53" fmla="*/ 137205806 h 322"/>
              <a:gd name="T54" fmla="*/ 7882084 w 322"/>
              <a:gd name="T55" fmla="*/ 107040060 h 322"/>
              <a:gd name="T56" fmla="*/ 19704713 w 322"/>
              <a:gd name="T57" fmla="*/ 79793230 h 322"/>
              <a:gd name="T58" fmla="*/ 38423793 w 322"/>
              <a:gd name="T59" fmla="*/ 55466303 h 322"/>
              <a:gd name="T60" fmla="*/ 60097786 w 322"/>
              <a:gd name="T61" fmla="*/ 35030934 h 322"/>
              <a:gd name="T62" fmla="*/ 84728678 w 322"/>
              <a:gd name="T63" fmla="*/ 17515467 h 322"/>
              <a:gd name="T64" fmla="*/ 113300114 w 322"/>
              <a:gd name="T65" fmla="*/ 6811461 h 322"/>
              <a:gd name="T66" fmla="*/ 144826464 w 322"/>
              <a:gd name="T67" fmla="*/ 0 h 322"/>
              <a:gd name="T68" fmla="*/ 160590631 w 322"/>
              <a:gd name="T69" fmla="*/ 0 h 32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22" h="322">
                <a:moveTo>
                  <a:pt x="163" y="0"/>
                </a:moveTo>
                <a:lnTo>
                  <a:pt x="163" y="0"/>
                </a:lnTo>
                <a:lnTo>
                  <a:pt x="179" y="2"/>
                </a:lnTo>
                <a:lnTo>
                  <a:pt x="195" y="4"/>
                </a:lnTo>
                <a:lnTo>
                  <a:pt x="211" y="8"/>
                </a:lnTo>
                <a:lnTo>
                  <a:pt x="226" y="14"/>
                </a:lnTo>
                <a:lnTo>
                  <a:pt x="240" y="21"/>
                </a:lnTo>
                <a:lnTo>
                  <a:pt x="253" y="28"/>
                </a:lnTo>
                <a:lnTo>
                  <a:pt x="265" y="38"/>
                </a:lnTo>
                <a:lnTo>
                  <a:pt x="277" y="48"/>
                </a:lnTo>
                <a:lnTo>
                  <a:pt x="287" y="60"/>
                </a:lnTo>
                <a:lnTo>
                  <a:pt x="296" y="72"/>
                </a:lnTo>
                <a:lnTo>
                  <a:pt x="303" y="86"/>
                </a:lnTo>
                <a:lnTo>
                  <a:pt x="311" y="100"/>
                </a:lnTo>
                <a:lnTo>
                  <a:pt x="316" y="115"/>
                </a:lnTo>
                <a:lnTo>
                  <a:pt x="320" y="130"/>
                </a:lnTo>
                <a:lnTo>
                  <a:pt x="321" y="147"/>
                </a:lnTo>
                <a:lnTo>
                  <a:pt x="322" y="163"/>
                </a:lnTo>
                <a:lnTo>
                  <a:pt x="321" y="180"/>
                </a:lnTo>
                <a:lnTo>
                  <a:pt x="318" y="195"/>
                </a:lnTo>
                <a:lnTo>
                  <a:pt x="315" y="210"/>
                </a:lnTo>
                <a:lnTo>
                  <a:pt x="310" y="225"/>
                </a:lnTo>
                <a:lnTo>
                  <a:pt x="303" y="239"/>
                </a:lnTo>
                <a:lnTo>
                  <a:pt x="296" y="252"/>
                </a:lnTo>
                <a:lnTo>
                  <a:pt x="287" y="263"/>
                </a:lnTo>
                <a:lnTo>
                  <a:pt x="277" y="274"/>
                </a:lnTo>
                <a:lnTo>
                  <a:pt x="267" y="285"/>
                </a:lnTo>
                <a:lnTo>
                  <a:pt x="255" y="293"/>
                </a:lnTo>
                <a:lnTo>
                  <a:pt x="243" y="301"/>
                </a:lnTo>
                <a:lnTo>
                  <a:pt x="229" y="309"/>
                </a:lnTo>
                <a:lnTo>
                  <a:pt x="215" y="314"/>
                </a:lnTo>
                <a:lnTo>
                  <a:pt x="201" y="317"/>
                </a:lnTo>
                <a:lnTo>
                  <a:pt x="186" y="321"/>
                </a:lnTo>
                <a:lnTo>
                  <a:pt x="171" y="322"/>
                </a:lnTo>
                <a:lnTo>
                  <a:pt x="153" y="322"/>
                </a:lnTo>
                <a:lnTo>
                  <a:pt x="135" y="320"/>
                </a:lnTo>
                <a:lnTo>
                  <a:pt x="117" y="316"/>
                </a:lnTo>
                <a:lnTo>
                  <a:pt x="102" y="311"/>
                </a:lnTo>
                <a:lnTo>
                  <a:pt x="87" y="305"/>
                </a:lnTo>
                <a:lnTo>
                  <a:pt x="72" y="296"/>
                </a:lnTo>
                <a:lnTo>
                  <a:pt x="59" y="287"/>
                </a:lnTo>
                <a:lnTo>
                  <a:pt x="47" y="276"/>
                </a:lnTo>
                <a:lnTo>
                  <a:pt x="37" y="264"/>
                </a:lnTo>
                <a:lnTo>
                  <a:pt x="27" y="250"/>
                </a:lnTo>
                <a:lnTo>
                  <a:pt x="18" y="237"/>
                </a:lnTo>
                <a:lnTo>
                  <a:pt x="11" y="223"/>
                </a:lnTo>
                <a:lnTo>
                  <a:pt x="6" y="206"/>
                </a:lnTo>
                <a:lnTo>
                  <a:pt x="3" y="191"/>
                </a:lnTo>
                <a:lnTo>
                  <a:pt x="0" y="175"/>
                </a:lnTo>
                <a:lnTo>
                  <a:pt x="0" y="157"/>
                </a:lnTo>
                <a:lnTo>
                  <a:pt x="1" y="141"/>
                </a:lnTo>
                <a:lnTo>
                  <a:pt x="4" y="125"/>
                </a:lnTo>
                <a:lnTo>
                  <a:pt x="8" y="110"/>
                </a:lnTo>
                <a:lnTo>
                  <a:pt x="14" y="95"/>
                </a:lnTo>
                <a:lnTo>
                  <a:pt x="20" y="82"/>
                </a:lnTo>
                <a:lnTo>
                  <a:pt x="29" y="69"/>
                </a:lnTo>
                <a:lnTo>
                  <a:pt x="39" y="57"/>
                </a:lnTo>
                <a:lnTo>
                  <a:pt x="49" y="46"/>
                </a:lnTo>
                <a:lnTo>
                  <a:pt x="61" y="36"/>
                </a:lnTo>
                <a:lnTo>
                  <a:pt x="73" y="27"/>
                </a:lnTo>
                <a:lnTo>
                  <a:pt x="86" y="18"/>
                </a:lnTo>
                <a:lnTo>
                  <a:pt x="101" y="12"/>
                </a:lnTo>
                <a:lnTo>
                  <a:pt x="115" y="7"/>
                </a:lnTo>
                <a:lnTo>
                  <a:pt x="130" y="3"/>
                </a:lnTo>
                <a:lnTo>
                  <a:pt x="147" y="0"/>
                </a:lnTo>
                <a:lnTo>
                  <a:pt x="163" y="0"/>
                </a:lnTo>
                <a:close/>
              </a:path>
            </a:pathLst>
          </a:custGeom>
          <a:solidFill>
            <a:srgbClr val="EFEFEF"/>
          </a:solidFill>
          <a:ln w="9525">
            <a:solidFill>
              <a:schemeClr val="accent1"/>
            </a:solidFill>
            <a:round/>
          </a:ln>
        </p:spPr>
        <p:txBody>
          <a:bodyPr anchor="ctr"/>
          <a:lstStyle/>
          <a:p>
            <a:pPr algn="ctr"/>
            <a:r>
              <a:rPr lang="en-US" sz="1050" b="1" dirty="0"/>
              <a:t>01</a:t>
            </a:r>
            <a:endParaRPr lang="en-US" sz="1050" b="1" dirty="0"/>
          </a:p>
        </p:txBody>
      </p:sp>
      <p:sp>
        <p:nvSpPr>
          <p:cNvPr id="8" name="Rectangle 7"/>
          <p:cNvSpPr/>
          <p:nvPr/>
        </p:nvSpPr>
        <p:spPr>
          <a:xfrm>
            <a:off x="977198" y="4785345"/>
            <a:ext cx="1867602" cy="562447"/>
          </a:xfrm>
          <a:prstGeom prst="rect">
            <a:avLst/>
          </a:prstGeom>
        </p:spPr>
        <p:txBody>
          <a:bodyPr wrap="square" anchor="t">
            <a:noAutofit/>
          </a:bodyPr>
          <a:lstStyle/>
          <a:p>
            <a:pPr>
              <a:spcBef>
                <a:spcPts val="600"/>
              </a:spcBef>
              <a:buClr>
                <a:srgbClr val="E24848"/>
              </a:buClr>
              <a:defRPr/>
            </a:pPr>
            <a:r>
              <a:rPr lang="en-US" sz="10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Behavior we improving at something to. Evil true high lady roof men had open. </a:t>
            </a:r>
            <a:endParaRPr lang="en-US" sz="1000"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sp>
        <p:nvSpPr>
          <p:cNvPr id="9" name="Title 11"/>
          <p:cNvSpPr txBox="1"/>
          <p:nvPr/>
        </p:nvSpPr>
        <p:spPr>
          <a:xfrm>
            <a:off x="956687" y="4541234"/>
            <a:ext cx="1600714" cy="244110"/>
          </a:xfrm>
          <a:prstGeom prst="rect">
            <a:avLst/>
          </a:prstGeom>
        </p:spPr>
        <p:txBody>
          <a:bodyPr vert="horz" wrap="square" lIns="91440" tIns="45720" rIns="91440" bIns="45720" rtlCol="0" anchor="ctr">
            <a:noAutofit/>
          </a:bodyPr>
          <a:lstStyle>
            <a:defPPr>
              <a:defRPr lang="en-US"/>
            </a:defPPr>
            <a:lvl1pPr>
              <a:lnSpc>
                <a:spcPct val="90000"/>
              </a:lnSpc>
              <a:spcBef>
                <a:spcPct val="0"/>
              </a:spcBef>
              <a:buNone/>
              <a:defRPr sz="1400" b="1">
                <a:solidFill>
                  <a:schemeClr val="tx1">
                    <a:lumMod val="85000"/>
                    <a:lumOff val="15000"/>
                  </a:schemeClr>
                </a:solidFill>
                <a:latin typeface="Roboto" panose="02000000000000000000" pitchFamily="2" charset="0"/>
                <a:ea typeface="Roboto" panose="02000000000000000000" pitchFamily="2" charset="0"/>
                <a:cs typeface="Times New Roman" panose="02020603050405020304" pitchFamily="18" charset="0"/>
              </a:defRPr>
            </a:lvl1pPr>
          </a:lstStyle>
          <a:p>
            <a:r>
              <a:rPr lang="en-US" dirty="0">
                <a:latin typeface="Playfair Display" panose="00000500000000000000" pitchFamily="2" charset="0"/>
                <a:cs typeface="Lato" panose="020F0502020204030203" pitchFamily="34" charset="0"/>
              </a:rPr>
              <a:t>PRODUCK 1</a:t>
            </a:r>
            <a:endParaRPr lang="en-US" dirty="0">
              <a:latin typeface="Playfair Display" panose="00000500000000000000" pitchFamily="2" charset="0"/>
              <a:cs typeface="Lato" panose="020F0502020204030203" pitchFamily="34" charset="0"/>
            </a:endParaRPr>
          </a:p>
        </p:txBody>
      </p:sp>
      <p:sp>
        <p:nvSpPr>
          <p:cNvPr id="10" name="Freeform 104"/>
          <p:cNvSpPr/>
          <p:nvPr/>
        </p:nvSpPr>
        <p:spPr bwMode="auto">
          <a:xfrm>
            <a:off x="3799135" y="3970743"/>
            <a:ext cx="341637" cy="338275"/>
          </a:xfrm>
          <a:custGeom>
            <a:avLst/>
            <a:gdLst>
              <a:gd name="T0" fmla="*/ 160590631 w 322"/>
              <a:gd name="T1" fmla="*/ 0 h 322"/>
              <a:gd name="T2" fmla="*/ 192116981 w 322"/>
              <a:gd name="T3" fmla="*/ 3892545 h 322"/>
              <a:gd name="T4" fmla="*/ 222658691 w 322"/>
              <a:gd name="T5" fmla="*/ 13622922 h 322"/>
              <a:gd name="T6" fmla="*/ 249259855 w 322"/>
              <a:gd name="T7" fmla="*/ 27246830 h 322"/>
              <a:gd name="T8" fmla="*/ 272905113 w 322"/>
              <a:gd name="T9" fmla="*/ 46708569 h 322"/>
              <a:gd name="T10" fmla="*/ 291624193 w 322"/>
              <a:gd name="T11" fmla="*/ 70062854 h 322"/>
              <a:gd name="T12" fmla="*/ 306402728 w 322"/>
              <a:gd name="T13" fmla="*/ 97308697 h 322"/>
              <a:gd name="T14" fmla="*/ 315269452 w 322"/>
              <a:gd name="T15" fmla="*/ 126501800 h 322"/>
              <a:gd name="T16" fmla="*/ 317239725 w 322"/>
              <a:gd name="T17" fmla="*/ 158613818 h 322"/>
              <a:gd name="T18" fmla="*/ 316254092 w 322"/>
              <a:gd name="T19" fmla="*/ 175156641 h 322"/>
              <a:gd name="T20" fmla="*/ 310343274 w 322"/>
              <a:gd name="T21" fmla="*/ 204348757 h 322"/>
              <a:gd name="T22" fmla="*/ 298520644 w 322"/>
              <a:gd name="T23" fmla="*/ 232568230 h 322"/>
              <a:gd name="T24" fmla="*/ 282757470 w 322"/>
              <a:gd name="T25" fmla="*/ 255922515 h 322"/>
              <a:gd name="T26" fmla="*/ 263052757 w 322"/>
              <a:gd name="T27" fmla="*/ 277330527 h 322"/>
              <a:gd name="T28" fmla="*/ 239407498 w 322"/>
              <a:gd name="T29" fmla="*/ 292899721 h 322"/>
              <a:gd name="T30" fmla="*/ 211821694 w 322"/>
              <a:gd name="T31" fmla="*/ 305550000 h 322"/>
              <a:gd name="T32" fmla="*/ 183250257 w 322"/>
              <a:gd name="T33" fmla="*/ 312362447 h 322"/>
              <a:gd name="T34" fmla="*/ 168471722 w 322"/>
              <a:gd name="T35" fmla="*/ 313335090 h 322"/>
              <a:gd name="T36" fmla="*/ 133003835 w 322"/>
              <a:gd name="T37" fmla="*/ 311388818 h 322"/>
              <a:gd name="T38" fmla="*/ 100491852 w 322"/>
              <a:gd name="T39" fmla="*/ 302631084 h 322"/>
              <a:gd name="T40" fmla="*/ 70935776 w 322"/>
              <a:gd name="T41" fmla="*/ 288034533 h 322"/>
              <a:gd name="T42" fmla="*/ 46304884 w 322"/>
              <a:gd name="T43" fmla="*/ 268572794 h 322"/>
              <a:gd name="T44" fmla="*/ 26601164 w 322"/>
              <a:gd name="T45" fmla="*/ 243272236 h 322"/>
              <a:gd name="T46" fmla="*/ 10836997 w 322"/>
              <a:gd name="T47" fmla="*/ 216999036 h 322"/>
              <a:gd name="T48" fmla="*/ 2955905 w 322"/>
              <a:gd name="T49" fmla="*/ 185860647 h 322"/>
              <a:gd name="T50" fmla="*/ 0 w 322"/>
              <a:gd name="T51" fmla="*/ 152775000 h 322"/>
              <a:gd name="T52" fmla="*/ 985633 w 322"/>
              <a:gd name="T53" fmla="*/ 137205806 h 322"/>
              <a:gd name="T54" fmla="*/ 7882084 w 322"/>
              <a:gd name="T55" fmla="*/ 107040060 h 322"/>
              <a:gd name="T56" fmla="*/ 19704713 w 322"/>
              <a:gd name="T57" fmla="*/ 79793230 h 322"/>
              <a:gd name="T58" fmla="*/ 38423793 w 322"/>
              <a:gd name="T59" fmla="*/ 55466303 h 322"/>
              <a:gd name="T60" fmla="*/ 60097786 w 322"/>
              <a:gd name="T61" fmla="*/ 35030934 h 322"/>
              <a:gd name="T62" fmla="*/ 84728678 w 322"/>
              <a:gd name="T63" fmla="*/ 17515467 h 322"/>
              <a:gd name="T64" fmla="*/ 113300114 w 322"/>
              <a:gd name="T65" fmla="*/ 6811461 h 322"/>
              <a:gd name="T66" fmla="*/ 144826464 w 322"/>
              <a:gd name="T67" fmla="*/ 0 h 322"/>
              <a:gd name="T68" fmla="*/ 160590631 w 322"/>
              <a:gd name="T69" fmla="*/ 0 h 32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22" h="322">
                <a:moveTo>
                  <a:pt x="163" y="0"/>
                </a:moveTo>
                <a:lnTo>
                  <a:pt x="163" y="0"/>
                </a:lnTo>
                <a:lnTo>
                  <a:pt x="179" y="2"/>
                </a:lnTo>
                <a:lnTo>
                  <a:pt x="195" y="4"/>
                </a:lnTo>
                <a:lnTo>
                  <a:pt x="211" y="8"/>
                </a:lnTo>
                <a:lnTo>
                  <a:pt x="226" y="14"/>
                </a:lnTo>
                <a:lnTo>
                  <a:pt x="240" y="21"/>
                </a:lnTo>
                <a:lnTo>
                  <a:pt x="253" y="28"/>
                </a:lnTo>
                <a:lnTo>
                  <a:pt x="265" y="38"/>
                </a:lnTo>
                <a:lnTo>
                  <a:pt x="277" y="48"/>
                </a:lnTo>
                <a:lnTo>
                  <a:pt x="287" y="60"/>
                </a:lnTo>
                <a:lnTo>
                  <a:pt x="296" y="72"/>
                </a:lnTo>
                <a:lnTo>
                  <a:pt x="303" y="86"/>
                </a:lnTo>
                <a:lnTo>
                  <a:pt x="311" y="100"/>
                </a:lnTo>
                <a:lnTo>
                  <a:pt x="316" y="115"/>
                </a:lnTo>
                <a:lnTo>
                  <a:pt x="320" y="130"/>
                </a:lnTo>
                <a:lnTo>
                  <a:pt x="321" y="147"/>
                </a:lnTo>
                <a:lnTo>
                  <a:pt x="322" y="163"/>
                </a:lnTo>
                <a:lnTo>
                  <a:pt x="321" y="180"/>
                </a:lnTo>
                <a:lnTo>
                  <a:pt x="318" y="195"/>
                </a:lnTo>
                <a:lnTo>
                  <a:pt x="315" y="210"/>
                </a:lnTo>
                <a:lnTo>
                  <a:pt x="310" y="225"/>
                </a:lnTo>
                <a:lnTo>
                  <a:pt x="303" y="239"/>
                </a:lnTo>
                <a:lnTo>
                  <a:pt x="296" y="252"/>
                </a:lnTo>
                <a:lnTo>
                  <a:pt x="287" y="263"/>
                </a:lnTo>
                <a:lnTo>
                  <a:pt x="277" y="274"/>
                </a:lnTo>
                <a:lnTo>
                  <a:pt x="267" y="285"/>
                </a:lnTo>
                <a:lnTo>
                  <a:pt x="255" y="293"/>
                </a:lnTo>
                <a:lnTo>
                  <a:pt x="243" y="301"/>
                </a:lnTo>
                <a:lnTo>
                  <a:pt x="229" y="309"/>
                </a:lnTo>
                <a:lnTo>
                  <a:pt x="215" y="314"/>
                </a:lnTo>
                <a:lnTo>
                  <a:pt x="201" y="317"/>
                </a:lnTo>
                <a:lnTo>
                  <a:pt x="186" y="321"/>
                </a:lnTo>
                <a:lnTo>
                  <a:pt x="171" y="322"/>
                </a:lnTo>
                <a:lnTo>
                  <a:pt x="153" y="322"/>
                </a:lnTo>
                <a:lnTo>
                  <a:pt x="135" y="320"/>
                </a:lnTo>
                <a:lnTo>
                  <a:pt x="117" y="316"/>
                </a:lnTo>
                <a:lnTo>
                  <a:pt x="102" y="311"/>
                </a:lnTo>
                <a:lnTo>
                  <a:pt x="87" y="305"/>
                </a:lnTo>
                <a:lnTo>
                  <a:pt x="72" y="296"/>
                </a:lnTo>
                <a:lnTo>
                  <a:pt x="59" y="287"/>
                </a:lnTo>
                <a:lnTo>
                  <a:pt x="47" y="276"/>
                </a:lnTo>
                <a:lnTo>
                  <a:pt x="37" y="264"/>
                </a:lnTo>
                <a:lnTo>
                  <a:pt x="27" y="250"/>
                </a:lnTo>
                <a:lnTo>
                  <a:pt x="18" y="237"/>
                </a:lnTo>
                <a:lnTo>
                  <a:pt x="11" y="223"/>
                </a:lnTo>
                <a:lnTo>
                  <a:pt x="6" y="206"/>
                </a:lnTo>
                <a:lnTo>
                  <a:pt x="3" y="191"/>
                </a:lnTo>
                <a:lnTo>
                  <a:pt x="0" y="175"/>
                </a:lnTo>
                <a:lnTo>
                  <a:pt x="0" y="157"/>
                </a:lnTo>
                <a:lnTo>
                  <a:pt x="1" y="141"/>
                </a:lnTo>
                <a:lnTo>
                  <a:pt x="4" y="125"/>
                </a:lnTo>
                <a:lnTo>
                  <a:pt x="8" y="110"/>
                </a:lnTo>
                <a:lnTo>
                  <a:pt x="14" y="95"/>
                </a:lnTo>
                <a:lnTo>
                  <a:pt x="20" y="82"/>
                </a:lnTo>
                <a:lnTo>
                  <a:pt x="29" y="69"/>
                </a:lnTo>
                <a:lnTo>
                  <a:pt x="39" y="57"/>
                </a:lnTo>
                <a:lnTo>
                  <a:pt x="49" y="46"/>
                </a:lnTo>
                <a:lnTo>
                  <a:pt x="61" y="36"/>
                </a:lnTo>
                <a:lnTo>
                  <a:pt x="73" y="27"/>
                </a:lnTo>
                <a:lnTo>
                  <a:pt x="86" y="18"/>
                </a:lnTo>
                <a:lnTo>
                  <a:pt x="101" y="12"/>
                </a:lnTo>
                <a:lnTo>
                  <a:pt x="115" y="7"/>
                </a:lnTo>
                <a:lnTo>
                  <a:pt x="130" y="3"/>
                </a:lnTo>
                <a:lnTo>
                  <a:pt x="147" y="0"/>
                </a:lnTo>
                <a:lnTo>
                  <a:pt x="163" y="0"/>
                </a:lnTo>
                <a:close/>
              </a:path>
            </a:pathLst>
          </a:custGeom>
          <a:solidFill>
            <a:srgbClr val="EFEFEF"/>
          </a:solidFill>
          <a:ln w="9525">
            <a:solidFill>
              <a:schemeClr val="accent1"/>
            </a:solidFill>
            <a:round/>
          </a:ln>
        </p:spPr>
        <p:txBody>
          <a:bodyPr anchor="ctr"/>
          <a:lstStyle/>
          <a:p>
            <a:pPr algn="ctr"/>
            <a:r>
              <a:rPr lang="en-US" sz="1050" b="1" dirty="0"/>
              <a:t>02</a:t>
            </a:r>
            <a:endParaRPr lang="en-US" sz="1050" b="1" dirty="0"/>
          </a:p>
        </p:txBody>
      </p:sp>
      <p:sp>
        <p:nvSpPr>
          <p:cNvPr id="11" name="Rectangle 10"/>
          <p:cNvSpPr/>
          <p:nvPr/>
        </p:nvSpPr>
        <p:spPr>
          <a:xfrm>
            <a:off x="3726730" y="4785345"/>
            <a:ext cx="1867602" cy="562447"/>
          </a:xfrm>
          <a:prstGeom prst="rect">
            <a:avLst/>
          </a:prstGeom>
        </p:spPr>
        <p:txBody>
          <a:bodyPr wrap="square" anchor="t">
            <a:noAutofit/>
          </a:bodyPr>
          <a:lstStyle/>
          <a:p>
            <a:pPr>
              <a:spcBef>
                <a:spcPts val="600"/>
              </a:spcBef>
              <a:buClr>
                <a:srgbClr val="E24848"/>
              </a:buClr>
              <a:defRPr/>
            </a:pPr>
            <a:r>
              <a:rPr lang="en-US" sz="10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Behavior we improving at something to. Evil true high lady roof men had open. </a:t>
            </a:r>
            <a:endParaRPr lang="en-US" sz="1000"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sp>
        <p:nvSpPr>
          <p:cNvPr id="12" name="Title 11"/>
          <p:cNvSpPr txBox="1"/>
          <p:nvPr/>
        </p:nvSpPr>
        <p:spPr>
          <a:xfrm>
            <a:off x="3706219" y="4541234"/>
            <a:ext cx="1600714" cy="244110"/>
          </a:xfrm>
          <a:prstGeom prst="rect">
            <a:avLst/>
          </a:prstGeom>
        </p:spPr>
        <p:txBody>
          <a:bodyPr vert="horz" wrap="square" lIns="91440" tIns="45720" rIns="91440" bIns="45720" rtlCol="0" anchor="ctr">
            <a:noAutofit/>
          </a:bodyPr>
          <a:lstStyle>
            <a:defPPr>
              <a:defRPr lang="en-US"/>
            </a:defPPr>
            <a:lvl1pPr>
              <a:lnSpc>
                <a:spcPct val="90000"/>
              </a:lnSpc>
              <a:spcBef>
                <a:spcPct val="0"/>
              </a:spcBef>
              <a:buNone/>
              <a:defRPr sz="1400" b="1">
                <a:solidFill>
                  <a:schemeClr val="tx1">
                    <a:lumMod val="85000"/>
                    <a:lumOff val="15000"/>
                  </a:schemeClr>
                </a:solidFill>
                <a:latin typeface="Roboto" panose="02000000000000000000" pitchFamily="2" charset="0"/>
                <a:ea typeface="Roboto" panose="02000000000000000000" pitchFamily="2" charset="0"/>
                <a:cs typeface="Times New Roman" panose="02020603050405020304" pitchFamily="18" charset="0"/>
              </a:defRPr>
            </a:lvl1pPr>
          </a:lstStyle>
          <a:p>
            <a:r>
              <a:rPr lang="en-US" dirty="0">
                <a:latin typeface="Playfair Display" panose="00000500000000000000" pitchFamily="2" charset="0"/>
                <a:cs typeface="Lato" panose="020F0502020204030203" pitchFamily="34" charset="0"/>
              </a:rPr>
              <a:t>PRODUCK 1</a:t>
            </a:r>
            <a:endParaRPr lang="en-US" dirty="0">
              <a:latin typeface="Playfair Display" panose="00000500000000000000" pitchFamily="2" charset="0"/>
              <a:cs typeface="Lato" panose="020F0502020204030203" pitchFamily="34" charset="0"/>
            </a:endParaRPr>
          </a:p>
        </p:txBody>
      </p:sp>
      <p:sp>
        <p:nvSpPr>
          <p:cNvPr id="13" name="Freeform 104"/>
          <p:cNvSpPr/>
          <p:nvPr/>
        </p:nvSpPr>
        <p:spPr bwMode="auto">
          <a:xfrm>
            <a:off x="6807260" y="3970743"/>
            <a:ext cx="341637" cy="338275"/>
          </a:xfrm>
          <a:custGeom>
            <a:avLst/>
            <a:gdLst>
              <a:gd name="T0" fmla="*/ 160590631 w 322"/>
              <a:gd name="T1" fmla="*/ 0 h 322"/>
              <a:gd name="T2" fmla="*/ 192116981 w 322"/>
              <a:gd name="T3" fmla="*/ 3892545 h 322"/>
              <a:gd name="T4" fmla="*/ 222658691 w 322"/>
              <a:gd name="T5" fmla="*/ 13622922 h 322"/>
              <a:gd name="T6" fmla="*/ 249259855 w 322"/>
              <a:gd name="T7" fmla="*/ 27246830 h 322"/>
              <a:gd name="T8" fmla="*/ 272905113 w 322"/>
              <a:gd name="T9" fmla="*/ 46708569 h 322"/>
              <a:gd name="T10" fmla="*/ 291624193 w 322"/>
              <a:gd name="T11" fmla="*/ 70062854 h 322"/>
              <a:gd name="T12" fmla="*/ 306402728 w 322"/>
              <a:gd name="T13" fmla="*/ 97308697 h 322"/>
              <a:gd name="T14" fmla="*/ 315269452 w 322"/>
              <a:gd name="T15" fmla="*/ 126501800 h 322"/>
              <a:gd name="T16" fmla="*/ 317239725 w 322"/>
              <a:gd name="T17" fmla="*/ 158613818 h 322"/>
              <a:gd name="T18" fmla="*/ 316254092 w 322"/>
              <a:gd name="T19" fmla="*/ 175156641 h 322"/>
              <a:gd name="T20" fmla="*/ 310343274 w 322"/>
              <a:gd name="T21" fmla="*/ 204348757 h 322"/>
              <a:gd name="T22" fmla="*/ 298520644 w 322"/>
              <a:gd name="T23" fmla="*/ 232568230 h 322"/>
              <a:gd name="T24" fmla="*/ 282757470 w 322"/>
              <a:gd name="T25" fmla="*/ 255922515 h 322"/>
              <a:gd name="T26" fmla="*/ 263052757 w 322"/>
              <a:gd name="T27" fmla="*/ 277330527 h 322"/>
              <a:gd name="T28" fmla="*/ 239407498 w 322"/>
              <a:gd name="T29" fmla="*/ 292899721 h 322"/>
              <a:gd name="T30" fmla="*/ 211821694 w 322"/>
              <a:gd name="T31" fmla="*/ 305550000 h 322"/>
              <a:gd name="T32" fmla="*/ 183250257 w 322"/>
              <a:gd name="T33" fmla="*/ 312362447 h 322"/>
              <a:gd name="T34" fmla="*/ 168471722 w 322"/>
              <a:gd name="T35" fmla="*/ 313335090 h 322"/>
              <a:gd name="T36" fmla="*/ 133003835 w 322"/>
              <a:gd name="T37" fmla="*/ 311388818 h 322"/>
              <a:gd name="T38" fmla="*/ 100491852 w 322"/>
              <a:gd name="T39" fmla="*/ 302631084 h 322"/>
              <a:gd name="T40" fmla="*/ 70935776 w 322"/>
              <a:gd name="T41" fmla="*/ 288034533 h 322"/>
              <a:gd name="T42" fmla="*/ 46304884 w 322"/>
              <a:gd name="T43" fmla="*/ 268572794 h 322"/>
              <a:gd name="T44" fmla="*/ 26601164 w 322"/>
              <a:gd name="T45" fmla="*/ 243272236 h 322"/>
              <a:gd name="T46" fmla="*/ 10836997 w 322"/>
              <a:gd name="T47" fmla="*/ 216999036 h 322"/>
              <a:gd name="T48" fmla="*/ 2955905 w 322"/>
              <a:gd name="T49" fmla="*/ 185860647 h 322"/>
              <a:gd name="T50" fmla="*/ 0 w 322"/>
              <a:gd name="T51" fmla="*/ 152775000 h 322"/>
              <a:gd name="T52" fmla="*/ 985633 w 322"/>
              <a:gd name="T53" fmla="*/ 137205806 h 322"/>
              <a:gd name="T54" fmla="*/ 7882084 w 322"/>
              <a:gd name="T55" fmla="*/ 107040060 h 322"/>
              <a:gd name="T56" fmla="*/ 19704713 w 322"/>
              <a:gd name="T57" fmla="*/ 79793230 h 322"/>
              <a:gd name="T58" fmla="*/ 38423793 w 322"/>
              <a:gd name="T59" fmla="*/ 55466303 h 322"/>
              <a:gd name="T60" fmla="*/ 60097786 w 322"/>
              <a:gd name="T61" fmla="*/ 35030934 h 322"/>
              <a:gd name="T62" fmla="*/ 84728678 w 322"/>
              <a:gd name="T63" fmla="*/ 17515467 h 322"/>
              <a:gd name="T64" fmla="*/ 113300114 w 322"/>
              <a:gd name="T65" fmla="*/ 6811461 h 322"/>
              <a:gd name="T66" fmla="*/ 144826464 w 322"/>
              <a:gd name="T67" fmla="*/ 0 h 322"/>
              <a:gd name="T68" fmla="*/ 160590631 w 322"/>
              <a:gd name="T69" fmla="*/ 0 h 32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22" h="322">
                <a:moveTo>
                  <a:pt x="163" y="0"/>
                </a:moveTo>
                <a:lnTo>
                  <a:pt x="163" y="0"/>
                </a:lnTo>
                <a:lnTo>
                  <a:pt x="179" y="2"/>
                </a:lnTo>
                <a:lnTo>
                  <a:pt x="195" y="4"/>
                </a:lnTo>
                <a:lnTo>
                  <a:pt x="211" y="8"/>
                </a:lnTo>
                <a:lnTo>
                  <a:pt x="226" y="14"/>
                </a:lnTo>
                <a:lnTo>
                  <a:pt x="240" y="21"/>
                </a:lnTo>
                <a:lnTo>
                  <a:pt x="253" y="28"/>
                </a:lnTo>
                <a:lnTo>
                  <a:pt x="265" y="38"/>
                </a:lnTo>
                <a:lnTo>
                  <a:pt x="277" y="48"/>
                </a:lnTo>
                <a:lnTo>
                  <a:pt x="287" y="60"/>
                </a:lnTo>
                <a:lnTo>
                  <a:pt x="296" y="72"/>
                </a:lnTo>
                <a:lnTo>
                  <a:pt x="303" y="86"/>
                </a:lnTo>
                <a:lnTo>
                  <a:pt x="311" y="100"/>
                </a:lnTo>
                <a:lnTo>
                  <a:pt x="316" y="115"/>
                </a:lnTo>
                <a:lnTo>
                  <a:pt x="320" y="130"/>
                </a:lnTo>
                <a:lnTo>
                  <a:pt x="321" y="147"/>
                </a:lnTo>
                <a:lnTo>
                  <a:pt x="322" y="163"/>
                </a:lnTo>
                <a:lnTo>
                  <a:pt x="321" y="180"/>
                </a:lnTo>
                <a:lnTo>
                  <a:pt x="318" y="195"/>
                </a:lnTo>
                <a:lnTo>
                  <a:pt x="315" y="210"/>
                </a:lnTo>
                <a:lnTo>
                  <a:pt x="310" y="225"/>
                </a:lnTo>
                <a:lnTo>
                  <a:pt x="303" y="239"/>
                </a:lnTo>
                <a:lnTo>
                  <a:pt x="296" y="252"/>
                </a:lnTo>
                <a:lnTo>
                  <a:pt x="287" y="263"/>
                </a:lnTo>
                <a:lnTo>
                  <a:pt x="277" y="274"/>
                </a:lnTo>
                <a:lnTo>
                  <a:pt x="267" y="285"/>
                </a:lnTo>
                <a:lnTo>
                  <a:pt x="255" y="293"/>
                </a:lnTo>
                <a:lnTo>
                  <a:pt x="243" y="301"/>
                </a:lnTo>
                <a:lnTo>
                  <a:pt x="229" y="309"/>
                </a:lnTo>
                <a:lnTo>
                  <a:pt x="215" y="314"/>
                </a:lnTo>
                <a:lnTo>
                  <a:pt x="201" y="317"/>
                </a:lnTo>
                <a:lnTo>
                  <a:pt x="186" y="321"/>
                </a:lnTo>
                <a:lnTo>
                  <a:pt x="171" y="322"/>
                </a:lnTo>
                <a:lnTo>
                  <a:pt x="153" y="322"/>
                </a:lnTo>
                <a:lnTo>
                  <a:pt x="135" y="320"/>
                </a:lnTo>
                <a:lnTo>
                  <a:pt x="117" y="316"/>
                </a:lnTo>
                <a:lnTo>
                  <a:pt x="102" y="311"/>
                </a:lnTo>
                <a:lnTo>
                  <a:pt x="87" y="305"/>
                </a:lnTo>
                <a:lnTo>
                  <a:pt x="72" y="296"/>
                </a:lnTo>
                <a:lnTo>
                  <a:pt x="59" y="287"/>
                </a:lnTo>
                <a:lnTo>
                  <a:pt x="47" y="276"/>
                </a:lnTo>
                <a:lnTo>
                  <a:pt x="37" y="264"/>
                </a:lnTo>
                <a:lnTo>
                  <a:pt x="27" y="250"/>
                </a:lnTo>
                <a:lnTo>
                  <a:pt x="18" y="237"/>
                </a:lnTo>
                <a:lnTo>
                  <a:pt x="11" y="223"/>
                </a:lnTo>
                <a:lnTo>
                  <a:pt x="6" y="206"/>
                </a:lnTo>
                <a:lnTo>
                  <a:pt x="3" y="191"/>
                </a:lnTo>
                <a:lnTo>
                  <a:pt x="0" y="175"/>
                </a:lnTo>
                <a:lnTo>
                  <a:pt x="0" y="157"/>
                </a:lnTo>
                <a:lnTo>
                  <a:pt x="1" y="141"/>
                </a:lnTo>
                <a:lnTo>
                  <a:pt x="4" y="125"/>
                </a:lnTo>
                <a:lnTo>
                  <a:pt x="8" y="110"/>
                </a:lnTo>
                <a:lnTo>
                  <a:pt x="14" y="95"/>
                </a:lnTo>
                <a:lnTo>
                  <a:pt x="20" y="82"/>
                </a:lnTo>
                <a:lnTo>
                  <a:pt x="29" y="69"/>
                </a:lnTo>
                <a:lnTo>
                  <a:pt x="39" y="57"/>
                </a:lnTo>
                <a:lnTo>
                  <a:pt x="49" y="46"/>
                </a:lnTo>
                <a:lnTo>
                  <a:pt x="61" y="36"/>
                </a:lnTo>
                <a:lnTo>
                  <a:pt x="73" y="27"/>
                </a:lnTo>
                <a:lnTo>
                  <a:pt x="86" y="18"/>
                </a:lnTo>
                <a:lnTo>
                  <a:pt x="101" y="12"/>
                </a:lnTo>
                <a:lnTo>
                  <a:pt x="115" y="7"/>
                </a:lnTo>
                <a:lnTo>
                  <a:pt x="130" y="3"/>
                </a:lnTo>
                <a:lnTo>
                  <a:pt x="147" y="0"/>
                </a:lnTo>
                <a:lnTo>
                  <a:pt x="163" y="0"/>
                </a:lnTo>
                <a:close/>
              </a:path>
            </a:pathLst>
          </a:custGeom>
          <a:solidFill>
            <a:srgbClr val="EFEFEF"/>
          </a:solidFill>
          <a:ln w="9525">
            <a:solidFill>
              <a:schemeClr val="accent1"/>
            </a:solidFill>
            <a:round/>
          </a:ln>
        </p:spPr>
        <p:txBody>
          <a:bodyPr anchor="ctr"/>
          <a:lstStyle/>
          <a:p>
            <a:pPr algn="ctr"/>
            <a:r>
              <a:rPr lang="en-US" sz="1050" b="1" dirty="0"/>
              <a:t>03</a:t>
            </a:r>
            <a:endParaRPr lang="en-US" sz="1050" b="1" dirty="0"/>
          </a:p>
        </p:txBody>
      </p:sp>
      <p:sp>
        <p:nvSpPr>
          <p:cNvPr id="14" name="Rectangle 13"/>
          <p:cNvSpPr/>
          <p:nvPr/>
        </p:nvSpPr>
        <p:spPr>
          <a:xfrm>
            <a:off x="6734855" y="4785345"/>
            <a:ext cx="1867602" cy="562447"/>
          </a:xfrm>
          <a:prstGeom prst="rect">
            <a:avLst/>
          </a:prstGeom>
        </p:spPr>
        <p:txBody>
          <a:bodyPr wrap="square" anchor="t">
            <a:noAutofit/>
          </a:bodyPr>
          <a:lstStyle/>
          <a:p>
            <a:pPr>
              <a:spcBef>
                <a:spcPts val="600"/>
              </a:spcBef>
              <a:buClr>
                <a:srgbClr val="E24848"/>
              </a:buClr>
              <a:defRPr/>
            </a:pPr>
            <a:r>
              <a:rPr lang="en-US" sz="10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Behavior we improving at something to. Evil true high lady roof men had open. </a:t>
            </a:r>
            <a:endParaRPr lang="en-US" sz="1000"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sp>
        <p:nvSpPr>
          <p:cNvPr id="15" name="Title 11"/>
          <p:cNvSpPr txBox="1"/>
          <p:nvPr/>
        </p:nvSpPr>
        <p:spPr>
          <a:xfrm>
            <a:off x="6714344" y="4541234"/>
            <a:ext cx="1600714" cy="244110"/>
          </a:xfrm>
          <a:prstGeom prst="rect">
            <a:avLst/>
          </a:prstGeom>
        </p:spPr>
        <p:txBody>
          <a:bodyPr vert="horz" wrap="square" lIns="91440" tIns="45720" rIns="91440" bIns="45720" rtlCol="0" anchor="ctr">
            <a:noAutofit/>
          </a:bodyPr>
          <a:lstStyle>
            <a:defPPr>
              <a:defRPr lang="en-US"/>
            </a:defPPr>
            <a:lvl1pPr>
              <a:lnSpc>
                <a:spcPct val="90000"/>
              </a:lnSpc>
              <a:spcBef>
                <a:spcPct val="0"/>
              </a:spcBef>
              <a:buNone/>
              <a:defRPr sz="1400" b="1">
                <a:solidFill>
                  <a:schemeClr val="tx1">
                    <a:lumMod val="85000"/>
                    <a:lumOff val="15000"/>
                  </a:schemeClr>
                </a:solidFill>
                <a:latin typeface="Roboto" panose="02000000000000000000" pitchFamily="2" charset="0"/>
                <a:ea typeface="Roboto" panose="02000000000000000000" pitchFamily="2" charset="0"/>
                <a:cs typeface="Times New Roman" panose="02020603050405020304" pitchFamily="18" charset="0"/>
              </a:defRPr>
            </a:lvl1pPr>
          </a:lstStyle>
          <a:p>
            <a:r>
              <a:rPr lang="en-US" dirty="0">
                <a:latin typeface="Playfair Display" panose="00000500000000000000" pitchFamily="2" charset="0"/>
                <a:cs typeface="Lato" panose="020F0502020204030203" pitchFamily="34" charset="0"/>
              </a:rPr>
              <a:t>PRODUCK 1</a:t>
            </a:r>
            <a:endParaRPr lang="en-US" dirty="0">
              <a:latin typeface="Playfair Display" panose="00000500000000000000" pitchFamily="2" charset="0"/>
              <a:cs typeface="Lato" panose="020F0502020204030203" pitchFamily="34" charset="0"/>
            </a:endParaRPr>
          </a:p>
        </p:txBody>
      </p:sp>
      <p:sp>
        <p:nvSpPr>
          <p:cNvPr id="16" name="Freeform 104"/>
          <p:cNvSpPr/>
          <p:nvPr/>
        </p:nvSpPr>
        <p:spPr bwMode="auto">
          <a:xfrm>
            <a:off x="9378478" y="3970743"/>
            <a:ext cx="341637" cy="338275"/>
          </a:xfrm>
          <a:custGeom>
            <a:avLst/>
            <a:gdLst>
              <a:gd name="T0" fmla="*/ 160590631 w 322"/>
              <a:gd name="T1" fmla="*/ 0 h 322"/>
              <a:gd name="T2" fmla="*/ 192116981 w 322"/>
              <a:gd name="T3" fmla="*/ 3892545 h 322"/>
              <a:gd name="T4" fmla="*/ 222658691 w 322"/>
              <a:gd name="T5" fmla="*/ 13622922 h 322"/>
              <a:gd name="T6" fmla="*/ 249259855 w 322"/>
              <a:gd name="T7" fmla="*/ 27246830 h 322"/>
              <a:gd name="T8" fmla="*/ 272905113 w 322"/>
              <a:gd name="T9" fmla="*/ 46708569 h 322"/>
              <a:gd name="T10" fmla="*/ 291624193 w 322"/>
              <a:gd name="T11" fmla="*/ 70062854 h 322"/>
              <a:gd name="T12" fmla="*/ 306402728 w 322"/>
              <a:gd name="T13" fmla="*/ 97308697 h 322"/>
              <a:gd name="T14" fmla="*/ 315269452 w 322"/>
              <a:gd name="T15" fmla="*/ 126501800 h 322"/>
              <a:gd name="T16" fmla="*/ 317239725 w 322"/>
              <a:gd name="T17" fmla="*/ 158613818 h 322"/>
              <a:gd name="T18" fmla="*/ 316254092 w 322"/>
              <a:gd name="T19" fmla="*/ 175156641 h 322"/>
              <a:gd name="T20" fmla="*/ 310343274 w 322"/>
              <a:gd name="T21" fmla="*/ 204348757 h 322"/>
              <a:gd name="T22" fmla="*/ 298520644 w 322"/>
              <a:gd name="T23" fmla="*/ 232568230 h 322"/>
              <a:gd name="T24" fmla="*/ 282757470 w 322"/>
              <a:gd name="T25" fmla="*/ 255922515 h 322"/>
              <a:gd name="T26" fmla="*/ 263052757 w 322"/>
              <a:gd name="T27" fmla="*/ 277330527 h 322"/>
              <a:gd name="T28" fmla="*/ 239407498 w 322"/>
              <a:gd name="T29" fmla="*/ 292899721 h 322"/>
              <a:gd name="T30" fmla="*/ 211821694 w 322"/>
              <a:gd name="T31" fmla="*/ 305550000 h 322"/>
              <a:gd name="T32" fmla="*/ 183250257 w 322"/>
              <a:gd name="T33" fmla="*/ 312362447 h 322"/>
              <a:gd name="T34" fmla="*/ 168471722 w 322"/>
              <a:gd name="T35" fmla="*/ 313335090 h 322"/>
              <a:gd name="T36" fmla="*/ 133003835 w 322"/>
              <a:gd name="T37" fmla="*/ 311388818 h 322"/>
              <a:gd name="T38" fmla="*/ 100491852 w 322"/>
              <a:gd name="T39" fmla="*/ 302631084 h 322"/>
              <a:gd name="T40" fmla="*/ 70935776 w 322"/>
              <a:gd name="T41" fmla="*/ 288034533 h 322"/>
              <a:gd name="T42" fmla="*/ 46304884 w 322"/>
              <a:gd name="T43" fmla="*/ 268572794 h 322"/>
              <a:gd name="T44" fmla="*/ 26601164 w 322"/>
              <a:gd name="T45" fmla="*/ 243272236 h 322"/>
              <a:gd name="T46" fmla="*/ 10836997 w 322"/>
              <a:gd name="T47" fmla="*/ 216999036 h 322"/>
              <a:gd name="T48" fmla="*/ 2955905 w 322"/>
              <a:gd name="T49" fmla="*/ 185860647 h 322"/>
              <a:gd name="T50" fmla="*/ 0 w 322"/>
              <a:gd name="T51" fmla="*/ 152775000 h 322"/>
              <a:gd name="T52" fmla="*/ 985633 w 322"/>
              <a:gd name="T53" fmla="*/ 137205806 h 322"/>
              <a:gd name="T54" fmla="*/ 7882084 w 322"/>
              <a:gd name="T55" fmla="*/ 107040060 h 322"/>
              <a:gd name="T56" fmla="*/ 19704713 w 322"/>
              <a:gd name="T57" fmla="*/ 79793230 h 322"/>
              <a:gd name="T58" fmla="*/ 38423793 w 322"/>
              <a:gd name="T59" fmla="*/ 55466303 h 322"/>
              <a:gd name="T60" fmla="*/ 60097786 w 322"/>
              <a:gd name="T61" fmla="*/ 35030934 h 322"/>
              <a:gd name="T62" fmla="*/ 84728678 w 322"/>
              <a:gd name="T63" fmla="*/ 17515467 h 322"/>
              <a:gd name="T64" fmla="*/ 113300114 w 322"/>
              <a:gd name="T65" fmla="*/ 6811461 h 322"/>
              <a:gd name="T66" fmla="*/ 144826464 w 322"/>
              <a:gd name="T67" fmla="*/ 0 h 322"/>
              <a:gd name="T68" fmla="*/ 160590631 w 322"/>
              <a:gd name="T69" fmla="*/ 0 h 32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22" h="322">
                <a:moveTo>
                  <a:pt x="163" y="0"/>
                </a:moveTo>
                <a:lnTo>
                  <a:pt x="163" y="0"/>
                </a:lnTo>
                <a:lnTo>
                  <a:pt x="179" y="2"/>
                </a:lnTo>
                <a:lnTo>
                  <a:pt x="195" y="4"/>
                </a:lnTo>
                <a:lnTo>
                  <a:pt x="211" y="8"/>
                </a:lnTo>
                <a:lnTo>
                  <a:pt x="226" y="14"/>
                </a:lnTo>
                <a:lnTo>
                  <a:pt x="240" y="21"/>
                </a:lnTo>
                <a:lnTo>
                  <a:pt x="253" y="28"/>
                </a:lnTo>
                <a:lnTo>
                  <a:pt x="265" y="38"/>
                </a:lnTo>
                <a:lnTo>
                  <a:pt x="277" y="48"/>
                </a:lnTo>
                <a:lnTo>
                  <a:pt x="287" y="60"/>
                </a:lnTo>
                <a:lnTo>
                  <a:pt x="296" y="72"/>
                </a:lnTo>
                <a:lnTo>
                  <a:pt x="303" y="86"/>
                </a:lnTo>
                <a:lnTo>
                  <a:pt x="311" y="100"/>
                </a:lnTo>
                <a:lnTo>
                  <a:pt x="316" y="115"/>
                </a:lnTo>
                <a:lnTo>
                  <a:pt x="320" y="130"/>
                </a:lnTo>
                <a:lnTo>
                  <a:pt x="321" y="147"/>
                </a:lnTo>
                <a:lnTo>
                  <a:pt x="322" y="163"/>
                </a:lnTo>
                <a:lnTo>
                  <a:pt x="321" y="180"/>
                </a:lnTo>
                <a:lnTo>
                  <a:pt x="318" y="195"/>
                </a:lnTo>
                <a:lnTo>
                  <a:pt x="315" y="210"/>
                </a:lnTo>
                <a:lnTo>
                  <a:pt x="310" y="225"/>
                </a:lnTo>
                <a:lnTo>
                  <a:pt x="303" y="239"/>
                </a:lnTo>
                <a:lnTo>
                  <a:pt x="296" y="252"/>
                </a:lnTo>
                <a:lnTo>
                  <a:pt x="287" y="263"/>
                </a:lnTo>
                <a:lnTo>
                  <a:pt x="277" y="274"/>
                </a:lnTo>
                <a:lnTo>
                  <a:pt x="267" y="285"/>
                </a:lnTo>
                <a:lnTo>
                  <a:pt x="255" y="293"/>
                </a:lnTo>
                <a:lnTo>
                  <a:pt x="243" y="301"/>
                </a:lnTo>
                <a:lnTo>
                  <a:pt x="229" y="309"/>
                </a:lnTo>
                <a:lnTo>
                  <a:pt x="215" y="314"/>
                </a:lnTo>
                <a:lnTo>
                  <a:pt x="201" y="317"/>
                </a:lnTo>
                <a:lnTo>
                  <a:pt x="186" y="321"/>
                </a:lnTo>
                <a:lnTo>
                  <a:pt x="171" y="322"/>
                </a:lnTo>
                <a:lnTo>
                  <a:pt x="153" y="322"/>
                </a:lnTo>
                <a:lnTo>
                  <a:pt x="135" y="320"/>
                </a:lnTo>
                <a:lnTo>
                  <a:pt x="117" y="316"/>
                </a:lnTo>
                <a:lnTo>
                  <a:pt x="102" y="311"/>
                </a:lnTo>
                <a:lnTo>
                  <a:pt x="87" y="305"/>
                </a:lnTo>
                <a:lnTo>
                  <a:pt x="72" y="296"/>
                </a:lnTo>
                <a:lnTo>
                  <a:pt x="59" y="287"/>
                </a:lnTo>
                <a:lnTo>
                  <a:pt x="47" y="276"/>
                </a:lnTo>
                <a:lnTo>
                  <a:pt x="37" y="264"/>
                </a:lnTo>
                <a:lnTo>
                  <a:pt x="27" y="250"/>
                </a:lnTo>
                <a:lnTo>
                  <a:pt x="18" y="237"/>
                </a:lnTo>
                <a:lnTo>
                  <a:pt x="11" y="223"/>
                </a:lnTo>
                <a:lnTo>
                  <a:pt x="6" y="206"/>
                </a:lnTo>
                <a:lnTo>
                  <a:pt x="3" y="191"/>
                </a:lnTo>
                <a:lnTo>
                  <a:pt x="0" y="175"/>
                </a:lnTo>
                <a:lnTo>
                  <a:pt x="0" y="157"/>
                </a:lnTo>
                <a:lnTo>
                  <a:pt x="1" y="141"/>
                </a:lnTo>
                <a:lnTo>
                  <a:pt x="4" y="125"/>
                </a:lnTo>
                <a:lnTo>
                  <a:pt x="8" y="110"/>
                </a:lnTo>
                <a:lnTo>
                  <a:pt x="14" y="95"/>
                </a:lnTo>
                <a:lnTo>
                  <a:pt x="20" y="82"/>
                </a:lnTo>
                <a:lnTo>
                  <a:pt x="29" y="69"/>
                </a:lnTo>
                <a:lnTo>
                  <a:pt x="39" y="57"/>
                </a:lnTo>
                <a:lnTo>
                  <a:pt x="49" y="46"/>
                </a:lnTo>
                <a:lnTo>
                  <a:pt x="61" y="36"/>
                </a:lnTo>
                <a:lnTo>
                  <a:pt x="73" y="27"/>
                </a:lnTo>
                <a:lnTo>
                  <a:pt x="86" y="18"/>
                </a:lnTo>
                <a:lnTo>
                  <a:pt x="101" y="12"/>
                </a:lnTo>
                <a:lnTo>
                  <a:pt x="115" y="7"/>
                </a:lnTo>
                <a:lnTo>
                  <a:pt x="130" y="3"/>
                </a:lnTo>
                <a:lnTo>
                  <a:pt x="147" y="0"/>
                </a:lnTo>
                <a:lnTo>
                  <a:pt x="163" y="0"/>
                </a:lnTo>
                <a:close/>
              </a:path>
            </a:pathLst>
          </a:custGeom>
          <a:solidFill>
            <a:srgbClr val="EFEFEF"/>
          </a:solidFill>
          <a:ln w="9525">
            <a:solidFill>
              <a:schemeClr val="accent1"/>
            </a:solidFill>
            <a:round/>
          </a:ln>
        </p:spPr>
        <p:txBody>
          <a:bodyPr anchor="ctr"/>
          <a:lstStyle/>
          <a:p>
            <a:pPr algn="ctr"/>
            <a:r>
              <a:rPr lang="en-US" sz="1050" b="1" dirty="0"/>
              <a:t>04</a:t>
            </a:r>
            <a:endParaRPr lang="en-US" sz="1050" b="1" dirty="0"/>
          </a:p>
        </p:txBody>
      </p:sp>
      <p:sp>
        <p:nvSpPr>
          <p:cNvPr id="17" name="Rectangle 16"/>
          <p:cNvSpPr/>
          <p:nvPr/>
        </p:nvSpPr>
        <p:spPr>
          <a:xfrm>
            <a:off x="9306073" y="4785345"/>
            <a:ext cx="1867602" cy="562447"/>
          </a:xfrm>
          <a:prstGeom prst="rect">
            <a:avLst/>
          </a:prstGeom>
        </p:spPr>
        <p:txBody>
          <a:bodyPr wrap="square" anchor="t">
            <a:noAutofit/>
          </a:bodyPr>
          <a:lstStyle/>
          <a:p>
            <a:pPr>
              <a:spcBef>
                <a:spcPts val="600"/>
              </a:spcBef>
              <a:buClr>
                <a:srgbClr val="E24848"/>
              </a:buClr>
              <a:defRPr/>
            </a:pPr>
            <a:r>
              <a:rPr lang="en-US" sz="10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Behavior we improving at something to. Evil true high lady roof men had open. </a:t>
            </a:r>
            <a:endParaRPr lang="en-US" sz="1000"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sp>
        <p:nvSpPr>
          <p:cNvPr id="18" name="Title 11"/>
          <p:cNvSpPr txBox="1"/>
          <p:nvPr/>
        </p:nvSpPr>
        <p:spPr>
          <a:xfrm>
            <a:off x="9285562" y="4541234"/>
            <a:ext cx="1600714" cy="244110"/>
          </a:xfrm>
          <a:prstGeom prst="rect">
            <a:avLst/>
          </a:prstGeom>
        </p:spPr>
        <p:txBody>
          <a:bodyPr vert="horz" wrap="square" lIns="91440" tIns="45720" rIns="91440" bIns="45720" rtlCol="0" anchor="ctr">
            <a:noAutofit/>
          </a:bodyPr>
          <a:lstStyle>
            <a:defPPr>
              <a:defRPr lang="en-US"/>
            </a:defPPr>
            <a:lvl1pPr>
              <a:lnSpc>
                <a:spcPct val="90000"/>
              </a:lnSpc>
              <a:spcBef>
                <a:spcPct val="0"/>
              </a:spcBef>
              <a:buNone/>
              <a:defRPr sz="1400" b="1">
                <a:solidFill>
                  <a:schemeClr val="tx1">
                    <a:lumMod val="85000"/>
                    <a:lumOff val="15000"/>
                  </a:schemeClr>
                </a:solidFill>
                <a:latin typeface="Roboto" panose="02000000000000000000" pitchFamily="2" charset="0"/>
                <a:ea typeface="Roboto" panose="02000000000000000000" pitchFamily="2" charset="0"/>
                <a:cs typeface="Times New Roman" panose="02020603050405020304" pitchFamily="18" charset="0"/>
              </a:defRPr>
            </a:lvl1pPr>
          </a:lstStyle>
          <a:p>
            <a:r>
              <a:rPr lang="en-US" dirty="0">
                <a:latin typeface="Playfair Display" panose="00000500000000000000" pitchFamily="2" charset="0"/>
                <a:cs typeface="Lato" panose="020F0502020204030203" pitchFamily="34" charset="0"/>
              </a:rPr>
              <a:t>PRODUCK 1</a:t>
            </a:r>
            <a:endParaRPr lang="en-US" dirty="0">
              <a:latin typeface="Playfair Display" panose="00000500000000000000" pitchFamily="2" charset="0"/>
              <a:cs typeface="Lato" panose="020F0502020204030203" pitchFamily="34" charset="0"/>
            </a:endParaRPr>
          </a:p>
        </p:txBody>
      </p:sp>
      <p:sp>
        <p:nvSpPr>
          <p:cNvPr id="5" name="Oval Callout 4"/>
          <p:cNvSpPr/>
          <p:nvPr/>
        </p:nvSpPr>
        <p:spPr>
          <a:xfrm>
            <a:off x="1243640" y="2198607"/>
            <a:ext cx="1471365" cy="1509338"/>
          </a:xfrm>
          <a:prstGeom prst="wedgeEllipseCallout">
            <a:avLst>
              <a:gd name="adj1" fmla="val -40278"/>
              <a:gd name="adj2" fmla="val 59494"/>
            </a:avLst>
          </a:prstGeom>
          <a:solidFill>
            <a:schemeClr val="accent1"/>
          </a:solidFill>
          <a:ln>
            <a:noFill/>
          </a:ln>
          <a:effectLst>
            <a:outerShdw blurRad="266700" dist="508000" dir="1920000" sx="96000" sy="96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Callout 19"/>
          <p:cNvSpPr/>
          <p:nvPr/>
        </p:nvSpPr>
        <p:spPr>
          <a:xfrm>
            <a:off x="3969953" y="2198607"/>
            <a:ext cx="1471365" cy="1509338"/>
          </a:xfrm>
          <a:prstGeom prst="wedgeEllipseCallout">
            <a:avLst>
              <a:gd name="adj1" fmla="val -40278"/>
              <a:gd name="adj2" fmla="val 59494"/>
            </a:avLst>
          </a:prstGeom>
          <a:solidFill>
            <a:schemeClr val="accent2"/>
          </a:solidFill>
          <a:ln>
            <a:noFill/>
          </a:ln>
          <a:effectLst>
            <a:outerShdw blurRad="266700" dist="508000" dir="1920000" sx="96000" sy="96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Callout 20"/>
          <p:cNvSpPr/>
          <p:nvPr/>
        </p:nvSpPr>
        <p:spPr>
          <a:xfrm>
            <a:off x="6932973" y="2198607"/>
            <a:ext cx="1471365" cy="1509338"/>
          </a:xfrm>
          <a:prstGeom prst="wedgeEllipseCallout">
            <a:avLst>
              <a:gd name="adj1" fmla="val -40278"/>
              <a:gd name="adj2" fmla="val 59494"/>
            </a:avLst>
          </a:prstGeom>
          <a:solidFill>
            <a:schemeClr val="accent1"/>
          </a:solidFill>
          <a:ln>
            <a:noFill/>
          </a:ln>
          <a:effectLst>
            <a:outerShdw blurRad="266700" dist="508000" dir="1920000" sx="96000" sy="96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Callout 21"/>
          <p:cNvSpPr/>
          <p:nvPr/>
        </p:nvSpPr>
        <p:spPr>
          <a:xfrm>
            <a:off x="9549296" y="2198607"/>
            <a:ext cx="1471365" cy="1509338"/>
          </a:xfrm>
          <a:prstGeom prst="wedgeEllipseCallout">
            <a:avLst>
              <a:gd name="adj1" fmla="val -40278"/>
              <a:gd name="adj2" fmla="val 59494"/>
            </a:avLst>
          </a:prstGeom>
          <a:solidFill>
            <a:schemeClr val="accent2"/>
          </a:solidFill>
          <a:ln>
            <a:noFill/>
          </a:ln>
          <a:effectLst>
            <a:outerShdw blurRad="266700" dist="508000" dir="1920000" sx="96000" sy="96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1391240" y="2353657"/>
            <a:ext cx="1166161" cy="1166161"/>
          </a:xfrm>
          <a:prstGeom prst="ellipse">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p:nvSpPr>
        <p:spPr>
          <a:xfrm>
            <a:off x="4122554" y="2353657"/>
            <a:ext cx="1166161" cy="1166161"/>
          </a:xfrm>
          <a:prstGeom prst="ellipse">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p:nvSpPr>
        <p:spPr>
          <a:xfrm>
            <a:off x="7085574" y="2353657"/>
            <a:ext cx="1166161" cy="1166161"/>
          </a:xfrm>
          <a:prstGeom prst="ellipse">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p:cNvSpPr/>
          <p:nvPr/>
        </p:nvSpPr>
        <p:spPr>
          <a:xfrm>
            <a:off x="9720115" y="2353657"/>
            <a:ext cx="1166161" cy="1166161"/>
          </a:xfrm>
          <a:prstGeom prst="ellipse">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13"/>
          <p:cNvSpPr>
            <a:spLocks noEditPoints="1"/>
          </p:cNvSpPr>
          <p:nvPr/>
        </p:nvSpPr>
        <p:spPr bwMode="auto">
          <a:xfrm>
            <a:off x="7514701" y="2745003"/>
            <a:ext cx="386672" cy="386671"/>
          </a:xfrm>
          <a:custGeom>
            <a:avLst/>
            <a:gdLst>
              <a:gd name="T0" fmla="*/ 491 w 913"/>
              <a:gd name="T1" fmla="*/ 481 h 915"/>
              <a:gd name="T2" fmla="*/ 486 w 913"/>
              <a:gd name="T3" fmla="*/ 482 h 915"/>
              <a:gd name="T4" fmla="*/ 484 w 913"/>
              <a:gd name="T5" fmla="*/ 485 h 915"/>
              <a:gd name="T6" fmla="*/ 481 w 913"/>
              <a:gd name="T7" fmla="*/ 488 h 915"/>
              <a:gd name="T8" fmla="*/ 480 w 913"/>
              <a:gd name="T9" fmla="*/ 491 h 915"/>
              <a:gd name="T10" fmla="*/ 377 w 913"/>
              <a:gd name="T11" fmla="*/ 852 h 915"/>
              <a:gd name="T12" fmla="*/ 42 w 913"/>
              <a:gd name="T13" fmla="*/ 44 h 915"/>
              <a:gd name="T14" fmla="*/ 852 w 913"/>
              <a:gd name="T15" fmla="*/ 377 h 915"/>
              <a:gd name="T16" fmla="*/ 491 w 913"/>
              <a:gd name="T17" fmla="*/ 481 h 915"/>
              <a:gd name="T18" fmla="*/ 904 w 913"/>
              <a:gd name="T19" fmla="*/ 367 h 915"/>
              <a:gd name="T20" fmla="*/ 20 w 913"/>
              <a:gd name="T21" fmla="*/ 1 h 915"/>
              <a:gd name="T22" fmla="*/ 16 w 913"/>
              <a:gd name="T23" fmla="*/ 0 h 915"/>
              <a:gd name="T24" fmla="*/ 11 w 913"/>
              <a:gd name="T25" fmla="*/ 0 h 915"/>
              <a:gd name="T26" fmla="*/ 7 w 913"/>
              <a:gd name="T27" fmla="*/ 2 h 915"/>
              <a:gd name="T28" fmla="*/ 4 w 913"/>
              <a:gd name="T29" fmla="*/ 5 h 915"/>
              <a:gd name="T30" fmla="*/ 1 w 913"/>
              <a:gd name="T31" fmla="*/ 8 h 915"/>
              <a:gd name="T32" fmla="*/ 0 w 913"/>
              <a:gd name="T33" fmla="*/ 13 h 915"/>
              <a:gd name="T34" fmla="*/ 0 w 913"/>
              <a:gd name="T35" fmla="*/ 17 h 915"/>
              <a:gd name="T36" fmla="*/ 1 w 913"/>
              <a:gd name="T37" fmla="*/ 21 h 915"/>
              <a:gd name="T38" fmla="*/ 365 w 913"/>
              <a:gd name="T39" fmla="*/ 905 h 915"/>
              <a:gd name="T40" fmla="*/ 367 w 913"/>
              <a:gd name="T41" fmla="*/ 909 h 915"/>
              <a:gd name="T42" fmla="*/ 371 w 913"/>
              <a:gd name="T43" fmla="*/ 911 h 915"/>
              <a:gd name="T44" fmla="*/ 375 w 913"/>
              <a:gd name="T45" fmla="*/ 913 h 915"/>
              <a:gd name="T46" fmla="*/ 379 w 913"/>
              <a:gd name="T47" fmla="*/ 915 h 915"/>
              <a:gd name="T48" fmla="*/ 380 w 913"/>
              <a:gd name="T49" fmla="*/ 915 h 915"/>
              <a:gd name="T50" fmla="*/ 380 w 913"/>
              <a:gd name="T51" fmla="*/ 915 h 915"/>
              <a:gd name="T52" fmla="*/ 385 w 913"/>
              <a:gd name="T53" fmla="*/ 913 h 915"/>
              <a:gd name="T54" fmla="*/ 389 w 913"/>
              <a:gd name="T55" fmla="*/ 911 h 915"/>
              <a:gd name="T56" fmla="*/ 392 w 913"/>
              <a:gd name="T57" fmla="*/ 908 h 915"/>
              <a:gd name="T58" fmla="*/ 394 w 913"/>
              <a:gd name="T59" fmla="*/ 904 h 915"/>
              <a:gd name="T60" fmla="*/ 507 w 913"/>
              <a:gd name="T61" fmla="*/ 508 h 915"/>
              <a:gd name="T62" fmla="*/ 903 w 913"/>
              <a:gd name="T63" fmla="*/ 394 h 915"/>
              <a:gd name="T64" fmla="*/ 907 w 913"/>
              <a:gd name="T65" fmla="*/ 393 h 915"/>
              <a:gd name="T66" fmla="*/ 910 w 913"/>
              <a:gd name="T67" fmla="*/ 390 h 915"/>
              <a:gd name="T68" fmla="*/ 912 w 913"/>
              <a:gd name="T69" fmla="*/ 386 h 915"/>
              <a:gd name="T70" fmla="*/ 913 w 913"/>
              <a:gd name="T71" fmla="*/ 382 h 915"/>
              <a:gd name="T72" fmla="*/ 913 w 913"/>
              <a:gd name="T73" fmla="*/ 376 h 915"/>
              <a:gd name="T74" fmla="*/ 911 w 913"/>
              <a:gd name="T75" fmla="*/ 372 h 915"/>
              <a:gd name="T76" fmla="*/ 908 w 913"/>
              <a:gd name="T77" fmla="*/ 369 h 915"/>
              <a:gd name="T78" fmla="*/ 904 w 913"/>
              <a:gd name="T79" fmla="*/ 367 h 915"/>
              <a:gd name="T80" fmla="*/ 904 w 913"/>
              <a:gd name="T81" fmla="*/ 367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13" h="915">
                <a:moveTo>
                  <a:pt x="491" y="481"/>
                </a:moveTo>
                <a:lnTo>
                  <a:pt x="486" y="482"/>
                </a:lnTo>
                <a:lnTo>
                  <a:pt x="484" y="485"/>
                </a:lnTo>
                <a:lnTo>
                  <a:pt x="481" y="488"/>
                </a:lnTo>
                <a:lnTo>
                  <a:pt x="480" y="491"/>
                </a:lnTo>
                <a:lnTo>
                  <a:pt x="377" y="852"/>
                </a:lnTo>
                <a:lnTo>
                  <a:pt x="42" y="44"/>
                </a:lnTo>
                <a:lnTo>
                  <a:pt x="852" y="377"/>
                </a:lnTo>
                <a:lnTo>
                  <a:pt x="491" y="481"/>
                </a:lnTo>
                <a:close/>
                <a:moveTo>
                  <a:pt x="904" y="367"/>
                </a:moveTo>
                <a:lnTo>
                  <a:pt x="20" y="1"/>
                </a:lnTo>
                <a:lnTo>
                  <a:pt x="16" y="0"/>
                </a:lnTo>
                <a:lnTo>
                  <a:pt x="11" y="0"/>
                </a:lnTo>
                <a:lnTo>
                  <a:pt x="7" y="2"/>
                </a:lnTo>
                <a:lnTo>
                  <a:pt x="4" y="5"/>
                </a:lnTo>
                <a:lnTo>
                  <a:pt x="1" y="8"/>
                </a:lnTo>
                <a:lnTo>
                  <a:pt x="0" y="13"/>
                </a:lnTo>
                <a:lnTo>
                  <a:pt x="0" y="17"/>
                </a:lnTo>
                <a:lnTo>
                  <a:pt x="1" y="21"/>
                </a:lnTo>
                <a:lnTo>
                  <a:pt x="365" y="905"/>
                </a:lnTo>
                <a:lnTo>
                  <a:pt x="367" y="909"/>
                </a:lnTo>
                <a:lnTo>
                  <a:pt x="371" y="911"/>
                </a:lnTo>
                <a:lnTo>
                  <a:pt x="375" y="913"/>
                </a:lnTo>
                <a:lnTo>
                  <a:pt x="379" y="915"/>
                </a:lnTo>
                <a:lnTo>
                  <a:pt x="380" y="915"/>
                </a:lnTo>
                <a:lnTo>
                  <a:pt x="380" y="915"/>
                </a:lnTo>
                <a:lnTo>
                  <a:pt x="385" y="913"/>
                </a:lnTo>
                <a:lnTo>
                  <a:pt x="389" y="911"/>
                </a:lnTo>
                <a:lnTo>
                  <a:pt x="392" y="908"/>
                </a:lnTo>
                <a:lnTo>
                  <a:pt x="394" y="904"/>
                </a:lnTo>
                <a:lnTo>
                  <a:pt x="507" y="508"/>
                </a:lnTo>
                <a:lnTo>
                  <a:pt x="903" y="394"/>
                </a:lnTo>
                <a:lnTo>
                  <a:pt x="907" y="393"/>
                </a:lnTo>
                <a:lnTo>
                  <a:pt x="910" y="390"/>
                </a:lnTo>
                <a:lnTo>
                  <a:pt x="912" y="386"/>
                </a:lnTo>
                <a:lnTo>
                  <a:pt x="913" y="382"/>
                </a:lnTo>
                <a:lnTo>
                  <a:pt x="913" y="376"/>
                </a:lnTo>
                <a:lnTo>
                  <a:pt x="911" y="372"/>
                </a:lnTo>
                <a:lnTo>
                  <a:pt x="908" y="369"/>
                </a:lnTo>
                <a:lnTo>
                  <a:pt x="904" y="367"/>
                </a:lnTo>
                <a:lnTo>
                  <a:pt x="904" y="367"/>
                </a:lnTo>
                <a:close/>
              </a:path>
            </a:pathLst>
          </a:custGeom>
          <a:solidFill>
            <a:srgbClr val="332F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nvGrpSpPr>
          <p:cNvPr id="29" name="Group 28"/>
          <p:cNvGrpSpPr/>
          <p:nvPr/>
        </p:nvGrpSpPr>
        <p:grpSpPr>
          <a:xfrm>
            <a:off x="10094010" y="2719901"/>
            <a:ext cx="418369" cy="418367"/>
            <a:chOff x="3175000" y="3287713"/>
            <a:chExt cx="285751" cy="285750"/>
          </a:xfrm>
        </p:grpSpPr>
        <p:sp>
          <p:nvSpPr>
            <p:cNvPr id="30" name="Freeform 103"/>
            <p:cNvSpPr>
              <a:spLocks noEditPoints="1"/>
            </p:cNvSpPr>
            <p:nvPr/>
          </p:nvSpPr>
          <p:spPr bwMode="auto">
            <a:xfrm>
              <a:off x="3316288" y="3430588"/>
              <a:ext cx="144463" cy="142875"/>
            </a:xfrm>
            <a:custGeom>
              <a:avLst/>
              <a:gdLst>
                <a:gd name="T0" fmla="*/ 393 w 455"/>
                <a:gd name="T1" fmla="*/ 240 h 451"/>
                <a:gd name="T2" fmla="*/ 394 w 455"/>
                <a:gd name="T3" fmla="*/ 269 h 451"/>
                <a:gd name="T4" fmla="*/ 352 w 455"/>
                <a:gd name="T5" fmla="*/ 349 h 451"/>
                <a:gd name="T6" fmla="*/ 335 w 455"/>
                <a:gd name="T7" fmla="*/ 351 h 451"/>
                <a:gd name="T8" fmla="*/ 283 w 455"/>
                <a:gd name="T9" fmla="*/ 381 h 451"/>
                <a:gd name="T10" fmla="*/ 273 w 455"/>
                <a:gd name="T11" fmla="*/ 395 h 451"/>
                <a:gd name="T12" fmla="*/ 182 w 455"/>
                <a:gd name="T13" fmla="*/ 391 h 451"/>
                <a:gd name="T14" fmla="*/ 159 w 455"/>
                <a:gd name="T15" fmla="*/ 376 h 451"/>
                <a:gd name="T16" fmla="*/ 116 w 455"/>
                <a:gd name="T17" fmla="*/ 349 h 451"/>
                <a:gd name="T18" fmla="*/ 81 w 455"/>
                <a:gd name="T19" fmla="*/ 362 h 451"/>
                <a:gd name="T20" fmla="*/ 65 w 455"/>
                <a:gd name="T21" fmla="*/ 265 h 451"/>
                <a:gd name="T22" fmla="*/ 62 w 455"/>
                <a:gd name="T23" fmla="*/ 226 h 451"/>
                <a:gd name="T24" fmla="*/ 65 w 455"/>
                <a:gd name="T25" fmla="*/ 186 h 451"/>
                <a:gd name="T26" fmla="*/ 81 w 455"/>
                <a:gd name="T27" fmla="*/ 89 h 451"/>
                <a:gd name="T28" fmla="*/ 116 w 455"/>
                <a:gd name="T29" fmla="*/ 103 h 451"/>
                <a:gd name="T30" fmla="*/ 159 w 455"/>
                <a:gd name="T31" fmla="*/ 76 h 451"/>
                <a:gd name="T32" fmla="*/ 182 w 455"/>
                <a:gd name="T33" fmla="*/ 60 h 451"/>
                <a:gd name="T34" fmla="*/ 273 w 455"/>
                <a:gd name="T35" fmla="*/ 56 h 451"/>
                <a:gd name="T36" fmla="*/ 283 w 455"/>
                <a:gd name="T37" fmla="*/ 70 h 451"/>
                <a:gd name="T38" fmla="*/ 335 w 455"/>
                <a:gd name="T39" fmla="*/ 100 h 451"/>
                <a:gd name="T40" fmla="*/ 352 w 455"/>
                <a:gd name="T41" fmla="*/ 102 h 451"/>
                <a:gd name="T42" fmla="*/ 394 w 455"/>
                <a:gd name="T43" fmla="*/ 182 h 451"/>
                <a:gd name="T44" fmla="*/ 391 w 455"/>
                <a:gd name="T45" fmla="*/ 195 h 451"/>
                <a:gd name="T46" fmla="*/ 424 w 455"/>
                <a:gd name="T47" fmla="*/ 226 h 451"/>
                <a:gd name="T48" fmla="*/ 450 w 455"/>
                <a:gd name="T49" fmla="*/ 184 h 451"/>
                <a:gd name="T50" fmla="*/ 455 w 455"/>
                <a:gd name="T51" fmla="*/ 173 h 451"/>
                <a:gd name="T52" fmla="*/ 393 w 455"/>
                <a:gd name="T53" fmla="*/ 61 h 451"/>
                <a:gd name="T54" fmla="*/ 384 w 455"/>
                <a:gd name="T55" fmla="*/ 53 h 451"/>
                <a:gd name="T56" fmla="*/ 372 w 455"/>
                <a:gd name="T57" fmla="*/ 56 h 451"/>
                <a:gd name="T58" fmla="*/ 315 w 455"/>
                <a:gd name="T59" fmla="*/ 50 h 451"/>
                <a:gd name="T60" fmla="*/ 302 w 455"/>
                <a:gd name="T61" fmla="*/ 10 h 451"/>
                <a:gd name="T62" fmla="*/ 294 w 455"/>
                <a:gd name="T63" fmla="*/ 1 h 451"/>
                <a:gd name="T64" fmla="*/ 164 w 455"/>
                <a:gd name="T65" fmla="*/ 1 h 451"/>
                <a:gd name="T66" fmla="*/ 155 w 455"/>
                <a:gd name="T67" fmla="*/ 7 h 451"/>
                <a:gd name="T68" fmla="*/ 153 w 455"/>
                <a:gd name="T69" fmla="*/ 46 h 451"/>
                <a:gd name="T70" fmla="*/ 110 w 455"/>
                <a:gd name="T71" fmla="*/ 71 h 451"/>
                <a:gd name="T72" fmla="*/ 74 w 455"/>
                <a:gd name="T73" fmla="*/ 53 h 451"/>
                <a:gd name="T74" fmla="*/ 65 w 455"/>
                <a:gd name="T75" fmla="*/ 59 h 451"/>
                <a:gd name="T76" fmla="*/ 0 w 455"/>
                <a:gd name="T77" fmla="*/ 170 h 451"/>
                <a:gd name="T78" fmla="*/ 3 w 455"/>
                <a:gd name="T79" fmla="*/ 182 h 451"/>
                <a:gd name="T80" fmla="*/ 32 w 455"/>
                <a:gd name="T81" fmla="*/ 213 h 451"/>
                <a:gd name="T82" fmla="*/ 8 w 455"/>
                <a:gd name="T83" fmla="*/ 266 h 451"/>
                <a:gd name="T84" fmla="*/ 1 w 455"/>
                <a:gd name="T85" fmla="*/ 275 h 451"/>
                <a:gd name="T86" fmla="*/ 2 w 455"/>
                <a:gd name="T87" fmla="*/ 286 h 451"/>
                <a:gd name="T88" fmla="*/ 69 w 455"/>
                <a:gd name="T89" fmla="*/ 396 h 451"/>
                <a:gd name="T90" fmla="*/ 81 w 455"/>
                <a:gd name="T91" fmla="*/ 397 h 451"/>
                <a:gd name="T92" fmla="*/ 130 w 455"/>
                <a:gd name="T93" fmla="*/ 394 h 451"/>
                <a:gd name="T94" fmla="*/ 153 w 455"/>
                <a:gd name="T95" fmla="*/ 439 h 451"/>
                <a:gd name="T96" fmla="*/ 159 w 455"/>
                <a:gd name="T97" fmla="*/ 449 h 451"/>
                <a:gd name="T98" fmla="*/ 288 w 455"/>
                <a:gd name="T99" fmla="*/ 451 h 451"/>
                <a:gd name="T100" fmla="*/ 298 w 455"/>
                <a:gd name="T101" fmla="*/ 447 h 451"/>
                <a:gd name="T102" fmla="*/ 303 w 455"/>
                <a:gd name="T103" fmla="*/ 436 h 451"/>
                <a:gd name="T104" fmla="*/ 336 w 455"/>
                <a:gd name="T105" fmla="*/ 388 h 451"/>
                <a:gd name="T106" fmla="*/ 378 w 455"/>
                <a:gd name="T107" fmla="*/ 397 h 451"/>
                <a:gd name="T108" fmla="*/ 390 w 455"/>
                <a:gd name="T109" fmla="*/ 395 h 451"/>
                <a:gd name="T110" fmla="*/ 455 w 455"/>
                <a:gd name="T111" fmla="*/ 284 h 451"/>
                <a:gd name="T112" fmla="*/ 454 w 455"/>
                <a:gd name="T113" fmla="*/ 272 h 451"/>
                <a:gd name="T114" fmla="*/ 447 w 455"/>
                <a:gd name="T115" fmla="*/ 26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5" h="451">
                  <a:moveTo>
                    <a:pt x="391" y="195"/>
                  </a:moveTo>
                  <a:lnTo>
                    <a:pt x="393" y="211"/>
                  </a:lnTo>
                  <a:lnTo>
                    <a:pt x="393" y="226"/>
                  </a:lnTo>
                  <a:lnTo>
                    <a:pt x="393" y="240"/>
                  </a:lnTo>
                  <a:lnTo>
                    <a:pt x="391" y="256"/>
                  </a:lnTo>
                  <a:lnTo>
                    <a:pt x="391" y="260"/>
                  </a:lnTo>
                  <a:lnTo>
                    <a:pt x="392" y="265"/>
                  </a:lnTo>
                  <a:lnTo>
                    <a:pt x="394" y="269"/>
                  </a:lnTo>
                  <a:lnTo>
                    <a:pt x="398" y="271"/>
                  </a:lnTo>
                  <a:lnTo>
                    <a:pt x="420" y="284"/>
                  </a:lnTo>
                  <a:lnTo>
                    <a:pt x="375" y="362"/>
                  </a:lnTo>
                  <a:lnTo>
                    <a:pt x="352" y="349"/>
                  </a:lnTo>
                  <a:lnTo>
                    <a:pt x="348" y="348"/>
                  </a:lnTo>
                  <a:lnTo>
                    <a:pt x="343" y="348"/>
                  </a:lnTo>
                  <a:lnTo>
                    <a:pt x="339" y="349"/>
                  </a:lnTo>
                  <a:lnTo>
                    <a:pt x="335" y="351"/>
                  </a:lnTo>
                  <a:lnTo>
                    <a:pt x="323" y="360"/>
                  </a:lnTo>
                  <a:lnTo>
                    <a:pt x="310" y="368"/>
                  </a:lnTo>
                  <a:lnTo>
                    <a:pt x="297" y="376"/>
                  </a:lnTo>
                  <a:lnTo>
                    <a:pt x="283" y="381"/>
                  </a:lnTo>
                  <a:lnTo>
                    <a:pt x="279" y="383"/>
                  </a:lnTo>
                  <a:lnTo>
                    <a:pt x="276" y="387"/>
                  </a:lnTo>
                  <a:lnTo>
                    <a:pt x="274" y="391"/>
                  </a:lnTo>
                  <a:lnTo>
                    <a:pt x="273" y="395"/>
                  </a:lnTo>
                  <a:lnTo>
                    <a:pt x="273" y="421"/>
                  </a:lnTo>
                  <a:lnTo>
                    <a:pt x="183" y="421"/>
                  </a:lnTo>
                  <a:lnTo>
                    <a:pt x="183" y="395"/>
                  </a:lnTo>
                  <a:lnTo>
                    <a:pt x="182" y="391"/>
                  </a:lnTo>
                  <a:lnTo>
                    <a:pt x="180" y="387"/>
                  </a:lnTo>
                  <a:lnTo>
                    <a:pt x="177" y="383"/>
                  </a:lnTo>
                  <a:lnTo>
                    <a:pt x="173" y="381"/>
                  </a:lnTo>
                  <a:lnTo>
                    <a:pt x="159" y="376"/>
                  </a:lnTo>
                  <a:lnTo>
                    <a:pt x="145" y="368"/>
                  </a:lnTo>
                  <a:lnTo>
                    <a:pt x="132" y="360"/>
                  </a:lnTo>
                  <a:lnTo>
                    <a:pt x="120" y="351"/>
                  </a:lnTo>
                  <a:lnTo>
                    <a:pt x="116" y="349"/>
                  </a:lnTo>
                  <a:lnTo>
                    <a:pt x="112" y="348"/>
                  </a:lnTo>
                  <a:lnTo>
                    <a:pt x="108" y="348"/>
                  </a:lnTo>
                  <a:lnTo>
                    <a:pt x="103" y="349"/>
                  </a:lnTo>
                  <a:lnTo>
                    <a:pt x="81" y="362"/>
                  </a:lnTo>
                  <a:lnTo>
                    <a:pt x="36" y="284"/>
                  </a:lnTo>
                  <a:lnTo>
                    <a:pt x="58" y="271"/>
                  </a:lnTo>
                  <a:lnTo>
                    <a:pt x="61" y="269"/>
                  </a:lnTo>
                  <a:lnTo>
                    <a:pt x="65" y="265"/>
                  </a:lnTo>
                  <a:lnTo>
                    <a:pt x="66" y="260"/>
                  </a:lnTo>
                  <a:lnTo>
                    <a:pt x="66" y="256"/>
                  </a:lnTo>
                  <a:lnTo>
                    <a:pt x="64" y="240"/>
                  </a:lnTo>
                  <a:lnTo>
                    <a:pt x="62" y="226"/>
                  </a:lnTo>
                  <a:lnTo>
                    <a:pt x="64" y="211"/>
                  </a:lnTo>
                  <a:lnTo>
                    <a:pt x="66" y="195"/>
                  </a:lnTo>
                  <a:lnTo>
                    <a:pt x="66" y="191"/>
                  </a:lnTo>
                  <a:lnTo>
                    <a:pt x="65" y="186"/>
                  </a:lnTo>
                  <a:lnTo>
                    <a:pt x="61" y="182"/>
                  </a:lnTo>
                  <a:lnTo>
                    <a:pt x="58" y="180"/>
                  </a:lnTo>
                  <a:lnTo>
                    <a:pt x="36" y="167"/>
                  </a:lnTo>
                  <a:lnTo>
                    <a:pt x="81" y="89"/>
                  </a:lnTo>
                  <a:lnTo>
                    <a:pt x="103" y="102"/>
                  </a:lnTo>
                  <a:lnTo>
                    <a:pt x="108" y="103"/>
                  </a:lnTo>
                  <a:lnTo>
                    <a:pt x="112" y="104"/>
                  </a:lnTo>
                  <a:lnTo>
                    <a:pt x="116" y="103"/>
                  </a:lnTo>
                  <a:lnTo>
                    <a:pt x="120" y="100"/>
                  </a:lnTo>
                  <a:lnTo>
                    <a:pt x="132" y="91"/>
                  </a:lnTo>
                  <a:lnTo>
                    <a:pt x="145" y="82"/>
                  </a:lnTo>
                  <a:lnTo>
                    <a:pt x="159" y="76"/>
                  </a:lnTo>
                  <a:lnTo>
                    <a:pt x="173" y="70"/>
                  </a:lnTo>
                  <a:lnTo>
                    <a:pt x="177" y="67"/>
                  </a:lnTo>
                  <a:lnTo>
                    <a:pt x="180" y="64"/>
                  </a:lnTo>
                  <a:lnTo>
                    <a:pt x="182" y="60"/>
                  </a:lnTo>
                  <a:lnTo>
                    <a:pt x="183" y="56"/>
                  </a:lnTo>
                  <a:lnTo>
                    <a:pt x="183" y="30"/>
                  </a:lnTo>
                  <a:lnTo>
                    <a:pt x="273" y="30"/>
                  </a:lnTo>
                  <a:lnTo>
                    <a:pt x="273" y="56"/>
                  </a:lnTo>
                  <a:lnTo>
                    <a:pt x="274" y="60"/>
                  </a:lnTo>
                  <a:lnTo>
                    <a:pt x="276" y="64"/>
                  </a:lnTo>
                  <a:lnTo>
                    <a:pt x="279" y="67"/>
                  </a:lnTo>
                  <a:lnTo>
                    <a:pt x="283" y="70"/>
                  </a:lnTo>
                  <a:lnTo>
                    <a:pt x="297" y="76"/>
                  </a:lnTo>
                  <a:lnTo>
                    <a:pt x="310" y="82"/>
                  </a:lnTo>
                  <a:lnTo>
                    <a:pt x="323" y="91"/>
                  </a:lnTo>
                  <a:lnTo>
                    <a:pt x="335" y="100"/>
                  </a:lnTo>
                  <a:lnTo>
                    <a:pt x="339" y="103"/>
                  </a:lnTo>
                  <a:lnTo>
                    <a:pt x="343" y="104"/>
                  </a:lnTo>
                  <a:lnTo>
                    <a:pt x="348" y="104"/>
                  </a:lnTo>
                  <a:lnTo>
                    <a:pt x="352" y="102"/>
                  </a:lnTo>
                  <a:lnTo>
                    <a:pt x="375" y="89"/>
                  </a:lnTo>
                  <a:lnTo>
                    <a:pt x="420" y="167"/>
                  </a:lnTo>
                  <a:lnTo>
                    <a:pt x="398" y="180"/>
                  </a:lnTo>
                  <a:lnTo>
                    <a:pt x="394" y="182"/>
                  </a:lnTo>
                  <a:lnTo>
                    <a:pt x="392" y="186"/>
                  </a:lnTo>
                  <a:lnTo>
                    <a:pt x="391" y="191"/>
                  </a:lnTo>
                  <a:lnTo>
                    <a:pt x="391" y="195"/>
                  </a:lnTo>
                  <a:lnTo>
                    <a:pt x="391" y="195"/>
                  </a:lnTo>
                  <a:close/>
                  <a:moveTo>
                    <a:pt x="447" y="266"/>
                  </a:moveTo>
                  <a:lnTo>
                    <a:pt x="422" y="251"/>
                  </a:lnTo>
                  <a:lnTo>
                    <a:pt x="423" y="238"/>
                  </a:lnTo>
                  <a:lnTo>
                    <a:pt x="424" y="226"/>
                  </a:lnTo>
                  <a:lnTo>
                    <a:pt x="423" y="213"/>
                  </a:lnTo>
                  <a:lnTo>
                    <a:pt x="422" y="200"/>
                  </a:lnTo>
                  <a:lnTo>
                    <a:pt x="447" y="185"/>
                  </a:lnTo>
                  <a:lnTo>
                    <a:pt x="450" y="184"/>
                  </a:lnTo>
                  <a:lnTo>
                    <a:pt x="452" y="182"/>
                  </a:lnTo>
                  <a:lnTo>
                    <a:pt x="454" y="179"/>
                  </a:lnTo>
                  <a:lnTo>
                    <a:pt x="455" y="177"/>
                  </a:lnTo>
                  <a:lnTo>
                    <a:pt x="455" y="173"/>
                  </a:lnTo>
                  <a:lnTo>
                    <a:pt x="455" y="170"/>
                  </a:lnTo>
                  <a:lnTo>
                    <a:pt x="455" y="168"/>
                  </a:lnTo>
                  <a:lnTo>
                    <a:pt x="453" y="165"/>
                  </a:lnTo>
                  <a:lnTo>
                    <a:pt x="393" y="61"/>
                  </a:lnTo>
                  <a:lnTo>
                    <a:pt x="392" y="59"/>
                  </a:lnTo>
                  <a:lnTo>
                    <a:pt x="390" y="57"/>
                  </a:lnTo>
                  <a:lnTo>
                    <a:pt x="386" y="55"/>
                  </a:lnTo>
                  <a:lnTo>
                    <a:pt x="384" y="53"/>
                  </a:lnTo>
                  <a:lnTo>
                    <a:pt x="381" y="53"/>
                  </a:lnTo>
                  <a:lnTo>
                    <a:pt x="378" y="53"/>
                  </a:lnTo>
                  <a:lnTo>
                    <a:pt x="376" y="55"/>
                  </a:lnTo>
                  <a:lnTo>
                    <a:pt x="372" y="56"/>
                  </a:lnTo>
                  <a:lnTo>
                    <a:pt x="347" y="71"/>
                  </a:lnTo>
                  <a:lnTo>
                    <a:pt x="336" y="63"/>
                  </a:lnTo>
                  <a:lnTo>
                    <a:pt x="325" y="57"/>
                  </a:lnTo>
                  <a:lnTo>
                    <a:pt x="315" y="50"/>
                  </a:lnTo>
                  <a:lnTo>
                    <a:pt x="303" y="46"/>
                  </a:lnTo>
                  <a:lnTo>
                    <a:pt x="303" y="15"/>
                  </a:lnTo>
                  <a:lnTo>
                    <a:pt x="303" y="12"/>
                  </a:lnTo>
                  <a:lnTo>
                    <a:pt x="302" y="10"/>
                  </a:lnTo>
                  <a:lnTo>
                    <a:pt x="301" y="6"/>
                  </a:lnTo>
                  <a:lnTo>
                    <a:pt x="298" y="4"/>
                  </a:lnTo>
                  <a:lnTo>
                    <a:pt x="296" y="3"/>
                  </a:lnTo>
                  <a:lnTo>
                    <a:pt x="294" y="1"/>
                  </a:lnTo>
                  <a:lnTo>
                    <a:pt x="291" y="1"/>
                  </a:lnTo>
                  <a:lnTo>
                    <a:pt x="288" y="0"/>
                  </a:lnTo>
                  <a:lnTo>
                    <a:pt x="168" y="0"/>
                  </a:lnTo>
                  <a:lnTo>
                    <a:pt x="164" y="1"/>
                  </a:lnTo>
                  <a:lnTo>
                    <a:pt x="162" y="1"/>
                  </a:lnTo>
                  <a:lnTo>
                    <a:pt x="159" y="3"/>
                  </a:lnTo>
                  <a:lnTo>
                    <a:pt x="157" y="4"/>
                  </a:lnTo>
                  <a:lnTo>
                    <a:pt x="155" y="7"/>
                  </a:lnTo>
                  <a:lnTo>
                    <a:pt x="154" y="10"/>
                  </a:lnTo>
                  <a:lnTo>
                    <a:pt x="153" y="13"/>
                  </a:lnTo>
                  <a:lnTo>
                    <a:pt x="153" y="15"/>
                  </a:lnTo>
                  <a:lnTo>
                    <a:pt x="153" y="46"/>
                  </a:lnTo>
                  <a:lnTo>
                    <a:pt x="141" y="50"/>
                  </a:lnTo>
                  <a:lnTo>
                    <a:pt x="130" y="57"/>
                  </a:lnTo>
                  <a:lnTo>
                    <a:pt x="119" y="63"/>
                  </a:lnTo>
                  <a:lnTo>
                    <a:pt x="110" y="71"/>
                  </a:lnTo>
                  <a:lnTo>
                    <a:pt x="83" y="56"/>
                  </a:lnTo>
                  <a:lnTo>
                    <a:pt x="81" y="55"/>
                  </a:lnTo>
                  <a:lnTo>
                    <a:pt x="77" y="53"/>
                  </a:lnTo>
                  <a:lnTo>
                    <a:pt x="74" y="53"/>
                  </a:lnTo>
                  <a:lnTo>
                    <a:pt x="72" y="53"/>
                  </a:lnTo>
                  <a:lnTo>
                    <a:pt x="69" y="55"/>
                  </a:lnTo>
                  <a:lnTo>
                    <a:pt x="67" y="57"/>
                  </a:lnTo>
                  <a:lnTo>
                    <a:pt x="65" y="59"/>
                  </a:lnTo>
                  <a:lnTo>
                    <a:pt x="62" y="61"/>
                  </a:lnTo>
                  <a:lnTo>
                    <a:pt x="2" y="165"/>
                  </a:lnTo>
                  <a:lnTo>
                    <a:pt x="1" y="167"/>
                  </a:lnTo>
                  <a:lnTo>
                    <a:pt x="0" y="170"/>
                  </a:lnTo>
                  <a:lnTo>
                    <a:pt x="0" y="173"/>
                  </a:lnTo>
                  <a:lnTo>
                    <a:pt x="1" y="177"/>
                  </a:lnTo>
                  <a:lnTo>
                    <a:pt x="2" y="179"/>
                  </a:lnTo>
                  <a:lnTo>
                    <a:pt x="3" y="182"/>
                  </a:lnTo>
                  <a:lnTo>
                    <a:pt x="6" y="184"/>
                  </a:lnTo>
                  <a:lnTo>
                    <a:pt x="8" y="185"/>
                  </a:lnTo>
                  <a:lnTo>
                    <a:pt x="34" y="200"/>
                  </a:lnTo>
                  <a:lnTo>
                    <a:pt x="32" y="213"/>
                  </a:lnTo>
                  <a:lnTo>
                    <a:pt x="32" y="226"/>
                  </a:lnTo>
                  <a:lnTo>
                    <a:pt x="32" y="238"/>
                  </a:lnTo>
                  <a:lnTo>
                    <a:pt x="34" y="251"/>
                  </a:lnTo>
                  <a:lnTo>
                    <a:pt x="8" y="266"/>
                  </a:lnTo>
                  <a:lnTo>
                    <a:pt x="6" y="268"/>
                  </a:lnTo>
                  <a:lnTo>
                    <a:pt x="3" y="270"/>
                  </a:lnTo>
                  <a:lnTo>
                    <a:pt x="2" y="272"/>
                  </a:lnTo>
                  <a:lnTo>
                    <a:pt x="1" y="275"/>
                  </a:lnTo>
                  <a:lnTo>
                    <a:pt x="0" y="277"/>
                  </a:lnTo>
                  <a:lnTo>
                    <a:pt x="0" y="281"/>
                  </a:lnTo>
                  <a:lnTo>
                    <a:pt x="1" y="284"/>
                  </a:lnTo>
                  <a:lnTo>
                    <a:pt x="2" y="286"/>
                  </a:lnTo>
                  <a:lnTo>
                    <a:pt x="62" y="390"/>
                  </a:lnTo>
                  <a:lnTo>
                    <a:pt x="65" y="393"/>
                  </a:lnTo>
                  <a:lnTo>
                    <a:pt x="67" y="394"/>
                  </a:lnTo>
                  <a:lnTo>
                    <a:pt x="69" y="396"/>
                  </a:lnTo>
                  <a:lnTo>
                    <a:pt x="72" y="397"/>
                  </a:lnTo>
                  <a:lnTo>
                    <a:pt x="74" y="397"/>
                  </a:lnTo>
                  <a:lnTo>
                    <a:pt x="77" y="397"/>
                  </a:lnTo>
                  <a:lnTo>
                    <a:pt x="81" y="397"/>
                  </a:lnTo>
                  <a:lnTo>
                    <a:pt x="83" y="396"/>
                  </a:lnTo>
                  <a:lnTo>
                    <a:pt x="110" y="380"/>
                  </a:lnTo>
                  <a:lnTo>
                    <a:pt x="119" y="388"/>
                  </a:lnTo>
                  <a:lnTo>
                    <a:pt x="130" y="394"/>
                  </a:lnTo>
                  <a:lnTo>
                    <a:pt x="141" y="401"/>
                  </a:lnTo>
                  <a:lnTo>
                    <a:pt x="153" y="406"/>
                  </a:lnTo>
                  <a:lnTo>
                    <a:pt x="153" y="436"/>
                  </a:lnTo>
                  <a:lnTo>
                    <a:pt x="153" y="439"/>
                  </a:lnTo>
                  <a:lnTo>
                    <a:pt x="154" y="441"/>
                  </a:lnTo>
                  <a:lnTo>
                    <a:pt x="155" y="445"/>
                  </a:lnTo>
                  <a:lnTo>
                    <a:pt x="157" y="447"/>
                  </a:lnTo>
                  <a:lnTo>
                    <a:pt x="159" y="449"/>
                  </a:lnTo>
                  <a:lnTo>
                    <a:pt x="162" y="450"/>
                  </a:lnTo>
                  <a:lnTo>
                    <a:pt x="164" y="451"/>
                  </a:lnTo>
                  <a:lnTo>
                    <a:pt x="168" y="451"/>
                  </a:lnTo>
                  <a:lnTo>
                    <a:pt x="288" y="451"/>
                  </a:lnTo>
                  <a:lnTo>
                    <a:pt x="291" y="451"/>
                  </a:lnTo>
                  <a:lnTo>
                    <a:pt x="294" y="450"/>
                  </a:lnTo>
                  <a:lnTo>
                    <a:pt x="296" y="449"/>
                  </a:lnTo>
                  <a:lnTo>
                    <a:pt x="298" y="447"/>
                  </a:lnTo>
                  <a:lnTo>
                    <a:pt x="301" y="445"/>
                  </a:lnTo>
                  <a:lnTo>
                    <a:pt x="302" y="441"/>
                  </a:lnTo>
                  <a:lnTo>
                    <a:pt x="303" y="439"/>
                  </a:lnTo>
                  <a:lnTo>
                    <a:pt x="303" y="436"/>
                  </a:lnTo>
                  <a:lnTo>
                    <a:pt x="303" y="406"/>
                  </a:lnTo>
                  <a:lnTo>
                    <a:pt x="315" y="401"/>
                  </a:lnTo>
                  <a:lnTo>
                    <a:pt x="325" y="394"/>
                  </a:lnTo>
                  <a:lnTo>
                    <a:pt x="336" y="388"/>
                  </a:lnTo>
                  <a:lnTo>
                    <a:pt x="347" y="380"/>
                  </a:lnTo>
                  <a:lnTo>
                    <a:pt x="372" y="396"/>
                  </a:lnTo>
                  <a:lnTo>
                    <a:pt x="376" y="397"/>
                  </a:lnTo>
                  <a:lnTo>
                    <a:pt x="378" y="397"/>
                  </a:lnTo>
                  <a:lnTo>
                    <a:pt x="381" y="397"/>
                  </a:lnTo>
                  <a:lnTo>
                    <a:pt x="384" y="397"/>
                  </a:lnTo>
                  <a:lnTo>
                    <a:pt x="386" y="396"/>
                  </a:lnTo>
                  <a:lnTo>
                    <a:pt x="390" y="395"/>
                  </a:lnTo>
                  <a:lnTo>
                    <a:pt x="392" y="393"/>
                  </a:lnTo>
                  <a:lnTo>
                    <a:pt x="393" y="390"/>
                  </a:lnTo>
                  <a:lnTo>
                    <a:pt x="453" y="286"/>
                  </a:lnTo>
                  <a:lnTo>
                    <a:pt x="455" y="284"/>
                  </a:lnTo>
                  <a:lnTo>
                    <a:pt x="455" y="281"/>
                  </a:lnTo>
                  <a:lnTo>
                    <a:pt x="455" y="277"/>
                  </a:lnTo>
                  <a:lnTo>
                    <a:pt x="455" y="275"/>
                  </a:lnTo>
                  <a:lnTo>
                    <a:pt x="454" y="272"/>
                  </a:lnTo>
                  <a:lnTo>
                    <a:pt x="452" y="270"/>
                  </a:lnTo>
                  <a:lnTo>
                    <a:pt x="451" y="268"/>
                  </a:lnTo>
                  <a:lnTo>
                    <a:pt x="447" y="266"/>
                  </a:lnTo>
                  <a:lnTo>
                    <a:pt x="447" y="266"/>
                  </a:lnTo>
                  <a:close/>
                </a:path>
              </a:pathLst>
            </a:custGeom>
            <a:solidFill>
              <a:srgbClr val="2422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1" name="Freeform 104"/>
            <p:cNvSpPr>
              <a:spLocks noEditPoints="1"/>
            </p:cNvSpPr>
            <p:nvPr/>
          </p:nvSpPr>
          <p:spPr bwMode="auto">
            <a:xfrm>
              <a:off x="3360738" y="3473450"/>
              <a:ext cx="57150" cy="57150"/>
            </a:xfrm>
            <a:custGeom>
              <a:avLst/>
              <a:gdLst>
                <a:gd name="T0" fmla="*/ 78 w 180"/>
                <a:gd name="T1" fmla="*/ 150 h 181"/>
                <a:gd name="T2" fmla="*/ 61 w 180"/>
                <a:gd name="T3" fmla="*/ 143 h 181"/>
                <a:gd name="T4" fmla="*/ 48 w 180"/>
                <a:gd name="T5" fmla="*/ 133 h 181"/>
                <a:gd name="T6" fmla="*/ 37 w 180"/>
                <a:gd name="T7" fmla="*/ 119 h 181"/>
                <a:gd name="T8" fmla="*/ 31 w 180"/>
                <a:gd name="T9" fmla="*/ 103 h 181"/>
                <a:gd name="T10" fmla="*/ 30 w 180"/>
                <a:gd name="T11" fmla="*/ 85 h 181"/>
                <a:gd name="T12" fmla="*/ 35 w 180"/>
                <a:gd name="T13" fmla="*/ 67 h 181"/>
                <a:gd name="T14" fmla="*/ 44 w 180"/>
                <a:gd name="T15" fmla="*/ 52 h 181"/>
                <a:gd name="T16" fmla="*/ 56 w 180"/>
                <a:gd name="T17" fmla="*/ 41 h 181"/>
                <a:gd name="T18" fmla="*/ 72 w 180"/>
                <a:gd name="T19" fmla="*/ 33 h 181"/>
                <a:gd name="T20" fmla="*/ 90 w 180"/>
                <a:gd name="T21" fmla="*/ 31 h 181"/>
                <a:gd name="T22" fmla="*/ 108 w 180"/>
                <a:gd name="T23" fmla="*/ 33 h 181"/>
                <a:gd name="T24" fmla="*/ 124 w 180"/>
                <a:gd name="T25" fmla="*/ 41 h 181"/>
                <a:gd name="T26" fmla="*/ 136 w 180"/>
                <a:gd name="T27" fmla="*/ 52 h 181"/>
                <a:gd name="T28" fmla="*/ 145 w 180"/>
                <a:gd name="T29" fmla="*/ 67 h 181"/>
                <a:gd name="T30" fmla="*/ 150 w 180"/>
                <a:gd name="T31" fmla="*/ 85 h 181"/>
                <a:gd name="T32" fmla="*/ 149 w 180"/>
                <a:gd name="T33" fmla="*/ 103 h 181"/>
                <a:gd name="T34" fmla="*/ 143 w 180"/>
                <a:gd name="T35" fmla="*/ 119 h 181"/>
                <a:gd name="T36" fmla="*/ 133 w 180"/>
                <a:gd name="T37" fmla="*/ 133 h 181"/>
                <a:gd name="T38" fmla="*/ 119 w 180"/>
                <a:gd name="T39" fmla="*/ 143 h 181"/>
                <a:gd name="T40" fmla="*/ 101 w 180"/>
                <a:gd name="T41" fmla="*/ 150 h 181"/>
                <a:gd name="T42" fmla="*/ 90 w 180"/>
                <a:gd name="T43" fmla="*/ 151 h 181"/>
                <a:gd name="T44" fmla="*/ 71 w 180"/>
                <a:gd name="T45" fmla="*/ 2 h 181"/>
                <a:gd name="T46" fmla="*/ 47 w 180"/>
                <a:gd name="T47" fmla="*/ 12 h 181"/>
                <a:gd name="T48" fmla="*/ 26 w 180"/>
                <a:gd name="T49" fmla="*/ 27 h 181"/>
                <a:gd name="T50" fmla="*/ 10 w 180"/>
                <a:gd name="T51" fmla="*/ 48 h 181"/>
                <a:gd name="T52" fmla="*/ 2 w 180"/>
                <a:gd name="T53" fmla="*/ 73 h 181"/>
                <a:gd name="T54" fmla="*/ 1 w 180"/>
                <a:gd name="T55" fmla="*/ 100 h 181"/>
                <a:gd name="T56" fmla="*/ 7 w 180"/>
                <a:gd name="T57" fmla="*/ 125 h 181"/>
                <a:gd name="T58" fmla="*/ 20 w 180"/>
                <a:gd name="T59" fmla="*/ 148 h 181"/>
                <a:gd name="T60" fmla="*/ 39 w 180"/>
                <a:gd name="T61" fmla="*/ 165 h 181"/>
                <a:gd name="T62" fmla="*/ 63 w 180"/>
                <a:gd name="T63" fmla="*/ 177 h 181"/>
                <a:gd name="T64" fmla="*/ 90 w 180"/>
                <a:gd name="T65" fmla="*/ 181 h 181"/>
                <a:gd name="T66" fmla="*/ 116 w 180"/>
                <a:gd name="T67" fmla="*/ 177 h 181"/>
                <a:gd name="T68" fmla="*/ 140 w 180"/>
                <a:gd name="T69" fmla="*/ 165 h 181"/>
                <a:gd name="T70" fmla="*/ 159 w 180"/>
                <a:gd name="T71" fmla="*/ 148 h 181"/>
                <a:gd name="T72" fmla="*/ 173 w 180"/>
                <a:gd name="T73" fmla="*/ 125 h 181"/>
                <a:gd name="T74" fmla="*/ 180 w 180"/>
                <a:gd name="T75" fmla="*/ 100 h 181"/>
                <a:gd name="T76" fmla="*/ 179 w 180"/>
                <a:gd name="T77" fmla="*/ 73 h 181"/>
                <a:gd name="T78" fmla="*/ 169 w 180"/>
                <a:gd name="T79" fmla="*/ 48 h 181"/>
                <a:gd name="T80" fmla="*/ 154 w 180"/>
                <a:gd name="T81" fmla="*/ 27 h 181"/>
                <a:gd name="T82" fmla="*/ 133 w 180"/>
                <a:gd name="T83" fmla="*/ 12 h 181"/>
                <a:gd name="T84" fmla="*/ 108 w 180"/>
                <a:gd name="T85" fmla="*/ 2 h 181"/>
                <a:gd name="T86" fmla="*/ 90 w 180"/>
                <a:gd name="T8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0" h="181">
                  <a:moveTo>
                    <a:pt x="90" y="151"/>
                  </a:moveTo>
                  <a:lnTo>
                    <a:pt x="83" y="150"/>
                  </a:lnTo>
                  <a:lnTo>
                    <a:pt x="78" y="150"/>
                  </a:lnTo>
                  <a:lnTo>
                    <a:pt x="72" y="148"/>
                  </a:lnTo>
                  <a:lnTo>
                    <a:pt x="66" y="146"/>
                  </a:lnTo>
                  <a:lnTo>
                    <a:pt x="61" y="143"/>
                  </a:lnTo>
                  <a:lnTo>
                    <a:pt x="56" y="140"/>
                  </a:lnTo>
                  <a:lnTo>
                    <a:pt x="52" y="137"/>
                  </a:lnTo>
                  <a:lnTo>
                    <a:pt x="48" y="133"/>
                  </a:lnTo>
                  <a:lnTo>
                    <a:pt x="44" y="128"/>
                  </a:lnTo>
                  <a:lnTo>
                    <a:pt x="40" y="124"/>
                  </a:lnTo>
                  <a:lnTo>
                    <a:pt x="37" y="119"/>
                  </a:lnTo>
                  <a:lnTo>
                    <a:pt x="35" y="113"/>
                  </a:lnTo>
                  <a:lnTo>
                    <a:pt x="33" y="108"/>
                  </a:lnTo>
                  <a:lnTo>
                    <a:pt x="31" y="103"/>
                  </a:lnTo>
                  <a:lnTo>
                    <a:pt x="30" y="96"/>
                  </a:lnTo>
                  <a:lnTo>
                    <a:pt x="30" y="91"/>
                  </a:lnTo>
                  <a:lnTo>
                    <a:pt x="30" y="85"/>
                  </a:lnTo>
                  <a:lnTo>
                    <a:pt x="31" y="78"/>
                  </a:lnTo>
                  <a:lnTo>
                    <a:pt x="33" y="73"/>
                  </a:lnTo>
                  <a:lnTo>
                    <a:pt x="35" y="67"/>
                  </a:lnTo>
                  <a:lnTo>
                    <a:pt x="37" y="62"/>
                  </a:lnTo>
                  <a:lnTo>
                    <a:pt x="40" y="57"/>
                  </a:lnTo>
                  <a:lnTo>
                    <a:pt x="44" y="52"/>
                  </a:lnTo>
                  <a:lnTo>
                    <a:pt x="48" y="48"/>
                  </a:lnTo>
                  <a:lnTo>
                    <a:pt x="52" y="44"/>
                  </a:lnTo>
                  <a:lnTo>
                    <a:pt x="56" y="41"/>
                  </a:lnTo>
                  <a:lnTo>
                    <a:pt x="61" y="37"/>
                  </a:lnTo>
                  <a:lnTo>
                    <a:pt x="66" y="35"/>
                  </a:lnTo>
                  <a:lnTo>
                    <a:pt x="72" y="33"/>
                  </a:lnTo>
                  <a:lnTo>
                    <a:pt x="78" y="32"/>
                  </a:lnTo>
                  <a:lnTo>
                    <a:pt x="83" y="31"/>
                  </a:lnTo>
                  <a:lnTo>
                    <a:pt x="90" y="31"/>
                  </a:lnTo>
                  <a:lnTo>
                    <a:pt x="96" y="31"/>
                  </a:lnTo>
                  <a:lnTo>
                    <a:pt x="101" y="32"/>
                  </a:lnTo>
                  <a:lnTo>
                    <a:pt x="108" y="33"/>
                  </a:lnTo>
                  <a:lnTo>
                    <a:pt x="113" y="35"/>
                  </a:lnTo>
                  <a:lnTo>
                    <a:pt x="119" y="37"/>
                  </a:lnTo>
                  <a:lnTo>
                    <a:pt x="124" y="41"/>
                  </a:lnTo>
                  <a:lnTo>
                    <a:pt x="128" y="44"/>
                  </a:lnTo>
                  <a:lnTo>
                    <a:pt x="133" y="48"/>
                  </a:lnTo>
                  <a:lnTo>
                    <a:pt x="136" y="52"/>
                  </a:lnTo>
                  <a:lnTo>
                    <a:pt x="140" y="57"/>
                  </a:lnTo>
                  <a:lnTo>
                    <a:pt x="143" y="62"/>
                  </a:lnTo>
                  <a:lnTo>
                    <a:pt x="145" y="67"/>
                  </a:lnTo>
                  <a:lnTo>
                    <a:pt x="148" y="73"/>
                  </a:lnTo>
                  <a:lnTo>
                    <a:pt x="149" y="78"/>
                  </a:lnTo>
                  <a:lnTo>
                    <a:pt x="150" y="85"/>
                  </a:lnTo>
                  <a:lnTo>
                    <a:pt x="150" y="91"/>
                  </a:lnTo>
                  <a:lnTo>
                    <a:pt x="150" y="96"/>
                  </a:lnTo>
                  <a:lnTo>
                    <a:pt x="149" y="103"/>
                  </a:lnTo>
                  <a:lnTo>
                    <a:pt x="148" y="108"/>
                  </a:lnTo>
                  <a:lnTo>
                    <a:pt x="145" y="113"/>
                  </a:lnTo>
                  <a:lnTo>
                    <a:pt x="143" y="119"/>
                  </a:lnTo>
                  <a:lnTo>
                    <a:pt x="140" y="124"/>
                  </a:lnTo>
                  <a:lnTo>
                    <a:pt x="136" y="128"/>
                  </a:lnTo>
                  <a:lnTo>
                    <a:pt x="133" y="133"/>
                  </a:lnTo>
                  <a:lnTo>
                    <a:pt x="128" y="137"/>
                  </a:lnTo>
                  <a:lnTo>
                    <a:pt x="124" y="140"/>
                  </a:lnTo>
                  <a:lnTo>
                    <a:pt x="119" y="143"/>
                  </a:lnTo>
                  <a:lnTo>
                    <a:pt x="113" y="146"/>
                  </a:lnTo>
                  <a:lnTo>
                    <a:pt x="108" y="148"/>
                  </a:lnTo>
                  <a:lnTo>
                    <a:pt x="101" y="150"/>
                  </a:lnTo>
                  <a:lnTo>
                    <a:pt x="96" y="150"/>
                  </a:lnTo>
                  <a:lnTo>
                    <a:pt x="90" y="151"/>
                  </a:lnTo>
                  <a:lnTo>
                    <a:pt x="90" y="151"/>
                  </a:lnTo>
                  <a:close/>
                  <a:moveTo>
                    <a:pt x="90" y="0"/>
                  </a:moveTo>
                  <a:lnTo>
                    <a:pt x="81" y="1"/>
                  </a:lnTo>
                  <a:lnTo>
                    <a:pt x="71" y="2"/>
                  </a:lnTo>
                  <a:lnTo>
                    <a:pt x="63" y="4"/>
                  </a:lnTo>
                  <a:lnTo>
                    <a:pt x="54" y="7"/>
                  </a:lnTo>
                  <a:lnTo>
                    <a:pt x="47" y="12"/>
                  </a:lnTo>
                  <a:lnTo>
                    <a:pt x="39" y="16"/>
                  </a:lnTo>
                  <a:lnTo>
                    <a:pt x="33" y="21"/>
                  </a:lnTo>
                  <a:lnTo>
                    <a:pt x="26" y="27"/>
                  </a:lnTo>
                  <a:lnTo>
                    <a:pt x="20" y="33"/>
                  </a:lnTo>
                  <a:lnTo>
                    <a:pt x="15" y="41"/>
                  </a:lnTo>
                  <a:lnTo>
                    <a:pt x="10" y="48"/>
                  </a:lnTo>
                  <a:lnTo>
                    <a:pt x="7" y="56"/>
                  </a:lnTo>
                  <a:lnTo>
                    <a:pt x="4" y="64"/>
                  </a:lnTo>
                  <a:lnTo>
                    <a:pt x="2" y="73"/>
                  </a:lnTo>
                  <a:lnTo>
                    <a:pt x="1" y="81"/>
                  </a:lnTo>
                  <a:lnTo>
                    <a:pt x="0" y="91"/>
                  </a:lnTo>
                  <a:lnTo>
                    <a:pt x="1" y="100"/>
                  </a:lnTo>
                  <a:lnTo>
                    <a:pt x="2" y="109"/>
                  </a:lnTo>
                  <a:lnTo>
                    <a:pt x="4" y="118"/>
                  </a:lnTo>
                  <a:lnTo>
                    <a:pt x="7" y="125"/>
                  </a:lnTo>
                  <a:lnTo>
                    <a:pt x="10" y="134"/>
                  </a:lnTo>
                  <a:lnTo>
                    <a:pt x="15" y="141"/>
                  </a:lnTo>
                  <a:lnTo>
                    <a:pt x="20" y="148"/>
                  </a:lnTo>
                  <a:lnTo>
                    <a:pt x="26" y="154"/>
                  </a:lnTo>
                  <a:lnTo>
                    <a:pt x="33" y="161"/>
                  </a:lnTo>
                  <a:lnTo>
                    <a:pt x="39" y="165"/>
                  </a:lnTo>
                  <a:lnTo>
                    <a:pt x="47" y="170"/>
                  </a:lnTo>
                  <a:lnTo>
                    <a:pt x="54" y="173"/>
                  </a:lnTo>
                  <a:lnTo>
                    <a:pt x="63" y="177"/>
                  </a:lnTo>
                  <a:lnTo>
                    <a:pt x="71" y="179"/>
                  </a:lnTo>
                  <a:lnTo>
                    <a:pt x="81" y="180"/>
                  </a:lnTo>
                  <a:lnTo>
                    <a:pt x="90" y="181"/>
                  </a:lnTo>
                  <a:lnTo>
                    <a:pt x="99" y="180"/>
                  </a:lnTo>
                  <a:lnTo>
                    <a:pt x="108" y="179"/>
                  </a:lnTo>
                  <a:lnTo>
                    <a:pt x="116" y="177"/>
                  </a:lnTo>
                  <a:lnTo>
                    <a:pt x="125" y="173"/>
                  </a:lnTo>
                  <a:lnTo>
                    <a:pt x="133" y="170"/>
                  </a:lnTo>
                  <a:lnTo>
                    <a:pt x="140" y="165"/>
                  </a:lnTo>
                  <a:lnTo>
                    <a:pt x="148" y="161"/>
                  </a:lnTo>
                  <a:lnTo>
                    <a:pt x="154" y="154"/>
                  </a:lnTo>
                  <a:lnTo>
                    <a:pt x="159" y="148"/>
                  </a:lnTo>
                  <a:lnTo>
                    <a:pt x="165" y="141"/>
                  </a:lnTo>
                  <a:lnTo>
                    <a:pt x="169" y="134"/>
                  </a:lnTo>
                  <a:lnTo>
                    <a:pt x="173" y="125"/>
                  </a:lnTo>
                  <a:lnTo>
                    <a:pt x="177" y="118"/>
                  </a:lnTo>
                  <a:lnTo>
                    <a:pt x="179" y="109"/>
                  </a:lnTo>
                  <a:lnTo>
                    <a:pt x="180" y="100"/>
                  </a:lnTo>
                  <a:lnTo>
                    <a:pt x="180" y="91"/>
                  </a:lnTo>
                  <a:lnTo>
                    <a:pt x="180" y="81"/>
                  </a:lnTo>
                  <a:lnTo>
                    <a:pt x="179" y="73"/>
                  </a:lnTo>
                  <a:lnTo>
                    <a:pt x="177" y="64"/>
                  </a:lnTo>
                  <a:lnTo>
                    <a:pt x="173" y="56"/>
                  </a:lnTo>
                  <a:lnTo>
                    <a:pt x="169" y="48"/>
                  </a:lnTo>
                  <a:lnTo>
                    <a:pt x="165" y="41"/>
                  </a:lnTo>
                  <a:lnTo>
                    <a:pt x="159" y="33"/>
                  </a:lnTo>
                  <a:lnTo>
                    <a:pt x="154" y="27"/>
                  </a:lnTo>
                  <a:lnTo>
                    <a:pt x="148" y="21"/>
                  </a:lnTo>
                  <a:lnTo>
                    <a:pt x="140" y="16"/>
                  </a:lnTo>
                  <a:lnTo>
                    <a:pt x="133" y="12"/>
                  </a:lnTo>
                  <a:lnTo>
                    <a:pt x="125" y="7"/>
                  </a:lnTo>
                  <a:lnTo>
                    <a:pt x="116" y="4"/>
                  </a:lnTo>
                  <a:lnTo>
                    <a:pt x="108" y="2"/>
                  </a:lnTo>
                  <a:lnTo>
                    <a:pt x="99" y="1"/>
                  </a:lnTo>
                  <a:lnTo>
                    <a:pt x="90" y="1"/>
                  </a:lnTo>
                  <a:lnTo>
                    <a:pt x="90" y="0"/>
                  </a:lnTo>
                  <a:close/>
                </a:path>
              </a:pathLst>
            </a:custGeom>
            <a:solidFill>
              <a:srgbClr val="2422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2" name="Freeform 105"/>
            <p:cNvSpPr>
              <a:spLocks noEditPoints="1"/>
            </p:cNvSpPr>
            <p:nvPr/>
          </p:nvSpPr>
          <p:spPr bwMode="auto">
            <a:xfrm>
              <a:off x="3175000" y="3287713"/>
              <a:ext cx="238125" cy="247650"/>
            </a:xfrm>
            <a:custGeom>
              <a:avLst/>
              <a:gdLst>
                <a:gd name="T0" fmla="*/ 548 w 752"/>
                <a:gd name="T1" fmla="*/ 48 h 781"/>
                <a:gd name="T2" fmla="*/ 683 w 752"/>
                <a:gd name="T3" fmla="*/ 105 h 781"/>
                <a:gd name="T4" fmla="*/ 719 w 752"/>
                <a:gd name="T5" fmla="*/ 147 h 781"/>
                <a:gd name="T6" fmla="*/ 719 w 752"/>
                <a:gd name="T7" fmla="*/ 183 h 781"/>
                <a:gd name="T8" fmla="*/ 683 w 752"/>
                <a:gd name="T9" fmla="*/ 225 h 781"/>
                <a:gd name="T10" fmla="*/ 548 w 752"/>
                <a:gd name="T11" fmla="*/ 282 h 781"/>
                <a:gd name="T12" fmla="*/ 338 w 752"/>
                <a:gd name="T13" fmla="*/ 299 h 781"/>
                <a:gd name="T14" fmla="*/ 149 w 752"/>
                <a:gd name="T15" fmla="*/ 266 h 781"/>
                <a:gd name="T16" fmla="*/ 49 w 752"/>
                <a:gd name="T17" fmla="*/ 208 h 781"/>
                <a:gd name="T18" fmla="*/ 30 w 752"/>
                <a:gd name="T19" fmla="*/ 171 h 781"/>
                <a:gd name="T20" fmla="*/ 40 w 752"/>
                <a:gd name="T21" fmla="*/ 134 h 781"/>
                <a:gd name="T22" fmla="*/ 104 w 752"/>
                <a:gd name="T23" fmla="*/ 82 h 781"/>
                <a:gd name="T24" fmla="*/ 267 w 752"/>
                <a:gd name="T25" fmla="*/ 36 h 781"/>
                <a:gd name="T26" fmla="*/ 379 w 752"/>
                <a:gd name="T27" fmla="*/ 630 h 781"/>
                <a:gd name="T28" fmla="*/ 390 w 752"/>
                <a:gd name="T29" fmla="*/ 618 h 781"/>
                <a:gd name="T30" fmla="*/ 384 w 752"/>
                <a:gd name="T31" fmla="*/ 603 h 781"/>
                <a:gd name="T32" fmla="*/ 267 w 752"/>
                <a:gd name="T33" fmla="*/ 593 h 781"/>
                <a:gd name="T34" fmla="*/ 104 w 752"/>
                <a:gd name="T35" fmla="*/ 547 h 781"/>
                <a:gd name="T36" fmla="*/ 40 w 752"/>
                <a:gd name="T37" fmla="*/ 496 h 781"/>
                <a:gd name="T38" fmla="*/ 30 w 752"/>
                <a:gd name="T39" fmla="*/ 381 h 781"/>
                <a:gd name="T40" fmla="*/ 123 w 752"/>
                <a:gd name="T41" fmla="*/ 438 h 781"/>
                <a:gd name="T42" fmla="*/ 264 w 752"/>
                <a:gd name="T43" fmla="*/ 473 h 781"/>
                <a:gd name="T44" fmla="*/ 429 w 752"/>
                <a:gd name="T45" fmla="*/ 479 h 781"/>
                <a:gd name="T46" fmla="*/ 491 w 752"/>
                <a:gd name="T47" fmla="*/ 468 h 781"/>
                <a:gd name="T48" fmla="*/ 493 w 752"/>
                <a:gd name="T49" fmla="*/ 451 h 781"/>
                <a:gd name="T50" fmla="*/ 478 w 752"/>
                <a:gd name="T51" fmla="*/ 445 h 781"/>
                <a:gd name="T52" fmla="*/ 301 w 752"/>
                <a:gd name="T53" fmla="*/ 447 h 781"/>
                <a:gd name="T54" fmla="*/ 126 w 752"/>
                <a:gd name="T55" fmla="*/ 407 h 781"/>
                <a:gd name="T56" fmla="*/ 44 w 752"/>
                <a:gd name="T57" fmla="*/ 351 h 781"/>
                <a:gd name="T58" fmla="*/ 30 w 752"/>
                <a:gd name="T59" fmla="*/ 315 h 781"/>
                <a:gd name="T60" fmla="*/ 104 w 752"/>
                <a:gd name="T61" fmla="*/ 280 h 781"/>
                <a:gd name="T62" fmla="*/ 237 w 752"/>
                <a:gd name="T63" fmla="*/ 319 h 781"/>
                <a:gd name="T64" fmla="*/ 405 w 752"/>
                <a:gd name="T65" fmla="*/ 330 h 781"/>
                <a:gd name="T66" fmla="*/ 563 w 752"/>
                <a:gd name="T67" fmla="*/ 308 h 781"/>
                <a:gd name="T68" fmla="*/ 682 w 752"/>
                <a:gd name="T69" fmla="*/ 261 h 781"/>
                <a:gd name="T70" fmla="*/ 723 w 752"/>
                <a:gd name="T71" fmla="*/ 321 h 781"/>
                <a:gd name="T72" fmla="*/ 737 w 752"/>
                <a:gd name="T73" fmla="*/ 330 h 781"/>
                <a:gd name="T74" fmla="*/ 751 w 752"/>
                <a:gd name="T75" fmla="*/ 321 h 781"/>
                <a:gd name="T76" fmla="*/ 748 w 752"/>
                <a:gd name="T77" fmla="*/ 139 h 781"/>
                <a:gd name="T78" fmla="*/ 715 w 752"/>
                <a:gd name="T79" fmla="*/ 92 h 781"/>
                <a:gd name="T80" fmla="*/ 617 w 752"/>
                <a:gd name="T81" fmla="*/ 36 h 781"/>
                <a:gd name="T82" fmla="*/ 415 w 752"/>
                <a:gd name="T83" fmla="*/ 0 h 781"/>
                <a:gd name="T84" fmla="*/ 195 w 752"/>
                <a:gd name="T85" fmla="*/ 19 h 781"/>
                <a:gd name="T86" fmla="*/ 54 w 752"/>
                <a:gd name="T87" fmla="*/ 78 h 781"/>
                <a:gd name="T88" fmla="*/ 12 w 752"/>
                <a:gd name="T89" fmla="*/ 123 h 781"/>
                <a:gd name="T90" fmla="*/ 0 w 752"/>
                <a:gd name="T91" fmla="*/ 615 h 781"/>
                <a:gd name="T92" fmla="*/ 16 w 752"/>
                <a:gd name="T93" fmla="*/ 665 h 781"/>
                <a:gd name="T94" fmla="*/ 63 w 752"/>
                <a:gd name="T95" fmla="*/ 708 h 781"/>
                <a:gd name="T96" fmla="*/ 228 w 752"/>
                <a:gd name="T97" fmla="*/ 768 h 781"/>
                <a:gd name="T98" fmla="*/ 382 w 752"/>
                <a:gd name="T99" fmla="*/ 780 h 781"/>
                <a:gd name="T100" fmla="*/ 390 w 752"/>
                <a:gd name="T101" fmla="*/ 766 h 781"/>
                <a:gd name="T102" fmla="*/ 382 w 752"/>
                <a:gd name="T103" fmla="*/ 752 h 781"/>
                <a:gd name="T104" fmla="*/ 235 w 752"/>
                <a:gd name="T105" fmla="*/ 739 h 781"/>
                <a:gd name="T106" fmla="*/ 85 w 752"/>
                <a:gd name="T107" fmla="*/ 687 h 781"/>
                <a:gd name="T108" fmla="*/ 36 w 752"/>
                <a:gd name="T109" fmla="*/ 640 h 781"/>
                <a:gd name="T110" fmla="*/ 42 w 752"/>
                <a:gd name="T111" fmla="*/ 542 h 781"/>
                <a:gd name="T112" fmla="*/ 144 w 752"/>
                <a:gd name="T113" fmla="*/ 596 h 781"/>
                <a:gd name="T114" fmla="*/ 291 w 752"/>
                <a:gd name="T115" fmla="*/ 627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2" h="781">
                  <a:moveTo>
                    <a:pt x="375" y="30"/>
                  </a:moveTo>
                  <a:lnTo>
                    <a:pt x="414" y="30"/>
                  </a:lnTo>
                  <a:lnTo>
                    <a:pt x="450" y="33"/>
                  </a:lnTo>
                  <a:lnTo>
                    <a:pt x="485" y="36"/>
                  </a:lnTo>
                  <a:lnTo>
                    <a:pt x="517" y="42"/>
                  </a:lnTo>
                  <a:lnTo>
                    <a:pt x="548" y="48"/>
                  </a:lnTo>
                  <a:lnTo>
                    <a:pt x="576" y="56"/>
                  </a:lnTo>
                  <a:lnTo>
                    <a:pt x="603" y="63"/>
                  </a:lnTo>
                  <a:lnTo>
                    <a:pt x="626" y="73"/>
                  </a:lnTo>
                  <a:lnTo>
                    <a:pt x="648" y="82"/>
                  </a:lnTo>
                  <a:lnTo>
                    <a:pt x="667" y="93"/>
                  </a:lnTo>
                  <a:lnTo>
                    <a:pt x="683" y="105"/>
                  </a:lnTo>
                  <a:lnTo>
                    <a:pt x="697" y="116"/>
                  </a:lnTo>
                  <a:lnTo>
                    <a:pt x="703" y="122"/>
                  </a:lnTo>
                  <a:lnTo>
                    <a:pt x="708" y="128"/>
                  </a:lnTo>
                  <a:lnTo>
                    <a:pt x="712" y="134"/>
                  </a:lnTo>
                  <a:lnTo>
                    <a:pt x="715" y="140"/>
                  </a:lnTo>
                  <a:lnTo>
                    <a:pt x="719" y="147"/>
                  </a:lnTo>
                  <a:lnTo>
                    <a:pt x="720" y="152"/>
                  </a:lnTo>
                  <a:lnTo>
                    <a:pt x="722" y="158"/>
                  </a:lnTo>
                  <a:lnTo>
                    <a:pt x="722" y="165"/>
                  </a:lnTo>
                  <a:lnTo>
                    <a:pt x="722" y="171"/>
                  </a:lnTo>
                  <a:lnTo>
                    <a:pt x="720" y="177"/>
                  </a:lnTo>
                  <a:lnTo>
                    <a:pt x="719" y="183"/>
                  </a:lnTo>
                  <a:lnTo>
                    <a:pt x="715" y="190"/>
                  </a:lnTo>
                  <a:lnTo>
                    <a:pt x="712" y="195"/>
                  </a:lnTo>
                  <a:lnTo>
                    <a:pt x="708" y="201"/>
                  </a:lnTo>
                  <a:lnTo>
                    <a:pt x="703" y="208"/>
                  </a:lnTo>
                  <a:lnTo>
                    <a:pt x="697" y="213"/>
                  </a:lnTo>
                  <a:lnTo>
                    <a:pt x="683" y="225"/>
                  </a:lnTo>
                  <a:lnTo>
                    <a:pt x="667" y="237"/>
                  </a:lnTo>
                  <a:lnTo>
                    <a:pt x="648" y="247"/>
                  </a:lnTo>
                  <a:lnTo>
                    <a:pt x="626" y="257"/>
                  </a:lnTo>
                  <a:lnTo>
                    <a:pt x="603" y="266"/>
                  </a:lnTo>
                  <a:lnTo>
                    <a:pt x="576" y="274"/>
                  </a:lnTo>
                  <a:lnTo>
                    <a:pt x="548" y="282"/>
                  </a:lnTo>
                  <a:lnTo>
                    <a:pt x="517" y="288"/>
                  </a:lnTo>
                  <a:lnTo>
                    <a:pt x="485" y="293"/>
                  </a:lnTo>
                  <a:lnTo>
                    <a:pt x="450" y="297"/>
                  </a:lnTo>
                  <a:lnTo>
                    <a:pt x="414" y="299"/>
                  </a:lnTo>
                  <a:lnTo>
                    <a:pt x="375" y="300"/>
                  </a:lnTo>
                  <a:lnTo>
                    <a:pt x="338" y="299"/>
                  </a:lnTo>
                  <a:lnTo>
                    <a:pt x="301" y="297"/>
                  </a:lnTo>
                  <a:lnTo>
                    <a:pt x="267" y="293"/>
                  </a:lnTo>
                  <a:lnTo>
                    <a:pt x="235" y="288"/>
                  </a:lnTo>
                  <a:lnTo>
                    <a:pt x="204" y="282"/>
                  </a:lnTo>
                  <a:lnTo>
                    <a:pt x="176" y="274"/>
                  </a:lnTo>
                  <a:lnTo>
                    <a:pt x="149" y="266"/>
                  </a:lnTo>
                  <a:lnTo>
                    <a:pt x="126" y="257"/>
                  </a:lnTo>
                  <a:lnTo>
                    <a:pt x="104" y="247"/>
                  </a:lnTo>
                  <a:lnTo>
                    <a:pt x="85" y="237"/>
                  </a:lnTo>
                  <a:lnTo>
                    <a:pt x="69" y="225"/>
                  </a:lnTo>
                  <a:lnTo>
                    <a:pt x="55" y="213"/>
                  </a:lnTo>
                  <a:lnTo>
                    <a:pt x="49" y="208"/>
                  </a:lnTo>
                  <a:lnTo>
                    <a:pt x="44" y="201"/>
                  </a:lnTo>
                  <a:lnTo>
                    <a:pt x="40" y="196"/>
                  </a:lnTo>
                  <a:lnTo>
                    <a:pt x="36" y="190"/>
                  </a:lnTo>
                  <a:lnTo>
                    <a:pt x="33" y="183"/>
                  </a:lnTo>
                  <a:lnTo>
                    <a:pt x="31" y="177"/>
                  </a:lnTo>
                  <a:lnTo>
                    <a:pt x="30" y="171"/>
                  </a:lnTo>
                  <a:lnTo>
                    <a:pt x="30" y="165"/>
                  </a:lnTo>
                  <a:lnTo>
                    <a:pt x="30" y="158"/>
                  </a:lnTo>
                  <a:lnTo>
                    <a:pt x="31" y="152"/>
                  </a:lnTo>
                  <a:lnTo>
                    <a:pt x="33" y="147"/>
                  </a:lnTo>
                  <a:lnTo>
                    <a:pt x="36" y="140"/>
                  </a:lnTo>
                  <a:lnTo>
                    <a:pt x="40" y="134"/>
                  </a:lnTo>
                  <a:lnTo>
                    <a:pt x="44" y="128"/>
                  </a:lnTo>
                  <a:lnTo>
                    <a:pt x="49" y="122"/>
                  </a:lnTo>
                  <a:lnTo>
                    <a:pt x="55" y="116"/>
                  </a:lnTo>
                  <a:lnTo>
                    <a:pt x="69" y="105"/>
                  </a:lnTo>
                  <a:lnTo>
                    <a:pt x="85" y="93"/>
                  </a:lnTo>
                  <a:lnTo>
                    <a:pt x="104" y="82"/>
                  </a:lnTo>
                  <a:lnTo>
                    <a:pt x="126" y="73"/>
                  </a:lnTo>
                  <a:lnTo>
                    <a:pt x="149" y="63"/>
                  </a:lnTo>
                  <a:lnTo>
                    <a:pt x="176" y="56"/>
                  </a:lnTo>
                  <a:lnTo>
                    <a:pt x="204" y="48"/>
                  </a:lnTo>
                  <a:lnTo>
                    <a:pt x="235" y="42"/>
                  </a:lnTo>
                  <a:lnTo>
                    <a:pt x="267" y="36"/>
                  </a:lnTo>
                  <a:lnTo>
                    <a:pt x="301" y="33"/>
                  </a:lnTo>
                  <a:lnTo>
                    <a:pt x="338" y="30"/>
                  </a:lnTo>
                  <a:lnTo>
                    <a:pt x="375" y="30"/>
                  </a:lnTo>
                  <a:lnTo>
                    <a:pt x="375" y="30"/>
                  </a:lnTo>
                  <a:close/>
                  <a:moveTo>
                    <a:pt x="375" y="630"/>
                  </a:moveTo>
                  <a:lnTo>
                    <a:pt x="379" y="630"/>
                  </a:lnTo>
                  <a:lnTo>
                    <a:pt x="382" y="629"/>
                  </a:lnTo>
                  <a:lnTo>
                    <a:pt x="384" y="628"/>
                  </a:lnTo>
                  <a:lnTo>
                    <a:pt x="386" y="626"/>
                  </a:lnTo>
                  <a:lnTo>
                    <a:pt x="388" y="623"/>
                  </a:lnTo>
                  <a:lnTo>
                    <a:pt x="389" y="621"/>
                  </a:lnTo>
                  <a:lnTo>
                    <a:pt x="390" y="618"/>
                  </a:lnTo>
                  <a:lnTo>
                    <a:pt x="390" y="616"/>
                  </a:lnTo>
                  <a:lnTo>
                    <a:pt x="390" y="613"/>
                  </a:lnTo>
                  <a:lnTo>
                    <a:pt x="389" y="610"/>
                  </a:lnTo>
                  <a:lnTo>
                    <a:pt x="388" y="607"/>
                  </a:lnTo>
                  <a:lnTo>
                    <a:pt x="386" y="605"/>
                  </a:lnTo>
                  <a:lnTo>
                    <a:pt x="384" y="603"/>
                  </a:lnTo>
                  <a:lnTo>
                    <a:pt x="382" y="602"/>
                  </a:lnTo>
                  <a:lnTo>
                    <a:pt x="379" y="601"/>
                  </a:lnTo>
                  <a:lnTo>
                    <a:pt x="375" y="601"/>
                  </a:lnTo>
                  <a:lnTo>
                    <a:pt x="338" y="600"/>
                  </a:lnTo>
                  <a:lnTo>
                    <a:pt x="301" y="598"/>
                  </a:lnTo>
                  <a:lnTo>
                    <a:pt x="267" y="593"/>
                  </a:lnTo>
                  <a:lnTo>
                    <a:pt x="235" y="588"/>
                  </a:lnTo>
                  <a:lnTo>
                    <a:pt x="204" y="583"/>
                  </a:lnTo>
                  <a:lnTo>
                    <a:pt x="176" y="575"/>
                  </a:lnTo>
                  <a:lnTo>
                    <a:pt x="149" y="567"/>
                  </a:lnTo>
                  <a:lnTo>
                    <a:pt x="126" y="557"/>
                  </a:lnTo>
                  <a:lnTo>
                    <a:pt x="104" y="547"/>
                  </a:lnTo>
                  <a:lnTo>
                    <a:pt x="85" y="537"/>
                  </a:lnTo>
                  <a:lnTo>
                    <a:pt x="69" y="526"/>
                  </a:lnTo>
                  <a:lnTo>
                    <a:pt x="55" y="514"/>
                  </a:lnTo>
                  <a:lnTo>
                    <a:pt x="49" y="508"/>
                  </a:lnTo>
                  <a:lnTo>
                    <a:pt x="44" y="502"/>
                  </a:lnTo>
                  <a:lnTo>
                    <a:pt x="40" y="496"/>
                  </a:lnTo>
                  <a:lnTo>
                    <a:pt x="36" y="490"/>
                  </a:lnTo>
                  <a:lnTo>
                    <a:pt x="33" y="484"/>
                  </a:lnTo>
                  <a:lnTo>
                    <a:pt x="31" y="478"/>
                  </a:lnTo>
                  <a:lnTo>
                    <a:pt x="30" y="471"/>
                  </a:lnTo>
                  <a:lnTo>
                    <a:pt x="30" y="465"/>
                  </a:lnTo>
                  <a:lnTo>
                    <a:pt x="30" y="381"/>
                  </a:lnTo>
                  <a:lnTo>
                    <a:pt x="42" y="392"/>
                  </a:lnTo>
                  <a:lnTo>
                    <a:pt x="55" y="402"/>
                  </a:lnTo>
                  <a:lnTo>
                    <a:pt x="70" y="412"/>
                  </a:lnTo>
                  <a:lnTo>
                    <a:pt x="86" y="421"/>
                  </a:lnTo>
                  <a:lnTo>
                    <a:pt x="104" y="430"/>
                  </a:lnTo>
                  <a:lnTo>
                    <a:pt x="123" y="438"/>
                  </a:lnTo>
                  <a:lnTo>
                    <a:pt x="144" y="446"/>
                  </a:lnTo>
                  <a:lnTo>
                    <a:pt x="165" y="453"/>
                  </a:lnTo>
                  <a:lnTo>
                    <a:pt x="188" y="458"/>
                  </a:lnTo>
                  <a:lnTo>
                    <a:pt x="212" y="465"/>
                  </a:lnTo>
                  <a:lnTo>
                    <a:pt x="237" y="469"/>
                  </a:lnTo>
                  <a:lnTo>
                    <a:pt x="264" y="473"/>
                  </a:lnTo>
                  <a:lnTo>
                    <a:pt x="291" y="477"/>
                  </a:lnTo>
                  <a:lnTo>
                    <a:pt x="319" y="479"/>
                  </a:lnTo>
                  <a:lnTo>
                    <a:pt x="346" y="480"/>
                  </a:lnTo>
                  <a:lnTo>
                    <a:pt x="375" y="480"/>
                  </a:lnTo>
                  <a:lnTo>
                    <a:pt x="403" y="480"/>
                  </a:lnTo>
                  <a:lnTo>
                    <a:pt x="429" y="479"/>
                  </a:lnTo>
                  <a:lnTo>
                    <a:pt x="456" y="477"/>
                  </a:lnTo>
                  <a:lnTo>
                    <a:pt x="482" y="473"/>
                  </a:lnTo>
                  <a:lnTo>
                    <a:pt x="485" y="473"/>
                  </a:lnTo>
                  <a:lnTo>
                    <a:pt x="487" y="472"/>
                  </a:lnTo>
                  <a:lnTo>
                    <a:pt x="490" y="470"/>
                  </a:lnTo>
                  <a:lnTo>
                    <a:pt x="491" y="468"/>
                  </a:lnTo>
                  <a:lnTo>
                    <a:pt x="493" y="466"/>
                  </a:lnTo>
                  <a:lnTo>
                    <a:pt x="494" y="463"/>
                  </a:lnTo>
                  <a:lnTo>
                    <a:pt x="494" y="460"/>
                  </a:lnTo>
                  <a:lnTo>
                    <a:pt x="494" y="457"/>
                  </a:lnTo>
                  <a:lnTo>
                    <a:pt x="494" y="454"/>
                  </a:lnTo>
                  <a:lnTo>
                    <a:pt x="493" y="451"/>
                  </a:lnTo>
                  <a:lnTo>
                    <a:pt x="491" y="449"/>
                  </a:lnTo>
                  <a:lnTo>
                    <a:pt x="489" y="447"/>
                  </a:lnTo>
                  <a:lnTo>
                    <a:pt x="487" y="446"/>
                  </a:lnTo>
                  <a:lnTo>
                    <a:pt x="484" y="445"/>
                  </a:lnTo>
                  <a:lnTo>
                    <a:pt x="482" y="443"/>
                  </a:lnTo>
                  <a:lnTo>
                    <a:pt x="478" y="445"/>
                  </a:lnTo>
                  <a:lnTo>
                    <a:pt x="453" y="447"/>
                  </a:lnTo>
                  <a:lnTo>
                    <a:pt x="428" y="449"/>
                  </a:lnTo>
                  <a:lnTo>
                    <a:pt x="402" y="450"/>
                  </a:lnTo>
                  <a:lnTo>
                    <a:pt x="375" y="450"/>
                  </a:lnTo>
                  <a:lnTo>
                    <a:pt x="338" y="450"/>
                  </a:lnTo>
                  <a:lnTo>
                    <a:pt x="301" y="447"/>
                  </a:lnTo>
                  <a:lnTo>
                    <a:pt x="267" y="443"/>
                  </a:lnTo>
                  <a:lnTo>
                    <a:pt x="235" y="438"/>
                  </a:lnTo>
                  <a:lnTo>
                    <a:pt x="204" y="432"/>
                  </a:lnTo>
                  <a:lnTo>
                    <a:pt x="176" y="424"/>
                  </a:lnTo>
                  <a:lnTo>
                    <a:pt x="149" y="417"/>
                  </a:lnTo>
                  <a:lnTo>
                    <a:pt x="126" y="407"/>
                  </a:lnTo>
                  <a:lnTo>
                    <a:pt x="104" y="397"/>
                  </a:lnTo>
                  <a:lnTo>
                    <a:pt x="85" y="387"/>
                  </a:lnTo>
                  <a:lnTo>
                    <a:pt x="69" y="375"/>
                  </a:lnTo>
                  <a:lnTo>
                    <a:pt x="55" y="364"/>
                  </a:lnTo>
                  <a:lnTo>
                    <a:pt x="49" y="358"/>
                  </a:lnTo>
                  <a:lnTo>
                    <a:pt x="44" y="351"/>
                  </a:lnTo>
                  <a:lnTo>
                    <a:pt x="40" y="346"/>
                  </a:lnTo>
                  <a:lnTo>
                    <a:pt x="36" y="340"/>
                  </a:lnTo>
                  <a:lnTo>
                    <a:pt x="33" y="333"/>
                  </a:lnTo>
                  <a:lnTo>
                    <a:pt x="31" y="328"/>
                  </a:lnTo>
                  <a:lnTo>
                    <a:pt x="30" y="321"/>
                  </a:lnTo>
                  <a:lnTo>
                    <a:pt x="30" y="315"/>
                  </a:lnTo>
                  <a:lnTo>
                    <a:pt x="30" y="230"/>
                  </a:lnTo>
                  <a:lnTo>
                    <a:pt x="42" y="241"/>
                  </a:lnTo>
                  <a:lnTo>
                    <a:pt x="55" y="252"/>
                  </a:lnTo>
                  <a:lnTo>
                    <a:pt x="70" y="261"/>
                  </a:lnTo>
                  <a:lnTo>
                    <a:pt x="86" y="271"/>
                  </a:lnTo>
                  <a:lnTo>
                    <a:pt x="104" y="280"/>
                  </a:lnTo>
                  <a:lnTo>
                    <a:pt x="123" y="288"/>
                  </a:lnTo>
                  <a:lnTo>
                    <a:pt x="144" y="296"/>
                  </a:lnTo>
                  <a:lnTo>
                    <a:pt x="165" y="302"/>
                  </a:lnTo>
                  <a:lnTo>
                    <a:pt x="188" y="308"/>
                  </a:lnTo>
                  <a:lnTo>
                    <a:pt x="212" y="314"/>
                  </a:lnTo>
                  <a:lnTo>
                    <a:pt x="237" y="319"/>
                  </a:lnTo>
                  <a:lnTo>
                    <a:pt x="264" y="322"/>
                  </a:lnTo>
                  <a:lnTo>
                    <a:pt x="291" y="326"/>
                  </a:lnTo>
                  <a:lnTo>
                    <a:pt x="319" y="328"/>
                  </a:lnTo>
                  <a:lnTo>
                    <a:pt x="346" y="330"/>
                  </a:lnTo>
                  <a:lnTo>
                    <a:pt x="375" y="330"/>
                  </a:lnTo>
                  <a:lnTo>
                    <a:pt x="405" y="330"/>
                  </a:lnTo>
                  <a:lnTo>
                    <a:pt x="433" y="328"/>
                  </a:lnTo>
                  <a:lnTo>
                    <a:pt x="461" y="326"/>
                  </a:lnTo>
                  <a:lnTo>
                    <a:pt x="488" y="322"/>
                  </a:lnTo>
                  <a:lnTo>
                    <a:pt x="515" y="319"/>
                  </a:lnTo>
                  <a:lnTo>
                    <a:pt x="539" y="314"/>
                  </a:lnTo>
                  <a:lnTo>
                    <a:pt x="563" y="308"/>
                  </a:lnTo>
                  <a:lnTo>
                    <a:pt x="587" y="302"/>
                  </a:lnTo>
                  <a:lnTo>
                    <a:pt x="608" y="296"/>
                  </a:lnTo>
                  <a:lnTo>
                    <a:pt x="629" y="288"/>
                  </a:lnTo>
                  <a:lnTo>
                    <a:pt x="648" y="280"/>
                  </a:lnTo>
                  <a:lnTo>
                    <a:pt x="666" y="271"/>
                  </a:lnTo>
                  <a:lnTo>
                    <a:pt x="682" y="261"/>
                  </a:lnTo>
                  <a:lnTo>
                    <a:pt x="697" y="252"/>
                  </a:lnTo>
                  <a:lnTo>
                    <a:pt x="710" y="241"/>
                  </a:lnTo>
                  <a:lnTo>
                    <a:pt x="722" y="230"/>
                  </a:lnTo>
                  <a:lnTo>
                    <a:pt x="722" y="315"/>
                  </a:lnTo>
                  <a:lnTo>
                    <a:pt x="722" y="318"/>
                  </a:lnTo>
                  <a:lnTo>
                    <a:pt x="723" y="321"/>
                  </a:lnTo>
                  <a:lnTo>
                    <a:pt x="724" y="323"/>
                  </a:lnTo>
                  <a:lnTo>
                    <a:pt x="726" y="326"/>
                  </a:lnTo>
                  <a:lnTo>
                    <a:pt x="728" y="328"/>
                  </a:lnTo>
                  <a:lnTo>
                    <a:pt x="731" y="329"/>
                  </a:lnTo>
                  <a:lnTo>
                    <a:pt x="734" y="330"/>
                  </a:lnTo>
                  <a:lnTo>
                    <a:pt x="737" y="330"/>
                  </a:lnTo>
                  <a:lnTo>
                    <a:pt x="740" y="330"/>
                  </a:lnTo>
                  <a:lnTo>
                    <a:pt x="742" y="329"/>
                  </a:lnTo>
                  <a:lnTo>
                    <a:pt x="745" y="328"/>
                  </a:lnTo>
                  <a:lnTo>
                    <a:pt x="748" y="326"/>
                  </a:lnTo>
                  <a:lnTo>
                    <a:pt x="750" y="323"/>
                  </a:lnTo>
                  <a:lnTo>
                    <a:pt x="751" y="321"/>
                  </a:lnTo>
                  <a:lnTo>
                    <a:pt x="752" y="318"/>
                  </a:lnTo>
                  <a:lnTo>
                    <a:pt x="752" y="315"/>
                  </a:lnTo>
                  <a:lnTo>
                    <a:pt x="752" y="165"/>
                  </a:lnTo>
                  <a:lnTo>
                    <a:pt x="752" y="156"/>
                  </a:lnTo>
                  <a:lnTo>
                    <a:pt x="750" y="148"/>
                  </a:lnTo>
                  <a:lnTo>
                    <a:pt x="748" y="139"/>
                  </a:lnTo>
                  <a:lnTo>
                    <a:pt x="744" y="131"/>
                  </a:lnTo>
                  <a:lnTo>
                    <a:pt x="740" y="123"/>
                  </a:lnTo>
                  <a:lnTo>
                    <a:pt x="736" y="115"/>
                  </a:lnTo>
                  <a:lnTo>
                    <a:pt x="729" y="107"/>
                  </a:lnTo>
                  <a:lnTo>
                    <a:pt x="723" y="99"/>
                  </a:lnTo>
                  <a:lnTo>
                    <a:pt x="715" y="92"/>
                  </a:lnTo>
                  <a:lnTo>
                    <a:pt x="707" y="86"/>
                  </a:lnTo>
                  <a:lnTo>
                    <a:pt x="698" y="78"/>
                  </a:lnTo>
                  <a:lnTo>
                    <a:pt x="689" y="72"/>
                  </a:lnTo>
                  <a:lnTo>
                    <a:pt x="667" y="59"/>
                  </a:lnTo>
                  <a:lnTo>
                    <a:pt x="642" y="47"/>
                  </a:lnTo>
                  <a:lnTo>
                    <a:pt x="617" y="36"/>
                  </a:lnTo>
                  <a:lnTo>
                    <a:pt x="588" y="28"/>
                  </a:lnTo>
                  <a:lnTo>
                    <a:pt x="557" y="19"/>
                  </a:lnTo>
                  <a:lnTo>
                    <a:pt x="523" y="13"/>
                  </a:lnTo>
                  <a:lnTo>
                    <a:pt x="489" y="7"/>
                  </a:lnTo>
                  <a:lnTo>
                    <a:pt x="453" y="3"/>
                  </a:lnTo>
                  <a:lnTo>
                    <a:pt x="415" y="0"/>
                  </a:lnTo>
                  <a:lnTo>
                    <a:pt x="375" y="0"/>
                  </a:lnTo>
                  <a:lnTo>
                    <a:pt x="337" y="0"/>
                  </a:lnTo>
                  <a:lnTo>
                    <a:pt x="299" y="3"/>
                  </a:lnTo>
                  <a:lnTo>
                    <a:pt x="263" y="6"/>
                  </a:lnTo>
                  <a:lnTo>
                    <a:pt x="228" y="13"/>
                  </a:lnTo>
                  <a:lnTo>
                    <a:pt x="195" y="19"/>
                  </a:lnTo>
                  <a:lnTo>
                    <a:pt x="164" y="28"/>
                  </a:lnTo>
                  <a:lnTo>
                    <a:pt x="135" y="36"/>
                  </a:lnTo>
                  <a:lnTo>
                    <a:pt x="108" y="47"/>
                  </a:lnTo>
                  <a:lnTo>
                    <a:pt x="85" y="59"/>
                  </a:lnTo>
                  <a:lnTo>
                    <a:pt x="63" y="72"/>
                  </a:lnTo>
                  <a:lnTo>
                    <a:pt x="54" y="78"/>
                  </a:lnTo>
                  <a:lnTo>
                    <a:pt x="45" y="86"/>
                  </a:lnTo>
                  <a:lnTo>
                    <a:pt x="36" y="92"/>
                  </a:lnTo>
                  <a:lnTo>
                    <a:pt x="29" y="99"/>
                  </a:lnTo>
                  <a:lnTo>
                    <a:pt x="23" y="107"/>
                  </a:lnTo>
                  <a:lnTo>
                    <a:pt x="16" y="116"/>
                  </a:lnTo>
                  <a:lnTo>
                    <a:pt x="12" y="123"/>
                  </a:lnTo>
                  <a:lnTo>
                    <a:pt x="8" y="131"/>
                  </a:lnTo>
                  <a:lnTo>
                    <a:pt x="4" y="139"/>
                  </a:lnTo>
                  <a:lnTo>
                    <a:pt x="2" y="148"/>
                  </a:lnTo>
                  <a:lnTo>
                    <a:pt x="0" y="156"/>
                  </a:lnTo>
                  <a:lnTo>
                    <a:pt x="0" y="165"/>
                  </a:lnTo>
                  <a:lnTo>
                    <a:pt x="0" y="615"/>
                  </a:lnTo>
                  <a:lnTo>
                    <a:pt x="0" y="625"/>
                  </a:lnTo>
                  <a:lnTo>
                    <a:pt x="2" y="632"/>
                  </a:lnTo>
                  <a:lnTo>
                    <a:pt x="4" y="641"/>
                  </a:lnTo>
                  <a:lnTo>
                    <a:pt x="8" y="649"/>
                  </a:lnTo>
                  <a:lnTo>
                    <a:pt x="12" y="658"/>
                  </a:lnTo>
                  <a:lnTo>
                    <a:pt x="16" y="665"/>
                  </a:lnTo>
                  <a:lnTo>
                    <a:pt x="23" y="673"/>
                  </a:lnTo>
                  <a:lnTo>
                    <a:pt x="29" y="680"/>
                  </a:lnTo>
                  <a:lnTo>
                    <a:pt x="36" y="688"/>
                  </a:lnTo>
                  <a:lnTo>
                    <a:pt x="45" y="695"/>
                  </a:lnTo>
                  <a:lnTo>
                    <a:pt x="54" y="702"/>
                  </a:lnTo>
                  <a:lnTo>
                    <a:pt x="63" y="708"/>
                  </a:lnTo>
                  <a:lnTo>
                    <a:pt x="85" y="721"/>
                  </a:lnTo>
                  <a:lnTo>
                    <a:pt x="108" y="733"/>
                  </a:lnTo>
                  <a:lnTo>
                    <a:pt x="135" y="743"/>
                  </a:lnTo>
                  <a:lnTo>
                    <a:pt x="164" y="753"/>
                  </a:lnTo>
                  <a:lnTo>
                    <a:pt x="195" y="761"/>
                  </a:lnTo>
                  <a:lnTo>
                    <a:pt x="228" y="768"/>
                  </a:lnTo>
                  <a:lnTo>
                    <a:pt x="263" y="773"/>
                  </a:lnTo>
                  <a:lnTo>
                    <a:pt x="299" y="778"/>
                  </a:lnTo>
                  <a:lnTo>
                    <a:pt x="337" y="780"/>
                  </a:lnTo>
                  <a:lnTo>
                    <a:pt x="375" y="781"/>
                  </a:lnTo>
                  <a:lnTo>
                    <a:pt x="379" y="781"/>
                  </a:lnTo>
                  <a:lnTo>
                    <a:pt x="382" y="780"/>
                  </a:lnTo>
                  <a:lnTo>
                    <a:pt x="384" y="778"/>
                  </a:lnTo>
                  <a:lnTo>
                    <a:pt x="386" y="777"/>
                  </a:lnTo>
                  <a:lnTo>
                    <a:pt x="388" y="775"/>
                  </a:lnTo>
                  <a:lnTo>
                    <a:pt x="389" y="771"/>
                  </a:lnTo>
                  <a:lnTo>
                    <a:pt x="390" y="769"/>
                  </a:lnTo>
                  <a:lnTo>
                    <a:pt x="390" y="766"/>
                  </a:lnTo>
                  <a:lnTo>
                    <a:pt x="390" y="763"/>
                  </a:lnTo>
                  <a:lnTo>
                    <a:pt x="389" y="760"/>
                  </a:lnTo>
                  <a:lnTo>
                    <a:pt x="388" y="757"/>
                  </a:lnTo>
                  <a:lnTo>
                    <a:pt x="386" y="755"/>
                  </a:lnTo>
                  <a:lnTo>
                    <a:pt x="384" y="753"/>
                  </a:lnTo>
                  <a:lnTo>
                    <a:pt x="382" y="752"/>
                  </a:lnTo>
                  <a:lnTo>
                    <a:pt x="379" y="751"/>
                  </a:lnTo>
                  <a:lnTo>
                    <a:pt x="375" y="751"/>
                  </a:lnTo>
                  <a:lnTo>
                    <a:pt x="338" y="750"/>
                  </a:lnTo>
                  <a:lnTo>
                    <a:pt x="301" y="748"/>
                  </a:lnTo>
                  <a:lnTo>
                    <a:pt x="267" y="743"/>
                  </a:lnTo>
                  <a:lnTo>
                    <a:pt x="235" y="739"/>
                  </a:lnTo>
                  <a:lnTo>
                    <a:pt x="204" y="733"/>
                  </a:lnTo>
                  <a:lnTo>
                    <a:pt x="176" y="725"/>
                  </a:lnTo>
                  <a:lnTo>
                    <a:pt x="149" y="717"/>
                  </a:lnTo>
                  <a:lnTo>
                    <a:pt x="126" y="707"/>
                  </a:lnTo>
                  <a:lnTo>
                    <a:pt x="104" y="697"/>
                  </a:lnTo>
                  <a:lnTo>
                    <a:pt x="85" y="687"/>
                  </a:lnTo>
                  <a:lnTo>
                    <a:pt x="69" y="676"/>
                  </a:lnTo>
                  <a:lnTo>
                    <a:pt x="55" y="664"/>
                  </a:lnTo>
                  <a:lnTo>
                    <a:pt x="49" y="658"/>
                  </a:lnTo>
                  <a:lnTo>
                    <a:pt x="44" y="652"/>
                  </a:lnTo>
                  <a:lnTo>
                    <a:pt x="40" y="646"/>
                  </a:lnTo>
                  <a:lnTo>
                    <a:pt x="36" y="640"/>
                  </a:lnTo>
                  <a:lnTo>
                    <a:pt x="33" y="634"/>
                  </a:lnTo>
                  <a:lnTo>
                    <a:pt x="31" y="628"/>
                  </a:lnTo>
                  <a:lnTo>
                    <a:pt x="30" y="621"/>
                  </a:lnTo>
                  <a:lnTo>
                    <a:pt x="30" y="616"/>
                  </a:lnTo>
                  <a:lnTo>
                    <a:pt x="30" y="531"/>
                  </a:lnTo>
                  <a:lnTo>
                    <a:pt x="42" y="542"/>
                  </a:lnTo>
                  <a:lnTo>
                    <a:pt x="55" y="553"/>
                  </a:lnTo>
                  <a:lnTo>
                    <a:pt x="70" y="562"/>
                  </a:lnTo>
                  <a:lnTo>
                    <a:pt x="86" y="572"/>
                  </a:lnTo>
                  <a:lnTo>
                    <a:pt x="104" y="581"/>
                  </a:lnTo>
                  <a:lnTo>
                    <a:pt x="123" y="588"/>
                  </a:lnTo>
                  <a:lnTo>
                    <a:pt x="144" y="596"/>
                  </a:lnTo>
                  <a:lnTo>
                    <a:pt x="165" y="603"/>
                  </a:lnTo>
                  <a:lnTo>
                    <a:pt x="188" y="610"/>
                  </a:lnTo>
                  <a:lnTo>
                    <a:pt x="212" y="615"/>
                  </a:lnTo>
                  <a:lnTo>
                    <a:pt x="237" y="619"/>
                  </a:lnTo>
                  <a:lnTo>
                    <a:pt x="264" y="623"/>
                  </a:lnTo>
                  <a:lnTo>
                    <a:pt x="291" y="627"/>
                  </a:lnTo>
                  <a:lnTo>
                    <a:pt x="319" y="629"/>
                  </a:lnTo>
                  <a:lnTo>
                    <a:pt x="346" y="630"/>
                  </a:lnTo>
                  <a:lnTo>
                    <a:pt x="375" y="631"/>
                  </a:lnTo>
                  <a:lnTo>
                    <a:pt x="375" y="630"/>
                  </a:lnTo>
                  <a:close/>
                </a:path>
              </a:pathLst>
            </a:custGeom>
            <a:solidFill>
              <a:srgbClr val="2422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33" name="Group 32"/>
          <p:cNvGrpSpPr/>
          <p:nvPr/>
        </p:nvGrpSpPr>
        <p:grpSpPr>
          <a:xfrm>
            <a:off x="1715181" y="2683642"/>
            <a:ext cx="444864" cy="368163"/>
            <a:chOff x="1468438" y="1965325"/>
            <a:chExt cx="276225" cy="228600"/>
          </a:xfrm>
        </p:grpSpPr>
        <p:sp>
          <p:nvSpPr>
            <p:cNvPr id="34" name="Freeform 111"/>
            <p:cNvSpPr>
              <a:spLocks noEditPoints="1"/>
            </p:cNvSpPr>
            <p:nvPr/>
          </p:nvSpPr>
          <p:spPr bwMode="auto">
            <a:xfrm>
              <a:off x="1468438" y="2117725"/>
              <a:ext cx="49213" cy="76200"/>
            </a:xfrm>
            <a:custGeom>
              <a:avLst/>
              <a:gdLst>
                <a:gd name="T0" fmla="*/ 121 w 151"/>
                <a:gd name="T1" fmla="*/ 211 h 241"/>
                <a:gd name="T2" fmla="*/ 30 w 151"/>
                <a:gd name="T3" fmla="*/ 211 h 241"/>
                <a:gd name="T4" fmla="*/ 30 w 151"/>
                <a:gd name="T5" fmla="*/ 30 h 241"/>
                <a:gd name="T6" fmla="*/ 121 w 151"/>
                <a:gd name="T7" fmla="*/ 30 h 241"/>
                <a:gd name="T8" fmla="*/ 121 w 151"/>
                <a:gd name="T9" fmla="*/ 211 h 241"/>
                <a:gd name="T10" fmla="*/ 136 w 151"/>
                <a:gd name="T11" fmla="*/ 0 h 241"/>
                <a:gd name="T12" fmla="*/ 15 w 151"/>
                <a:gd name="T13" fmla="*/ 0 h 241"/>
                <a:gd name="T14" fmla="*/ 13 w 151"/>
                <a:gd name="T15" fmla="*/ 1 h 241"/>
                <a:gd name="T16" fmla="*/ 10 w 151"/>
                <a:gd name="T17" fmla="*/ 2 h 241"/>
                <a:gd name="T18" fmla="*/ 8 w 151"/>
                <a:gd name="T19" fmla="*/ 3 h 241"/>
                <a:gd name="T20" fmla="*/ 6 w 151"/>
                <a:gd name="T21" fmla="*/ 6 h 241"/>
                <a:gd name="T22" fmla="*/ 4 w 151"/>
                <a:gd name="T23" fmla="*/ 8 h 241"/>
                <a:gd name="T24" fmla="*/ 2 w 151"/>
                <a:gd name="T25" fmla="*/ 10 h 241"/>
                <a:gd name="T26" fmla="*/ 1 w 151"/>
                <a:gd name="T27" fmla="*/ 13 h 241"/>
                <a:gd name="T28" fmla="*/ 0 w 151"/>
                <a:gd name="T29" fmla="*/ 15 h 241"/>
                <a:gd name="T30" fmla="*/ 0 w 151"/>
                <a:gd name="T31" fmla="*/ 226 h 241"/>
                <a:gd name="T32" fmla="*/ 1 w 151"/>
                <a:gd name="T33" fmla="*/ 228 h 241"/>
                <a:gd name="T34" fmla="*/ 2 w 151"/>
                <a:gd name="T35" fmla="*/ 231 h 241"/>
                <a:gd name="T36" fmla="*/ 4 w 151"/>
                <a:gd name="T37" fmla="*/ 233 h 241"/>
                <a:gd name="T38" fmla="*/ 6 w 151"/>
                <a:gd name="T39" fmla="*/ 236 h 241"/>
                <a:gd name="T40" fmla="*/ 8 w 151"/>
                <a:gd name="T41" fmla="*/ 238 h 241"/>
                <a:gd name="T42" fmla="*/ 10 w 151"/>
                <a:gd name="T43" fmla="*/ 240 h 241"/>
                <a:gd name="T44" fmla="*/ 13 w 151"/>
                <a:gd name="T45" fmla="*/ 240 h 241"/>
                <a:gd name="T46" fmla="*/ 15 w 151"/>
                <a:gd name="T47" fmla="*/ 241 h 241"/>
                <a:gd name="T48" fmla="*/ 136 w 151"/>
                <a:gd name="T49" fmla="*/ 241 h 241"/>
                <a:gd name="T50" fmla="*/ 138 w 151"/>
                <a:gd name="T51" fmla="*/ 240 h 241"/>
                <a:gd name="T52" fmla="*/ 142 w 151"/>
                <a:gd name="T53" fmla="*/ 239 h 241"/>
                <a:gd name="T54" fmla="*/ 144 w 151"/>
                <a:gd name="T55" fmla="*/ 238 h 241"/>
                <a:gd name="T56" fmla="*/ 146 w 151"/>
                <a:gd name="T57" fmla="*/ 236 h 241"/>
                <a:gd name="T58" fmla="*/ 148 w 151"/>
                <a:gd name="T59" fmla="*/ 233 h 241"/>
                <a:gd name="T60" fmla="*/ 149 w 151"/>
                <a:gd name="T61" fmla="*/ 231 h 241"/>
                <a:gd name="T62" fmla="*/ 150 w 151"/>
                <a:gd name="T63" fmla="*/ 228 h 241"/>
                <a:gd name="T64" fmla="*/ 151 w 151"/>
                <a:gd name="T65" fmla="*/ 226 h 241"/>
                <a:gd name="T66" fmla="*/ 151 w 151"/>
                <a:gd name="T67" fmla="*/ 15 h 241"/>
                <a:gd name="T68" fmla="*/ 150 w 151"/>
                <a:gd name="T69" fmla="*/ 13 h 241"/>
                <a:gd name="T70" fmla="*/ 149 w 151"/>
                <a:gd name="T71" fmla="*/ 10 h 241"/>
                <a:gd name="T72" fmla="*/ 148 w 151"/>
                <a:gd name="T73" fmla="*/ 8 h 241"/>
                <a:gd name="T74" fmla="*/ 146 w 151"/>
                <a:gd name="T75" fmla="*/ 6 h 241"/>
                <a:gd name="T76" fmla="*/ 144 w 151"/>
                <a:gd name="T77" fmla="*/ 3 h 241"/>
                <a:gd name="T78" fmla="*/ 142 w 151"/>
                <a:gd name="T79" fmla="*/ 2 h 241"/>
                <a:gd name="T80" fmla="*/ 138 w 151"/>
                <a:gd name="T81" fmla="*/ 1 h 241"/>
                <a:gd name="T82" fmla="*/ 136 w 151"/>
                <a:gd name="T83" fmla="*/ 0 h 241"/>
                <a:gd name="T84" fmla="*/ 136 w 151"/>
                <a:gd name="T85"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1" h="241">
                  <a:moveTo>
                    <a:pt x="121" y="211"/>
                  </a:moveTo>
                  <a:lnTo>
                    <a:pt x="30" y="211"/>
                  </a:lnTo>
                  <a:lnTo>
                    <a:pt x="30" y="30"/>
                  </a:lnTo>
                  <a:lnTo>
                    <a:pt x="121" y="30"/>
                  </a:lnTo>
                  <a:lnTo>
                    <a:pt x="121" y="211"/>
                  </a:lnTo>
                  <a:close/>
                  <a:moveTo>
                    <a:pt x="136" y="0"/>
                  </a:moveTo>
                  <a:lnTo>
                    <a:pt x="15" y="0"/>
                  </a:lnTo>
                  <a:lnTo>
                    <a:pt x="13" y="1"/>
                  </a:lnTo>
                  <a:lnTo>
                    <a:pt x="10" y="2"/>
                  </a:lnTo>
                  <a:lnTo>
                    <a:pt x="8" y="3"/>
                  </a:lnTo>
                  <a:lnTo>
                    <a:pt x="6" y="6"/>
                  </a:lnTo>
                  <a:lnTo>
                    <a:pt x="4" y="8"/>
                  </a:lnTo>
                  <a:lnTo>
                    <a:pt x="2" y="10"/>
                  </a:lnTo>
                  <a:lnTo>
                    <a:pt x="1" y="13"/>
                  </a:lnTo>
                  <a:lnTo>
                    <a:pt x="0" y="15"/>
                  </a:lnTo>
                  <a:lnTo>
                    <a:pt x="0" y="226"/>
                  </a:lnTo>
                  <a:lnTo>
                    <a:pt x="1" y="228"/>
                  </a:lnTo>
                  <a:lnTo>
                    <a:pt x="2" y="231"/>
                  </a:lnTo>
                  <a:lnTo>
                    <a:pt x="4" y="233"/>
                  </a:lnTo>
                  <a:lnTo>
                    <a:pt x="6" y="236"/>
                  </a:lnTo>
                  <a:lnTo>
                    <a:pt x="8" y="238"/>
                  </a:lnTo>
                  <a:lnTo>
                    <a:pt x="10" y="240"/>
                  </a:lnTo>
                  <a:lnTo>
                    <a:pt x="13" y="240"/>
                  </a:lnTo>
                  <a:lnTo>
                    <a:pt x="15" y="241"/>
                  </a:lnTo>
                  <a:lnTo>
                    <a:pt x="136" y="241"/>
                  </a:lnTo>
                  <a:lnTo>
                    <a:pt x="138" y="240"/>
                  </a:lnTo>
                  <a:lnTo>
                    <a:pt x="142" y="239"/>
                  </a:lnTo>
                  <a:lnTo>
                    <a:pt x="144" y="238"/>
                  </a:lnTo>
                  <a:lnTo>
                    <a:pt x="146" y="236"/>
                  </a:lnTo>
                  <a:lnTo>
                    <a:pt x="148" y="233"/>
                  </a:lnTo>
                  <a:lnTo>
                    <a:pt x="149" y="231"/>
                  </a:lnTo>
                  <a:lnTo>
                    <a:pt x="150" y="228"/>
                  </a:lnTo>
                  <a:lnTo>
                    <a:pt x="151" y="226"/>
                  </a:lnTo>
                  <a:lnTo>
                    <a:pt x="151" y="15"/>
                  </a:lnTo>
                  <a:lnTo>
                    <a:pt x="150" y="13"/>
                  </a:lnTo>
                  <a:lnTo>
                    <a:pt x="149" y="10"/>
                  </a:lnTo>
                  <a:lnTo>
                    <a:pt x="148" y="8"/>
                  </a:lnTo>
                  <a:lnTo>
                    <a:pt x="146" y="6"/>
                  </a:lnTo>
                  <a:lnTo>
                    <a:pt x="144" y="3"/>
                  </a:lnTo>
                  <a:lnTo>
                    <a:pt x="142" y="2"/>
                  </a:lnTo>
                  <a:lnTo>
                    <a:pt x="138" y="1"/>
                  </a:lnTo>
                  <a:lnTo>
                    <a:pt x="136" y="0"/>
                  </a:lnTo>
                  <a:lnTo>
                    <a:pt x="136" y="0"/>
                  </a:lnTo>
                  <a:close/>
                </a:path>
              </a:pathLst>
            </a:custGeom>
            <a:solidFill>
              <a:srgbClr val="332F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 name="Freeform 112"/>
            <p:cNvSpPr>
              <a:spLocks noEditPoints="1"/>
            </p:cNvSpPr>
            <p:nvPr/>
          </p:nvSpPr>
          <p:spPr bwMode="auto">
            <a:xfrm>
              <a:off x="1527175" y="2079625"/>
              <a:ext cx="47625" cy="114300"/>
            </a:xfrm>
            <a:custGeom>
              <a:avLst/>
              <a:gdLst>
                <a:gd name="T0" fmla="*/ 120 w 150"/>
                <a:gd name="T1" fmla="*/ 331 h 361"/>
                <a:gd name="T2" fmla="*/ 30 w 150"/>
                <a:gd name="T3" fmla="*/ 331 h 361"/>
                <a:gd name="T4" fmla="*/ 30 w 150"/>
                <a:gd name="T5" fmla="*/ 30 h 361"/>
                <a:gd name="T6" fmla="*/ 120 w 150"/>
                <a:gd name="T7" fmla="*/ 30 h 361"/>
                <a:gd name="T8" fmla="*/ 120 w 150"/>
                <a:gd name="T9" fmla="*/ 331 h 361"/>
                <a:gd name="T10" fmla="*/ 135 w 150"/>
                <a:gd name="T11" fmla="*/ 0 h 361"/>
                <a:gd name="T12" fmla="*/ 15 w 150"/>
                <a:gd name="T13" fmla="*/ 0 h 361"/>
                <a:gd name="T14" fmla="*/ 12 w 150"/>
                <a:gd name="T15" fmla="*/ 2 h 361"/>
                <a:gd name="T16" fmla="*/ 9 w 150"/>
                <a:gd name="T17" fmla="*/ 2 h 361"/>
                <a:gd name="T18" fmla="*/ 7 w 150"/>
                <a:gd name="T19" fmla="*/ 4 h 361"/>
                <a:gd name="T20" fmla="*/ 4 w 150"/>
                <a:gd name="T21" fmla="*/ 5 h 361"/>
                <a:gd name="T22" fmla="*/ 2 w 150"/>
                <a:gd name="T23" fmla="*/ 8 h 361"/>
                <a:gd name="T24" fmla="*/ 1 w 150"/>
                <a:gd name="T25" fmla="*/ 10 h 361"/>
                <a:gd name="T26" fmla="*/ 0 w 150"/>
                <a:gd name="T27" fmla="*/ 13 h 361"/>
                <a:gd name="T28" fmla="*/ 0 w 150"/>
                <a:gd name="T29" fmla="*/ 15 h 361"/>
                <a:gd name="T30" fmla="*/ 0 w 150"/>
                <a:gd name="T31" fmla="*/ 346 h 361"/>
                <a:gd name="T32" fmla="*/ 0 w 150"/>
                <a:gd name="T33" fmla="*/ 348 h 361"/>
                <a:gd name="T34" fmla="*/ 1 w 150"/>
                <a:gd name="T35" fmla="*/ 351 h 361"/>
                <a:gd name="T36" fmla="*/ 2 w 150"/>
                <a:gd name="T37" fmla="*/ 353 h 361"/>
                <a:gd name="T38" fmla="*/ 4 w 150"/>
                <a:gd name="T39" fmla="*/ 356 h 361"/>
                <a:gd name="T40" fmla="*/ 7 w 150"/>
                <a:gd name="T41" fmla="*/ 358 h 361"/>
                <a:gd name="T42" fmla="*/ 9 w 150"/>
                <a:gd name="T43" fmla="*/ 360 h 361"/>
                <a:gd name="T44" fmla="*/ 12 w 150"/>
                <a:gd name="T45" fmla="*/ 360 h 361"/>
                <a:gd name="T46" fmla="*/ 15 w 150"/>
                <a:gd name="T47" fmla="*/ 361 h 361"/>
                <a:gd name="T48" fmla="*/ 135 w 150"/>
                <a:gd name="T49" fmla="*/ 361 h 361"/>
                <a:gd name="T50" fmla="*/ 137 w 150"/>
                <a:gd name="T51" fmla="*/ 360 h 361"/>
                <a:gd name="T52" fmla="*/ 140 w 150"/>
                <a:gd name="T53" fmla="*/ 359 h 361"/>
                <a:gd name="T54" fmla="*/ 143 w 150"/>
                <a:gd name="T55" fmla="*/ 358 h 361"/>
                <a:gd name="T56" fmla="*/ 146 w 150"/>
                <a:gd name="T57" fmla="*/ 356 h 361"/>
                <a:gd name="T58" fmla="*/ 147 w 150"/>
                <a:gd name="T59" fmla="*/ 353 h 361"/>
                <a:gd name="T60" fmla="*/ 149 w 150"/>
                <a:gd name="T61" fmla="*/ 351 h 361"/>
                <a:gd name="T62" fmla="*/ 149 w 150"/>
                <a:gd name="T63" fmla="*/ 348 h 361"/>
                <a:gd name="T64" fmla="*/ 150 w 150"/>
                <a:gd name="T65" fmla="*/ 346 h 361"/>
                <a:gd name="T66" fmla="*/ 150 w 150"/>
                <a:gd name="T67" fmla="*/ 15 h 361"/>
                <a:gd name="T68" fmla="*/ 149 w 150"/>
                <a:gd name="T69" fmla="*/ 13 h 361"/>
                <a:gd name="T70" fmla="*/ 149 w 150"/>
                <a:gd name="T71" fmla="*/ 10 h 361"/>
                <a:gd name="T72" fmla="*/ 147 w 150"/>
                <a:gd name="T73" fmla="*/ 8 h 361"/>
                <a:gd name="T74" fmla="*/ 146 w 150"/>
                <a:gd name="T75" fmla="*/ 5 h 361"/>
                <a:gd name="T76" fmla="*/ 143 w 150"/>
                <a:gd name="T77" fmla="*/ 4 h 361"/>
                <a:gd name="T78" fmla="*/ 140 w 150"/>
                <a:gd name="T79" fmla="*/ 2 h 361"/>
                <a:gd name="T80" fmla="*/ 137 w 150"/>
                <a:gd name="T81" fmla="*/ 2 h 361"/>
                <a:gd name="T82" fmla="*/ 135 w 150"/>
                <a:gd name="T83" fmla="*/ 0 h 361"/>
                <a:gd name="T84" fmla="*/ 135 w 150"/>
                <a:gd name="T85"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361">
                  <a:moveTo>
                    <a:pt x="120" y="331"/>
                  </a:moveTo>
                  <a:lnTo>
                    <a:pt x="30" y="331"/>
                  </a:lnTo>
                  <a:lnTo>
                    <a:pt x="30" y="30"/>
                  </a:lnTo>
                  <a:lnTo>
                    <a:pt x="120" y="30"/>
                  </a:lnTo>
                  <a:lnTo>
                    <a:pt x="120" y="331"/>
                  </a:lnTo>
                  <a:close/>
                  <a:moveTo>
                    <a:pt x="135" y="0"/>
                  </a:moveTo>
                  <a:lnTo>
                    <a:pt x="15" y="0"/>
                  </a:lnTo>
                  <a:lnTo>
                    <a:pt x="12" y="2"/>
                  </a:lnTo>
                  <a:lnTo>
                    <a:pt x="9" y="2"/>
                  </a:lnTo>
                  <a:lnTo>
                    <a:pt x="7" y="4"/>
                  </a:lnTo>
                  <a:lnTo>
                    <a:pt x="4" y="5"/>
                  </a:lnTo>
                  <a:lnTo>
                    <a:pt x="2" y="8"/>
                  </a:lnTo>
                  <a:lnTo>
                    <a:pt x="1" y="10"/>
                  </a:lnTo>
                  <a:lnTo>
                    <a:pt x="0" y="13"/>
                  </a:lnTo>
                  <a:lnTo>
                    <a:pt x="0" y="15"/>
                  </a:lnTo>
                  <a:lnTo>
                    <a:pt x="0" y="346"/>
                  </a:lnTo>
                  <a:lnTo>
                    <a:pt x="0" y="348"/>
                  </a:lnTo>
                  <a:lnTo>
                    <a:pt x="1" y="351"/>
                  </a:lnTo>
                  <a:lnTo>
                    <a:pt x="2" y="353"/>
                  </a:lnTo>
                  <a:lnTo>
                    <a:pt x="4" y="356"/>
                  </a:lnTo>
                  <a:lnTo>
                    <a:pt x="7" y="358"/>
                  </a:lnTo>
                  <a:lnTo>
                    <a:pt x="9" y="360"/>
                  </a:lnTo>
                  <a:lnTo>
                    <a:pt x="12" y="360"/>
                  </a:lnTo>
                  <a:lnTo>
                    <a:pt x="15" y="361"/>
                  </a:lnTo>
                  <a:lnTo>
                    <a:pt x="135" y="361"/>
                  </a:lnTo>
                  <a:lnTo>
                    <a:pt x="137" y="360"/>
                  </a:lnTo>
                  <a:lnTo>
                    <a:pt x="140" y="359"/>
                  </a:lnTo>
                  <a:lnTo>
                    <a:pt x="143" y="358"/>
                  </a:lnTo>
                  <a:lnTo>
                    <a:pt x="146" y="356"/>
                  </a:lnTo>
                  <a:lnTo>
                    <a:pt x="147" y="353"/>
                  </a:lnTo>
                  <a:lnTo>
                    <a:pt x="149" y="351"/>
                  </a:lnTo>
                  <a:lnTo>
                    <a:pt x="149" y="348"/>
                  </a:lnTo>
                  <a:lnTo>
                    <a:pt x="150" y="346"/>
                  </a:lnTo>
                  <a:lnTo>
                    <a:pt x="150" y="15"/>
                  </a:lnTo>
                  <a:lnTo>
                    <a:pt x="149" y="13"/>
                  </a:lnTo>
                  <a:lnTo>
                    <a:pt x="149" y="10"/>
                  </a:lnTo>
                  <a:lnTo>
                    <a:pt x="147" y="8"/>
                  </a:lnTo>
                  <a:lnTo>
                    <a:pt x="146" y="5"/>
                  </a:lnTo>
                  <a:lnTo>
                    <a:pt x="143" y="4"/>
                  </a:lnTo>
                  <a:lnTo>
                    <a:pt x="140" y="2"/>
                  </a:lnTo>
                  <a:lnTo>
                    <a:pt x="137" y="2"/>
                  </a:lnTo>
                  <a:lnTo>
                    <a:pt x="135" y="0"/>
                  </a:lnTo>
                  <a:lnTo>
                    <a:pt x="135" y="0"/>
                  </a:lnTo>
                  <a:close/>
                </a:path>
              </a:pathLst>
            </a:custGeom>
            <a:solidFill>
              <a:srgbClr val="332F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 name="Freeform 113"/>
            <p:cNvSpPr>
              <a:spLocks noEditPoints="1"/>
            </p:cNvSpPr>
            <p:nvPr/>
          </p:nvSpPr>
          <p:spPr bwMode="auto">
            <a:xfrm>
              <a:off x="1584325" y="2041525"/>
              <a:ext cx="47625" cy="152400"/>
            </a:xfrm>
            <a:custGeom>
              <a:avLst/>
              <a:gdLst>
                <a:gd name="T0" fmla="*/ 120 w 150"/>
                <a:gd name="T1" fmla="*/ 450 h 480"/>
                <a:gd name="T2" fmla="*/ 30 w 150"/>
                <a:gd name="T3" fmla="*/ 450 h 480"/>
                <a:gd name="T4" fmla="*/ 30 w 150"/>
                <a:gd name="T5" fmla="*/ 30 h 480"/>
                <a:gd name="T6" fmla="*/ 120 w 150"/>
                <a:gd name="T7" fmla="*/ 30 h 480"/>
                <a:gd name="T8" fmla="*/ 120 w 150"/>
                <a:gd name="T9" fmla="*/ 450 h 480"/>
                <a:gd name="T10" fmla="*/ 135 w 150"/>
                <a:gd name="T11" fmla="*/ 0 h 480"/>
                <a:gd name="T12" fmla="*/ 15 w 150"/>
                <a:gd name="T13" fmla="*/ 0 h 480"/>
                <a:gd name="T14" fmla="*/ 12 w 150"/>
                <a:gd name="T15" fmla="*/ 1 h 480"/>
                <a:gd name="T16" fmla="*/ 8 w 150"/>
                <a:gd name="T17" fmla="*/ 1 h 480"/>
                <a:gd name="T18" fmla="*/ 6 w 150"/>
                <a:gd name="T19" fmla="*/ 3 h 480"/>
                <a:gd name="T20" fmla="*/ 4 w 150"/>
                <a:gd name="T21" fmla="*/ 4 h 480"/>
                <a:gd name="T22" fmla="*/ 2 w 150"/>
                <a:gd name="T23" fmla="*/ 6 h 480"/>
                <a:gd name="T24" fmla="*/ 1 w 150"/>
                <a:gd name="T25" fmla="*/ 9 h 480"/>
                <a:gd name="T26" fmla="*/ 0 w 150"/>
                <a:gd name="T27" fmla="*/ 12 h 480"/>
                <a:gd name="T28" fmla="*/ 0 w 150"/>
                <a:gd name="T29" fmla="*/ 15 h 480"/>
                <a:gd name="T30" fmla="*/ 0 w 150"/>
                <a:gd name="T31" fmla="*/ 465 h 480"/>
                <a:gd name="T32" fmla="*/ 0 w 150"/>
                <a:gd name="T33" fmla="*/ 467 h 480"/>
                <a:gd name="T34" fmla="*/ 1 w 150"/>
                <a:gd name="T35" fmla="*/ 470 h 480"/>
                <a:gd name="T36" fmla="*/ 2 w 150"/>
                <a:gd name="T37" fmla="*/ 472 h 480"/>
                <a:gd name="T38" fmla="*/ 4 w 150"/>
                <a:gd name="T39" fmla="*/ 475 h 480"/>
                <a:gd name="T40" fmla="*/ 6 w 150"/>
                <a:gd name="T41" fmla="*/ 477 h 480"/>
                <a:gd name="T42" fmla="*/ 8 w 150"/>
                <a:gd name="T43" fmla="*/ 479 h 480"/>
                <a:gd name="T44" fmla="*/ 12 w 150"/>
                <a:gd name="T45" fmla="*/ 479 h 480"/>
                <a:gd name="T46" fmla="*/ 15 w 150"/>
                <a:gd name="T47" fmla="*/ 480 h 480"/>
                <a:gd name="T48" fmla="*/ 135 w 150"/>
                <a:gd name="T49" fmla="*/ 480 h 480"/>
                <a:gd name="T50" fmla="*/ 138 w 150"/>
                <a:gd name="T51" fmla="*/ 479 h 480"/>
                <a:gd name="T52" fmla="*/ 140 w 150"/>
                <a:gd name="T53" fmla="*/ 478 h 480"/>
                <a:gd name="T54" fmla="*/ 143 w 150"/>
                <a:gd name="T55" fmla="*/ 477 h 480"/>
                <a:gd name="T56" fmla="*/ 145 w 150"/>
                <a:gd name="T57" fmla="*/ 475 h 480"/>
                <a:gd name="T58" fmla="*/ 146 w 150"/>
                <a:gd name="T59" fmla="*/ 472 h 480"/>
                <a:gd name="T60" fmla="*/ 148 w 150"/>
                <a:gd name="T61" fmla="*/ 470 h 480"/>
                <a:gd name="T62" fmla="*/ 148 w 150"/>
                <a:gd name="T63" fmla="*/ 467 h 480"/>
                <a:gd name="T64" fmla="*/ 150 w 150"/>
                <a:gd name="T65" fmla="*/ 465 h 480"/>
                <a:gd name="T66" fmla="*/ 150 w 150"/>
                <a:gd name="T67" fmla="*/ 15 h 480"/>
                <a:gd name="T68" fmla="*/ 148 w 150"/>
                <a:gd name="T69" fmla="*/ 11 h 480"/>
                <a:gd name="T70" fmla="*/ 148 w 150"/>
                <a:gd name="T71" fmla="*/ 9 h 480"/>
                <a:gd name="T72" fmla="*/ 146 w 150"/>
                <a:gd name="T73" fmla="*/ 6 h 480"/>
                <a:gd name="T74" fmla="*/ 145 w 150"/>
                <a:gd name="T75" fmla="*/ 4 h 480"/>
                <a:gd name="T76" fmla="*/ 143 w 150"/>
                <a:gd name="T77" fmla="*/ 3 h 480"/>
                <a:gd name="T78" fmla="*/ 140 w 150"/>
                <a:gd name="T79" fmla="*/ 1 h 480"/>
                <a:gd name="T80" fmla="*/ 138 w 150"/>
                <a:gd name="T81" fmla="*/ 1 h 480"/>
                <a:gd name="T82" fmla="*/ 135 w 150"/>
                <a:gd name="T83" fmla="*/ 0 h 480"/>
                <a:gd name="T84" fmla="*/ 135 w 150"/>
                <a:gd name="T85"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480">
                  <a:moveTo>
                    <a:pt x="120" y="450"/>
                  </a:moveTo>
                  <a:lnTo>
                    <a:pt x="30" y="450"/>
                  </a:lnTo>
                  <a:lnTo>
                    <a:pt x="30" y="30"/>
                  </a:lnTo>
                  <a:lnTo>
                    <a:pt x="120" y="30"/>
                  </a:lnTo>
                  <a:lnTo>
                    <a:pt x="120" y="450"/>
                  </a:lnTo>
                  <a:close/>
                  <a:moveTo>
                    <a:pt x="135" y="0"/>
                  </a:moveTo>
                  <a:lnTo>
                    <a:pt x="15" y="0"/>
                  </a:lnTo>
                  <a:lnTo>
                    <a:pt x="12" y="1"/>
                  </a:lnTo>
                  <a:lnTo>
                    <a:pt x="8" y="1"/>
                  </a:lnTo>
                  <a:lnTo>
                    <a:pt x="6" y="3"/>
                  </a:lnTo>
                  <a:lnTo>
                    <a:pt x="4" y="4"/>
                  </a:lnTo>
                  <a:lnTo>
                    <a:pt x="2" y="6"/>
                  </a:lnTo>
                  <a:lnTo>
                    <a:pt x="1" y="9"/>
                  </a:lnTo>
                  <a:lnTo>
                    <a:pt x="0" y="12"/>
                  </a:lnTo>
                  <a:lnTo>
                    <a:pt x="0" y="15"/>
                  </a:lnTo>
                  <a:lnTo>
                    <a:pt x="0" y="465"/>
                  </a:lnTo>
                  <a:lnTo>
                    <a:pt x="0" y="467"/>
                  </a:lnTo>
                  <a:lnTo>
                    <a:pt x="1" y="470"/>
                  </a:lnTo>
                  <a:lnTo>
                    <a:pt x="2" y="472"/>
                  </a:lnTo>
                  <a:lnTo>
                    <a:pt x="4" y="475"/>
                  </a:lnTo>
                  <a:lnTo>
                    <a:pt x="6" y="477"/>
                  </a:lnTo>
                  <a:lnTo>
                    <a:pt x="8" y="479"/>
                  </a:lnTo>
                  <a:lnTo>
                    <a:pt x="12" y="479"/>
                  </a:lnTo>
                  <a:lnTo>
                    <a:pt x="15" y="480"/>
                  </a:lnTo>
                  <a:lnTo>
                    <a:pt x="135" y="480"/>
                  </a:lnTo>
                  <a:lnTo>
                    <a:pt x="138" y="479"/>
                  </a:lnTo>
                  <a:lnTo>
                    <a:pt x="140" y="478"/>
                  </a:lnTo>
                  <a:lnTo>
                    <a:pt x="143" y="477"/>
                  </a:lnTo>
                  <a:lnTo>
                    <a:pt x="145" y="475"/>
                  </a:lnTo>
                  <a:lnTo>
                    <a:pt x="146" y="472"/>
                  </a:lnTo>
                  <a:lnTo>
                    <a:pt x="148" y="470"/>
                  </a:lnTo>
                  <a:lnTo>
                    <a:pt x="148" y="467"/>
                  </a:lnTo>
                  <a:lnTo>
                    <a:pt x="150" y="465"/>
                  </a:lnTo>
                  <a:lnTo>
                    <a:pt x="150" y="15"/>
                  </a:lnTo>
                  <a:lnTo>
                    <a:pt x="148" y="11"/>
                  </a:lnTo>
                  <a:lnTo>
                    <a:pt x="148" y="9"/>
                  </a:lnTo>
                  <a:lnTo>
                    <a:pt x="146" y="6"/>
                  </a:lnTo>
                  <a:lnTo>
                    <a:pt x="145" y="4"/>
                  </a:lnTo>
                  <a:lnTo>
                    <a:pt x="143" y="3"/>
                  </a:lnTo>
                  <a:lnTo>
                    <a:pt x="140" y="1"/>
                  </a:lnTo>
                  <a:lnTo>
                    <a:pt x="138" y="1"/>
                  </a:lnTo>
                  <a:lnTo>
                    <a:pt x="135" y="0"/>
                  </a:lnTo>
                  <a:lnTo>
                    <a:pt x="135" y="0"/>
                  </a:lnTo>
                  <a:close/>
                </a:path>
              </a:pathLst>
            </a:custGeom>
            <a:solidFill>
              <a:srgbClr val="332F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 name="Freeform 114"/>
            <p:cNvSpPr>
              <a:spLocks noEditPoints="1"/>
            </p:cNvSpPr>
            <p:nvPr/>
          </p:nvSpPr>
          <p:spPr bwMode="auto">
            <a:xfrm>
              <a:off x="1641475" y="2003425"/>
              <a:ext cx="46038" cy="190500"/>
            </a:xfrm>
            <a:custGeom>
              <a:avLst/>
              <a:gdLst>
                <a:gd name="T0" fmla="*/ 119 w 149"/>
                <a:gd name="T1" fmla="*/ 570 h 600"/>
                <a:gd name="T2" fmla="*/ 29 w 149"/>
                <a:gd name="T3" fmla="*/ 570 h 600"/>
                <a:gd name="T4" fmla="*/ 29 w 149"/>
                <a:gd name="T5" fmla="*/ 30 h 600"/>
                <a:gd name="T6" fmla="*/ 119 w 149"/>
                <a:gd name="T7" fmla="*/ 30 h 600"/>
                <a:gd name="T8" fmla="*/ 119 w 149"/>
                <a:gd name="T9" fmla="*/ 570 h 600"/>
                <a:gd name="T10" fmla="*/ 134 w 149"/>
                <a:gd name="T11" fmla="*/ 0 h 600"/>
                <a:gd name="T12" fmla="*/ 14 w 149"/>
                <a:gd name="T13" fmla="*/ 0 h 600"/>
                <a:gd name="T14" fmla="*/ 11 w 149"/>
                <a:gd name="T15" fmla="*/ 0 h 600"/>
                <a:gd name="T16" fmla="*/ 8 w 149"/>
                <a:gd name="T17" fmla="*/ 1 h 600"/>
                <a:gd name="T18" fmla="*/ 6 w 149"/>
                <a:gd name="T19" fmla="*/ 3 h 600"/>
                <a:gd name="T20" fmla="*/ 4 w 149"/>
                <a:gd name="T21" fmla="*/ 4 h 600"/>
                <a:gd name="T22" fmla="*/ 2 w 149"/>
                <a:gd name="T23" fmla="*/ 6 h 600"/>
                <a:gd name="T24" fmla="*/ 1 w 149"/>
                <a:gd name="T25" fmla="*/ 9 h 600"/>
                <a:gd name="T26" fmla="*/ 0 w 149"/>
                <a:gd name="T27" fmla="*/ 12 h 600"/>
                <a:gd name="T28" fmla="*/ 0 w 149"/>
                <a:gd name="T29" fmla="*/ 15 h 600"/>
                <a:gd name="T30" fmla="*/ 0 w 149"/>
                <a:gd name="T31" fmla="*/ 585 h 600"/>
                <a:gd name="T32" fmla="*/ 0 w 149"/>
                <a:gd name="T33" fmla="*/ 587 h 600"/>
                <a:gd name="T34" fmla="*/ 1 w 149"/>
                <a:gd name="T35" fmla="*/ 590 h 600"/>
                <a:gd name="T36" fmla="*/ 2 w 149"/>
                <a:gd name="T37" fmla="*/ 592 h 600"/>
                <a:gd name="T38" fmla="*/ 4 w 149"/>
                <a:gd name="T39" fmla="*/ 595 h 600"/>
                <a:gd name="T40" fmla="*/ 6 w 149"/>
                <a:gd name="T41" fmla="*/ 597 h 600"/>
                <a:gd name="T42" fmla="*/ 8 w 149"/>
                <a:gd name="T43" fmla="*/ 599 h 600"/>
                <a:gd name="T44" fmla="*/ 11 w 149"/>
                <a:gd name="T45" fmla="*/ 599 h 600"/>
                <a:gd name="T46" fmla="*/ 14 w 149"/>
                <a:gd name="T47" fmla="*/ 600 h 600"/>
                <a:gd name="T48" fmla="*/ 134 w 149"/>
                <a:gd name="T49" fmla="*/ 600 h 600"/>
                <a:gd name="T50" fmla="*/ 137 w 149"/>
                <a:gd name="T51" fmla="*/ 599 h 600"/>
                <a:gd name="T52" fmla="*/ 140 w 149"/>
                <a:gd name="T53" fmla="*/ 598 h 600"/>
                <a:gd name="T54" fmla="*/ 143 w 149"/>
                <a:gd name="T55" fmla="*/ 597 h 600"/>
                <a:gd name="T56" fmla="*/ 145 w 149"/>
                <a:gd name="T57" fmla="*/ 595 h 600"/>
                <a:gd name="T58" fmla="*/ 147 w 149"/>
                <a:gd name="T59" fmla="*/ 592 h 600"/>
                <a:gd name="T60" fmla="*/ 148 w 149"/>
                <a:gd name="T61" fmla="*/ 590 h 600"/>
                <a:gd name="T62" fmla="*/ 149 w 149"/>
                <a:gd name="T63" fmla="*/ 587 h 600"/>
                <a:gd name="T64" fmla="*/ 149 w 149"/>
                <a:gd name="T65" fmla="*/ 585 h 600"/>
                <a:gd name="T66" fmla="*/ 149 w 149"/>
                <a:gd name="T67" fmla="*/ 15 h 600"/>
                <a:gd name="T68" fmla="*/ 149 w 149"/>
                <a:gd name="T69" fmla="*/ 12 h 600"/>
                <a:gd name="T70" fmla="*/ 148 w 149"/>
                <a:gd name="T71" fmla="*/ 9 h 600"/>
                <a:gd name="T72" fmla="*/ 147 w 149"/>
                <a:gd name="T73" fmla="*/ 6 h 600"/>
                <a:gd name="T74" fmla="*/ 145 w 149"/>
                <a:gd name="T75" fmla="*/ 4 h 600"/>
                <a:gd name="T76" fmla="*/ 143 w 149"/>
                <a:gd name="T77" fmla="*/ 3 h 600"/>
                <a:gd name="T78" fmla="*/ 140 w 149"/>
                <a:gd name="T79" fmla="*/ 1 h 600"/>
                <a:gd name="T80" fmla="*/ 137 w 149"/>
                <a:gd name="T81" fmla="*/ 1 h 600"/>
                <a:gd name="T82" fmla="*/ 134 w 149"/>
                <a:gd name="T83" fmla="*/ 0 h 600"/>
                <a:gd name="T84" fmla="*/ 134 w 149"/>
                <a:gd name="T85"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00">
                  <a:moveTo>
                    <a:pt x="119" y="570"/>
                  </a:moveTo>
                  <a:lnTo>
                    <a:pt x="29" y="570"/>
                  </a:lnTo>
                  <a:lnTo>
                    <a:pt x="29" y="30"/>
                  </a:lnTo>
                  <a:lnTo>
                    <a:pt x="119" y="30"/>
                  </a:lnTo>
                  <a:lnTo>
                    <a:pt x="119" y="570"/>
                  </a:lnTo>
                  <a:close/>
                  <a:moveTo>
                    <a:pt x="134" y="0"/>
                  </a:moveTo>
                  <a:lnTo>
                    <a:pt x="14" y="0"/>
                  </a:lnTo>
                  <a:lnTo>
                    <a:pt x="11" y="0"/>
                  </a:lnTo>
                  <a:lnTo>
                    <a:pt x="8" y="1"/>
                  </a:lnTo>
                  <a:lnTo>
                    <a:pt x="6" y="3"/>
                  </a:lnTo>
                  <a:lnTo>
                    <a:pt x="4" y="4"/>
                  </a:lnTo>
                  <a:lnTo>
                    <a:pt x="2" y="6"/>
                  </a:lnTo>
                  <a:lnTo>
                    <a:pt x="1" y="9"/>
                  </a:lnTo>
                  <a:lnTo>
                    <a:pt x="0" y="12"/>
                  </a:lnTo>
                  <a:lnTo>
                    <a:pt x="0" y="15"/>
                  </a:lnTo>
                  <a:lnTo>
                    <a:pt x="0" y="585"/>
                  </a:lnTo>
                  <a:lnTo>
                    <a:pt x="0" y="587"/>
                  </a:lnTo>
                  <a:lnTo>
                    <a:pt x="1" y="590"/>
                  </a:lnTo>
                  <a:lnTo>
                    <a:pt x="2" y="592"/>
                  </a:lnTo>
                  <a:lnTo>
                    <a:pt x="4" y="595"/>
                  </a:lnTo>
                  <a:lnTo>
                    <a:pt x="6" y="597"/>
                  </a:lnTo>
                  <a:lnTo>
                    <a:pt x="8" y="599"/>
                  </a:lnTo>
                  <a:lnTo>
                    <a:pt x="11" y="599"/>
                  </a:lnTo>
                  <a:lnTo>
                    <a:pt x="14" y="600"/>
                  </a:lnTo>
                  <a:lnTo>
                    <a:pt x="134" y="600"/>
                  </a:lnTo>
                  <a:lnTo>
                    <a:pt x="137" y="599"/>
                  </a:lnTo>
                  <a:lnTo>
                    <a:pt x="140" y="598"/>
                  </a:lnTo>
                  <a:lnTo>
                    <a:pt x="143" y="597"/>
                  </a:lnTo>
                  <a:lnTo>
                    <a:pt x="145" y="595"/>
                  </a:lnTo>
                  <a:lnTo>
                    <a:pt x="147" y="592"/>
                  </a:lnTo>
                  <a:lnTo>
                    <a:pt x="148" y="590"/>
                  </a:lnTo>
                  <a:lnTo>
                    <a:pt x="149" y="587"/>
                  </a:lnTo>
                  <a:lnTo>
                    <a:pt x="149" y="585"/>
                  </a:lnTo>
                  <a:lnTo>
                    <a:pt x="149" y="15"/>
                  </a:lnTo>
                  <a:lnTo>
                    <a:pt x="149" y="12"/>
                  </a:lnTo>
                  <a:lnTo>
                    <a:pt x="148" y="9"/>
                  </a:lnTo>
                  <a:lnTo>
                    <a:pt x="147" y="6"/>
                  </a:lnTo>
                  <a:lnTo>
                    <a:pt x="145" y="4"/>
                  </a:lnTo>
                  <a:lnTo>
                    <a:pt x="143" y="3"/>
                  </a:lnTo>
                  <a:lnTo>
                    <a:pt x="140" y="1"/>
                  </a:lnTo>
                  <a:lnTo>
                    <a:pt x="137" y="1"/>
                  </a:lnTo>
                  <a:lnTo>
                    <a:pt x="134" y="0"/>
                  </a:lnTo>
                  <a:lnTo>
                    <a:pt x="134" y="0"/>
                  </a:lnTo>
                  <a:close/>
                </a:path>
              </a:pathLst>
            </a:custGeom>
            <a:solidFill>
              <a:srgbClr val="332F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8" name="Freeform 115"/>
            <p:cNvSpPr>
              <a:spLocks noEditPoints="1"/>
            </p:cNvSpPr>
            <p:nvPr/>
          </p:nvSpPr>
          <p:spPr bwMode="auto">
            <a:xfrm>
              <a:off x="1697038" y="1965325"/>
              <a:ext cx="47625" cy="228600"/>
            </a:xfrm>
            <a:custGeom>
              <a:avLst/>
              <a:gdLst>
                <a:gd name="T0" fmla="*/ 120 w 150"/>
                <a:gd name="T1" fmla="*/ 690 h 720"/>
                <a:gd name="T2" fmla="*/ 30 w 150"/>
                <a:gd name="T3" fmla="*/ 690 h 720"/>
                <a:gd name="T4" fmla="*/ 30 w 150"/>
                <a:gd name="T5" fmla="*/ 30 h 720"/>
                <a:gd name="T6" fmla="*/ 120 w 150"/>
                <a:gd name="T7" fmla="*/ 30 h 720"/>
                <a:gd name="T8" fmla="*/ 120 w 150"/>
                <a:gd name="T9" fmla="*/ 690 h 720"/>
                <a:gd name="T10" fmla="*/ 135 w 150"/>
                <a:gd name="T11" fmla="*/ 0 h 720"/>
                <a:gd name="T12" fmla="*/ 15 w 150"/>
                <a:gd name="T13" fmla="*/ 0 h 720"/>
                <a:gd name="T14" fmla="*/ 12 w 150"/>
                <a:gd name="T15" fmla="*/ 0 h 720"/>
                <a:gd name="T16" fmla="*/ 9 w 150"/>
                <a:gd name="T17" fmla="*/ 1 h 720"/>
                <a:gd name="T18" fmla="*/ 7 w 150"/>
                <a:gd name="T19" fmla="*/ 3 h 720"/>
                <a:gd name="T20" fmla="*/ 4 w 150"/>
                <a:gd name="T21" fmla="*/ 4 h 720"/>
                <a:gd name="T22" fmla="*/ 2 w 150"/>
                <a:gd name="T23" fmla="*/ 6 h 720"/>
                <a:gd name="T24" fmla="*/ 1 w 150"/>
                <a:gd name="T25" fmla="*/ 10 h 720"/>
                <a:gd name="T26" fmla="*/ 0 w 150"/>
                <a:gd name="T27" fmla="*/ 12 h 720"/>
                <a:gd name="T28" fmla="*/ 0 w 150"/>
                <a:gd name="T29" fmla="*/ 15 h 720"/>
                <a:gd name="T30" fmla="*/ 0 w 150"/>
                <a:gd name="T31" fmla="*/ 705 h 720"/>
                <a:gd name="T32" fmla="*/ 0 w 150"/>
                <a:gd name="T33" fmla="*/ 707 h 720"/>
                <a:gd name="T34" fmla="*/ 1 w 150"/>
                <a:gd name="T35" fmla="*/ 710 h 720"/>
                <a:gd name="T36" fmla="*/ 2 w 150"/>
                <a:gd name="T37" fmla="*/ 712 h 720"/>
                <a:gd name="T38" fmla="*/ 4 w 150"/>
                <a:gd name="T39" fmla="*/ 715 h 720"/>
                <a:gd name="T40" fmla="*/ 7 w 150"/>
                <a:gd name="T41" fmla="*/ 717 h 720"/>
                <a:gd name="T42" fmla="*/ 9 w 150"/>
                <a:gd name="T43" fmla="*/ 719 h 720"/>
                <a:gd name="T44" fmla="*/ 12 w 150"/>
                <a:gd name="T45" fmla="*/ 719 h 720"/>
                <a:gd name="T46" fmla="*/ 15 w 150"/>
                <a:gd name="T47" fmla="*/ 720 h 720"/>
                <a:gd name="T48" fmla="*/ 135 w 150"/>
                <a:gd name="T49" fmla="*/ 720 h 720"/>
                <a:gd name="T50" fmla="*/ 138 w 150"/>
                <a:gd name="T51" fmla="*/ 719 h 720"/>
                <a:gd name="T52" fmla="*/ 140 w 150"/>
                <a:gd name="T53" fmla="*/ 718 h 720"/>
                <a:gd name="T54" fmla="*/ 144 w 150"/>
                <a:gd name="T55" fmla="*/ 717 h 720"/>
                <a:gd name="T56" fmla="*/ 146 w 150"/>
                <a:gd name="T57" fmla="*/ 715 h 720"/>
                <a:gd name="T58" fmla="*/ 148 w 150"/>
                <a:gd name="T59" fmla="*/ 712 h 720"/>
                <a:gd name="T60" fmla="*/ 149 w 150"/>
                <a:gd name="T61" fmla="*/ 710 h 720"/>
                <a:gd name="T62" fmla="*/ 150 w 150"/>
                <a:gd name="T63" fmla="*/ 707 h 720"/>
                <a:gd name="T64" fmla="*/ 150 w 150"/>
                <a:gd name="T65" fmla="*/ 705 h 720"/>
                <a:gd name="T66" fmla="*/ 150 w 150"/>
                <a:gd name="T67" fmla="*/ 15 h 720"/>
                <a:gd name="T68" fmla="*/ 150 w 150"/>
                <a:gd name="T69" fmla="*/ 12 h 720"/>
                <a:gd name="T70" fmla="*/ 149 w 150"/>
                <a:gd name="T71" fmla="*/ 10 h 720"/>
                <a:gd name="T72" fmla="*/ 148 w 150"/>
                <a:gd name="T73" fmla="*/ 6 h 720"/>
                <a:gd name="T74" fmla="*/ 146 w 150"/>
                <a:gd name="T75" fmla="*/ 4 h 720"/>
                <a:gd name="T76" fmla="*/ 144 w 150"/>
                <a:gd name="T77" fmla="*/ 3 h 720"/>
                <a:gd name="T78" fmla="*/ 140 w 150"/>
                <a:gd name="T79" fmla="*/ 1 h 720"/>
                <a:gd name="T80" fmla="*/ 138 w 150"/>
                <a:gd name="T81" fmla="*/ 0 h 720"/>
                <a:gd name="T82" fmla="*/ 135 w 150"/>
                <a:gd name="T83" fmla="*/ 0 h 720"/>
                <a:gd name="T84" fmla="*/ 135 w 150"/>
                <a:gd name="T85" fmla="*/ 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720">
                  <a:moveTo>
                    <a:pt x="120" y="690"/>
                  </a:moveTo>
                  <a:lnTo>
                    <a:pt x="30" y="690"/>
                  </a:lnTo>
                  <a:lnTo>
                    <a:pt x="30" y="30"/>
                  </a:lnTo>
                  <a:lnTo>
                    <a:pt x="120" y="30"/>
                  </a:lnTo>
                  <a:lnTo>
                    <a:pt x="120" y="690"/>
                  </a:lnTo>
                  <a:close/>
                  <a:moveTo>
                    <a:pt x="135" y="0"/>
                  </a:moveTo>
                  <a:lnTo>
                    <a:pt x="15" y="0"/>
                  </a:lnTo>
                  <a:lnTo>
                    <a:pt x="12" y="0"/>
                  </a:lnTo>
                  <a:lnTo>
                    <a:pt x="9" y="1"/>
                  </a:lnTo>
                  <a:lnTo>
                    <a:pt x="7" y="3"/>
                  </a:lnTo>
                  <a:lnTo>
                    <a:pt x="4" y="4"/>
                  </a:lnTo>
                  <a:lnTo>
                    <a:pt x="2" y="6"/>
                  </a:lnTo>
                  <a:lnTo>
                    <a:pt x="1" y="10"/>
                  </a:lnTo>
                  <a:lnTo>
                    <a:pt x="0" y="12"/>
                  </a:lnTo>
                  <a:lnTo>
                    <a:pt x="0" y="15"/>
                  </a:lnTo>
                  <a:lnTo>
                    <a:pt x="0" y="705"/>
                  </a:lnTo>
                  <a:lnTo>
                    <a:pt x="0" y="707"/>
                  </a:lnTo>
                  <a:lnTo>
                    <a:pt x="1" y="710"/>
                  </a:lnTo>
                  <a:lnTo>
                    <a:pt x="2" y="712"/>
                  </a:lnTo>
                  <a:lnTo>
                    <a:pt x="4" y="715"/>
                  </a:lnTo>
                  <a:lnTo>
                    <a:pt x="7" y="717"/>
                  </a:lnTo>
                  <a:lnTo>
                    <a:pt x="9" y="719"/>
                  </a:lnTo>
                  <a:lnTo>
                    <a:pt x="12" y="719"/>
                  </a:lnTo>
                  <a:lnTo>
                    <a:pt x="15" y="720"/>
                  </a:lnTo>
                  <a:lnTo>
                    <a:pt x="135" y="720"/>
                  </a:lnTo>
                  <a:lnTo>
                    <a:pt x="138" y="719"/>
                  </a:lnTo>
                  <a:lnTo>
                    <a:pt x="140" y="718"/>
                  </a:lnTo>
                  <a:lnTo>
                    <a:pt x="144" y="717"/>
                  </a:lnTo>
                  <a:lnTo>
                    <a:pt x="146" y="715"/>
                  </a:lnTo>
                  <a:lnTo>
                    <a:pt x="148" y="712"/>
                  </a:lnTo>
                  <a:lnTo>
                    <a:pt x="149" y="710"/>
                  </a:lnTo>
                  <a:lnTo>
                    <a:pt x="150" y="707"/>
                  </a:lnTo>
                  <a:lnTo>
                    <a:pt x="150" y="705"/>
                  </a:lnTo>
                  <a:lnTo>
                    <a:pt x="150" y="15"/>
                  </a:lnTo>
                  <a:lnTo>
                    <a:pt x="150" y="12"/>
                  </a:lnTo>
                  <a:lnTo>
                    <a:pt x="149" y="10"/>
                  </a:lnTo>
                  <a:lnTo>
                    <a:pt x="148" y="6"/>
                  </a:lnTo>
                  <a:lnTo>
                    <a:pt x="146" y="4"/>
                  </a:lnTo>
                  <a:lnTo>
                    <a:pt x="144" y="3"/>
                  </a:lnTo>
                  <a:lnTo>
                    <a:pt x="140" y="1"/>
                  </a:lnTo>
                  <a:lnTo>
                    <a:pt x="138" y="0"/>
                  </a:lnTo>
                  <a:lnTo>
                    <a:pt x="135" y="0"/>
                  </a:lnTo>
                  <a:lnTo>
                    <a:pt x="135" y="0"/>
                  </a:lnTo>
                  <a:close/>
                </a:path>
              </a:pathLst>
            </a:custGeom>
            <a:solidFill>
              <a:srgbClr val="332F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39" name="Freeform 168"/>
          <p:cNvSpPr>
            <a:spLocks noEditPoints="1"/>
          </p:cNvSpPr>
          <p:nvPr/>
        </p:nvSpPr>
        <p:spPr bwMode="auto">
          <a:xfrm>
            <a:off x="4475532" y="2643707"/>
            <a:ext cx="460204" cy="460204"/>
          </a:xfrm>
          <a:custGeom>
            <a:avLst/>
            <a:gdLst>
              <a:gd name="T0" fmla="*/ 862 w 898"/>
              <a:gd name="T1" fmla="*/ 437 h 899"/>
              <a:gd name="T2" fmla="*/ 864 w 898"/>
              <a:gd name="T3" fmla="*/ 488 h 899"/>
              <a:gd name="T4" fmla="*/ 778 w 898"/>
              <a:gd name="T5" fmla="*/ 582 h 899"/>
              <a:gd name="T6" fmla="*/ 755 w 898"/>
              <a:gd name="T7" fmla="*/ 624 h 899"/>
              <a:gd name="T8" fmla="*/ 737 w 898"/>
              <a:gd name="T9" fmla="*/ 302 h 899"/>
              <a:gd name="T10" fmla="*/ 774 w 898"/>
              <a:gd name="T11" fmla="*/ 333 h 899"/>
              <a:gd name="T12" fmla="*/ 463 w 898"/>
              <a:gd name="T13" fmla="*/ 862 h 899"/>
              <a:gd name="T14" fmla="*/ 457 w 898"/>
              <a:gd name="T15" fmla="*/ 798 h 899"/>
              <a:gd name="T16" fmla="*/ 522 w 898"/>
              <a:gd name="T17" fmla="*/ 804 h 899"/>
              <a:gd name="T18" fmla="*/ 502 w 898"/>
              <a:gd name="T19" fmla="*/ 866 h 899"/>
              <a:gd name="T20" fmla="*/ 134 w 898"/>
              <a:gd name="T21" fmla="*/ 619 h 899"/>
              <a:gd name="T22" fmla="*/ 119 w 898"/>
              <a:gd name="T23" fmla="*/ 350 h 899"/>
              <a:gd name="T24" fmla="*/ 145 w 898"/>
              <a:gd name="T25" fmla="*/ 309 h 899"/>
              <a:gd name="T26" fmla="*/ 29 w 898"/>
              <a:gd name="T27" fmla="*/ 464 h 899"/>
              <a:gd name="T28" fmla="*/ 53 w 898"/>
              <a:gd name="T29" fmla="*/ 417 h 899"/>
              <a:gd name="T30" fmla="*/ 41 w 898"/>
              <a:gd name="T31" fmla="*/ 500 h 899"/>
              <a:gd name="T32" fmla="*/ 898 w 898"/>
              <a:gd name="T33" fmla="*/ 455 h 899"/>
              <a:gd name="T34" fmla="*/ 861 w 898"/>
              <a:gd name="T35" fmla="*/ 392 h 899"/>
              <a:gd name="T36" fmla="*/ 807 w 898"/>
              <a:gd name="T37" fmla="*/ 339 h 899"/>
              <a:gd name="T38" fmla="*/ 766 w 898"/>
              <a:gd name="T39" fmla="*/ 282 h 899"/>
              <a:gd name="T40" fmla="*/ 719 w 898"/>
              <a:gd name="T41" fmla="*/ 216 h 899"/>
              <a:gd name="T42" fmla="*/ 667 w 898"/>
              <a:gd name="T43" fmla="*/ 108 h 899"/>
              <a:gd name="T44" fmla="*/ 578 w 898"/>
              <a:gd name="T45" fmla="*/ 33 h 899"/>
              <a:gd name="T46" fmla="*/ 463 w 898"/>
              <a:gd name="T47" fmla="*/ 1 h 899"/>
              <a:gd name="T48" fmla="*/ 342 w 898"/>
              <a:gd name="T49" fmla="*/ 21 h 899"/>
              <a:gd name="T50" fmla="*/ 244 w 898"/>
              <a:gd name="T51" fmla="*/ 90 h 899"/>
              <a:gd name="T52" fmla="*/ 181 w 898"/>
              <a:gd name="T53" fmla="*/ 191 h 899"/>
              <a:gd name="T54" fmla="*/ 142 w 898"/>
              <a:gd name="T55" fmla="*/ 277 h 899"/>
              <a:gd name="T56" fmla="*/ 95 w 898"/>
              <a:gd name="T57" fmla="*/ 325 h 899"/>
              <a:gd name="T58" fmla="*/ 52 w 898"/>
              <a:gd name="T59" fmla="*/ 385 h 899"/>
              <a:gd name="T60" fmla="*/ 3 w 898"/>
              <a:gd name="T61" fmla="*/ 438 h 899"/>
              <a:gd name="T62" fmla="*/ 13 w 898"/>
              <a:gd name="T63" fmla="*/ 513 h 899"/>
              <a:gd name="T64" fmla="*/ 79 w 898"/>
              <a:gd name="T65" fmla="*/ 553 h 899"/>
              <a:gd name="T66" fmla="*/ 106 w 898"/>
              <a:gd name="T67" fmla="*/ 635 h 899"/>
              <a:gd name="T68" fmla="*/ 179 w 898"/>
              <a:gd name="T69" fmla="*/ 660 h 899"/>
              <a:gd name="T70" fmla="*/ 269 w 898"/>
              <a:gd name="T71" fmla="*/ 645 h 899"/>
              <a:gd name="T72" fmla="*/ 254 w 898"/>
              <a:gd name="T73" fmla="*/ 269 h 899"/>
              <a:gd name="T74" fmla="*/ 219 w 898"/>
              <a:gd name="T75" fmla="*/ 177 h 899"/>
              <a:gd name="T76" fmla="*/ 323 w 898"/>
              <a:gd name="T77" fmla="*/ 65 h 899"/>
              <a:gd name="T78" fmla="*/ 424 w 898"/>
              <a:gd name="T79" fmla="*/ 31 h 899"/>
              <a:gd name="T80" fmla="*/ 530 w 898"/>
              <a:gd name="T81" fmla="*/ 45 h 899"/>
              <a:gd name="T82" fmla="*/ 650 w 898"/>
              <a:gd name="T83" fmla="*/ 136 h 899"/>
              <a:gd name="T84" fmla="*/ 696 w 898"/>
              <a:gd name="T85" fmla="*/ 258 h 899"/>
              <a:gd name="T86" fmla="*/ 629 w 898"/>
              <a:gd name="T87" fmla="*/ 282 h 899"/>
              <a:gd name="T88" fmla="*/ 640 w 898"/>
              <a:gd name="T89" fmla="*/ 659 h 899"/>
              <a:gd name="T90" fmla="*/ 727 w 898"/>
              <a:gd name="T91" fmla="*/ 741 h 899"/>
              <a:gd name="T92" fmla="*/ 653 w 898"/>
              <a:gd name="T93" fmla="*/ 807 h 899"/>
              <a:gd name="T94" fmla="*/ 522 w 898"/>
              <a:gd name="T95" fmla="*/ 766 h 899"/>
              <a:gd name="T96" fmla="*/ 458 w 898"/>
              <a:gd name="T97" fmla="*/ 761 h 899"/>
              <a:gd name="T98" fmla="*/ 418 w 898"/>
              <a:gd name="T99" fmla="*/ 806 h 899"/>
              <a:gd name="T100" fmla="*/ 427 w 898"/>
              <a:gd name="T101" fmla="*/ 867 h 899"/>
              <a:gd name="T102" fmla="*/ 479 w 898"/>
              <a:gd name="T103" fmla="*/ 898 h 899"/>
              <a:gd name="T104" fmla="*/ 547 w 898"/>
              <a:gd name="T105" fmla="*/ 865 h 899"/>
              <a:gd name="T106" fmla="*/ 701 w 898"/>
              <a:gd name="T107" fmla="*/ 817 h 899"/>
              <a:gd name="T108" fmla="*/ 765 w 898"/>
              <a:gd name="T109" fmla="*/ 710 h 899"/>
              <a:gd name="T110" fmla="*/ 807 w 898"/>
              <a:gd name="T111" fmla="*/ 594 h 899"/>
              <a:gd name="T112" fmla="*/ 868 w 898"/>
              <a:gd name="T113" fmla="*/ 531 h 899"/>
              <a:gd name="T114" fmla="*/ 898 w 898"/>
              <a:gd name="T115" fmla="*/ 464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8" h="899">
                <a:moveTo>
                  <a:pt x="808" y="524"/>
                </a:moveTo>
                <a:lnTo>
                  <a:pt x="808" y="405"/>
                </a:lnTo>
                <a:lnTo>
                  <a:pt x="822" y="408"/>
                </a:lnTo>
                <a:lnTo>
                  <a:pt x="834" y="412"/>
                </a:lnTo>
                <a:lnTo>
                  <a:pt x="844" y="417"/>
                </a:lnTo>
                <a:lnTo>
                  <a:pt x="852" y="424"/>
                </a:lnTo>
                <a:lnTo>
                  <a:pt x="856" y="428"/>
                </a:lnTo>
                <a:lnTo>
                  <a:pt x="860" y="432"/>
                </a:lnTo>
                <a:lnTo>
                  <a:pt x="862" y="437"/>
                </a:lnTo>
                <a:lnTo>
                  <a:pt x="864" y="442"/>
                </a:lnTo>
                <a:lnTo>
                  <a:pt x="866" y="447"/>
                </a:lnTo>
                <a:lnTo>
                  <a:pt x="867" y="452"/>
                </a:lnTo>
                <a:lnTo>
                  <a:pt x="868" y="459"/>
                </a:lnTo>
                <a:lnTo>
                  <a:pt x="868" y="465"/>
                </a:lnTo>
                <a:lnTo>
                  <a:pt x="868" y="470"/>
                </a:lnTo>
                <a:lnTo>
                  <a:pt x="867" y="477"/>
                </a:lnTo>
                <a:lnTo>
                  <a:pt x="866" y="482"/>
                </a:lnTo>
                <a:lnTo>
                  <a:pt x="864" y="488"/>
                </a:lnTo>
                <a:lnTo>
                  <a:pt x="862" y="492"/>
                </a:lnTo>
                <a:lnTo>
                  <a:pt x="860" y="497"/>
                </a:lnTo>
                <a:lnTo>
                  <a:pt x="856" y="500"/>
                </a:lnTo>
                <a:lnTo>
                  <a:pt x="852" y="505"/>
                </a:lnTo>
                <a:lnTo>
                  <a:pt x="844" y="512"/>
                </a:lnTo>
                <a:lnTo>
                  <a:pt x="834" y="517"/>
                </a:lnTo>
                <a:lnTo>
                  <a:pt x="822" y="521"/>
                </a:lnTo>
                <a:lnTo>
                  <a:pt x="808" y="524"/>
                </a:lnTo>
                <a:close/>
                <a:moveTo>
                  <a:pt x="778" y="582"/>
                </a:moveTo>
                <a:lnTo>
                  <a:pt x="778" y="592"/>
                </a:lnTo>
                <a:lnTo>
                  <a:pt x="776" y="602"/>
                </a:lnTo>
                <a:lnTo>
                  <a:pt x="774" y="606"/>
                </a:lnTo>
                <a:lnTo>
                  <a:pt x="773" y="609"/>
                </a:lnTo>
                <a:lnTo>
                  <a:pt x="770" y="614"/>
                </a:lnTo>
                <a:lnTo>
                  <a:pt x="768" y="617"/>
                </a:lnTo>
                <a:lnTo>
                  <a:pt x="763" y="619"/>
                </a:lnTo>
                <a:lnTo>
                  <a:pt x="759" y="622"/>
                </a:lnTo>
                <a:lnTo>
                  <a:pt x="755" y="624"/>
                </a:lnTo>
                <a:lnTo>
                  <a:pt x="748" y="626"/>
                </a:lnTo>
                <a:lnTo>
                  <a:pt x="735" y="629"/>
                </a:lnTo>
                <a:lnTo>
                  <a:pt x="718" y="630"/>
                </a:lnTo>
                <a:lnTo>
                  <a:pt x="658" y="630"/>
                </a:lnTo>
                <a:lnTo>
                  <a:pt x="658" y="299"/>
                </a:lnTo>
                <a:lnTo>
                  <a:pt x="718" y="299"/>
                </a:lnTo>
                <a:lnTo>
                  <a:pt x="725" y="300"/>
                </a:lnTo>
                <a:lnTo>
                  <a:pt x="731" y="300"/>
                </a:lnTo>
                <a:lnTo>
                  <a:pt x="737" y="302"/>
                </a:lnTo>
                <a:lnTo>
                  <a:pt x="742" y="304"/>
                </a:lnTo>
                <a:lnTo>
                  <a:pt x="747" y="306"/>
                </a:lnTo>
                <a:lnTo>
                  <a:pt x="753" y="309"/>
                </a:lnTo>
                <a:lnTo>
                  <a:pt x="757" y="312"/>
                </a:lnTo>
                <a:lnTo>
                  <a:pt x="761" y="315"/>
                </a:lnTo>
                <a:lnTo>
                  <a:pt x="765" y="320"/>
                </a:lnTo>
                <a:lnTo>
                  <a:pt x="769" y="324"/>
                </a:lnTo>
                <a:lnTo>
                  <a:pt x="772" y="328"/>
                </a:lnTo>
                <a:lnTo>
                  <a:pt x="774" y="333"/>
                </a:lnTo>
                <a:lnTo>
                  <a:pt x="776" y="338"/>
                </a:lnTo>
                <a:lnTo>
                  <a:pt x="777" y="343"/>
                </a:lnTo>
                <a:lnTo>
                  <a:pt x="778" y="350"/>
                </a:lnTo>
                <a:lnTo>
                  <a:pt x="778" y="355"/>
                </a:lnTo>
                <a:lnTo>
                  <a:pt x="778" y="582"/>
                </a:lnTo>
                <a:close/>
                <a:moveTo>
                  <a:pt x="486" y="869"/>
                </a:moveTo>
                <a:lnTo>
                  <a:pt x="478" y="868"/>
                </a:lnTo>
                <a:lnTo>
                  <a:pt x="470" y="866"/>
                </a:lnTo>
                <a:lnTo>
                  <a:pt x="463" y="862"/>
                </a:lnTo>
                <a:lnTo>
                  <a:pt x="457" y="857"/>
                </a:lnTo>
                <a:lnTo>
                  <a:pt x="452" y="851"/>
                </a:lnTo>
                <a:lnTo>
                  <a:pt x="448" y="844"/>
                </a:lnTo>
                <a:lnTo>
                  <a:pt x="446" y="836"/>
                </a:lnTo>
                <a:lnTo>
                  <a:pt x="445" y="828"/>
                </a:lnTo>
                <a:lnTo>
                  <a:pt x="446" y="819"/>
                </a:lnTo>
                <a:lnTo>
                  <a:pt x="448" y="812"/>
                </a:lnTo>
                <a:lnTo>
                  <a:pt x="452" y="804"/>
                </a:lnTo>
                <a:lnTo>
                  <a:pt x="457" y="798"/>
                </a:lnTo>
                <a:lnTo>
                  <a:pt x="463" y="792"/>
                </a:lnTo>
                <a:lnTo>
                  <a:pt x="470" y="789"/>
                </a:lnTo>
                <a:lnTo>
                  <a:pt x="478" y="787"/>
                </a:lnTo>
                <a:lnTo>
                  <a:pt x="486" y="786"/>
                </a:lnTo>
                <a:lnTo>
                  <a:pt x="495" y="787"/>
                </a:lnTo>
                <a:lnTo>
                  <a:pt x="502" y="789"/>
                </a:lnTo>
                <a:lnTo>
                  <a:pt x="510" y="792"/>
                </a:lnTo>
                <a:lnTo>
                  <a:pt x="516" y="798"/>
                </a:lnTo>
                <a:lnTo>
                  <a:pt x="522" y="804"/>
                </a:lnTo>
                <a:lnTo>
                  <a:pt x="525" y="812"/>
                </a:lnTo>
                <a:lnTo>
                  <a:pt x="527" y="819"/>
                </a:lnTo>
                <a:lnTo>
                  <a:pt x="528" y="828"/>
                </a:lnTo>
                <a:lnTo>
                  <a:pt x="527" y="836"/>
                </a:lnTo>
                <a:lnTo>
                  <a:pt x="525" y="844"/>
                </a:lnTo>
                <a:lnTo>
                  <a:pt x="522" y="851"/>
                </a:lnTo>
                <a:lnTo>
                  <a:pt x="516" y="857"/>
                </a:lnTo>
                <a:lnTo>
                  <a:pt x="510" y="862"/>
                </a:lnTo>
                <a:lnTo>
                  <a:pt x="502" y="866"/>
                </a:lnTo>
                <a:lnTo>
                  <a:pt x="495" y="868"/>
                </a:lnTo>
                <a:lnTo>
                  <a:pt x="486" y="869"/>
                </a:lnTo>
                <a:close/>
                <a:moveTo>
                  <a:pt x="239" y="630"/>
                </a:moveTo>
                <a:lnTo>
                  <a:pt x="179" y="630"/>
                </a:lnTo>
                <a:lnTo>
                  <a:pt x="162" y="629"/>
                </a:lnTo>
                <a:lnTo>
                  <a:pt x="148" y="626"/>
                </a:lnTo>
                <a:lnTo>
                  <a:pt x="143" y="624"/>
                </a:lnTo>
                <a:lnTo>
                  <a:pt x="138" y="622"/>
                </a:lnTo>
                <a:lnTo>
                  <a:pt x="134" y="619"/>
                </a:lnTo>
                <a:lnTo>
                  <a:pt x="130" y="617"/>
                </a:lnTo>
                <a:lnTo>
                  <a:pt x="127" y="614"/>
                </a:lnTo>
                <a:lnTo>
                  <a:pt x="125" y="609"/>
                </a:lnTo>
                <a:lnTo>
                  <a:pt x="123" y="606"/>
                </a:lnTo>
                <a:lnTo>
                  <a:pt x="121" y="602"/>
                </a:lnTo>
                <a:lnTo>
                  <a:pt x="119" y="592"/>
                </a:lnTo>
                <a:lnTo>
                  <a:pt x="119" y="582"/>
                </a:lnTo>
                <a:lnTo>
                  <a:pt x="119" y="355"/>
                </a:lnTo>
                <a:lnTo>
                  <a:pt x="119" y="350"/>
                </a:lnTo>
                <a:lnTo>
                  <a:pt x="120" y="343"/>
                </a:lnTo>
                <a:lnTo>
                  <a:pt x="121" y="338"/>
                </a:lnTo>
                <a:lnTo>
                  <a:pt x="124" y="333"/>
                </a:lnTo>
                <a:lnTo>
                  <a:pt x="126" y="328"/>
                </a:lnTo>
                <a:lnTo>
                  <a:pt x="129" y="324"/>
                </a:lnTo>
                <a:lnTo>
                  <a:pt x="132" y="320"/>
                </a:lnTo>
                <a:lnTo>
                  <a:pt x="136" y="315"/>
                </a:lnTo>
                <a:lnTo>
                  <a:pt x="141" y="312"/>
                </a:lnTo>
                <a:lnTo>
                  <a:pt x="145" y="309"/>
                </a:lnTo>
                <a:lnTo>
                  <a:pt x="150" y="306"/>
                </a:lnTo>
                <a:lnTo>
                  <a:pt x="155" y="304"/>
                </a:lnTo>
                <a:lnTo>
                  <a:pt x="161" y="302"/>
                </a:lnTo>
                <a:lnTo>
                  <a:pt x="166" y="300"/>
                </a:lnTo>
                <a:lnTo>
                  <a:pt x="173" y="300"/>
                </a:lnTo>
                <a:lnTo>
                  <a:pt x="179" y="299"/>
                </a:lnTo>
                <a:lnTo>
                  <a:pt x="239" y="299"/>
                </a:lnTo>
                <a:lnTo>
                  <a:pt x="239" y="630"/>
                </a:lnTo>
                <a:close/>
                <a:moveTo>
                  <a:pt x="29" y="464"/>
                </a:moveTo>
                <a:lnTo>
                  <a:pt x="29" y="459"/>
                </a:lnTo>
                <a:lnTo>
                  <a:pt x="31" y="452"/>
                </a:lnTo>
                <a:lnTo>
                  <a:pt x="32" y="447"/>
                </a:lnTo>
                <a:lnTo>
                  <a:pt x="33" y="442"/>
                </a:lnTo>
                <a:lnTo>
                  <a:pt x="36" y="437"/>
                </a:lnTo>
                <a:lnTo>
                  <a:pt x="38" y="432"/>
                </a:lnTo>
                <a:lnTo>
                  <a:pt x="41" y="428"/>
                </a:lnTo>
                <a:lnTo>
                  <a:pt x="44" y="424"/>
                </a:lnTo>
                <a:lnTo>
                  <a:pt x="53" y="417"/>
                </a:lnTo>
                <a:lnTo>
                  <a:pt x="64" y="412"/>
                </a:lnTo>
                <a:lnTo>
                  <a:pt x="75" y="408"/>
                </a:lnTo>
                <a:lnTo>
                  <a:pt x="89" y="405"/>
                </a:lnTo>
                <a:lnTo>
                  <a:pt x="89" y="524"/>
                </a:lnTo>
                <a:lnTo>
                  <a:pt x="75" y="521"/>
                </a:lnTo>
                <a:lnTo>
                  <a:pt x="64" y="517"/>
                </a:lnTo>
                <a:lnTo>
                  <a:pt x="53" y="512"/>
                </a:lnTo>
                <a:lnTo>
                  <a:pt x="44" y="505"/>
                </a:lnTo>
                <a:lnTo>
                  <a:pt x="41" y="500"/>
                </a:lnTo>
                <a:lnTo>
                  <a:pt x="38" y="497"/>
                </a:lnTo>
                <a:lnTo>
                  <a:pt x="36" y="492"/>
                </a:lnTo>
                <a:lnTo>
                  <a:pt x="33" y="488"/>
                </a:lnTo>
                <a:lnTo>
                  <a:pt x="32" y="482"/>
                </a:lnTo>
                <a:lnTo>
                  <a:pt x="31" y="477"/>
                </a:lnTo>
                <a:lnTo>
                  <a:pt x="29" y="470"/>
                </a:lnTo>
                <a:lnTo>
                  <a:pt x="29" y="464"/>
                </a:lnTo>
                <a:close/>
                <a:moveTo>
                  <a:pt x="898" y="464"/>
                </a:moveTo>
                <a:lnTo>
                  <a:pt x="898" y="455"/>
                </a:lnTo>
                <a:lnTo>
                  <a:pt x="897" y="447"/>
                </a:lnTo>
                <a:lnTo>
                  <a:pt x="895" y="438"/>
                </a:lnTo>
                <a:lnTo>
                  <a:pt x="892" y="430"/>
                </a:lnTo>
                <a:lnTo>
                  <a:pt x="888" y="422"/>
                </a:lnTo>
                <a:lnTo>
                  <a:pt x="884" y="416"/>
                </a:lnTo>
                <a:lnTo>
                  <a:pt x="880" y="409"/>
                </a:lnTo>
                <a:lnTo>
                  <a:pt x="873" y="403"/>
                </a:lnTo>
                <a:lnTo>
                  <a:pt x="868" y="398"/>
                </a:lnTo>
                <a:lnTo>
                  <a:pt x="861" y="392"/>
                </a:lnTo>
                <a:lnTo>
                  <a:pt x="853" y="388"/>
                </a:lnTo>
                <a:lnTo>
                  <a:pt x="846" y="385"/>
                </a:lnTo>
                <a:lnTo>
                  <a:pt x="837" y="382"/>
                </a:lnTo>
                <a:lnTo>
                  <a:pt x="829" y="378"/>
                </a:lnTo>
                <a:lnTo>
                  <a:pt x="819" y="376"/>
                </a:lnTo>
                <a:lnTo>
                  <a:pt x="808" y="375"/>
                </a:lnTo>
                <a:lnTo>
                  <a:pt x="808" y="355"/>
                </a:lnTo>
                <a:lnTo>
                  <a:pt x="808" y="346"/>
                </a:lnTo>
                <a:lnTo>
                  <a:pt x="807" y="339"/>
                </a:lnTo>
                <a:lnTo>
                  <a:pt x="805" y="330"/>
                </a:lnTo>
                <a:lnTo>
                  <a:pt x="802" y="323"/>
                </a:lnTo>
                <a:lnTo>
                  <a:pt x="799" y="316"/>
                </a:lnTo>
                <a:lnTo>
                  <a:pt x="795" y="310"/>
                </a:lnTo>
                <a:lnTo>
                  <a:pt x="790" y="304"/>
                </a:lnTo>
                <a:lnTo>
                  <a:pt x="785" y="297"/>
                </a:lnTo>
                <a:lnTo>
                  <a:pt x="779" y="292"/>
                </a:lnTo>
                <a:lnTo>
                  <a:pt x="773" y="287"/>
                </a:lnTo>
                <a:lnTo>
                  <a:pt x="766" y="282"/>
                </a:lnTo>
                <a:lnTo>
                  <a:pt x="759" y="279"/>
                </a:lnTo>
                <a:lnTo>
                  <a:pt x="752" y="276"/>
                </a:lnTo>
                <a:lnTo>
                  <a:pt x="744" y="274"/>
                </a:lnTo>
                <a:lnTo>
                  <a:pt x="735" y="271"/>
                </a:lnTo>
                <a:lnTo>
                  <a:pt x="728" y="270"/>
                </a:lnTo>
                <a:lnTo>
                  <a:pt x="727" y="256"/>
                </a:lnTo>
                <a:lnTo>
                  <a:pt x="725" y="243"/>
                </a:lnTo>
                <a:lnTo>
                  <a:pt x="723" y="229"/>
                </a:lnTo>
                <a:lnTo>
                  <a:pt x="719" y="216"/>
                </a:lnTo>
                <a:lnTo>
                  <a:pt x="716" y="202"/>
                </a:lnTo>
                <a:lnTo>
                  <a:pt x="712" y="189"/>
                </a:lnTo>
                <a:lnTo>
                  <a:pt x="707" y="177"/>
                </a:lnTo>
                <a:lnTo>
                  <a:pt x="701" y="164"/>
                </a:lnTo>
                <a:lnTo>
                  <a:pt x="696" y="153"/>
                </a:lnTo>
                <a:lnTo>
                  <a:pt x="689" y="141"/>
                </a:lnTo>
                <a:lnTo>
                  <a:pt x="683" y="129"/>
                </a:lnTo>
                <a:lnTo>
                  <a:pt x="676" y="118"/>
                </a:lnTo>
                <a:lnTo>
                  <a:pt x="667" y="108"/>
                </a:lnTo>
                <a:lnTo>
                  <a:pt x="660" y="98"/>
                </a:lnTo>
                <a:lnTo>
                  <a:pt x="650" y="89"/>
                </a:lnTo>
                <a:lnTo>
                  <a:pt x="641" y="79"/>
                </a:lnTo>
                <a:lnTo>
                  <a:pt x="632" y="69"/>
                </a:lnTo>
                <a:lnTo>
                  <a:pt x="622" y="62"/>
                </a:lnTo>
                <a:lnTo>
                  <a:pt x="611" y="53"/>
                </a:lnTo>
                <a:lnTo>
                  <a:pt x="601" y="46"/>
                </a:lnTo>
                <a:lnTo>
                  <a:pt x="589" y="39"/>
                </a:lnTo>
                <a:lnTo>
                  <a:pt x="578" y="33"/>
                </a:lnTo>
                <a:lnTo>
                  <a:pt x="566" y="26"/>
                </a:lnTo>
                <a:lnTo>
                  <a:pt x="555" y="21"/>
                </a:lnTo>
                <a:lnTo>
                  <a:pt x="542" y="16"/>
                </a:lnTo>
                <a:lnTo>
                  <a:pt x="529" y="11"/>
                </a:lnTo>
                <a:lnTo>
                  <a:pt x="516" y="8"/>
                </a:lnTo>
                <a:lnTo>
                  <a:pt x="503" y="5"/>
                </a:lnTo>
                <a:lnTo>
                  <a:pt x="489" y="3"/>
                </a:lnTo>
                <a:lnTo>
                  <a:pt x="477" y="2"/>
                </a:lnTo>
                <a:lnTo>
                  <a:pt x="463" y="1"/>
                </a:lnTo>
                <a:lnTo>
                  <a:pt x="449" y="0"/>
                </a:lnTo>
                <a:lnTo>
                  <a:pt x="435" y="1"/>
                </a:lnTo>
                <a:lnTo>
                  <a:pt x="421" y="2"/>
                </a:lnTo>
                <a:lnTo>
                  <a:pt x="407" y="3"/>
                </a:lnTo>
                <a:lnTo>
                  <a:pt x="394" y="5"/>
                </a:lnTo>
                <a:lnTo>
                  <a:pt x="380" y="8"/>
                </a:lnTo>
                <a:lnTo>
                  <a:pt x="367" y="13"/>
                </a:lnTo>
                <a:lnTo>
                  <a:pt x="355" y="17"/>
                </a:lnTo>
                <a:lnTo>
                  <a:pt x="342" y="21"/>
                </a:lnTo>
                <a:lnTo>
                  <a:pt x="330" y="26"/>
                </a:lnTo>
                <a:lnTo>
                  <a:pt x="318" y="33"/>
                </a:lnTo>
                <a:lnTo>
                  <a:pt x="307" y="39"/>
                </a:lnTo>
                <a:lnTo>
                  <a:pt x="295" y="47"/>
                </a:lnTo>
                <a:lnTo>
                  <a:pt x="284" y="54"/>
                </a:lnTo>
                <a:lnTo>
                  <a:pt x="273" y="62"/>
                </a:lnTo>
                <a:lnTo>
                  <a:pt x="264" y="70"/>
                </a:lnTo>
                <a:lnTo>
                  <a:pt x="253" y="80"/>
                </a:lnTo>
                <a:lnTo>
                  <a:pt x="244" y="90"/>
                </a:lnTo>
                <a:lnTo>
                  <a:pt x="235" y="99"/>
                </a:lnTo>
                <a:lnTo>
                  <a:pt x="226" y="110"/>
                </a:lnTo>
                <a:lnTo>
                  <a:pt x="219" y="120"/>
                </a:lnTo>
                <a:lnTo>
                  <a:pt x="211" y="131"/>
                </a:lnTo>
                <a:lnTo>
                  <a:pt x="204" y="142"/>
                </a:lnTo>
                <a:lnTo>
                  <a:pt x="197" y="154"/>
                </a:lnTo>
                <a:lnTo>
                  <a:pt x="191" y="166"/>
                </a:lnTo>
                <a:lnTo>
                  <a:pt x="186" y="178"/>
                </a:lnTo>
                <a:lnTo>
                  <a:pt x="181" y="191"/>
                </a:lnTo>
                <a:lnTo>
                  <a:pt x="177" y="204"/>
                </a:lnTo>
                <a:lnTo>
                  <a:pt x="173" y="217"/>
                </a:lnTo>
                <a:lnTo>
                  <a:pt x="170" y="230"/>
                </a:lnTo>
                <a:lnTo>
                  <a:pt x="167" y="244"/>
                </a:lnTo>
                <a:lnTo>
                  <a:pt x="165" y="256"/>
                </a:lnTo>
                <a:lnTo>
                  <a:pt x="164" y="270"/>
                </a:lnTo>
                <a:lnTo>
                  <a:pt x="157" y="273"/>
                </a:lnTo>
                <a:lnTo>
                  <a:pt x="149" y="275"/>
                </a:lnTo>
                <a:lnTo>
                  <a:pt x="142" y="277"/>
                </a:lnTo>
                <a:lnTo>
                  <a:pt x="134" y="281"/>
                </a:lnTo>
                <a:lnTo>
                  <a:pt x="128" y="284"/>
                </a:lnTo>
                <a:lnTo>
                  <a:pt x="121" y="289"/>
                </a:lnTo>
                <a:lnTo>
                  <a:pt x="116" y="294"/>
                </a:lnTo>
                <a:lnTo>
                  <a:pt x="111" y="299"/>
                </a:lnTo>
                <a:lnTo>
                  <a:pt x="105" y="305"/>
                </a:lnTo>
                <a:lnTo>
                  <a:pt x="101" y="311"/>
                </a:lnTo>
                <a:lnTo>
                  <a:pt x="98" y="317"/>
                </a:lnTo>
                <a:lnTo>
                  <a:pt x="95" y="325"/>
                </a:lnTo>
                <a:lnTo>
                  <a:pt x="93" y="331"/>
                </a:lnTo>
                <a:lnTo>
                  <a:pt x="90" y="339"/>
                </a:lnTo>
                <a:lnTo>
                  <a:pt x="89" y="347"/>
                </a:lnTo>
                <a:lnTo>
                  <a:pt x="89" y="355"/>
                </a:lnTo>
                <a:lnTo>
                  <a:pt x="89" y="375"/>
                </a:lnTo>
                <a:lnTo>
                  <a:pt x="79" y="376"/>
                </a:lnTo>
                <a:lnTo>
                  <a:pt x="69" y="378"/>
                </a:lnTo>
                <a:lnTo>
                  <a:pt x="60" y="382"/>
                </a:lnTo>
                <a:lnTo>
                  <a:pt x="52" y="385"/>
                </a:lnTo>
                <a:lnTo>
                  <a:pt x="43" y="388"/>
                </a:lnTo>
                <a:lnTo>
                  <a:pt x="36" y="392"/>
                </a:lnTo>
                <a:lnTo>
                  <a:pt x="29" y="398"/>
                </a:lnTo>
                <a:lnTo>
                  <a:pt x="23" y="403"/>
                </a:lnTo>
                <a:lnTo>
                  <a:pt x="18" y="409"/>
                </a:lnTo>
                <a:lnTo>
                  <a:pt x="13" y="416"/>
                </a:lnTo>
                <a:lnTo>
                  <a:pt x="9" y="422"/>
                </a:lnTo>
                <a:lnTo>
                  <a:pt x="5" y="430"/>
                </a:lnTo>
                <a:lnTo>
                  <a:pt x="3" y="438"/>
                </a:lnTo>
                <a:lnTo>
                  <a:pt x="1" y="447"/>
                </a:lnTo>
                <a:lnTo>
                  <a:pt x="0" y="455"/>
                </a:lnTo>
                <a:lnTo>
                  <a:pt x="0" y="465"/>
                </a:lnTo>
                <a:lnTo>
                  <a:pt x="0" y="474"/>
                </a:lnTo>
                <a:lnTo>
                  <a:pt x="1" y="482"/>
                </a:lnTo>
                <a:lnTo>
                  <a:pt x="3" y="491"/>
                </a:lnTo>
                <a:lnTo>
                  <a:pt x="5" y="499"/>
                </a:lnTo>
                <a:lnTo>
                  <a:pt x="9" y="507"/>
                </a:lnTo>
                <a:lnTo>
                  <a:pt x="13" y="513"/>
                </a:lnTo>
                <a:lnTo>
                  <a:pt x="18" y="520"/>
                </a:lnTo>
                <a:lnTo>
                  <a:pt x="23" y="526"/>
                </a:lnTo>
                <a:lnTo>
                  <a:pt x="29" y="531"/>
                </a:lnTo>
                <a:lnTo>
                  <a:pt x="36" y="537"/>
                </a:lnTo>
                <a:lnTo>
                  <a:pt x="43" y="541"/>
                </a:lnTo>
                <a:lnTo>
                  <a:pt x="52" y="544"/>
                </a:lnTo>
                <a:lnTo>
                  <a:pt x="60" y="547"/>
                </a:lnTo>
                <a:lnTo>
                  <a:pt x="69" y="551"/>
                </a:lnTo>
                <a:lnTo>
                  <a:pt x="79" y="553"/>
                </a:lnTo>
                <a:lnTo>
                  <a:pt x="89" y="554"/>
                </a:lnTo>
                <a:lnTo>
                  <a:pt x="89" y="582"/>
                </a:lnTo>
                <a:lnTo>
                  <a:pt x="89" y="591"/>
                </a:lnTo>
                <a:lnTo>
                  <a:pt x="90" y="600"/>
                </a:lnTo>
                <a:lnTo>
                  <a:pt x="93" y="608"/>
                </a:lnTo>
                <a:lnTo>
                  <a:pt x="95" y="616"/>
                </a:lnTo>
                <a:lnTo>
                  <a:pt x="98" y="622"/>
                </a:lnTo>
                <a:lnTo>
                  <a:pt x="102" y="629"/>
                </a:lnTo>
                <a:lnTo>
                  <a:pt x="106" y="635"/>
                </a:lnTo>
                <a:lnTo>
                  <a:pt x="112" y="639"/>
                </a:lnTo>
                <a:lnTo>
                  <a:pt x="117" y="645"/>
                </a:lnTo>
                <a:lnTo>
                  <a:pt x="125" y="648"/>
                </a:lnTo>
                <a:lnTo>
                  <a:pt x="132" y="651"/>
                </a:lnTo>
                <a:lnTo>
                  <a:pt x="140" y="654"/>
                </a:lnTo>
                <a:lnTo>
                  <a:pt x="148" y="657"/>
                </a:lnTo>
                <a:lnTo>
                  <a:pt x="158" y="658"/>
                </a:lnTo>
                <a:lnTo>
                  <a:pt x="169" y="659"/>
                </a:lnTo>
                <a:lnTo>
                  <a:pt x="179" y="660"/>
                </a:lnTo>
                <a:lnTo>
                  <a:pt x="254" y="660"/>
                </a:lnTo>
                <a:lnTo>
                  <a:pt x="257" y="659"/>
                </a:lnTo>
                <a:lnTo>
                  <a:pt x="259" y="659"/>
                </a:lnTo>
                <a:lnTo>
                  <a:pt x="263" y="657"/>
                </a:lnTo>
                <a:lnTo>
                  <a:pt x="265" y="654"/>
                </a:lnTo>
                <a:lnTo>
                  <a:pt x="266" y="652"/>
                </a:lnTo>
                <a:lnTo>
                  <a:pt x="268" y="650"/>
                </a:lnTo>
                <a:lnTo>
                  <a:pt x="268" y="647"/>
                </a:lnTo>
                <a:lnTo>
                  <a:pt x="269" y="645"/>
                </a:lnTo>
                <a:lnTo>
                  <a:pt x="269" y="284"/>
                </a:lnTo>
                <a:lnTo>
                  <a:pt x="268" y="282"/>
                </a:lnTo>
                <a:lnTo>
                  <a:pt x="268" y="279"/>
                </a:lnTo>
                <a:lnTo>
                  <a:pt x="266" y="277"/>
                </a:lnTo>
                <a:lnTo>
                  <a:pt x="265" y="274"/>
                </a:lnTo>
                <a:lnTo>
                  <a:pt x="263" y="273"/>
                </a:lnTo>
                <a:lnTo>
                  <a:pt x="259" y="270"/>
                </a:lnTo>
                <a:lnTo>
                  <a:pt x="257" y="270"/>
                </a:lnTo>
                <a:lnTo>
                  <a:pt x="254" y="269"/>
                </a:lnTo>
                <a:lnTo>
                  <a:pt x="194" y="269"/>
                </a:lnTo>
                <a:lnTo>
                  <a:pt x="195" y="258"/>
                </a:lnTo>
                <a:lnTo>
                  <a:pt x="197" y="246"/>
                </a:lnTo>
                <a:lnTo>
                  <a:pt x="200" y="233"/>
                </a:lnTo>
                <a:lnTo>
                  <a:pt x="203" y="221"/>
                </a:lnTo>
                <a:lnTo>
                  <a:pt x="206" y="210"/>
                </a:lnTo>
                <a:lnTo>
                  <a:pt x="210" y="199"/>
                </a:lnTo>
                <a:lnTo>
                  <a:pt x="215" y="188"/>
                </a:lnTo>
                <a:lnTo>
                  <a:pt x="219" y="177"/>
                </a:lnTo>
                <a:lnTo>
                  <a:pt x="224" y="167"/>
                </a:lnTo>
                <a:lnTo>
                  <a:pt x="231" y="156"/>
                </a:lnTo>
                <a:lnTo>
                  <a:pt x="237" y="146"/>
                </a:lnTo>
                <a:lnTo>
                  <a:pt x="243" y="136"/>
                </a:lnTo>
                <a:lnTo>
                  <a:pt x="258" y="117"/>
                </a:lnTo>
                <a:lnTo>
                  <a:pt x="274" y="100"/>
                </a:lnTo>
                <a:lnTo>
                  <a:pt x="293" y="85"/>
                </a:lnTo>
                <a:lnTo>
                  <a:pt x="312" y="71"/>
                </a:lnTo>
                <a:lnTo>
                  <a:pt x="323" y="65"/>
                </a:lnTo>
                <a:lnTo>
                  <a:pt x="332" y="59"/>
                </a:lnTo>
                <a:lnTo>
                  <a:pt x="343" y="53"/>
                </a:lnTo>
                <a:lnTo>
                  <a:pt x="354" y="49"/>
                </a:lnTo>
                <a:lnTo>
                  <a:pt x="365" y="45"/>
                </a:lnTo>
                <a:lnTo>
                  <a:pt x="376" y="40"/>
                </a:lnTo>
                <a:lnTo>
                  <a:pt x="388" y="37"/>
                </a:lnTo>
                <a:lnTo>
                  <a:pt x="400" y="35"/>
                </a:lnTo>
                <a:lnTo>
                  <a:pt x="411" y="33"/>
                </a:lnTo>
                <a:lnTo>
                  <a:pt x="424" y="31"/>
                </a:lnTo>
                <a:lnTo>
                  <a:pt x="436" y="31"/>
                </a:lnTo>
                <a:lnTo>
                  <a:pt x="449" y="30"/>
                </a:lnTo>
                <a:lnTo>
                  <a:pt x="461" y="31"/>
                </a:lnTo>
                <a:lnTo>
                  <a:pt x="472" y="31"/>
                </a:lnTo>
                <a:lnTo>
                  <a:pt x="485" y="33"/>
                </a:lnTo>
                <a:lnTo>
                  <a:pt x="497" y="35"/>
                </a:lnTo>
                <a:lnTo>
                  <a:pt x="508" y="37"/>
                </a:lnTo>
                <a:lnTo>
                  <a:pt x="519" y="40"/>
                </a:lnTo>
                <a:lnTo>
                  <a:pt x="530" y="45"/>
                </a:lnTo>
                <a:lnTo>
                  <a:pt x="542" y="49"/>
                </a:lnTo>
                <a:lnTo>
                  <a:pt x="553" y="53"/>
                </a:lnTo>
                <a:lnTo>
                  <a:pt x="562" y="59"/>
                </a:lnTo>
                <a:lnTo>
                  <a:pt x="573" y="65"/>
                </a:lnTo>
                <a:lnTo>
                  <a:pt x="583" y="71"/>
                </a:lnTo>
                <a:lnTo>
                  <a:pt x="602" y="85"/>
                </a:lnTo>
                <a:lnTo>
                  <a:pt x="619" y="100"/>
                </a:lnTo>
                <a:lnTo>
                  <a:pt x="635" y="117"/>
                </a:lnTo>
                <a:lnTo>
                  <a:pt x="650" y="136"/>
                </a:lnTo>
                <a:lnTo>
                  <a:pt x="663" y="156"/>
                </a:lnTo>
                <a:lnTo>
                  <a:pt x="673" y="177"/>
                </a:lnTo>
                <a:lnTo>
                  <a:pt x="679" y="188"/>
                </a:lnTo>
                <a:lnTo>
                  <a:pt x="683" y="199"/>
                </a:lnTo>
                <a:lnTo>
                  <a:pt x="686" y="210"/>
                </a:lnTo>
                <a:lnTo>
                  <a:pt x="689" y="221"/>
                </a:lnTo>
                <a:lnTo>
                  <a:pt x="693" y="233"/>
                </a:lnTo>
                <a:lnTo>
                  <a:pt x="695" y="246"/>
                </a:lnTo>
                <a:lnTo>
                  <a:pt x="696" y="258"/>
                </a:lnTo>
                <a:lnTo>
                  <a:pt x="697" y="269"/>
                </a:lnTo>
                <a:lnTo>
                  <a:pt x="643" y="269"/>
                </a:lnTo>
                <a:lnTo>
                  <a:pt x="640" y="270"/>
                </a:lnTo>
                <a:lnTo>
                  <a:pt x="638" y="270"/>
                </a:lnTo>
                <a:lnTo>
                  <a:pt x="635" y="273"/>
                </a:lnTo>
                <a:lnTo>
                  <a:pt x="633" y="274"/>
                </a:lnTo>
                <a:lnTo>
                  <a:pt x="631" y="277"/>
                </a:lnTo>
                <a:lnTo>
                  <a:pt x="630" y="279"/>
                </a:lnTo>
                <a:lnTo>
                  <a:pt x="629" y="282"/>
                </a:lnTo>
                <a:lnTo>
                  <a:pt x="629" y="284"/>
                </a:lnTo>
                <a:lnTo>
                  <a:pt x="629" y="645"/>
                </a:lnTo>
                <a:lnTo>
                  <a:pt x="629" y="647"/>
                </a:lnTo>
                <a:lnTo>
                  <a:pt x="630" y="650"/>
                </a:lnTo>
                <a:lnTo>
                  <a:pt x="631" y="652"/>
                </a:lnTo>
                <a:lnTo>
                  <a:pt x="633" y="654"/>
                </a:lnTo>
                <a:lnTo>
                  <a:pt x="635" y="657"/>
                </a:lnTo>
                <a:lnTo>
                  <a:pt x="638" y="659"/>
                </a:lnTo>
                <a:lnTo>
                  <a:pt x="640" y="659"/>
                </a:lnTo>
                <a:lnTo>
                  <a:pt x="643" y="660"/>
                </a:lnTo>
                <a:lnTo>
                  <a:pt x="718" y="660"/>
                </a:lnTo>
                <a:lnTo>
                  <a:pt x="728" y="659"/>
                </a:lnTo>
                <a:lnTo>
                  <a:pt x="737" y="659"/>
                </a:lnTo>
                <a:lnTo>
                  <a:pt x="737" y="695"/>
                </a:lnTo>
                <a:lnTo>
                  <a:pt x="735" y="707"/>
                </a:lnTo>
                <a:lnTo>
                  <a:pt x="733" y="719"/>
                </a:lnTo>
                <a:lnTo>
                  <a:pt x="731" y="730"/>
                </a:lnTo>
                <a:lnTo>
                  <a:pt x="727" y="741"/>
                </a:lnTo>
                <a:lnTo>
                  <a:pt x="722" y="751"/>
                </a:lnTo>
                <a:lnTo>
                  <a:pt x="716" y="760"/>
                </a:lnTo>
                <a:lnTo>
                  <a:pt x="709" y="770"/>
                </a:lnTo>
                <a:lnTo>
                  <a:pt x="701" y="778"/>
                </a:lnTo>
                <a:lnTo>
                  <a:pt x="694" y="786"/>
                </a:lnTo>
                <a:lnTo>
                  <a:pt x="684" y="792"/>
                </a:lnTo>
                <a:lnTo>
                  <a:pt x="674" y="799"/>
                </a:lnTo>
                <a:lnTo>
                  <a:pt x="664" y="803"/>
                </a:lnTo>
                <a:lnTo>
                  <a:pt x="653" y="807"/>
                </a:lnTo>
                <a:lnTo>
                  <a:pt x="642" y="811"/>
                </a:lnTo>
                <a:lnTo>
                  <a:pt x="631" y="812"/>
                </a:lnTo>
                <a:lnTo>
                  <a:pt x="619" y="813"/>
                </a:lnTo>
                <a:lnTo>
                  <a:pt x="557" y="813"/>
                </a:lnTo>
                <a:lnTo>
                  <a:pt x="553" y="801"/>
                </a:lnTo>
                <a:lnTo>
                  <a:pt x="547" y="790"/>
                </a:lnTo>
                <a:lnTo>
                  <a:pt x="541" y="781"/>
                </a:lnTo>
                <a:lnTo>
                  <a:pt x="532" y="772"/>
                </a:lnTo>
                <a:lnTo>
                  <a:pt x="522" y="766"/>
                </a:lnTo>
                <a:lnTo>
                  <a:pt x="511" y="760"/>
                </a:lnTo>
                <a:lnTo>
                  <a:pt x="505" y="758"/>
                </a:lnTo>
                <a:lnTo>
                  <a:pt x="499" y="757"/>
                </a:lnTo>
                <a:lnTo>
                  <a:pt x="493" y="756"/>
                </a:lnTo>
                <a:lnTo>
                  <a:pt x="486" y="756"/>
                </a:lnTo>
                <a:lnTo>
                  <a:pt x="479" y="756"/>
                </a:lnTo>
                <a:lnTo>
                  <a:pt x="472" y="757"/>
                </a:lnTo>
                <a:lnTo>
                  <a:pt x="465" y="759"/>
                </a:lnTo>
                <a:lnTo>
                  <a:pt x="458" y="761"/>
                </a:lnTo>
                <a:lnTo>
                  <a:pt x="452" y="765"/>
                </a:lnTo>
                <a:lnTo>
                  <a:pt x="447" y="768"/>
                </a:lnTo>
                <a:lnTo>
                  <a:pt x="441" y="772"/>
                </a:lnTo>
                <a:lnTo>
                  <a:pt x="436" y="776"/>
                </a:lnTo>
                <a:lnTo>
                  <a:pt x="432" y="782"/>
                </a:lnTo>
                <a:lnTo>
                  <a:pt x="427" y="787"/>
                </a:lnTo>
                <a:lnTo>
                  <a:pt x="423" y="793"/>
                </a:lnTo>
                <a:lnTo>
                  <a:pt x="420" y="800"/>
                </a:lnTo>
                <a:lnTo>
                  <a:pt x="418" y="806"/>
                </a:lnTo>
                <a:lnTo>
                  <a:pt x="417" y="813"/>
                </a:lnTo>
                <a:lnTo>
                  <a:pt x="416" y="820"/>
                </a:lnTo>
                <a:lnTo>
                  <a:pt x="415" y="828"/>
                </a:lnTo>
                <a:lnTo>
                  <a:pt x="416" y="835"/>
                </a:lnTo>
                <a:lnTo>
                  <a:pt x="417" y="842"/>
                </a:lnTo>
                <a:lnTo>
                  <a:pt x="418" y="849"/>
                </a:lnTo>
                <a:lnTo>
                  <a:pt x="420" y="856"/>
                </a:lnTo>
                <a:lnTo>
                  <a:pt x="423" y="862"/>
                </a:lnTo>
                <a:lnTo>
                  <a:pt x="427" y="867"/>
                </a:lnTo>
                <a:lnTo>
                  <a:pt x="432" y="873"/>
                </a:lnTo>
                <a:lnTo>
                  <a:pt x="436" y="878"/>
                </a:lnTo>
                <a:lnTo>
                  <a:pt x="441" y="882"/>
                </a:lnTo>
                <a:lnTo>
                  <a:pt x="447" y="887"/>
                </a:lnTo>
                <a:lnTo>
                  <a:pt x="452" y="891"/>
                </a:lnTo>
                <a:lnTo>
                  <a:pt x="458" y="893"/>
                </a:lnTo>
                <a:lnTo>
                  <a:pt x="465" y="896"/>
                </a:lnTo>
                <a:lnTo>
                  <a:pt x="472" y="897"/>
                </a:lnTo>
                <a:lnTo>
                  <a:pt x="479" y="898"/>
                </a:lnTo>
                <a:lnTo>
                  <a:pt x="486" y="899"/>
                </a:lnTo>
                <a:lnTo>
                  <a:pt x="493" y="898"/>
                </a:lnTo>
                <a:lnTo>
                  <a:pt x="499" y="898"/>
                </a:lnTo>
                <a:lnTo>
                  <a:pt x="505" y="896"/>
                </a:lnTo>
                <a:lnTo>
                  <a:pt x="511" y="895"/>
                </a:lnTo>
                <a:lnTo>
                  <a:pt x="522" y="890"/>
                </a:lnTo>
                <a:lnTo>
                  <a:pt x="532" y="883"/>
                </a:lnTo>
                <a:lnTo>
                  <a:pt x="541" y="875"/>
                </a:lnTo>
                <a:lnTo>
                  <a:pt x="547" y="865"/>
                </a:lnTo>
                <a:lnTo>
                  <a:pt x="553" y="854"/>
                </a:lnTo>
                <a:lnTo>
                  <a:pt x="557" y="843"/>
                </a:lnTo>
                <a:lnTo>
                  <a:pt x="619" y="843"/>
                </a:lnTo>
                <a:lnTo>
                  <a:pt x="634" y="842"/>
                </a:lnTo>
                <a:lnTo>
                  <a:pt x="649" y="839"/>
                </a:lnTo>
                <a:lnTo>
                  <a:pt x="663" y="836"/>
                </a:lnTo>
                <a:lnTo>
                  <a:pt x="676" y="831"/>
                </a:lnTo>
                <a:lnTo>
                  <a:pt x="688" y="824"/>
                </a:lnTo>
                <a:lnTo>
                  <a:pt x="701" y="817"/>
                </a:lnTo>
                <a:lnTo>
                  <a:pt x="712" y="808"/>
                </a:lnTo>
                <a:lnTo>
                  <a:pt x="723" y="799"/>
                </a:lnTo>
                <a:lnTo>
                  <a:pt x="732" y="789"/>
                </a:lnTo>
                <a:lnTo>
                  <a:pt x="741" y="777"/>
                </a:lnTo>
                <a:lnTo>
                  <a:pt x="748" y="766"/>
                </a:lnTo>
                <a:lnTo>
                  <a:pt x="755" y="753"/>
                </a:lnTo>
                <a:lnTo>
                  <a:pt x="759" y="739"/>
                </a:lnTo>
                <a:lnTo>
                  <a:pt x="763" y="725"/>
                </a:lnTo>
                <a:lnTo>
                  <a:pt x="765" y="710"/>
                </a:lnTo>
                <a:lnTo>
                  <a:pt x="766" y="695"/>
                </a:lnTo>
                <a:lnTo>
                  <a:pt x="766" y="651"/>
                </a:lnTo>
                <a:lnTo>
                  <a:pt x="776" y="646"/>
                </a:lnTo>
                <a:lnTo>
                  <a:pt x="785" y="640"/>
                </a:lnTo>
                <a:lnTo>
                  <a:pt x="792" y="633"/>
                </a:lnTo>
                <a:lnTo>
                  <a:pt x="798" y="626"/>
                </a:lnTo>
                <a:lnTo>
                  <a:pt x="802" y="616"/>
                </a:lnTo>
                <a:lnTo>
                  <a:pt x="806" y="606"/>
                </a:lnTo>
                <a:lnTo>
                  <a:pt x="807" y="594"/>
                </a:lnTo>
                <a:lnTo>
                  <a:pt x="808" y="582"/>
                </a:lnTo>
                <a:lnTo>
                  <a:pt x="808" y="554"/>
                </a:lnTo>
                <a:lnTo>
                  <a:pt x="819" y="553"/>
                </a:lnTo>
                <a:lnTo>
                  <a:pt x="829" y="551"/>
                </a:lnTo>
                <a:lnTo>
                  <a:pt x="837" y="547"/>
                </a:lnTo>
                <a:lnTo>
                  <a:pt x="846" y="544"/>
                </a:lnTo>
                <a:lnTo>
                  <a:pt x="853" y="541"/>
                </a:lnTo>
                <a:lnTo>
                  <a:pt x="861" y="537"/>
                </a:lnTo>
                <a:lnTo>
                  <a:pt x="868" y="531"/>
                </a:lnTo>
                <a:lnTo>
                  <a:pt x="873" y="526"/>
                </a:lnTo>
                <a:lnTo>
                  <a:pt x="880" y="520"/>
                </a:lnTo>
                <a:lnTo>
                  <a:pt x="884" y="513"/>
                </a:lnTo>
                <a:lnTo>
                  <a:pt x="888" y="507"/>
                </a:lnTo>
                <a:lnTo>
                  <a:pt x="892" y="499"/>
                </a:lnTo>
                <a:lnTo>
                  <a:pt x="895" y="491"/>
                </a:lnTo>
                <a:lnTo>
                  <a:pt x="897" y="482"/>
                </a:lnTo>
                <a:lnTo>
                  <a:pt x="898" y="474"/>
                </a:lnTo>
                <a:lnTo>
                  <a:pt x="898" y="464"/>
                </a:lnTo>
                <a:close/>
              </a:path>
            </a:pathLst>
          </a:custGeom>
          <a:solidFill>
            <a:srgbClr val="332F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Tree>
  </p:cSld>
  <p:clrMapOvr>
    <a:masterClrMapping/>
  </p:clrMapOvr>
  <p:transition spd="slow" advClick="0" advTm="0">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cxnSp>
        <p:nvCxnSpPr>
          <p:cNvPr id="45" name="Straight Connector 44"/>
          <p:cNvCxnSpPr/>
          <p:nvPr/>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图片占位符 8"/>
          <p:cNvPicPr>
            <a:picLocks noGrp="1" noChangeAspect="1"/>
          </p:cNvPicPr>
          <p:nvPr>
            <p:ph type="pic" sz="quarter" idx="13"/>
          </p:nvPr>
        </p:nvPicPr>
        <p:blipFill>
          <a:blip r:embed="rId1" cstate="screen"/>
          <a:srcRect/>
          <a:stretch>
            <a:fillRect/>
          </a:stretch>
        </p:blipFill>
        <p:spPr>
          <a:solidFill>
            <a:schemeClr val="bg1">
              <a:lumMod val="85000"/>
            </a:schemeClr>
          </a:solidFill>
        </p:spPr>
      </p:pic>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sp>
        <p:nvSpPr>
          <p:cNvPr id="7" name="Rectangle 6"/>
          <p:cNvSpPr/>
          <p:nvPr/>
        </p:nvSpPr>
        <p:spPr>
          <a:xfrm>
            <a:off x="11018886" y="6430516"/>
            <a:ext cx="946673" cy="1599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p:cNvSpPr/>
          <p:nvPr/>
        </p:nvSpPr>
        <p:spPr>
          <a:xfrm>
            <a:off x="6855386" y="1981382"/>
            <a:ext cx="1085232" cy="1085232"/>
          </a:xfrm>
          <a:prstGeom prst="ellipse">
            <a:avLst/>
          </a:prstGeom>
          <a:solidFill>
            <a:schemeClr val="accent2"/>
          </a:solidFill>
          <a:ln>
            <a:noFill/>
          </a:ln>
          <a:effectLst>
            <a:outerShdw blurRad="266700" dist="304800" dir="52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8474848" y="3140316"/>
            <a:ext cx="1085232" cy="1085232"/>
          </a:xfrm>
          <a:prstGeom prst="ellipse">
            <a:avLst/>
          </a:prstGeom>
          <a:solidFill>
            <a:schemeClr val="accent2"/>
          </a:solidFill>
          <a:ln>
            <a:noFill/>
          </a:ln>
          <a:effectLst>
            <a:outerShdw blurRad="266700" dist="304800" dir="52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p:nvSpPr>
        <p:spPr>
          <a:xfrm>
            <a:off x="10103225" y="4333265"/>
            <a:ext cx="1085232" cy="1085232"/>
          </a:xfrm>
          <a:prstGeom prst="ellipse">
            <a:avLst/>
          </a:prstGeom>
          <a:solidFill>
            <a:schemeClr val="accent2"/>
          </a:solidFill>
          <a:ln>
            <a:noFill/>
          </a:ln>
          <a:effectLst>
            <a:outerShdw blurRad="266700" dist="304800" dir="52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9"/>
          <p:cNvSpPr>
            <a:spLocks noEditPoints="1"/>
          </p:cNvSpPr>
          <p:nvPr/>
        </p:nvSpPr>
        <p:spPr bwMode="auto">
          <a:xfrm>
            <a:off x="10490072" y="4622226"/>
            <a:ext cx="311537" cy="507310"/>
          </a:xfrm>
          <a:custGeom>
            <a:avLst/>
            <a:gdLst>
              <a:gd name="T0" fmla="*/ 150 w 1273"/>
              <a:gd name="T1" fmla="*/ 1046 h 2075"/>
              <a:gd name="T2" fmla="*/ 292 w 1273"/>
              <a:gd name="T3" fmla="*/ 1299 h 2075"/>
              <a:gd name="T4" fmla="*/ 282 w 1273"/>
              <a:gd name="T5" fmla="*/ 1299 h 2075"/>
              <a:gd name="T6" fmla="*/ 257 w 1273"/>
              <a:gd name="T7" fmla="*/ 1304 h 2075"/>
              <a:gd name="T8" fmla="*/ 149 w 1273"/>
              <a:gd name="T9" fmla="*/ 1454 h 2075"/>
              <a:gd name="T10" fmla="*/ 149 w 1273"/>
              <a:gd name="T11" fmla="*/ 1750 h 2075"/>
              <a:gd name="T12" fmla="*/ 237 w 1273"/>
              <a:gd name="T13" fmla="*/ 1907 h 2075"/>
              <a:gd name="T14" fmla="*/ 448 w 1273"/>
              <a:gd name="T15" fmla="*/ 2038 h 2075"/>
              <a:gd name="T16" fmla="*/ 577 w 1273"/>
              <a:gd name="T17" fmla="*/ 2075 h 2075"/>
              <a:gd name="T18" fmla="*/ 696 w 1273"/>
              <a:gd name="T19" fmla="*/ 2075 h 2075"/>
              <a:gd name="T20" fmla="*/ 826 w 1273"/>
              <a:gd name="T21" fmla="*/ 2038 h 2075"/>
              <a:gd name="T22" fmla="*/ 1036 w 1273"/>
              <a:gd name="T23" fmla="*/ 1907 h 2075"/>
              <a:gd name="T24" fmla="*/ 1125 w 1273"/>
              <a:gd name="T25" fmla="*/ 1750 h 2075"/>
              <a:gd name="T26" fmla="*/ 1125 w 1273"/>
              <a:gd name="T27" fmla="*/ 1454 h 2075"/>
              <a:gd name="T28" fmla="*/ 1009 w 1273"/>
              <a:gd name="T29" fmla="*/ 1302 h 2075"/>
              <a:gd name="T30" fmla="*/ 981 w 1273"/>
              <a:gd name="T31" fmla="*/ 1299 h 2075"/>
              <a:gd name="T32" fmla="*/ 1123 w 1273"/>
              <a:gd name="T33" fmla="*/ 1047 h 2075"/>
              <a:gd name="T34" fmla="*/ 1135 w 1273"/>
              <a:gd name="T35" fmla="*/ 1032 h 2075"/>
              <a:gd name="T36" fmla="*/ 1273 w 1273"/>
              <a:gd name="T37" fmla="*/ 637 h 2075"/>
              <a:gd name="T38" fmla="*/ 637 w 1273"/>
              <a:gd name="T39" fmla="*/ 0 h 2075"/>
              <a:gd name="T40" fmla="*/ 1 w 1273"/>
              <a:gd name="T41" fmla="*/ 637 h 2075"/>
              <a:gd name="T42" fmla="*/ 138 w 1273"/>
              <a:gd name="T43" fmla="*/ 1032 h 2075"/>
              <a:gd name="T44" fmla="*/ 150 w 1273"/>
              <a:gd name="T45" fmla="*/ 1046 h 2075"/>
              <a:gd name="T46" fmla="*/ 266 w 1273"/>
              <a:gd name="T47" fmla="*/ 1698 h 2075"/>
              <a:gd name="T48" fmla="*/ 266 w 1273"/>
              <a:gd name="T49" fmla="*/ 1650 h 2075"/>
              <a:gd name="T50" fmla="*/ 1008 w 1273"/>
              <a:gd name="T51" fmla="*/ 1742 h 2075"/>
              <a:gd name="T52" fmla="*/ 1008 w 1273"/>
              <a:gd name="T53" fmla="*/ 1750 h 2075"/>
              <a:gd name="T54" fmla="*/ 994 w 1273"/>
              <a:gd name="T55" fmla="*/ 1788 h 2075"/>
              <a:gd name="T56" fmla="*/ 266 w 1273"/>
              <a:gd name="T57" fmla="*/ 1698 h 2075"/>
              <a:gd name="T58" fmla="*/ 1008 w 1273"/>
              <a:gd name="T59" fmla="*/ 1683 h 2075"/>
              <a:gd name="T60" fmla="*/ 266 w 1273"/>
              <a:gd name="T61" fmla="*/ 1591 h 2075"/>
              <a:gd name="T62" fmla="*/ 266 w 1273"/>
              <a:gd name="T63" fmla="*/ 1537 h 2075"/>
              <a:gd name="T64" fmla="*/ 1008 w 1273"/>
              <a:gd name="T65" fmla="*/ 1629 h 2075"/>
              <a:gd name="T66" fmla="*/ 1008 w 1273"/>
              <a:gd name="T67" fmla="*/ 1683 h 2075"/>
              <a:gd name="T68" fmla="*/ 764 w 1273"/>
              <a:gd name="T69" fmla="*/ 1939 h 2075"/>
              <a:gd name="T70" fmla="*/ 696 w 1273"/>
              <a:gd name="T71" fmla="*/ 1958 h 2075"/>
              <a:gd name="T72" fmla="*/ 577 w 1273"/>
              <a:gd name="T73" fmla="*/ 1958 h 2075"/>
              <a:gd name="T74" fmla="*/ 509 w 1273"/>
              <a:gd name="T75" fmla="*/ 1939 h 2075"/>
              <a:gd name="T76" fmla="*/ 299 w 1273"/>
              <a:gd name="T77" fmla="*/ 1808 h 2075"/>
              <a:gd name="T78" fmla="*/ 267 w 1273"/>
              <a:gd name="T79" fmla="*/ 1757 h 2075"/>
              <a:gd name="T80" fmla="*/ 925 w 1273"/>
              <a:gd name="T81" fmla="*/ 1839 h 2075"/>
              <a:gd name="T82" fmla="*/ 764 w 1273"/>
              <a:gd name="T83" fmla="*/ 1939 h 2075"/>
              <a:gd name="T84" fmla="*/ 1008 w 1273"/>
              <a:gd name="T85" fmla="*/ 1454 h 2075"/>
              <a:gd name="T86" fmla="*/ 1008 w 1273"/>
              <a:gd name="T87" fmla="*/ 1570 h 2075"/>
              <a:gd name="T88" fmla="*/ 266 w 1273"/>
              <a:gd name="T89" fmla="*/ 1478 h 2075"/>
              <a:gd name="T90" fmla="*/ 266 w 1273"/>
              <a:gd name="T91" fmla="*/ 1454 h 2075"/>
              <a:gd name="T92" fmla="*/ 293 w 1273"/>
              <a:gd name="T93" fmla="*/ 1416 h 2075"/>
              <a:gd name="T94" fmla="*/ 305 w 1273"/>
              <a:gd name="T95" fmla="*/ 1416 h 2075"/>
              <a:gd name="T96" fmla="*/ 982 w 1273"/>
              <a:gd name="T97" fmla="*/ 1416 h 2075"/>
              <a:gd name="T98" fmla="*/ 1008 w 1273"/>
              <a:gd name="T99" fmla="*/ 1454 h 2075"/>
              <a:gd name="T100" fmla="*/ 637 w 1273"/>
              <a:gd name="T101" fmla="*/ 107 h 2075"/>
              <a:gd name="T102" fmla="*/ 1166 w 1273"/>
              <a:gd name="T103" fmla="*/ 637 h 2075"/>
              <a:gd name="T104" fmla="*/ 1051 w 1273"/>
              <a:gd name="T105" fmla="*/ 965 h 2075"/>
              <a:gd name="T106" fmla="*/ 1039 w 1273"/>
              <a:gd name="T107" fmla="*/ 981 h 2075"/>
              <a:gd name="T108" fmla="*/ 873 w 1273"/>
              <a:gd name="T109" fmla="*/ 1299 h 2075"/>
              <a:gd name="T110" fmla="*/ 695 w 1273"/>
              <a:gd name="T111" fmla="*/ 1299 h 2075"/>
              <a:gd name="T112" fmla="*/ 400 w 1273"/>
              <a:gd name="T113" fmla="*/ 1299 h 2075"/>
              <a:gd name="T114" fmla="*/ 233 w 1273"/>
              <a:gd name="T115" fmla="*/ 980 h 2075"/>
              <a:gd name="T116" fmla="*/ 222 w 1273"/>
              <a:gd name="T117" fmla="*/ 965 h 2075"/>
              <a:gd name="T118" fmla="*/ 108 w 1273"/>
              <a:gd name="T119" fmla="*/ 637 h 2075"/>
              <a:gd name="T120" fmla="*/ 637 w 1273"/>
              <a:gd name="T121" fmla="*/ 107 h 2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73" h="2075">
                <a:moveTo>
                  <a:pt x="150" y="1046"/>
                </a:moveTo>
                <a:cubicBezTo>
                  <a:pt x="229" y="1145"/>
                  <a:pt x="275" y="1204"/>
                  <a:pt x="292" y="1299"/>
                </a:cubicBezTo>
                <a:cubicBezTo>
                  <a:pt x="282" y="1299"/>
                  <a:pt x="282" y="1299"/>
                  <a:pt x="282" y="1299"/>
                </a:cubicBezTo>
                <a:cubicBezTo>
                  <a:pt x="273" y="1299"/>
                  <a:pt x="265" y="1301"/>
                  <a:pt x="257" y="1304"/>
                </a:cubicBezTo>
                <a:cubicBezTo>
                  <a:pt x="193" y="1327"/>
                  <a:pt x="149" y="1387"/>
                  <a:pt x="149" y="1454"/>
                </a:cubicBezTo>
                <a:cubicBezTo>
                  <a:pt x="149" y="1750"/>
                  <a:pt x="149" y="1750"/>
                  <a:pt x="149" y="1750"/>
                </a:cubicBezTo>
                <a:cubicBezTo>
                  <a:pt x="149" y="1811"/>
                  <a:pt x="184" y="1874"/>
                  <a:pt x="237" y="1907"/>
                </a:cubicBezTo>
                <a:cubicBezTo>
                  <a:pt x="448" y="2038"/>
                  <a:pt x="448" y="2038"/>
                  <a:pt x="448" y="2038"/>
                </a:cubicBezTo>
                <a:cubicBezTo>
                  <a:pt x="483" y="2060"/>
                  <a:pt x="534" y="2075"/>
                  <a:pt x="577" y="2075"/>
                </a:cubicBezTo>
                <a:cubicBezTo>
                  <a:pt x="696" y="2075"/>
                  <a:pt x="696" y="2075"/>
                  <a:pt x="696" y="2075"/>
                </a:cubicBezTo>
                <a:cubicBezTo>
                  <a:pt x="739" y="2075"/>
                  <a:pt x="790" y="2060"/>
                  <a:pt x="826" y="2038"/>
                </a:cubicBezTo>
                <a:cubicBezTo>
                  <a:pt x="1036" y="1907"/>
                  <a:pt x="1036" y="1907"/>
                  <a:pt x="1036" y="1907"/>
                </a:cubicBezTo>
                <a:cubicBezTo>
                  <a:pt x="1089" y="1874"/>
                  <a:pt x="1125" y="1811"/>
                  <a:pt x="1125" y="1750"/>
                </a:cubicBezTo>
                <a:cubicBezTo>
                  <a:pt x="1125" y="1454"/>
                  <a:pt x="1125" y="1454"/>
                  <a:pt x="1125" y="1454"/>
                </a:cubicBezTo>
                <a:cubicBezTo>
                  <a:pt x="1125" y="1384"/>
                  <a:pt x="1077" y="1322"/>
                  <a:pt x="1009" y="1302"/>
                </a:cubicBezTo>
                <a:cubicBezTo>
                  <a:pt x="1003" y="1300"/>
                  <a:pt x="1001" y="1299"/>
                  <a:pt x="981" y="1299"/>
                </a:cubicBezTo>
                <a:cubicBezTo>
                  <a:pt x="997" y="1205"/>
                  <a:pt x="1044" y="1147"/>
                  <a:pt x="1123" y="1047"/>
                </a:cubicBezTo>
                <a:cubicBezTo>
                  <a:pt x="1135" y="1032"/>
                  <a:pt x="1135" y="1032"/>
                  <a:pt x="1135" y="1032"/>
                </a:cubicBezTo>
                <a:cubicBezTo>
                  <a:pt x="1225" y="919"/>
                  <a:pt x="1273" y="782"/>
                  <a:pt x="1273" y="637"/>
                </a:cubicBezTo>
                <a:cubicBezTo>
                  <a:pt x="1273" y="286"/>
                  <a:pt x="988" y="0"/>
                  <a:pt x="637" y="0"/>
                </a:cubicBezTo>
                <a:cubicBezTo>
                  <a:pt x="286" y="0"/>
                  <a:pt x="1" y="286"/>
                  <a:pt x="1" y="637"/>
                </a:cubicBezTo>
                <a:cubicBezTo>
                  <a:pt x="0" y="782"/>
                  <a:pt x="48" y="918"/>
                  <a:pt x="138" y="1032"/>
                </a:cubicBezTo>
                <a:lnTo>
                  <a:pt x="150" y="1046"/>
                </a:lnTo>
                <a:close/>
                <a:moveTo>
                  <a:pt x="266" y="1698"/>
                </a:moveTo>
                <a:cubicBezTo>
                  <a:pt x="266" y="1650"/>
                  <a:pt x="266" y="1650"/>
                  <a:pt x="266" y="1650"/>
                </a:cubicBezTo>
                <a:cubicBezTo>
                  <a:pt x="1008" y="1742"/>
                  <a:pt x="1008" y="1742"/>
                  <a:pt x="1008" y="1742"/>
                </a:cubicBezTo>
                <a:cubicBezTo>
                  <a:pt x="1008" y="1750"/>
                  <a:pt x="1008" y="1750"/>
                  <a:pt x="1008" y="1750"/>
                </a:cubicBezTo>
                <a:cubicBezTo>
                  <a:pt x="1008" y="1762"/>
                  <a:pt x="1002" y="1776"/>
                  <a:pt x="994" y="1788"/>
                </a:cubicBezTo>
                <a:lnTo>
                  <a:pt x="266" y="1698"/>
                </a:lnTo>
                <a:close/>
                <a:moveTo>
                  <a:pt x="1008" y="1683"/>
                </a:moveTo>
                <a:cubicBezTo>
                  <a:pt x="266" y="1591"/>
                  <a:pt x="266" y="1591"/>
                  <a:pt x="266" y="1591"/>
                </a:cubicBezTo>
                <a:cubicBezTo>
                  <a:pt x="266" y="1537"/>
                  <a:pt x="266" y="1537"/>
                  <a:pt x="266" y="1537"/>
                </a:cubicBezTo>
                <a:cubicBezTo>
                  <a:pt x="1008" y="1629"/>
                  <a:pt x="1008" y="1629"/>
                  <a:pt x="1008" y="1629"/>
                </a:cubicBezTo>
                <a:lnTo>
                  <a:pt x="1008" y="1683"/>
                </a:lnTo>
                <a:close/>
                <a:moveTo>
                  <a:pt x="764" y="1939"/>
                </a:moveTo>
                <a:cubicBezTo>
                  <a:pt x="747" y="1949"/>
                  <a:pt x="717" y="1958"/>
                  <a:pt x="696" y="1958"/>
                </a:cubicBezTo>
                <a:cubicBezTo>
                  <a:pt x="577" y="1958"/>
                  <a:pt x="577" y="1958"/>
                  <a:pt x="577" y="1958"/>
                </a:cubicBezTo>
                <a:cubicBezTo>
                  <a:pt x="557" y="1958"/>
                  <a:pt x="527" y="1949"/>
                  <a:pt x="509" y="1939"/>
                </a:cubicBezTo>
                <a:cubicBezTo>
                  <a:pt x="299" y="1808"/>
                  <a:pt x="299" y="1808"/>
                  <a:pt x="299" y="1808"/>
                </a:cubicBezTo>
                <a:cubicBezTo>
                  <a:pt x="283" y="1797"/>
                  <a:pt x="269" y="1776"/>
                  <a:pt x="267" y="1757"/>
                </a:cubicBezTo>
                <a:cubicBezTo>
                  <a:pt x="925" y="1839"/>
                  <a:pt x="925" y="1839"/>
                  <a:pt x="925" y="1839"/>
                </a:cubicBezTo>
                <a:lnTo>
                  <a:pt x="764" y="1939"/>
                </a:lnTo>
                <a:close/>
                <a:moveTo>
                  <a:pt x="1008" y="1454"/>
                </a:moveTo>
                <a:cubicBezTo>
                  <a:pt x="1008" y="1570"/>
                  <a:pt x="1008" y="1570"/>
                  <a:pt x="1008" y="1570"/>
                </a:cubicBezTo>
                <a:cubicBezTo>
                  <a:pt x="266" y="1478"/>
                  <a:pt x="266" y="1478"/>
                  <a:pt x="266" y="1478"/>
                </a:cubicBezTo>
                <a:cubicBezTo>
                  <a:pt x="266" y="1454"/>
                  <a:pt x="266" y="1454"/>
                  <a:pt x="266" y="1454"/>
                </a:cubicBezTo>
                <a:cubicBezTo>
                  <a:pt x="266" y="1437"/>
                  <a:pt x="277" y="1422"/>
                  <a:pt x="293" y="1416"/>
                </a:cubicBezTo>
                <a:cubicBezTo>
                  <a:pt x="305" y="1416"/>
                  <a:pt x="305" y="1416"/>
                  <a:pt x="305" y="1416"/>
                </a:cubicBezTo>
                <a:cubicBezTo>
                  <a:pt x="806" y="1416"/>
                  <a:pt x="948" y="1416"/>
                  <a:pt x="982" y="1416"/>
                </a:cubicBezTo>
                <a:cubicBezTo>
                  <a:pt x="997" y="1423"/>
                  <a:pt x="1008" y="1438"/>
                  <a:pt x="1008" y="1454"/>
                </a:cubicBezTo>
                <a:close/>
                <a:moveTo>
                  <a:pt x="637" y="107"/>
                </a:moveTo>
                <a:cubicBezTo>
                  <a:pt x="929" y="107"/>
                  <a:pt x="1166" y="345"/>
                  <a:pt x="1166" y="637"/>
                </a:cubicBezTo>
                <a:cubicBezTo>
                  <a:pt x="1166" y="757"/>
                  <a:pt x="1126" y="871"/>
                  <a:pt x="1051" y="965"/>
                </a:cubicBezTo>
                <a:cubicBezTo>
                  <a:pt x="1039" y="981"/>
                  <a:pt x="1039" y="981"/>
                  <a:pt x="1039" y="981"/>
                </a:cubicBezTo>
                <a:cubicBezTo>
                  <a:pt x="951" y="1091"/>
                  <a:pt x="891" y="1167"/>
                  <a:pt x="873" y="1299"/>
                </a:cubicBezTo>
                <a:cubicBezTo>
                  <a:pt x="822" y="1299"/>
                  <a:pt x="760" y="1299"/>
                  <a:pt x="695" y="1299"/>
                </a:cubicBezTo>
                <a:cubicBezTo>
                  <a:pt x="592" y="1299"/>
                  <a:pt x="481" y="1299"/>
                  <a:pt x="400" y="1299"/>
                </a:cubicBezTo>
                <a:cubicBezTo>
                  <a:pt x="382" y="1166"/>
                  <a:pt x="322" y="1090"/>
                  <a:pt x="233" y="980"/>
                </a:cubicBezTo>
                <a:cubicBezTo>
                  <a:pt x="222" y="965"/>
                  <a:pt x="222" y="965"/>
                  <a:pt x="222" y="965"/>
                </a:cubicBezTo>
                <a:cubicBezTo>
                  <a:pt x="147" y="871"/>
                  <a:pt x="108" y="757"/>
                  <a:pt x="108" y="637"/>
                </a:cubicBezTo>
                <a:cubicBezTo>
                  <a:pt x="108" y="345"/>
                  <a:pt x="345" y="107"/>
                  <a:pt x="637" y="107"/>
                </a:cubicBezTo>
                <a:close/>
              </a:path>
            </a:pathLst>
          </a:custGeom>
          <a:solidFill>
            <a:schemeClr val="bg1"/>
          </a:solidFill>
          <a:ln>
            <a:noFill/>
          </a:ln>
        </p:spPr>
        <p:txBody>
          <a:bodyPr vert="horz" wrap="square" lIns="91440" tIns="45720" rIns="91440" bIns="45720" numCol="1" anchor="t" anchorCtr="0" compatLnSpc="1"/>
          <a:lstStyle/>
          <a:p>
            <a:endParaRPr lang="id-ID" sz="1350">
              <a:solidFill>
                <a:schemeClr val="tx1">
                  <a:lumMod val="75000"/>
                  <a:lumOff val="25000"/>
                </a:schemeClr>
              </a:solidFill>
              <a:latin typeface="+mj-lt"/>
            </a:endParaRPr>
          </a:p>
        </p:txBody>
      </p:sp>
      <p:grpSp>
        <p:nvGrpSpPr>
          <p:cNvPr id="12" name="Group 11"/>
          <p:cNvGrpSpPr/>
          <p:nvPr/>
        </p:nvGrpSpPr>
        <p:grpSpPr>
          <a:xfrm>
            <a:off x="8750946" y="3445149"/>
            <a:ext cx="475659" cy="475565"/>
            <a:chOff x="7938" y="-3175"/>
            <a:chExt cx="8029575" cy="8027988"/>
          </a:xfrm>
          <a:solidFill>
            <a:schemeClr val="bg1"/>
          </a:solidFill>
        </p:grpSpPr>
        <p:sp>
          <p:nvSpPr>
            <p:cNvPr id="13" name="Freeform 23"/>
            <p:cNvSpPr>
              <a:spLocks noEditPoints="1"/>
            </p:cNvSpPr>
            <p:nvPr/>
          </p:nvSpPr>
          <p:spPr bwMode="auto">
            <a:xfrm>
              <a:off x="7938" y="-3175"/>
              <a:ext cx="8029575" cy="8027988"/>
            </a:xfrm>
            <a:custGeom>
              <a:avLst/>
              <a:gdLst>
                <a:gd name="T0" fmla="*/ 818 w 2138"/>
                <a:gd name="T1" fmla="*/ 1635 h 2138"/>
                <a:gd name="T2" fmla="*/ 818 w 2138"/>
                <a:gd name="T3" fmla="*/ 1635 h 2138"/>
                <a:gd name="T4" fmla="*/ 1257 w 2138"/>
                <a:gd name="T5" fmla="*/ 1507 h 2138"/>
                <a:gd name="T6" fmla="*/ 1301 w 2138"/>
                <a:gd name="T7" fmla="*/ 1550 h 2138"/>
                <a:gd name="T8" fmla="*/ 1249 w 2138"/>
                <a:gd name="T9" fmla="*/ 1602 h 2138"/>
                <a:gd name="T10" fmla="*/ 1711 w 2138"/>
                <a:gd name="T11" fmla="*/ 2064 h 2138"/>
                <a:gd name="T12" fmla="*/ 1888 w 2138"/>
                <a:gd name="T13" fmla="*/ 2138 h 2138"/>
                <a:gd name="T14" fmla="*/ 2065 w 2138"/>
                <a:gd name="T15" fmla="*/ 2064 h 2138"/>
                <a:gd name="T16" fmla="*/ 2138 w 2138"/>
                <a:gd name="T17" fmla="*/ 1888 h 2138"/>
                <a:gd name="T18" fmla="*/ 2065 w 2138"/>
                <a:gd name="T19" fmla="*/ 1711 h 2138"/>
                <a:gd name="T20" fmla="*/ 1603 w 2138"/>
                <a:gd name="T21" fmla="*/ 1248 h 2138"/>
                <a:gd name="T22" fmla="*/ 1551 w 2138"/>
                <a:gd name="T23" fmla="*/ 1300 h 2138"/>
                <a:gd name="T24" fmla="*/ 1507 w 2138"/>
                <a:gd name="T25" fmla="*/ 1257 h 2138"/>
                <a:gd name="T26" fmla="*/ 1633 w 2138"/>
                <a:gd name="T27" fmla="*/ 760 h 2138"/>
                <a:gd name="T28" fmla="*/ 1396 w 2138"/>
                <a:gd name="T29" fmla="*/ 239 h 2138"/>
                <a:gd name="T30" fmla="*/ 818 w 2138"/>
                <a:gd name="T31" fmla="*/ 0 h 2138"/>
                <a:gd name="T32" fmla="*/ 240 w 2138"/>
                <a:gd name="T33" fmla="*/ 239 h 2138"/>
                <a:gd name="T34" fmla="*/ 0 w 2138"/>
                <a:gd name="T35" fmla="*/ 817 h 2138"/>
                <a:gd name="T36" fmla="*/ 240 w 2138"/>
                <a:gd name="T37" fmla="*/ 1395 h 2138"/>
                <a:gd name="T38" fmla="*/ 818 w 2138"/>
                <a:gd name="T39" fmla="*/ 1635 h 2138"/>
                <a:gd name="T40" fmla="*/ 2009 w 2138"/>
                <a:gd name="T41" fmla="*/ 1888 h 2138"/>
                <a:gd name="T42" fmla="*/ 1973 w 2138"/>
                <a:gd name="T43" fmla="*/ 1973 h 2138"/>
                <a:gd name="T44" fmla="*/ 1888 w 2138"/>
                <a:gd name="T45" fmla="*/ 2008 h 2138"/>
                <a:gd name="T46" fmla="*/ 1803 w 2138"/>
                <a:gd name="T47" fmla="*/ 1973 h 2138"/>
                <a:gd name="T48" fmla="*/ 1444 w 2138"/>
                <a:gd name="T49" fmla="*/ 1614 h 2138"/>
                <a:gd name="T50" fmla="*/ 1614 w 2138"/>
                <a:gd name="T51" fmla="*/ 1444 h 2138"/>
                <a:gd name="T52" fmla="*/ 1973 w 2138"/>
                <a:gd name="T53" fmla="*/ 1802 h 2138"/>
                <a:gd name="T54" fmla="*/ 2009 w 2138"/>
                <a:gd name="T55" fmla="*/ 1888 h 2138"/>
                <a:gd name="T56" fmla="*/ 1392 w 2138"/>
                <a:gd name="T57" fmla="*/ 1459 h 2138"/>
                <a:gd name="T58" fmla="*/ 1361 w 2138"/>
                <a:gd name="T59" fmla="*/ 1427 h 2138"/>
                <a:gd name="T60" fmla="*/ 1362 w 2138"/>
                <a:gd name="T61" fmla="*/ 1427 h 2138"/>
                <a:gd name="T62" fmla="*/ 1377 w 2138"/>
                <a:gd name="T63" fmla="*/ 1413 h 2138"/>
                <a:gd name="T64" fmla="*/ 1380 w 2138"/>
                <a:gd name="T65" fmla="*/ 1410 h 2138"/>
                <a:gd name="T66" fmla="*/ 1396 w 2138"/>
                <a:gd name="T67" fmla="*/ 1395 h 2138"/>
                <a:gd name="T68" fmla="*/ 1411 w 2138"/>
                <a:gd name="T69" fmla="*/ 1380 h 2138"/>
                <a:gd name="T70" fmla="*/ 1413 w 2138"/>
                <a:gd name="T71" fmla="*/ 1377 h 2138"/>
                <a:gd name="T72" fmla="*/ 1428 w 2138"/>
                <a:gd name="T73" fmla="*/ 1361 h 2138"/>
                <a:gd name="T74" fmla="*/ 1428 w 2138"/>
                <a:gd name="T75" fmla="*/ 1361 h 2138"/>
                <a:gd name="T76" fmla="*/ 1459 w 2138"/>
                <a:gd name="T77" fmla="*/ 1392 h 2138"/>
                <a:gd name="T78" fmla="*/ 1392 w 2138"/>
                <a:gd name="T79" fmla="*/ 1459 h 2138"/>
                <a:gd name="T80" fmla="*/ 331 w 2138"/>
                <a:gd name="T81" fmla="*/ 331 h 2138"/>
                <a:gd name="T82" fmla="*/ 818 w 2138"/>
                <a:gd name="T83" fmla="*/ 129 h 2138"/>
                <a:gd name="T84" fmla="*/ 1304 w 2138"/>
                <a:gd name="T85" fmla="*/ 331 h 2138"/>
                <a:gd name="T86" fmla="*/ 1504 w 2138"/>
                <a:gd name="T87" fmla="*/ 769 h 2138"/>
                <a:gd name="T88" fmla="*/ 1371 w 2138"/>
                <a:gd name="T89" fmla="*/ 1226 h 2138"/>
                <a:gd name="T90" fmla="*/ 1371 w 2138"/>
                <a:gd name="T91" fmla="*/ 1226 h 2138"/>
                <a:gd name="T92" fmla="*/ 1304 w 2138"/>
                <a:gd name="T93" fmla="*/ 1303 h 2138"/>
                <a:gd name="T94" fmla="*/ 1280 w 2138"/>
                <a:gd name="T95" fmla="*/ 1326 h 2138"/>
                <a:gd name="T96" fmla="*/ 1226 w 2138"/>
                <a:gd name="T97" fmla="*/ 1370 h 2138"/>
                <a:gd name="T98" fmla="*/ 818 w 2138"/>
                <a:gd name="T99" fmla="*/ 1505 h 2138"/>
                <a:gd name="T100" fmla="*/ 331 w 2138"/>
                <a:gd name="T101" fmla="*/ 1303 h 2138"/>
                <a:gd name="T102" fmla="*/ 331 w 2138"/>
                <a:gd name="T103" fmla="*/ 331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38" h="2138">
                  <a:moveTo>
                    <a:pt x="818" y="1635"/>
                  </a:moveTo>
                  <a:cubicBezTo>
                    <a:pt x="818" y="1635"/>
                    <a:pt x="818" y="1635"/>
                    <a:pt x="818" y="1635"/>
                  </a:cubicBezTo>
                  <a:cubicBezTo>
                    <a:pt x="975" y="1635"/>
                    <a:pt x="1126" y="1590"/>
                    <a:pt x="1257" y="1507"/>
                  </a:cubicBezTo>
                  <a:cubicBezTo>
                    <a:pt x="1301" y="1550"/>
                    <a:pt x="1301" y="1550"/>
                    <a:pt x="1301" y="1550"/>
                  </a:cubicBezTo>
                  <a:cubicBezTo>
                    <a:pt x="1249" y="1602"/>
                    <a:pt x="1249" y="1602"/>
                    <a:pt x="1249" y="1602"/>
                  </a:cubicBezTo>
                  <a:cubicBezTo>
                    <a:pt x="1711" y="2064"/>
                    <a:pt x="1711" y="2064"/>
                    <a:pt x="1711" y="2064"/>
                  </a:cubicBezTo>
                  <a:cubicBezTo>
                    <a:pt x="1758" y="2112"/>
                    <a:pt x="1821" y="2138"/>
                    <a:pt x="1888" y="2138"/>
                  </a:cubicBezTo>
                  <a:cubicBezTo>
                    <a:pt x="1955" y="2138"/>
                    <a:pt x="2018" y="2112"/>
                    <a:pt x="2065" y="2064"/>
                  </a:cubicBezTo>
                  <a:cubicBezTo>
                    <a:pt x="2112" y="2017"/>
                    <a:pt x="2138" y="1954"/>
                    <a:pt x="2138" y="1888"/>
                  </a:cubicBezTo>
                  <a:cubicBezTo>
                    <a:pt x="2138" y="1821"/>
                    <a:pt x="2112" y="1758"/>
                    <a:pt x="2065" y="1711"/>
                  </a:cubicBezTo>
                  <a:cubicBezTo>
                    <a:pt x="1603" y="1248"/>
                    <a:pt x="1603" y="1248"/>
                    <a:pt x="1603" y="1248"/>
                  </a:cubicBezTo>
                  <a:cubicBezTo>
                    <a:pt x="1551" y="1300"/>
                    <a:pt x="1551" y="1300"/>
                    <a:pt x="1551" y="1300"/>
                  </a:cubicBezTo>
                  <a:cubicBezTo>
                    <a:pt x="1507" y="1257"/>
                    <a:pt x="1507" y="1257"/>
                    <a:pt x="1507" y="1257"/>
                  </a:cubicBezTo>
                  <a:cubicBezTo>
                    <a:pt x="1601" y="1110"/>
                    <a:pt x="1645" y="935"/>
                    <a:pt x="1633" y="760"/>
                  </a:cubicBezTo>
                  <a:cubicBezTo>
                    <a:pt x="1619" y="563"/>
                    <a:pt x="1535" y="379"/>
                    <a:pt x="1396" y="239"/>
                  </a:cubicBezTo>
                  <a:cubicBezTo>
                    <a:pt x="1241" y="85"/>
                    <a:pt x="1036" y="0"/>
                    <a:pt x="818" y="0"/>
                  </a:cubicBezTo>
                  <a:cubicBezTo>
                    <a:pt x="599" y="0"/>
                    <a:pt x="394" y="85"/>
                    <a:pt x="240" y="239"/>
                  </a:cubicBezTo>
                  <a:cubicBezTo>
                    <a:pt x="85" y="394"/>
                    <a:pt x="0" y="599"/>
                    <a:pt x="0" y="817"/>
                  </a:cubicBezTo>
                  <a:cubicBezTo>
                    <a:pt x="0" y="1036"/>
                    <a:pt x="85" y="1241"/>
                    <a:pt x="240" y="1395"/>
                  </a:cubicBezTo>
                  <a:cubicBezTo>
                    <a:pt x="394" y="1550"/>
                    <a:pt x="599" y="1635"/>
                    <a:pt x="818" y="1635"/>
                  </a:cubicBezTo>
                  <a:close/>
                  <a:moveTo>
                    <a:pt x="2009" y="1888"/>
                  </a:moveTo>
                  <a:cubicBezTo>
                    <a:pt x="2009" y="1920"/>
                    <a:pt x="1996" y="1950"/>
                    <a:pt x="1973" y="1973"/>
                  </a:cubicBezTo>
                  <a:cubicBezTo>
                    <a:pt x="1950" y="1996"/>
                    <a:pt x="1920" y="2008"/>
                    <a:pt x="1888" y="2008"/>
                  </a:cubicBezTo>
                  <a:cubicBezTo>
                    <a:pt x="1856" y="2008"/>
                    <a:pt x="1826" y="1996"/>
                    <a:pt x="1803" y="1973"/>
                  </a:cubicBezTo>
                  <a:cubicBezTo>
                    <a:pt x="1444" y="1614"/>
                    <a:pt x="1444" y="1614"/>
                    <a:pt x="1444" y="1614"/>
                  </a:cubicBezTo>
                  <a:cubicBezTo>
                    <a:pt x="1614" y="1444"/>
                    <a:pt x="1614" y="1444"/>
                    <a:pt x="1614" y="1444"/>
                  </a:cubicBezTo>
                  <a:cubicBezTo>
                    <a:pt x="1973" y="1802"/>
                    <a:pt x="1973" y="1802"/>
                    <a:pt x="1973" y="1802"/>
                  </a:cubicBezTo>
                  <a:cubicBezTo>
                    <a:pt x="1996" y="1825"/>
                    <a:pt x="2009" y="1855"/>
                    <a:pt x="2009" y="1888"/>
                  </a:cubicBezTo>
                  <a:close/>
                  <a:moveTo>
                    <a:pt x="1392" y="1459"/>
                  </a:moveTo>
                  <a:cubicBezTo>
                    <a:pt x="1361" y="1427"/>
                    <a:pt x="1361" y="1427"/>
                    <a:pt x="1361" y="1427"/>
                  </a:cubicBezTo>
                  <a:cubicBezTo>
                    <a:pt x="1361" y="1427"/>
                    <a:pt x="1362" y="1427"/>
                    <a:pt x="1362" y="1427"/>
                  </a:cubicBezTo>
                  <a:cubicBezTo>
                    <a:pt x="1367" y="1422"/>
                    <a:pt x="1372" y="1418"/>
                    <a:pt x="1377" y="1413"/>
                  </a:cubicBezTo>
                  <a:cubicBezTo>
                    <a:pt x="1378" y="1412"/>
                    <a:pt x="1379" y="1411"/>
                    <a:pt x="1380" y="1410"/>
                  </a:cubicBezTo>
                  <a:cubicBezTo>
                    <a:pt x="1385" y="1405"/>
                    <a:pt x="1391" y="1400"/>
                    <a:pt x="1396" y="1395"/>
                  </a:cubicBezTo>
                  <a:cubicBezTo>
                    <a:pt x="1401" y="1390"/>
                    <a:pt x="1406" y="1385"/>
                    <a:pt x="1411" y="1380"/>
                  </a:cubicBezTo>
                  <a:cubicBezTo>
                    <a:pt x="1411" y="1379"/>
                    <a:pt x="1412" y="1378"/>
                    <a:pt x="1413" y="1377"/>
                  </a:cubicBezTo>
                  <a:cubicBezTo>
                    <a:pt x="1418" y="1372"/>
                    <a:pt x="1423" y="1366"/>
                    <a:pt x="1428" y="1361"/>
                  </a:cubicBezTo>
                  <a:cubicBezTo>
                    <a:pt x="1428" y="1361"/>
                    <a:pt x="1428" y="1361"/>
                    <a:pt x="1428" y="1361"/>
                  </a:cubicBezTo>
                  <a:cubicBezTo>
                    <a:pt x="1459" y="1392"/>
                    <a:pt x="1459" y="1392"/>
                    <a:pt x="1459" y="1392"/>
                  </a:cubicBezTo>
                  <a:lnTo>
                    <a:pt x="1392" y="1459"/>
                  </a:lnTo>
                  <a:close/>
                  <a:moveTo>
                    <a:pt x="331" y="331"/>
                  </a:moveTo>
                  <a:cubicBezTo>
                    <a:pt x="461" y="201"/>
                    <a:pt x="634" y="129"/>
                    <a:pt x="818" y="129"/>
                  </a:cubicBezTo>
                  <a:cubicBezTo>
                    <a:pt x="1001" y="129"/>
                    <a:pt x="1174" y="201"/>
                    <a:pt x="1304" y="331"/>
                  </a:cubicBezTo>
                  <a:cubicBezTo>
                    <a:pt x="1421" y="448"/>
                    <a:pt x="1492" y="604"/>
                    <a:pt x="1504" y="769"/>
                  </a:cubicBezTo>
                  <a:cubicBezTo>
                    <a:pt x="1515" y="932"/>
                    <a:pt x="1468" y="1095"/>
                    <a:pt x="1371" y="1226"/>
                  </a:cubicBezTo>
                  <a:cubicBezTo>
                    <a:pt x="1371" y="1226"/>
                    <a:pt x="1371" y="1226"/>
                    <a:pt x="1371" y="1226"/>
                  </a:cubicBezTo>
                  <a:cubicBezTo>
                    <a:pt x="1351" y="1253"/>
                    <a:pt x="1328" y="1279"/>
                    <a:pt x="1304" y="1303"/>
                  </a:cubicBezTo>
                  <a:cubicBezTo>
                    <a:pt x="1296" y="1311"/>
                    <a:pt x="1288" y="1319"/>
                    <a:pt x="1280" y="1326"/>
                  </a:cubicBezTo>
                  <a:cubicBezTo>
                    <a:pt x="1263" y="1342"/>
                    <a:pt x="1245" y="1357"/>
                    <a:pt x="1226" y="1370"/>
                  </a:cubicBezTo>
                  <a:cubicBezTo>
                    <a:pt x="1107" y="1458"/>
                    <a:pt x="966" y="1505"/>
                    <a:pt x="818" y="1505"/>
                  </a:cubicBezTo>
                  <a:cubicBezTo>
                    <a:pt x="634" y="1505"/>
                    <a:pt x="461" y="1433"/>
                    <a:pt x="331" y="1303"/>
                  </a:cubicBezTo>
                  <a:cubicBezTo>
                    <a:pt x="63" y="1035"/>
                    <a:pt x="63" y="599"/>
                    <a:pt x="331" y="33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sz="1350">
                <a:solidFill>
                  <a:schemeClr val="tx1">
                    <a:lumMod val="75000"/>
                    <a:lumOff val="25000"/>
                  </a:schemeClr>
                </a:solidFill>
                <a:latin typeface="+mj-lt"/>
              </a:endParaRPr>
            </a:p>
          </p:txBody>
        </p:sp>
        <p:sp>
          <p:nvSpPr>
            <p:cNvPr id="14" name="Freeform 24"/>
            <p:cNvSpPr>
              <a:spLocks noEditPoints="1"/>
            </p:cNvSpPr>
            <p:nvPr/>
          </p:nvSpPr>
          <p:spPr bwMode="auto">
            <a:xfrm>
              <a:off x="788988" y="976313"/>
              <a:ext cx="4578350" cy="4176713"/>
            </a:xfrm>
            <a:custGeom>
              <a:avLst/>
              <a:gdLst>
                <a:gd name="T0" fmla="*/ 577 w 1219"/>
                <a:gd name="T1" fmla="*/ 1111 h 1112"/>
                <a:gd name="T2" fmla="*/ 577 w 1219"/>
                <a:gd name="T3" fmla="*/ 1112 h 1112"/>
                <a:gd name="T4" fmla="*/ 610 w 1219"/>
                <a:gd name="T5" fmla="*/ 1112 h 1112"/>
                <a:gd name="T6" fmla="*/ 940 w 1219"/>
                <a:gd name="T7" fmla="*/ 1003 h 1112"/>
                <a:gd name="T8" fmla="*/ 1002 w 1219"/>
                <a:gd name="T9" fmla="*/ 949 h 1112"/>
                <a:gd name="T10" fmla="*/ 1057 w 1219"/>
                <a:gd name="T11" fmla="*/ 886 h 1112"/>
                <a:gd name="T12" fmla="*/ 1003 w 1219"/>
                <a:gd name="T13" fmla="*/ 163 h 1112"/>
                <a:gd name="T14" fmla="*/ 610 w 1219"/>
                <a:gd name="T15" fmla="*/ 0 h 1112"/>
                <a:gd name="T16" fmla="*/ 217 w 1219"/>
                <a:gd name="T17" fmla="*/ 163 h 1112"/>
                <a:gd name="T18" fmla="*/ 217 w 1219"/>
                <a:gd name="T19" fmla="*/ 949 h 1112"/>
                <a:gd name="T20" fmla="*/ 577 w 1219"/>
                <a:gd name="T21" fmla="*/ 1111 h 1112"/>
                <a:gd name="T22" fmla="*/ 262 w 1219"/>
                <a:gd name="T23" fmla="*/ 209 h 1112"/>
                <a:gd name="T24" fmla="*/ 610 w 1219"/>
                <a:gd name="T25" fmla="*/ 65 h 1112"/>
                <a:gd name="T26" fmla="*/ 957 w 1219"/>
                <a:gd name="T27" fmla="*/ 209 h 1112"/>
                <a:gd name="T28" fmla="*/ 1005 w 1219"/>
                <a:gd name="T29" fmla="*/ 848 h 1112"/>
                <a:gd name="T30" fmla="*/ 957 w 1219"/>
                <a:gd name="T31" fmla="*/ 903 h 1112"/>
                <a:gd name="T32" fmla="*/ 901 w 1219"/>
                <a:gd name="T33" fmla="*/ 951 h 1112"/>
                <a:gd name="T34" fmla="*/ 612 w 1219"/>
                <a:gd name="T35" fmla="*/ 1047 h 1112"/>
                <a:gd name="T36" fmla="*/ 610 w 1219"/>
                <a:gd name="T37" fmla="*/ 1047 h 1112"/>
                <a:gd name="T38" fmla="*/ 262 w 1219"/>
                <a:gd name="T39" fmla="*/ 903 h 1112"/>
                <a:gd name="T40" fmla="*/ 262 w 1219"/>
                <a:gd name="T41" fmla="*/ 209 h 1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9" h="1112">
                  <a:moveTo>
                    <a:pt x="577" y="1111"/>
                  </a:moveTo>
                  <a:cubicBezTo>
                    <a:pt x="577" y="1112"/>
                    <a:pt x="577" y="1112"/>
                    <a:pt x="577" y="1112"/>
                  </a:cubicBezTo>
                  <a:cubicBezTo>
                    <a:pt x="610" y="1112"/>
                    <a:pt x="610" y="1112"/>
                    <a:pt x="610" y="1112"/>
                  </a:cubicBezTo>
                  <a:cubicBezTo>
                    <a:pt x="730" y="1112"/>
                    <a:pt x="844" y="1074"/>
                    <a:pt x="940" y="1003"/>
                  </a:cubicBezTo>
                  <a:cubicBezTo>
                    <a:pt x="962" y="987"/>
                    <a:pt x="983" y="969"/>
                    <a:pt x="1002" y="949"/>
                  </a:cubicBezTo>
                  <a:cubicBezTo>
                    <a:pt x="1022" y="930"/>
                    <a:pt x="1040" y="908"/>
                    <a:pt x="1057" y="886"/>
                  </a:cubicBezTo>
                  <a:cubicBezTo>
                    <a:pt x="1219" y="667"/>
                    <a:pt x="1196" y="356"/>
                    <a:pt x="1003" y="163"/>
                  </a:cubicBezTo>
                  <a:cubicBezTo>
                    <a:pt x="898" y="58"/>
                    <a:pt x="758" y="0"/>
                    <a:pt x="610" y="0"/>
                  </a:cubicBezTo>
                  <a:cubicBezTo>
                    <a:pt x="461" y="0"/>
                    <a:pt x="322" y="58"/>
                    <a:pt x="217" y="163"/>
                  </a:cubicBezTo>
                  <a:cubicBezTo>
                    <a:pt x="0" y="380"/>
                    <a:pt x="0" y="732"/>
                    <a:pt x="217" y="949"/>
                  </a:cubicBezTo>
                  <a:cubicBezTo>
                    <a:pt x="314" y="1046"/>
                    <a:pt x="441" y="1103"/>
                    <a:pt x="577" y="1111"/>
                  </a:cubicBezTo>
                  <a:close/>
                  <a:moveTo>
                    <a:pt x="262" y="209"/>
                  </a:moveTo>
                  <a:cubicBezTo>
                    <a:pt x="355" y="116"/>
                    <a:pt x="478" y="65"/>
                    <a:pt x="610" y="65"/>
                  </a:cubicBezTo>
                  <a:cubicBezTo>
                    <a:pt x="741" y="65"/>
                    <a:pt x="864" y="116"/>
                    <a:pt x="957" y="209"/>
                  </a:cubicBezTo>
                  <a:cubicBezTo>
                    <a:pt x="1127" y="380"/>
                    <a:pt x="1148" y="654"/>
                    <a:pt x="1005" y="848"/>
                  </a:cubicBezTo>
                  <a:cubicBezTo>
                    <a:pt x="990" y="867"/>
                    <a:pt x="974" y="886"/>
                    <a:pt x="957" y="903"/>
                  </a:cubicBezTo>
                  <a:cubicBezTo>
                    <a:pt x="939" y="921"/>
                    <a:pt x="921" y="937"/>
                    <a:pt x="901" y="951"/>
                  </a:cubicBezTo>
                  <a:cubicBezTo>
                    <a:pt x="817" y="1013"/>
                    <a:pt x="717" y="1046"/>
                    <a:pt x="612" y="1047"/>
                  </a:cubicBezTo>
                  <a:cubicBezTo>
                    <a:pt x="610" y="1047"/>
                    <a:pt x="610" y="1047"/>
                    <a:pt x="610" y="1047"/>
                  </a:cubicBezTo>
                  <a:cubicBezTo>
                    <a:pt x="478" y="1047"/>
                    <a:pt x="355" y="996"/>
                    <a:pt x="262" y="903"/>
                  </a:cubicBezTo>
                  <a:cubicBezTo>
                    <a:pt x="71" y="712"/>
                    <a:pt x="71" y="400"/>
                    <a:pt x="262" y="2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sz="1350">
                <a:solidFill>
                  <a:schemeClr val="tx1">
                    <a:lumMod val="75000"/>
                    <a:lumOff val="25000"/>
                  </a:schemeClr>
                </a:solidFill>
                <a:latin typeface="+mj-lt"/>
              </a:endParaRPr>
            </a:p>
          </p:txBody>
        </p:sp>
      </p:grpSp>
      <p:grpSp>
        <p:nvGrpSpPr>
          <p:cNvPr id="15" name="Group 14"/>
          <p:cNvGrpSpPr/>
          <p:nvPr/>
        </p:nvGrpSpPr>
        <p:grpSpPr>
          <a:xfrm>
            <a:off x="7154655" y="2378915"/>
            <a:ext cx="488728" cy="397494"/>
            <a:chOff x="3175" y="0"/>
            <a:chExt cx="9269413" cy="7539038"/>
          </a:xfrm>
          <a:solidFill>
            <a:schemeClr val="bg1"/>
          </a:solidFill>
        </p:grpSpPr>
        <p:sp>
          <p:nvSpPr>
            <p:cNvPr id="16" name="Freeform 28"/>
            <p:cNvSpPr>
              <a:spLocks noEditPoints="1"/>
            </p:cNvSpPr>
            <p:nvPr/>
          </p:nvSpPr>
          <p:spPr bwMode="auto">
            <a:xfrm>
              <a:off x="3175" y="0"/>
              <a:ext cx="9269413" cy="7539038"/>
            </a:xfrm>
            <a:custGeom>
              <a:avLst/>
              <a:gdLst>
                <a:gd name="T0" fmla="*/ 0 w 2469"/>
                <a:gd name="T1" fmla="*/ 0 h 2007"/>
                <a:gd name="T2" fmla="*/ 0 w 2469"/>
                <a:gd name="T3" fmla="*/ 251 h 2007"/>
                <a:gd name="T4" fmla="*/ 118 w 2469"/>
                <a:gd name="T5" fmla="*/ 251 h 2007"/>
                <a:gd name="T6" fmla="*/ 118 w 2469"/>
                <a:gd name="T7" fmla="*/ 1489 h 2007"/>
                <a:gd name="T8" fmla="*/ 1168 w 2469"/>
                <a:gd name="T9" fmla="*/ 1489 h 2007"/>
                <a:gd name="T10" fmla="*/ 1168 w 2469"/>
                <a:gd name="T11" fmla="*/ 1818 h 2007"/>
                <a:gd name="T12" fmla="*/ 855 w 2469"/>
                <a:gd name="T13" fmla="*/ 1818 h 2007"/>
                <a:gd name="T14" fmla="*/ 732 w 2469"/>
                <a:gd name="T15" fmla="*/ 1923 h 2007"/>
                <a:gd name="T16" fmla="*/ 732 w 2469"/>
                <a:gd name="T17" fmla="*/ 2007 h 2007"/>
                <a:gd name="T18" fmla="*/ 1738 w 2469"/>
                <a:gd name="T19" fmla="*/ 2007 h 2007"/>
                <a:gd name="T20" fmla="*/ 1738 w 2469"/>
                <a:gd name="T21" fmla="*/ 1923 h 2007"/>
                <a:gd name="T22" fmla="*/ 1614 w 2469"/>
                <a:gd name="T23" fmla="*/ 1818 h 2007"/>
                <a:gd name="T24" fmla="*/ 1302 w 2469"/>
                <a:gd name="T25" fmla="*/ 1818 h 2007"/>
                <a:gd name="T26" fmla="*/ 1302 w 2469"/>
                <a:gd name="T27" fmla="*/ 1489 h 2007"/>
                <a:gd name="T28" fmla="*/ 2351 w 2469"/>
                <a:gd name="T29" fmla="*/ 1489 h 2007"/>
                <a:gd name="T30" fmla="*/ 2351 w 2469"/>
                <a:gd name="T31" fmla="*/ 251 h 2007"/>
                <a:gd name="T32" fmla="*/ 2469 w 2469"/>
                <a:gd name="T33" fmla="*/ 251 h 2007"/>
                <a:gd name="T34" fmla="*/ 2469 w 2469"/>
                <a:gd name="T35" fmla="*/ 0 h 2007"/>
                <a:gd name="T36" fmla="*/ 0 w 2469"/>
                <a:gd name="T37" fmla="*/ 0 h 2007"/>
                <a:gd name="T38" fmla="*/ 2217 w 2469"/>
                <a:gd name="T39" fmla="*/ 1355 h 2007"/>
                <a:gd name="T40" fmla="*/ 253 w 2469"/>
                <a:gd name="T41" fmla="*/ 1355 h 2007"/>
                <a:gd name="T42" fmla="*/ 253 w 2469"/>
                <a:gd name="T43" fmla="*/ 257 h 2007"/>
                <a:gd name="T44" fmla="*/ 2217 w 2469"/>
                <a:gd name="T45" fmla="*/ 257 h 2007"/>
                <a:gd name="T46" fmla="*/ 2217 w 2469"/>
                <a:gd name="T47" fmla="*/ 1355 h 2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69" h="2007">
                  <a:moveTo>
                    <a:pt x="0" y="0"/>
                  </a:moveTo>
                  <a:cubicBezTo>
                    <a:pt x="0" y="251"/>
                    <a:pt x="0" y="251"/>
                    <a:pt x="0" y="251"/>
                  </a:cubicBezTo>
                  <a:cubicBezTo>
                    <a:pt x="118" y="251"/>
                    <a:pt x="118" y="251"/>
                    <a:pt x="118" y="251"/>
                  </a:cubicBezTo>
                  <a:cubicBezTo>
                    <a:pt x="118" y="1489"/>
                    <a:pt x="118" y="1489"/>
                    <a:pt x="118" y="1489"/>
                  </a:cubicBezTo>
                  <a:cubicBezTo>
                    <a:pt x="1168" y="1489"/>
                    <a:pt x="1168" y="1489"/>
                    <a:pt x="1168" y="1489"/>
                  </a:cubicBezTo>
                  <a:cubicBezTo>
                    <a:pt x="1168" y="1818"/>
                    <a:pt x="1168" y="1818"/>
                    <a:pt x="1168" y="1818"/>
                  </a:cubicBezTo>
                  <a:cubicBezTo>
                    <a:pt x="855" y="1818"/>
                    <a:pt x="855" y="1818"/>
                    <a:pt x="855" y="1818"/>
                  </a:cubicBezTo>
                  <a:cubicBezTo>
                    <a:pt x="787" y="1818"/>
                    <a:pt x="732" y="1865"/>
                    <a:pt x="732" y="1923"/>
                  </a:cubicBezTo>
                  <a:cubicBezTo>
                    <a:pt x="732" y="2007"/>
                    <a:pt x="732" y="2007"/>
                    <a:pt x="732" y="2007"/>
                  </a:cubicBezTo>
                  <a:cubicBezTo>
                    <a:pt x="1738" y="2007"/>
                    <a:pt x="1738" y="2007"/>
                    <a:pt x="1738" y="2007"/>
                  </a:cubicBezTo>
                  <a:cubicBezTo>
                    <a:pt x="1738" y="1923"/>
                    <a:pt x="1738" y="1923"/>
                    <a:pt x="1738" y="1923"/>
                  </a:cubicBezTo>
                  <a:cubicBezTo>
                    <a:pt x="1738" y="1865"/>
                    <a:pt x="1682" y="1818"/>
                    <a:pt x="1614" y="1818"/>
                  </a:cubicBezTo>
                  <a:cubicBezTo>
                    <a:pt x="1302" y="1818"/>
                    <a:pt x="1302" y="1818"/>
                    <a:pt x="1302" y="1818"/>
                  </a:cubicBezTo>
                  <a:cubicBezTo>
                    <a:pt x="1302" y="1489"/>
                    <a:pt x="1302" y="1489"/>
                    <a:pt x="1302" y="1489"/>
                  </a:cubicBezTo>
                  <a:cubicBezTo>
                    <a:pt x="2351" y="1489"/>
                    <a:pt x="2351" y="1489"/>
                    <a:pt x="2351" y="1489"/>
                  </a:cubicBezTo>
                  <a:cubicBezTo>
                    <a:pt x="2351" y="251"/>
                    <a:pt x="2351" y="251"/>
                    <a:pt x="2351" y="251"/>
                  </a:cubicBezTo>
                  <a:cubicBezTo>
                    <a:pt x="2469" y="251"/>
                    <a:pt x="2469" y="251"/>
                    <a:pt x="2469" y="251"/>
                  </a:cubicBezTo>
                  <a:cubicBezTo>
                    <a:pt x="2469" y="0"/>
                    <a:pt x="2469" y="0"/>
                    <a:pt x="2469" y="0"/>
                  </a:cubicBezTo>
                  <a:lnTo>
                    <a:pt x="0" y="0"/>
                  </a:lnTo>
                  <a:close/>
                  <a:moveTo>
                    <a:pt x="2217" y="1355"/>
                  </a:moveTo>
                  <a:cubicBezTo>
                    <a:pt x="253" y="1355"/>
                    <a:pt x="253" y="1355"/>
                    <a:pt x="253" y="1355"/>
                  </a:cubicBezTo>
                  <a:cubicBezTo>
                    <a:pt x="253" y="257"/>
                    <a:pt x="253" y="257"/>
                    <a:pt x="253" y="257"/>
                  </a:cubicBezTo>
                  <a:cubicBezTo>
                    <a:pt x="2217" y="257"/>
                    <a:pt x="2217" y="257"/>
                    <a:pt x="2217" y="257"/>
                  </a:cubicBezTo>
                  <a:lnTo>
                    <a:pt x="2217" y="135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sz="1350">
                <a:solidFill>
                  <a:schemeClr val="tx1">
                    <a:lumMod val="75000"/>
                    <a:lumOff val="25000"/>
                  </a:schemeClr>
                </a:solidFill>
                <a:latin typeface="+mj-lt"/>
              </a:endParaRPr>
            </a:p>
          </p:txBody>
        </p:sp>
        <p:sp>
          <p:nvSpPr>
            <p:cNvPr id="17" name="Freeform 29"/>
            <p:cNvSpPr>
              <a:spLocks noEditPoints="1"/>
            </p:cNvSpPr>
            <p:nvPr/>
          </p:nvSpPr>
          <p:spPr bwMode="auto">
            <a:xfrm>
              <a:off x="1466850" y="1352550"/>
              <a:ext cx="6345238" cy="3349625"/>
            </a:xfrm>
            <a:custGeom>
              <a:avLst/>
              <a:gdLst>
                <a:gd name="T0" fmla="*/ 113 w 1690"/>
                <a:gd name="T1" fmla="*/ 892 h 892"/>
                <a:gd name="T2" fmla="*/ 227 w 1690"/>
                <a:gd name="T3" fmla="*/ 778 h 892"/>
                <a:gd name="T4" fmla="*/ 218 w 1690"/>
                <a:gd name="T5" fmla="*/ 735 h 892"/>
                <a:gd name="T6" fmla="*/ 472 w 1690"/>
                <a:gd name="T7" fmla="*/ 530 h 892"/>
                <a:gd name="T8" fmla="*/ 549 w 1690"/>
                <a:gd name="T9" fmla="*/ 560 h 892"/>
                <a:gd name="T10" fmla="*/ 646 w 1690"/>
                <a:gd name="T11" fmla="*/ 507 h 892"/>
                <a:gd name="T12" fmla="*/ 897 w 1690"/>
                <a:gd name="T13" fmla="*/ 637 h 892"/>
                <a:gd name="T14" fmla="*/ 895 w 1690"/>
                <a:gd name="T15" fmla="*/ 659 h 892"/>
                <a:gd name="T16" fmla="*/ 1008 w 1690"/>
                <a:gd name="T17" fmla="*/ 773 h 892"/>
                <a:gd name="T18" fmla="*/ 1122 w 1690"/>
                <a:gd name="T19" fmla="*/ 659 h 892"/>
                <a:gd name="T20" fmla="*/ 1109 w 1690"/>
                <a:gd name="T21" fmla="*/ 607 h 892"/>
                <a:gd name="T22" fmla="*/ 1520 w 1690"/>
                <a:gd name="T23" fmla="*/ 213 h 892"/>
                <a:gd name="T24" fmla="*/ 1576 w 1690"/>
                <a:gd name="T25" fmla="*/ 228 h 892"/>
                <a:gd name="T26" fmla="*/ 1690 w 1690"/>
                <a:gd name="T27" fmla="*/ 114 h 892"/>
                <a:gd name="T28" fmla="*/ 1576 w 1690"/>
                <a:gd name="T29" fmla="*/ 0 h 892"/>
                <a:gd name="T30" fmla="*/ 1463 w 1690"/>
                <a:gd name="T31" fmla="*/ 114 h 892"/>
                <a:gd name="T32" fmla="*/ 1475 w 1690"/>
                <a:gd name="T33" fmla="*/ 167 h 892"/>
                <a:gd name="T34" fmla="*/ 1065 w 1690"/>
                <a:gd name="T35" fmla="*/ 561 h 892"/>
                <a:gd name="T36" fmla="*/ 1008 w 1690"/>
                <a:gd name="T37" fmla="*/ 546 h 892"/>
                <a:gd name="T38" fmla="*/ 926 w 1690"/>
                <a:gd name="T39" fmla="*/ 581 h 892"/>
                <a:gd name="T40" fmla="*/ 663 w 1690"/>
                <a:gd name="T41" fmla="*/ 444 h 892"/>
                <a:gd name="T42" fmla="*/ 549 w 1690"/>
                <a:gd name="T43" fmla="*/ 333 h 892"/>
                <a:gd name="T44" fmla="*/ 436 w 1690"/>
                <a:gd name="T45" fmla="*/ 446 h 892"/>
                <a:gd name="T46" fmla="*/ 439 w 1690"/>
                <a:gd name="T47" fmla="*/ 474 h 892"/>
                <a:gd name="T48" fmla="*/ 178 w 1690"/>
                <a:gd name="T49" fmla="*/ 685 h 892"/>
                <a:gd name="T50" fmla="*/ 113 w 1690"/>
                <a:gd name="T51" fmla="*/ 665 h 892"/>
                <a:gd name="T52" fmla="*/ 0 w 1690"/>
                <a:gd name="T53" fmla="*/ 778 h 892"/>
                <a:gd name="T54" fmla="*/ 113 w 1690"/>
                <a:gd name="T55" fmla="*/ 892 h 892"/>
                <a:gd name="T56" fmla="*/ 1576 w 1690"/>
                <a:gd name="T57" fmla="*/ 64 h 892"/>
                <a:gd name="T58" fmla="*/ 1626 w 1690"/>
                <a:gd name="T59" fmla="*/ 114 h 892"/>
                <a:gd name="T60" fmla="*/ 1576 w 1690"/>
                <a:gd name="T61" fmla="*/ 164 h 892"/>
                <a:gd name="T62" fmla="*/ 1526 w 1690"/>
                <a:gd name="T63" fmla="*/ 114 h 892"/>
                <a:gd name="T64" fmla="*/ 1576 w 1690"/>
                <a:gd name="T65" fmla="*/ 64 h 892"/>
                <a:gd name="T66" fmla="*/ 1008 w 1690"/>
                <a:gd name="T67" fmla="*/ 609 h 892"/>
                <a:gd name="T68" fmla="*/ 1058 w 1690"/>
                <a:gd name="T69" fmla="*/ 659 h 892"/>
                <a:gd name="T70" fmla="*/ 1008 w 1690"/>
                <a:gd name="T71" fmla="*/ 709 h 892"/>
                <a:gd name="T72" fmla="*/ 958 w 1690"/>
                <a:gd name="T73" fmla="*/ 659 h 892"/>
                <a:gd name="T74" fmla="*/ 1008 w 1690"/>
                <a:gd name="T75" fmla="*/ 609 h 892"/>
                <a:gd name="T76" fmla="*/ 549 w 1690"/>
                <a:gd name="T77" fmla="*/ 396 h 892"/>
                <a:gd name="T78" fmla="*/ 599 w 1690"/>
                <a:gd name="T79" fmla="*/ 446 h 892"/>
                <a:gd name="T80" fmla="*/ 549 w 1690"/>
                <a:gd name="T81" fmla="*/ 496 h 892"/>
                <a:gd name="T82" fmla="*/ 500 w 1690"/>
                <a:gd name="T83" fmla="*/ 446 h 892"/>
                <a:gd name="T84" fmla="*/ 549 w 1690"/>
                <a:gd name="T85" fmla="*/ 396 h 892"/>
                <a:gd name="T86" fmla="*/ 113 w 1690"/>
                <a:gd name="T87" fmla="*/ 728 h 892"/>
                <a:gd name="T88" fmla="*/ 163 w 1690"/>
                <a:gd name="T89" fmla="*/ 778 h 892"/>
                <a:gd name="T90" fmla="*/ 113 w 1690"/>
                <a:gd name="T91" fmla="*/ 828 h 892"/>
                <a:gd name="T92" fmla="*/ 63 w 1690"/>
                <a:gd name="T93" fmla="*/ 778 h 892"/>
                <a:gd name="T94" fmla="*/ 113 w 1690"/>
                <a:gd name="T95" fmla="*/ 72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90" h="892">
                  <a:moveTo>
                    <a:pt x="113" y="892"/>
                  </a:moveTo>
                  <a:cubicBezTo>
                    <a:pt x="176" y="892"/>
                    <a:pt x="227" y="841"/>
                    <a:pt x="227" y="778"/>
                  </a:cubicBezTo>
                  <a:cubicBezTo>
                    <a:pt x="227" y="763"/>
                    <a:pt x="224" y="748"/>
                    <a:pt x="218" y="735"/>
                  </a:cubicBezTo>
                  <a:cubicBezTo>
                    <a:pt x="472" y="530"/>
                    <a:pt x="472" y="530"/>
                    <a:pt x="472" y="530"/>
                  </a:cubicBezTo>
                  <a:cubicBezTo>
                    <a:pt x="493" y="548"/>
                    <a:pt x="520" y="560"/>
                    <a:pt x="549" y="560"/>
                  </a:cubicBezTo>
                  <a:cubicBezTo>
                    <a:pt x="590" y="560"/>
                    <a:pt x="625" y="539"/>
                    <a:pt x="646" y="507"/>
                  </a:cubicBezTo>
                  <a:cubicBezTo>
                    <a:pt x="897" y="637"/>
                    <a:pt x="897" y="637"/>
                    <a:pt x="897" y="637"/>
                  </a:cubicBezTo>
                  <a:cubicBezTo>
                    <a:pt x="895" y="644"/>
                    <a:pt x="895" y="652"/>
                    <a:pt x="895" y="659"/>
                  </a:cubicBezTo>
                  <a:cubicBezTo>
                    <a:pt x="895" y="722"/>
                    <a:pt x="946" y="773"/>
                    <a:pt x="1008" y="773"/>
                  </a:cubicBezTo>
                  <a:cubicBezTo>
                    <a:pt x="1071" y="773"/>
                    <a:pt x="1122" y="722"/>
                    <a:pt x="1122" y="659"/>
                  </a:cubicBezTo>
                  <a:cubicBezTo>
                    <a:pt x="1122" y="640"/>
                    <a:pt x="1117" y="623"/>
                    <a:pt x="1109" y="607"/>
                  </a:cubicBezTo>
                  <a:cubicBezTo>
                    <a:pt x="1520" y="213"/>
                    <a:pt x="1520" y="213"/>
                    <a:pt x="1520" y="213"/>
                  </a:cubicBezTo>
                  <a:cubicBezTo>
                    <a:pt x="1536" y="222"/>
                    <a:pt x="1556" y="228"/>
                    <a:pt x="1576" y="228"/>
                  </a:cubicBezTo>
                  <a:cubicBezTo>
                    <a:pt x="1639" y="228"/>
                    <a:pt x="1690" y="177"/>
                    <a:pt x="1690" y="114"/>
                  </a:cubicBezTo>
                  <a:cubicBezTo>
                    <a:pt x="1690" y="51"/>
                    <a:pt x="1639" y="0"/>
                    <a:pt x="1576" y="0"/>
                  </a:cubicBezTo>
                  <a:cubicBezTo>
                    <a:pt x="1513" y="0"/>
                    <a:pt x="1463" y="51"/>
                    <a:pt x="1463" y="114"/>
                  </a:cubicBezTo>
                  <a:cubicBezTo>
                    <a:pt x="1463" y="133"/>
                    <a:pt x="1467" y="151"/>
                    <a:pt x="1475" y="167"/>
                  </a:cubicBezTo>
                  <a:cubicBezTo>
                    <a:pt x="1065" y="561"/>
                    <a:pt x="1065" y="561"/>
                    <a:pt x="1065" y="561"/>
                  </a:cubicBezTo>
                  <a:cubicBezTo>
                    <a:pt x="1048" y="551"/>
                    <a:pt x="1029" y="546"/>
                    <a:pt x="1008" y="546"/>
                  </a:cubicBezTo>
                  <a:cubicBezTo>
                    <a:pt x="976" y="546"/>
                    <a:pt x="947" y="559"/>
                    <a:pt x="926" y="581"/>
                  </a:cubicBezTo>
                  <a:cubicBezTo>
                    <a:pt x="663" y="444"/>
                    <a:pt x="663" y="444"/>
                    <a:pt x="663" y="444"/>
                  </a:cubicBezTo>
                  <a:cubicBezTo>
                    <a:pt x="662" y="382"/>
                    <a:pt x="611" y="333"/>
                    <a:pt x="549" y="333"/>
                  </a:cubicBezTo>
                  <a:cubicBezTo>
                    <a:pt x="487" y="333"/>
                    <a:pt x="436" y="383"/>
                    <a:pt x="436" y="446"/>
                  </a:cubicBezTo>
                  <a:cubicBezTo>
                    <a:pt x="436" y="456"/>
                    <a:pt x="437" y="465"/>
                    <a:pt x="439" y="474"/>
                  </a:cubicBezTo>
                  <a:cubicBezTo>
                    <a:pt x="178" y="685"/>
                    <a:pt x="178" y="685"/>
                    <a:pt x="178" y="685"/>
                  </a:cubicBezTo>
                  <a:cubicBezTo>
                    <a:pt x="160" y="672"/>
                    <a:pt x="137" y="665"/>
                    <a:pt x="113" y="665"/>
                  </a:cubicBezTo>
                  <a:cubicBezTo>
                    <a:pt x="51" y="665"/>
                    <a:pt x="0" y="716"/>
                    <a:pt x="0" y="778"/>
                  </a:cubicBezTo>
                  <a:cubicBezTo>
                    <a:pt x="0" y="841"/>
                    <a:pt x="51" y="892"/>
                    <a:pt x="113" y="892"/>
                  </a:cubicBezTo>
                  <a:close/>
                  <a:moveTo>
                    <a:pt x="1576" y="64"/>
                  </a:moveTo>
                  <a:cubicBezTo>
                    <a:pt x="1604" y="64"/>
                    <a:pt x="1626" y="87"/>
                    <a:pt x="1626" y="114"/>
                  </a:cubicBezTo>
                  <a:cubicBezTo>
                    <a:pt x="1626" y="142"/>
                    <a:pt x="1604" y="164"/>
                    <a:pt x="1576" y="164"/>
                  </a:cubicBezTo>
                  <a:cubicBezTo>
                    <a:pt x="1549" y="164"/>
                    <a:pt x="1526" y="142"/>
                    <a:pt x="1526" y="114"/>
                  </a:cubicBezTo>
                  <a:cubicBezTo>
                    <a:pt x="1526" y="87"/>
                    <a:pt x="1549" y="64"/>
                    <a:pt x="1576" y="64"/>
                  </a:cubicBezTo>
                  <a:close/>
                  <a:moveTo>
                    <a:pt x="1008" y="609"/>
                  </a:moveTo>
                  <a:cubicBezTo>
                    <a:pt x="1036" y="609"/>
                    <a:pt x="1058" y="632"/>
                    <a:pt x="1058" y="659"/>
                  </a:cubicBezTo>
                  <a:cubicBezTo>
                    <a:pt x="1058" y="687"/>
                    <a:pt x="1036" y="709"/>
                    <a:pt x="1008" y="709"/>
                  </a:cubicBezTo>
                  <a:cubicBezTo>
                    <a:pt x="981" y="709"/>
                    <a:pt x="958" y="687"/>
                    <a:pt x="958" y="659"/>
                  </a:cubicBezTo>
                  <a:cubicBezTo>
                    <a:pt x="958" y="632"/>
                    <a:pt x="981" y="609"/>
                    <a:pt x="1008" y="609"/>
                  </a:cubicBezTo>
                  <a:close/>
                  <a:moveTo>
                    <a:pt x="549" y="396"/>
                  </a:moveTo>
                  <a:cubicBezTo>
                    <a:pt x="577" y="396"/>
                    <a:pt x="599" y="419"/>
                    <a:pt x="599" y="446"/>
                  </a:cubicBezTo>
                  <a:cubicBezTo>
                    <a:pt x="599" y="474"/>
                    <a:pt x="577" y="496"/>
                    <a:pt x="549" y="496"/>
                  </a:cubicBezTo>
                  <a:cubicBezTo>
                    <a:pt x="522" y="496"/>
                    <a:pt x="500" y="474"/>
                    <a:pt x="500" y="446"/>
                  </a:cubicBezTo>
                  <a:cubicBezTo>
                    <a:pt x="500" y="419"/>
                    <a:pt x="522" y="396"/>
                    <a:pt x="549" y="396"/>
                  </a:cubicBezTo>
                  <a:close/>
                  <a:moveTo>
                    <a:pt x="113" y="728"/>
                  </a:moveTo>
                  <a:cubicBezTo>
                    <a:pt x="141" y="728"/>
                    <a:pt x="163" y="751"/>
                    <a:pt x="163" y="778"/>
                  </a:cubicBezTo>
                  <a:cubicBezTo>
                    <a:pt x="163" y="806"/>
                    <a:pt x="141" y="828"/>
                    <a:pt x="113" y="828"/>
                  </a:cubicBezTo>
                  <a:cubicBezTo>
                    <a:pt x="86" y="828"/>
                    <a:pt x="63" y="806"/>
                    <a:pt x="63" y="778"/>
                  </a:cubicBezTo>
                  <a:cubicBezTo>
                    <a:pt x="63" y="751"/>
                    <a:pt x="86" y="728"/>
                    <a:pt x="113" y="7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sz="1350">
                <a:solidFill>
                  <a:schemeClr val="tx1">
                    <a:lumMod val="75000"/>
                    <a:lumOff val="25000"/>
                  </a:schemeClr>
                </a:solidFill>
                <a:latin typeface="+mj-lt"/>
              </a:endParaRPr>
            </a:p>
          </p:txBody>
        </p:sp>
      </p:grpSp>
      <p:sp>
        <p:nvSpPr>
          <p:cNvPr id="23" name="TextBox 22"/>
          <p:cNvSpPr txBox="1"/>
          <p:nvPr/>
        </p:nvSpPr>
        <p:spPr>
          <a:xfrm>
            <a:off x="4754451" y="2356342"/>
            <a:ext cx="1803700" cy="276999"/>
          </a:xfrm>
          <a:prstGeom prst="rect">
            <a:avLst/>
          </a:prstGeom>
          <a:noFill/>
        </p:spPr>
        <p:txBody>
          <a:bodyPr wrap="none" rtlCol="0">
            <a:spAutoFit/>
          </a:bodyPr>
          <a:lstStyle/>
          <a:p>
            <a:pPr algn="r"/>
            <a:r>
              <a:rPr lang="id-ID" sz="1200" b="1" dirty="0">
                <a:solidFill>
                  <a:schemeClr val="bg1"/>
                </a:solidFill>
                <a:latin typeface="Playfair Display" panose="00000500000000000000" pitchFamily="2" charset="0"/>
                <a:ea typeface="Roboto Black" panose="02000000000000000000" pitchFamily="2" charset="0"/>
                <a:cs typeface="Lato" panose="020F0502020204030203" pitchFamily="34" charset="0"/>
              </a:rPr>
              <a:t>Beautiful Color Design</a:t>
            </a:r>
            <a:endParaRPr lang="id-ID" sz="1200" b="1" dirty="0">
              <a:solidFill>
                <a:schemeClr val="bg1"/>
              </a:solidFill>
              <a:latin typeface="Playfair Display" panose="00000500000000000000" pitchFamily="2" charset="0"/>
              <a:ea typeface="Roboto Black" panose="02000000000000000000" pitchFamily="2" charset="0"/>
              <a:cs typeface="Lato" panose="020F0502020204030203" pitchFamily="34" charset="0"/>
            </a:endParaRPr>
          </a:p>
        </p:txBody>
      </p:sp>
      <p:sp>
        <p:nvSpPr>
          <p:cNvPr id="24" name="Rectangle 23"/>
          <p:cNvSpPr/>
          <p:nvPr/>
        </p:nvSpPr>
        <p:spPr>
          <a:xfrm>
            <a:off x="4572000" y="2576354"/>
            <a:ext cx="1986151" cy="400110"/>
          </a:xfrm>
          <a:prstGeom prst="rect">
            <a:avLst/>
          </a:prstGeom>
        </p:spPr>
        <p:txBody>
          <a:bodyPr wrap="square">
            <a:spAutoFit/>
          </a:bodyPr>
          <a:lstStyle/>
          <a:p>
            <a:pPr algn="r"/>
            <a:r>
              <a:rPr lang="id-ID" sz="1000" dirty="0">
                <a:solidFill>
                  <a:schemeClr val="bg1"/>
                </a:solidFill>
                <a:latin typeface="+mj-lt"/>
                <a:ea typeface="Open Sans Light" panose="020B0306030504020204" pitchFamily="34" charset="0"/>
                <a:cs typeface="Open Sans Light" panose="020B0306030504020204" pitchFamily="34" charset="0"/>
              </a:rPr>
              <a:t>Suitable for all categories business and personal presentation</a:t>
            </a:r>
            <a:endParaRPr lang="id-ID" sz="1000" dirty="0">
              <a:solidFill>
                <a:schemeClr val="bg1"/>
              </a:solidFill>
              <a:latin typeface="+mj-lt"/>
              <a:ea typeface="Open Sans Light" panose="020B0306030504020204" pitchFamily="34" charset="0"/>
              <a:cs typeface="Open Sans Light" panose="020B0306030504020204" pitchFamily="34" charset="0"/>
            </a:endParaRPr>
          </a:p>
        </p:txBody>
      </p:sp>
      <p:sp>
        <p:nvSpPr>
          <p:cNvPr id="25" name="TextBox 24"/>
          <p:cNvSpPr txBox="1"/>
          <p:nvPr/>
        </p:nvSpPr>
        <p:spPr>
          <a:xfrm>
            <a:off x="6344030" y="3624733"/>
            <a:ext cx="1803700" cy="276999"/>
          </a:xfrm>
          <a:prstGeom prst="rect">
            <a:avLst/>
          </a:prstGeom>
          <a:noFill/>
        </p:spPr>
        <p:txBody>
          <a:bodyPr wrap="none" rtlCol="0">
            <a:spAutoFit/>
          </a:bodyPr>
          <a:lstStyle/>
          <a:p>
            <a:pPr algn="r"/>
            <a:r>
              <a:rPr lang="id-ID" sz="1200" b="1" dirty="0">
                <a:solidFill>
                  <a:schemeClr val="bg1"/>
                </a:solidFill>
                <a:latin typeface="Playfair Display" panose="00000500000000000000" pitchFamily="2" charset="0"/>
                <a:ea typeface="Roboto Black" panose="02000000000000000000" pitchFamily="2" charset="0"/>
                <a:cs typeface="Lato" panose="020F0502020204030203" pitchFamily="34" charset="0"/>
              </a:rPr>
              <a:t>Beautiful Color Design</a:t>
            </a:r>
            <a:endParaRPr lang="id-ID" sz="1200" b="1" dirty="0">
              <a:solidFill>
                <a:schemeClr val="bg1"/>
              </a:solidFill>
              <a:latin typeface="Playfair Display" panose="00000500000000000000" pitchFamily="2" charset="0"/>
              <a:ea typeface="Roboto Black" panose="02000000000000000000" pitchFamily="2" charset="0"/>
              <a:cs typeface="Lato" panose="020F0502020204030203" pitchFamily="34" charset="0"/>
            </a:endParaRPr>
          </a:p>
        </p:txBody>
      </p:sp>
      <p:sp>
        <p:nvSpPr>
          <p:cNvPr id="26" name="Rectangle 25"/>
          <p:cNvSpPr/>
          <p:nvPr/>
        </p:nvSpPr>
        <p:spPr>
          <a:xfrm>
            <a:off x="6161579" y="3844745"/>
            <a:ext cx="1986151" cy="400110"/>
          </a:xfrm>
          <a:prstGeom prst="rect">
            <a:avLst/>
          </a:prstGeom>
        </p:spPr>
        <p:txBody>
          <a:bodyPr wrap="square">
            <a:spAutoFit/>
          </a:bodyPr>
          <a:lstStyle/>
          <a:p>
            <a:pPr algn="r"/>
            <a:r>
              <a:rPr lang="id-ID" sz="1000" dirty="0">
                <a:solidFill>
                  <a:schemeClr val="bg1"/>
                </a:solidFill>
                <a:latin typeface="+mj-lt"/>
                <a:ea typeface="Open Sans Light" panose="020B0306030504020204" pitchFamily="34" charset="0"/>
                <a:cs typeface="Open Sans Light" panose="020B0306030504020204" pitchFamily="34" charset="0"/>
              </a:rPr>
              <a:t>Suitable for all categories business and personal presentation</a:t>
            </a:r>
            <a:endParaRPr lang="id-ID" sz="1000" dirty="0">
              <a:solidFill>
                <a:schemeClr val="bg1"/>
              </a:solidFill>
              <a:latin typeface="+mj-lt"/>
              <a:ea typeface="Open Sans Light" panose="020B0306030504020204" pitchFamily="34" charset="0"/>
              <a:cs typeface="Open Sans Light" panose="020B0306030504020204" pitchFamily="34" charset="0"/>
            </a:endParaRPr>
          </a:p>
        </p:txBody>
      </p:sp>
      <p:sp>
        <p:nvSpPr>
          <p:cNvPr id="27" name="TextBox 26"/>
          <p:cNvSpPr txBox="1"/>
          <p:nvPr/>
        </p:nvSpPr>
        <p:spPr>
          <a:xfrm>
            <a:off x="8072388" y="4816830"/>
            <a:ext cx="1803700" cy="276999"/>
          </a:xfrm>
          <a:prstGeom prst="rect">
            <a:avLst/>
          </a:prstGeom>
          <a:noFill/>
        </p:spPr>
        <p:txBody>
          <a:bodyPr wrap="none" rtlCol="0">
            <a:spAutoFit/>
          </a:bodyPr>
          <a:lstStyle/>
          <a:p>
            <a:pPr algn="r"/>
            <a:r>
              <a:rPr lang="id-ID" sz="1200" b="1" dirty="0">
                <a:solidFill>
                  <a:schemeClr val="bg1"/>
                </a:solidFill>
                <a:latin typeface="Playfair Display" panose="00000500000000000000" pitchFamily="2" charset="0"/>
                <a:ea typeface="Roboto Black" panose="02000000000000000000" pitchFamily="2" charset="0"/>
                <a:cs typeface="Lato" panose="020F0502020204030203" pitchFamily="34" charset="0"/>
              </a:rPr>
              <a:t>Beautiful Color Design</a:t>
            </a:r>
            <a:endParaRPr lang="id-ID" sz="1200" b="1" dirty="0">
              <a:solidFill>
                <a:schemeClr val="bg1"/>
              </a:solidFill>
              <a:latin typeface="Playfair Display" panose="00000500000000000000" pitchFamily="2" charset="0"/>
              <a:ea typeface="Roboto Black" panose="02000000000000000000" pitchFamily="2" charset="0"/>
              <a:cs typeface="Lato" panose="020F0502020204030203" pitchFamily="34" charset="0"/>
            </a:endParaRPr>
          </a:p>
        </p:txBody>
      </p:sp>
      <p:sp>
        <p:nvSpPr>
          <p:cNvPr id="28" name="Rectangle 27"/>
          <p:cNvSpPr/>
          <p:nvPr/>
        </p:nvSpPr>
        <p:spPr>
          <a:xfrm>
            <a:off x="7889937" y="5036842"/>
            <a:ext cx="1986151" cy="400110"/>
          </a:xfrm>
          <a:prstGeom prst="rect">
            <a:avLst/>
          </a:prstGeom>
        </p:spPr>
        <p:txBody>
          <a:bodyPr wrap="square">
            <a:spAutoFit/>
          </a:bodyPr>
          <a:lstStyle/>
          <a:p>
            <a:pPr algn="r"/>
            <a:r>
              <a:rPr lang="id-ID" sz="1000" dirty="0">
                <a:solidFill>
                  <a:schemeClr val="bg1"/>
                </a:solidFill>
                <a:latin typeface="+mj-lt"/>
                <a:ea typeface="Open Sans Light" panose="020B0306030504020204" pitchFamily="34" charset="0"/>
                <a:cs typeface="Open Sans Light" panose="020B0306030504020204" pitchFamily="34" charset="0"/>
              </a:rPr>
              <a:t>Suitable for all categories business and personal presentation</a:t>
            </a:r>
            <a:endParaRPr lang="id-ID" sz="1000" dirty="0">
              <a:solidFill>
                <a:schemeClr val="bg1"/>
              </a:solidFill>
              <a:latin typeface="+mj-lt"/>
              <a:ea typeface="Open Sans Light" panose="020B0306030504020204" pitchFamily="34" charset="0"/>
              <a:cs typeface="Open Sans Light" panose="020B0306030504020204" pitchFamily="34" charset="0"/>
            </a:endParaRPr>
          </a:p>
        </p:txBody>
      </p:sp>
      <p:sp>
        <p:nvSpPr>
          <p:cNvPr id="33" name="Rectangle 32"/>
          <p:cNvSpPr/>
          <p:nvPr/>
        </p:nvSpPr>
        <p:spPr>
          <a:xfrm>
            <a:off x="774481" y="1063125"/>
            <a:ext cx="3565286" cy="1713284"/>
          </a:xfrm>
          <a:prstGeom prst="rect">
            <a:avLst/>
          </a:prstGeom>
        </p:spPr>
        <p:txBody>
          <a:bodyPr vert="horz" lIns="91440" tIns="45720" rIns="91440" bIns="45720" rtlCol="0" anchor="ctr">
            <a:noAutofit/>
          </a:bodyPr>
          <a:lstStyle/>
          <a:p>
            <a:pPr defTabSz="913765">
              <a:spcBef>
                <a:spcPct val="0"/>
              </a:spcBef>
            </a:pPr>
            <a:r>
              <a:rPr lang="en-US" sz="2000" noProof="1">
                <a:solidFill>
                  <a:schemeClr val="bg1"/>
                </a:solidFill>
                <a:latin typeface="Playfair Display" panose="00000500000000000000" pitchFamily="2" charset="0"/>
                <a:ea typeface="Roboto Light" panose="02000000000000000000" pitchFamily="2" charset="0"/>
                <a:cs typeface="Lato" panose="020F0502020204030203" pitchFamily="34" charset="0"/>
              </a:rPr>
              <a:t>Definiteness Of Purpose Is The Starting Point Of All Achievement</a:t>
            </a:r>
            <a:endParaRPr lang="en-US" sz="2000" noProof="1">
              <a:solidFill>
                <a:schemeClr val="bg1"/>
              </a:solidFill>
              <a:latin typeface="Playfair Display" panose="00000500000000000000" pitchFamily="2" charset="0"/>
              <a:ea typeface="Roboto Light" panose="02000000000000000000" pitchFamily="2" charset="0"/>
              <a:cs typeface="Lato" panose="020F0502020204030203" pitchFamily="34" charset="0"/>
            </a:endParaRPr>
          </a:p>
        </p:txBody>
      </p:sp>
      <p:sp>
        <p:nvSpPr>
          <p:cNvPr id="34" name="Rectangle 33"/>
          <p:cNvSpPr/>
          <p:nvPr/>
        </p:nvSpPr>
        <p:spPr>
          <a:xfrm>
            <a:off x="781159" y="2596926"/>
            <a:ext cx="3403993" cy="2357752"/>
          </a:xfrm>
          <a:prstGeom prst="rect">
            <a:avLst/>
          </a:prstGeom>
        </p:spPr>
        <p:txBody>
          <a:bodyPr wrap="square" anchor="t">
            <a:noAutofit/>
          </a:bodyPr>
          <a:lstStyle/>
          <a:p>
            <a:pPr>
              <a:lnSpc>
                <a:spcPct val="150000"/>
              </a:lnSpc>
              <a:spcBef>
                <a:spcPts val="600"/>
              </a:spcBef>
              <a:buClr>
                <a:srgbClr val="E24848"/>
              </a:buClr>
              <a:defRPr/>
            </a:pPr>
            <a:r>
              <a:rPr lang="en-US" sz="1200" noProof="1">
                <a:solidFill>
                  <a:schemeClr val="bg1"/>
                </a:solidFill>
                <a:latin typeface="+mj-lt"/>
                <a:ea typeface="Open Sans Light" panose="020B0306030504020204" pitchFamily="34" charset="0"/>
                <a:cs typeface="Open Sans Light" panose="020B0306030504020204" pitchFamily="34" charset="0"/>
              </a:rPr>
              <a:t>Behavior we improving at something to. Evil true high lady roof men had open. To projection considered it precaution an melancholy or. Wound young you thing worse along being ham. Dissimilar of favorable solicitude if sympathize middle tons at. Forfeited up if disposing perfectly in an eagerness</a:t>
            </a:r>
            <a:endParaRPr lang="en-US" sz="1200" noProof="1">
              <a:solidFill>
                <a:schemeClr val="bg1"/>
              </a:solidFill>
              <a:latin typeface="+mj-lt"/>
              <a:ea typeface="Open Sans Light" panose="020B0306030504020204" pitchFamily="34" charset="0"/>
              <a:cs typeface="Open Sans Light" panose="020B0306030504020204" pitchFamily="34" charset="0"/>
            </a:endParaRPr>
          </a:p>
        </p:txBody>
      </p:sp>
      <p:cxnSp>
        <p:nvCxnSpPr>
          <p:cNvPr id="35" name="Straight Connector 34"/>
          <p:cNvCxnSpPr/>
          <p:nvPr/>
        </p:nvCxnSpPr>
        <p:spPr>
          <a:xfrm>
            <a:off x="4339767" y="1534100"/>
            <a:ext cx="0" cy="278523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advClick="0" advTm="0">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占位符 5"/>
          <p:cNvPicPr>
            <a:picLocks noGrp="1" noChangeAspect="1"/>
          </p:cNvPicPr>
          <p:nvPr>
            <p:ph type="pic" sz="quarter" idx="14"/>
          </p:nvPr>
        </p:nvPicPr>
        <p:blipFill>
          <a:blip r:embed="rId1" cstate="screen"/>
          <a:srcRect/>
          <a:stretch>
            <a:fillRect/>
          </a:stretch>
        </p:blipFill>
        <p:spPr>
          <a:solidFill>
            <a:schemeClr val="bg1">
              <a:lumMod val="85000"/>
            </a:schemeClr>
          </a:solidFill>
        </p:spPr>
      </p:pic>
      <p:sp>
        <p:nvSpPr>
          <p:cNvPr id="3" name="Title 1"/>
          <p:cNvSpPr txBox="1"/>
          <p:nvPr/>
        </p:nvSpPr>
        <p:spPr>
          <a:xfrm>
            <a:off x="904902" y="644336"/>
            <a:ext cx="4352898"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3600" b="1" spc="-151" dirty="0">
                <a:solidFill>
                  <a:schemeClr val="accent1"/>
                </a:solidFill>
                <a:latin typeface="Playfair Display" panose="00000500000000000000" pitchFamily="2" charset="0"/>
                <a:ea typeface="Open Sans" panose="020B0606030504020204" pitchFamily="34" charset="0"/>
                <a:cs typeface="Lato" panose="020F0502020204030203" pitchFamily="34" charset="0"/>
              </a:rPr>
              <a:t>What </a:t>
            </a:r>
            <a:r>
              <a:rPr lang="en-US" sz="3600"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We Do</a:t>
            </a:r>
            <a:endParaRPr lang="en-US" sz="3600"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4" name="Rectangle 3"/>
          <p:cNvSpPr/>
          <p:nvPr/>
        </p:nvSpPr>
        <p:spPr>
          <a:xfrm>
            <a:off x="958692" y="1290667"/>
            <a:ext cx="2156010" cy="261610"/>
          </a:xfrm>
          <a:prstGeom prst="rect">
            <a:avLst/>
          </a:prstGeom>
        </p:spPr>
        <p:txBody>
          <a:bodyPr wrap="square">
            <a:spAutoFit/>
          </a:bodyPr>
          <a:lstStyle/>
          <a:p>
            <a:pPr>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cxnSp>
        <p:nvCxnSpPr>
          <p:cNvPr id="45" name="Straight Connector 44"/>
          <p:cNvCxnSpPr/>
          <p:nvPr/>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sp>
        <p:nvSpPr>
          <p:cNvPr id="7" name="Oval 6"/>
          <p:cNvSpPr/>
          <p:nvPr/>
        </p:nvSpPr>
        <p:spPr>
          <a:xfrm>
            <a:off x="3884400" y="1656528"/>
            <a:ext cx="1019599" cy="1019599"/>
          </a:xfrm>
          <a:prstGeom prst="ellipse">
            <a:avLst/>
          </a:prstGeom>
          <a:solidFill>
            <a:schemeClr val="bg1">
              <a:lumMod val="65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3972878" y="1745006"/>
            <a:ext cx="842643" cy="84264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9" name="Text Placeholder 2"/>
          <p:cNvSpPr txBox="1"/>
          <p:nvPr/>
        </p:nvSpPr>
        <p:spPr>
          <a:xfrm>
            <a:off x="5116098" y="1794161"/>
            <a:ext cx="1233901" cy="507136"/>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2400" b="1" dirty="0">
                <a:solidFill>
                  <a:schemeClr val="tx1">
                    <a:lumMod val="85000"/>
                    <a:lumOff val="15000"/>
                  </a:schemeClr>
                </a:solidFill>
                <a:latin typeface="Playfair Display" panose="00000500000000000000" pitchFamily="2" charset="0"/>
                <a:ea typeface="Roboto Light" panose="02000000000000000000" pitchFamily="2" charset="0"/>
                <a:cs typeface="Lato" panose="020F0502020204030203" pitchFamily="34" charset="0"/>
              </a:rPr>
              <a:t>4</a:t>
            </a:r>
            <a:r>
              <a:rPr lang="id-ID" sz="2400" b="1" dirty="0">
                <a:solidFill>
                  <a:schemeClr val="tx1">
                    <a:lumMod val="85000"/>
                    <a:lumOff val="15000"/>
                  </a:schemeClr>
                </a:solidFill>
                <a:latin typeface="Playfair Display" panose="00000500000000000000" pitchFamily="2" charset="0"/>
                <a:ea typeface="Roboto Light" panose="02000000000000000000" pitchFamily="2" charset="0"/>
                <a:cs typeface="Lato" panose="020F0502020204030203" pitchFamily="34" charset="0"/>
              </a:rPr>
              <a:t>00</a:t>
            </a:r>
            <a:r>
              <a:rPr lang="en-US" sz="2400" b="1" dirty="0">
                <a:solidFill>
                  <a:schemeClr val="tx1">
                    <a:lumMod val="85000"/>
                    <a:lumOff val="15000"/>
                  </a:schemeClr>
                </a:solidFill>
                <a:latin typeface="Playfair Display" panose="00000500000000000000" pitchFamily="2" charset="0"/>
                <a:ea typeface="Roboto Light" panose="02000000000000000000" pitchFamily="2" charset="0"/>
                <a:cs typeface="Lato" panose="020F0502020204030203" pitchFamily="34" charset="0"/>
              </a:rPr>
              <a:t>K</a:t>
            </a:r>
            <a:endParaRPr lang="id-ID" sz="2400" b="1" dirty="0">
              <a:solidFill>
                <a:schemeClr val="tx1">
                  <a:lumMod val="85000"/>
                  <a:lumOff val="15000"/>
                </a:schemeClr>
              </a:solidFill>
              <a:latin typeface="Playfair Display" panose="00000500000000000000" pitchFamily="2" charset="0"/>
              <a:ea typeface="Roboto Light" panose="02000000000000000000" pitchFamily="2" charset="0"/>
              <a:cs typeface="Lato" panose="020F0502020204030203" pitchFamily="34" charset="0"/>
            </a:endParaRPr>
          </a:p>
        </p:txBody>
      </p:sp>
      <p:sp>
        <p:nvSpPr>
          <p:cNvPr id="10" name="Text Placeholder 2"/>
          <p:cNvSpPr txBox="1"/>
          <p:nvPr/>
        </p:nvSpPr>
        <p:spPr>
          <a:xfrm>
            <a:off x="5116098" y="2192930"/>
            <a:ext cx="903702" cy="345563"/>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id-ID" sz="1100" dirty="0">
                <a:solidFill>
                  <a:schemeClr val="tx1">
                    <a:lumMod val="85000"/>
                    <a:lumOff val="15000"/>
                  </a:schemeClr>
                </a:solidFill>
                <a:latin typeface="Roboto Light" panose="02000000000000000000" pitchFamily="2" charset="0"/>
                <a:ea typeface="Roboto Light" panose="02000000000000000000" pitchFamily="2" charset="0"/>
                <a:cs typeface="Open Sans" panose="020B0606030504020204" pitchFamily="34" charset="0"/>
              </a:rPr>
              <a:t>Analyze</a:t>
            </a:r>
            <a:endParaRPr lang="id-ID" sz="1100" dirty="0">
              <a:solidFill>
                <a:schemeClr val="tx1">
                  <a:lumMod val="85000"/>
                  <a:lumOff val="15000"/>
                </a:schemeClr>
              </a:solidFill>
              <a:latin typeface="Roboto Light" panose="02000000000000000000" pitchFamily="2" charset="0"/>
              <a:ea typeface="Roboto Light" panose="02000000000000000000" pitchFamily="2" charset="0"/>
              <a:cs typeface="Open Sans" panose="020B0606030504020204" pitchFamily="34" charset="0"/>
            </a:endParaRPr>
          </a:p>
        </p:txBody>
      </p:sp>
      <p:sp>
        <p:nvSpPr>
          <p:cNvPr id="11" name="TextBox 34"/>
          <p:cNvSpPr txBox="1"/>
          <p:nvPr/>
        </p:nvSpPr>
        <p:spPr>
          <a:xfrm>
            <a:off x="6562098" y="1796995"/>
            <a:ext cx="3849525" cy="738664"/>
          </a:xfrm>
          <a:prstGeom prst="rect">
            <a:avLst/>
          </a:prstGeom>
        </p:spPr>
        <p:txBody>
          <a:bodyPr wrap="square">
            <a:spAutoFit/>
          </a:bodyPr>
          <a:lstStyle>
            <a:defPPr>
              <a:defRPr lang="en-US"/>
            </a:defPPr>
            <a:lvl1pPr>
              <a:lnSpc>
                <a:spcPct val="150000"/>
              </a:lnSpc>
              <a:buClr>
                <a:srgbClr val="E24848"/>
              </a:buClr>
              <a:defRPr sz="1200">
                <a:solidFill>
                  <a:schemeClr val="tx1">
                    <a:lumMod val="65000"/>
                    <a:lumOff val="35000"/>
                  </a:schemeClr>
                </a:solidFill>
                <a:latin typeface="+mj-lt"/>
                <a:ea typeface="Open Sans Light" panose="020B0306030504020204" pitchFamily="34" charset="0"/>
                <a:cs typeface="Open Sans Light" panose="020B0306030504020204" pitchFamily="34" charset="0"/>
              </a:defRPr>
            </a:lvl1pPr>
          </a:lstStyle>
          <a:p>
            <a:pPr>
              <a:lnSpc>
                <a:spcPct val="100000"/>
              </a:lnSpc>
            </a:pPr>
            <a:r>
              <a:rPr lang="en-US" sz="1400" dirty="0"/>
              <a:t>Doing amazing</a:t>
            </a:r>
            <a:r>
              <a:rPr lang="id-ID" sz="1400" dirty="0"/>
              <a:t> and</a:t>
            </a:r>
            <a:r>
              <a:rPr lang="en-US" sz="1400" dirty="0"/>
              <a:t> awesome is my passion. Join with Us and we’ll make the world in Our Hand. It’s using to make</a:t>
            </a:r>
            <a:endParaRPr lang="en-US" sz="1400" dirty="0"/>
          </a:p>
        </p:txBody>
      </p:sp>
      <p:sp>
        <p:nvSpPr>
          <p:cNvPr id="12" name="Oval 11"/>
          <p:cNvSpPr/>
          <p:nvPr/>
        </p:nvSpPr>
        <p:spPr>
          <a:xfrm>
            <a:off x="3884400" y="3065976"/>
            <a:ext cx="1019599" cy="1019599"/>
          </a:xfrm>
          <a:prstGeom prst="ellipse">
            <a:avLst/>
          </a:prstGeom>
          <a:solidFill>
            <a:schemeClr val="accent2">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3972878" y="3154454"/>
            <a:ext cx="842643" cy="84264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4" name="Text Placeholder 2"/>
          <p:cNvSpPr txBox="1"/>
          <p:nvPr/>
        </p:nvSpPr>
        <p:spPr>
          <a:xfrm>
            <a:off x="5116098" y="3203609"/>
            <a:ext cx="1233901" cy="507136"/>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2400" b="1" dirty="0">
                <a:solidFill>
                  <a:schemeClr val="tx1">
                    <a:lumMod val="85000"/>
                    <a:lumOff val="15000"/>
                  </a:schemeClr>
                </a:solidFill>
                <a:latin typeface="Playfair Display" panose="00000500000000000000" pitchFamily="2" charset="0"/>
                <a:ea typeface="Roboto Light" panose="02000000000000000000" pitchFamily="2" charset="0"/>
                <a:cs typeface="Lato" panose="020F0502020204030203" pitchFamily="34" charset="0"/>
              </a:rPr>
              <a:t>7800K</a:t>
            </a:r>
            <a:endParaRPr lang="id-ID" sz="2400" b="1" dirty="0">
              <a:solidFill>
                <a:schemeClr val="tx1">
                  <a:lumMod val="85000"/>
                  <a:lumOff val="15000"/>
                </a:schemeClr>
              </a:solidFill>
              <a:latin typeface="Playfair Display" panose="00000500000000000000" pitchFamily="2" charset="0"/>
              <a:ea typeface="Roboto Light" panose="02000000000000000000" pitchFamily="2" charset="0"/>
              <a:cs typeface="Lato" panose="020F0502020204030203" pitchFamily="34" charset="0"/>
            </a:endParaRPr>
          </a:p>
        </p:txBody>
      </p:sp>
      <p:sp>
        <p:nvSpPr>
          <p:cNvPr id="15" name="Text Placeholder 2"/>
          <p:cNvSpPr txBox="1"/>
          <p:nvPr/>
        </p:nvSpPr>
        <p:spPr>
          <a:xfrm>
            <a:off x="5116098" y="3602378"/>
            <a:ext cx="903702" cy="345563"/>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id-ID" sz="1100" dirty="0">
                <a:solidFill>
                  <a:schemeClr val="tx1">
                    <a:lumMod val="85000"/>
                    <a:lumOff val="15000"/>
                  </a:schemeClr>
                </a:solidFill>
                <a:latin typeface="Roboto Light" panose="02000000000000000000" pitchFamily="2" charset="0"/>
                <a:ea typeface="Roboto Light" panose="02000000000000000000" pitchFamily="2" charset="0"/>
                <a:cs typeface="Open Sans" panose="020B0606030504020204" pitchFamily="34" charset="0"/>
              </a:rPr>
              <a:t>Analyze</a:t>
            </a:r>
            <a:endParaRPr lang="id-ID" sz="1100" dirty="0">
              <a:solidFill>
                <a:schemeClr val="tx1">
                  <a:lumMod val="85000"/>
                  <a:lumOff val="15000"/>
                </a:schemeClr>
              </a:solidFill>
              <a:latin typeface="Roboto Light" panose="02000000000000000000" pitchFamily="2" charset="0"/>
              <a:ea typeface="Roboto Light" panose="02000000000000000000" pitchFamily="2" charset="0"/>
              <a:cs typeface="Open Sans" panose="020B0606030504020204" pitchFamily="34" charset="0"/>
            </a:endParaRPr>
          </a:p>
        </p:txBody>
      </p:sp>
      <p:sp>
        <p:nvSpPr>
          <p:cNvPr id="16" name="TextBox 34"/>
          <p:cNvSpPr txBox="1"/>
          <p:nvPr/>
        </p:nvSpPr>
        <p:spPr>
          <a:xfrm>
            <a:off x="6562098" y="3206443"/>
            <a:ext cx="3849525" cy="738664"/>
          </a:xfrm>
          <a:prstGeom prst="rect">
            <a:avLst/>
          </a:prstGeom>
        </p:spPr>
        <p:txBody>
          <a:bodyPr wrap="square">
            <a:spAutoFit/>
          </a:bodyPr>
          <a:lstStyle>
            <a:defPPr>
              <a:defRPr lang="en-US"/>
            </a:defPPr>
            <a:lvl1pPr>
              <a:lnSpc>
                <a:spcPct val="150000"/>
              </a:lnSpc>
              <a:buClr>
                <a:srgbClr val="E24848"/>
              </a:buClr>
              <a:defRPr sz="1200">
                <a:solidFill>
                  <a:schemeClr val="tx1">
                    <a:lumMod val="65000"/>
                    <a:lumOff val="35000"/>
                  </a:schemeClr>
                </a:solidFill>
                <a:latin typeface="+mj-lt"/>
                <a:ea typeface="Open Sans Light" panose="020B0306030504020204" pitchFamily="34" charset="0"/>
                <a:cs typeface="Open Sans Light" panose="020B0306030504020204" pitchFamily="34" charset="0"/>
              </a:defRPr>
            </a:lvl1pPr>
          </a:lstStyle>
          <a:p>
            <a:pPr>
              <a:lnSpc>
                <a:spcPct val="100000"/>
              </a:lnSpc>
            </a:pPr>
            <a:r>
              <a:rPr lang="en-US" sz="1400" dirty="0"/>
              <a:t>Doing amazing</a:t>
            </a:r>
            <a:r>
              <a:rPr lang="id-ID" sz="1400" dirty="0"/>
              <a:t> and</a:t>
            </a:r>
            <a:r>
              <a:rPr lang="en-US" sz="1400" dirty="0"/>
              <a:t> awesome is my passion. Join with Us and we’ll make the world in Our Hand. It’s using to make</a:t>
            </a:r>
            <a:endParaRPr lang="en-US" sz="1400" dirty="0"/>
          </a:p>
        </p:txBody>
      </p:sp>
      <p:sp>
        <p:nvSpPr>
          <p:cNvPr id="17" name="Oval 16"/>
          <p:cNvSpPr/>
          <p:nvPr/>
        </p:nvSpPr>
        <p:spPr>
          <a:xfrm>
            <a:off x="3884400" y="4475423"/>
            <a:ext cx="1019599" cy="1019599"/>
          </a:xfrm>
          <a:prstGeom prst="ellipse">
            <a:avLst/>
          </a:prstGeom>
          <a:solidFill>
            <a:schemeClr val="bg1">
              <a:lumMod val="65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3972878" y="4563901"/>
            <a:ext cx="842643" cy="84264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9" name="Text Placeholder 2"/>
          <p:cNvSpPr txBox="1"/>
          <p:nvPr/>
        </p:nvSpPr>
        <p:spPr>
          <a:xfrm>
            <a:off x="5116098" y="4613056"/>
            <a:ext cx="1233901" cy="507136"/>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2400" b="1" dirty="0">
                <a:solidFill>
                  <a:schemeClr val="tx1">
                    <a:lumMod val="85000"/>
                    <a:lumOff val="15000"/>
                  </a:schemeClr>
                </a:solidFill>
                <a:latin typeface="Playfair Display" panose="00000500000000000000" pitchFamily="2" charset="0"/>
                <a:ea typeface="Roboto Light" panose="02000000000000000000" pitchFamily="2" charset="0"/>
                <a:cs typeface="Lato" panose="020F0502020204030203" pitchFamily="34" charset="0"/>
              </a:rPr>
              <a:t>42K</a:t>
            </a:r>
            <a:endParaRPr lang="id-ID" sz="2400" b="1" dirty="0">
              <a:solidFill>
                <a:schemeClr val="tx1">
                  <a:lumMod val="85000"/>
                  <a:lumOff val="15000"/>
                </a:schemeClr>
              </a:solidFill>
              <a:latin typeface="Playfair Display" panose="00000500000000000000" pitchFamily="2" charset="0"/>
              <a:ea typeface="Roboto Light" panose="02000000000000000000" pitchFamily="2" charset="0"/>
              <a:cs typeface="Lato" panose="020F0502020204030203" pitchFamily="34" charset="0"/>
            </a:endParaRPr>
          </a:p>
        </p:txBody>
      </p:sp>
      <p:sp>
        <p:nvSpPr>
          <p:cNvPr id="20" name="Text Placeholder 2"/>
          <p:cNvSpPr txBox="1"/>
          <p:nvPr/>
        </p:nvSpPr>
        <p:spPr>
          <a:xfrm>
            <a:off x="5116098" y="5011825"/>
            <a:ext cx="903702" cy="345563"/>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id-ID" sz="1100" dirty="0">
                <a:solidFill>
                  <a:schemeClr val="tx1">
                    <a:lumMod val="85000"/>
                    <a:lumOff val="15000"/>
                  </a:schemeClr>
                </a:solidFill>
                <a:latin typeface="Roboto Light" panose="02000000000000000000" pitchFamily="2" charset="0"/>
                <a:ea typeface="Roboto Light" panose="02000000000000000000" pitchFamily="2" charset="0"/>
                <a:cs typeface="Open Sans" panose="020B0606030504020204" pitchFamily="34" charset="0"/>
              </a:rPr>
              <a:t>Analyze</a:t>
            </a:r>
            <a:endParaRPr lang="id-ID" sz="1100" dirty="0">
              <a:solidFill>
                <a:schemeClr val="tx1">
                  <a:lumMod val="85000"/>
                  <a:lumOff val="15000"/>
                </a:schemeClr>
              </a:solidFill>
              <a:latin typeface="Roboto Light" panose="02000000000000000000" pitchFamily="2" charset="0"/>
              <a:ea typeface="Roboto Light" panose="02000000000000000000" pitchFamily="2" charset="0"/>
              <a:cs typeface="Open Sans" panose="020B0606030504020204" pitchFamily="34" charset="0"/>
            </a:endParaRPr>
          </a:p>
        </p:txBody>
      </p:sp>
      <p:sp>
        <p:nvSpPr>
          <p:cNvPr id="21" name="TextBox 34"/>
          <p:cNvSpPr txBox="1"/>
          <p:nvPr/>
        </p:nvSpPr>
        <p:spPr>
          <a:xfrm>
            <a:off x="6562098" y="4615890"/>
            <a:ext cx="3849525" cy="738664"/>
          </a:xfrm>
          <a:prstGeom prst="rect">
            <a:avLst/>
          </a:prstGeom>
        </p:spPr>
        <p:txBody>
          <a:bodyPr wrap="square">
            <a:spAutoFit/>
          </a:bodyPr>
          <a:lstStyle>
            <a:defPPr>
              <a:defRPr lang="en-US"/>
            </a:defPPr>
            <a:lvl1pPr>
              <a:lnSpc>
                <a:spcPct val="150000"/>
              </a:lnSpc>
              <a:buClr>
                <a:srgbClr val="E24848"/>
              </a:buClr>
              <a:defRPr sz="1200">
                <a:solidFill>
                  <a:schemeClr val="tx1">
                    <a:lumMod val="65000"/>
                    <a:lumOff val="35000"/>
                  </a:schemeClr>
                </a:solidFill>
                <a:latin typeface="+mj-lt"/>
                <a:ea typeface="Open Sans Light" panose="020B0306030504020204" pitchFamily="34" charset="0"/>
                <a:cs typeface="Open Sans Light" panose="020B0306030504020204" pitchFamily="34" charset="0"/>
              </a:defRPr>
            </a:lvl1pPr>
          </a:lstStyle>
          <a:p>
            <a:pPr>
              <a:lnSpc>
                <a:spcPct val="100000"/>
              </a:lnSpc>
            </a:pPr>
            <a:r>
              <a:rPr lang="en-US" sz="1400" dirty="0"/>
              <a:t>Doing amazing</a:t>
            </a:r>
            <a:r>
              <a:rPr lang="id-ID" sz="1400" dirty="0"/>
              <a:t> and</a:t>
            </a:r>
            <a:r>
              <a:rPr lang="en-US" sz="1400" dirty="0"/>
              <a:t> awesome is my passion. Join with Us and we’ll make the world in Our Hand. It’s using to make</a:t>
            </a:r>
            <a:endParaRPr lang="en-US" sz="1400" dirty="0"/>
          </a:p>
        </p:txBody>
      </p:sp>
      <p:grpSp>
        <p:nvGrpSpPr>
          <p:cNvPr id="22" name="Group 21"/>
          <p:cNvGrpSpPr/>
          <p:nvPr/>
        </p:nvGrpSpPr>
        <p:grpSpPr>
          <a:xfrm>
            <a:off x="4231851" y="4780615"/>
            <a:ext cx="310948" cy="386220"/>
            <a:chOff x="8051800" y="2940050"/>
            <a:chExt cx="550863" cy="684213"/>
          </a:xfrm>
          <a:solidFill>
            <a:schemeClr val="bg1"/>
          </a:solidFill>
        </p:grpSpPr>
        <p:sp>
          <p:nvSpPr>
            <p:cNvPr id="23" name="Freeform 69"/>
            <p:cNvSpPr>
              <a:spLocks noEditPoints="1"/>
            </p:cNvSpPr>
            <p:nvPr/>
          </p:nvSpPr>
          <p:spPr bwMode="auto">
            <a:xfrm>
              <a:off x="8075613" y="3417888"/>
              <a:ext cx="206375" cy="206375"/>
            </a:xfrm>
            <a:custGeom>
              <a:avLst/>
              <a:gdLst>
                <a:gd name="T0" fmla="*/ 130 w 260"/>
                <a:gd name="T1" fmla="*/ 260 h 260"/>
                <a:gd name="T2" fmla="*/ 103 w 260"/>
                <a:gd name="T3" fmla="*/ 259 h 260"/>
                <a:gd name="T4" fmla="*/ 79 w 260"/>
                <a:gd name="T5" fmla="*/ 250 h 260"/>
                <a:gd name="T6" fmla="*/ 57 w 260"/>
                <a:gd name="T7" fmla="*/ 238 h 260"/>
                <a:gd name="T8" fmla="*/ 37 w 260"/>
                <a:gd name="T9" fmla="*/ 223 h 260"/>
                <a:gd name="T10" fmla="*/ 22 w 260"/>
                <a:gd name="T11" fmla="*/ 203 h 260"/>
                <a:gd name="T12" fmla="*/ 10 w 260"/>
                <a:gd name="T13" fmla="*/ 181 h 260"/>
                <a:gd name="T14" fmla="*/ 1 w 260"/>
                <a:gd name="T15" fmla="*/ 157 h 260"/>
                <a:gd name="T16" fmla="*/ 0 w 260"/>
                <a:gd name="T17" fmla="*/ 130 h 260"/>
                <a:gd name="T18" fmla="*/ 0 w 260"/>
                <a:gd name="T19" fmla="*/ 117 h 260"/>
                <a:gd name="T20" fmla="*/ 5 w 260"/>
                <a:gd name="T21" fmla="*/ 91 h 260"/>
                <a:gd name="T22" fmla="*/ 15 w 260"/>
                <a:gd name="T23" fmla="*/ 68 h 260"/>
                <a:gd name="T24" fmla="*/ 28 w 260"/>
                <a:gd name="T25" fmla="*/ 47 h 260"/>
                <a:gd name="T26" fmla="*/ 47 w 260"/>
                <a:gd name="T27" fmla="*/ 30 h 260"/>
                <a:gd name="T28" fmla="*/ 67 w 260"/>
                <a:gd name="T29" fmla="*/ 15 h 260"/>
                <a:gd name="T30" fmla="*/ 91 w 260"/>
                <a:gd name="T31" fmla="*/ 5 h 260"/>
                <a:gd name="T32" fmla="*/ 116 w 260"/>
                <a:gd name="T33" fmla="*/ 0 h 260"/>
                <a:gd name="T34" fmla="*/ 130 w 260"/>
                <a:gd name="T35" fmla="*/ 0 h 260"/>
                <a:gd name="T36" fmla="*/ 155 w 260"/>
                <a:gd name="T37" fmla="*/ 2 h 260"/>
                <a:gd name="T38" fmla="*/ 180 w 260"/>
                <a:gd name="T39" fmla="*/ 10 h 260"/>
                <a:gd name="T40" fmla="*/ 202 w 260"/>
                <a:gd name="T41" fmla="*/ 22 h 260"/>
                <a:gd name="T42" fmla="*/ 221 w 260"/>
                <a:gd name="T43" fmla="*/ 39 h 260"/>
                <a:gd name="T44" fmla="*/ 238 w 260"/>
                <a:gd name="T45" fmla="*/ 57 h 260"/>
                <a:gd name="T46" fmla="*/ 250 w 260"/>
                <a:gd name="T47" fmla="*/ 79 h 260"/>
                <a:gd name="T48" fmla="*/ 256 w 260"/>
                <a:gd name="T49" fmla="*/ 105 h 260"/>
                <a:gd name="T50" fmla="*/ 260 w 260"/>
                <a:gd name="T51" fmla="*/ 130 h 260"/>
                <a:gd name="T52" fmla="*/ 258 w 260"/>
                <a:gd name="T53" fmla="*/ 144 h 260"/>
                <a:gd name="T54" fmla="*/ 253 w 260"/>
                <a:gd name="T55" fmla="*/ 169 h 260"/>
                <a:gd name="T56" fmla="*/ 245 w 260"/>
                <a:gd name="T57" fmla="*/ 193 h 260"/>
                <a:gd name="T58" fmla="*/ 229 w 260"/>
                <a:gd name="T59" fmla="*/ 213 h 260"/>
                <a:gd name="T60" fmla="*/ 212 w 260"/>
                <a:gd name="T61" fmla="*/ 232 h 260"/>
                <a:gd name="T62" fmla="*/ 190 w 260"/>
                <a:gd name="T63" fmla="*/ 245 h 260"/>
                <a:gd name="T64" fmla="*/ 169 w 260"/>
                <a:gd name="T65" fmla="*/ 255 h 260"/>
                <a:gd name="T66" fmla="*/ 143 w 260"/>
                <a:gd name="T67" fmla="*/ 260 h 260"/>
                <a:gd name="T68" fmla="*/ 130 w 260"/>
                <a:gd name="T69" fmla="*/ 260 h 260"/>
                <a:gd name="T70" fmla="*/ 130 w 260"/>
                <a:gd name="T71" fmla="*/ 27 h 260"/>
                <a:gd name="T72" fmla="*/ 108 w 260"/>
                <a:gd name="T73" fmla="*/ 29 h 260"/>
                <a:gd name="T74" fmla="*/ 89 w 260"/>
                <a:gd name="T75" fmla="*/ 35 h 260"/>
                <a:gd name="T76" fmla="*/ 55 w 260"/>
                <a:gd name="T77" fmla="*/ 57 h 260"/>
                <a:gd name="T78" fmla="*/ 33 w 260"/>
                <a:gd name="T79" fmla="*/ 90 h 260"/>
                <a:gd name="T80" fmla="*/ 28 w 260"/>
                <a:gd name="T81" fmla="*/ 110 h 260"/>
                <a:gd name="T82" fmla="*/ 25 w 260"/>
                <a:gd name="T83" fmla="*/ 130 h 260"/>
                <a:gd name="T84" fmla="*/ 27 w 260"/>
                <a:gd name="T85" fmla="*/ 140 h 260"/>
                <a:gd name="T86" fmla="*/ 30 w 260"/>
                <a:gd name="T87" fmla="*/ 161 h 260"/>
                <a:gd name="T88" fmla="*/ 44 w 260"/>
                <a:gd name="T89" fmla="*/ 188 h 260"/>
                <a:gd name="T90" fmla="*/ 72 w 260"/>
                <a:gd name="T91" fmla="*/ 216 h 260"/>
                <a:gd name="T92" fmla="*/ 99 w 260"/>
                <a:gd name="T93" fmla="*/ 230 h 260"/>
                <a:gd name="T94" fmla="*/ 118 w 260"/>
                <a:gd name="T95" fmla="*/ 233 h 260"/>
                <a:gd name="T96" fmla="*/ 130 w 260"/>
                <a:gd name="T97" fmla="*/ 233 h 260"/>
                <a:gd name="T98" fmla="*/ 150 w 260"/>
                <a:gd name="T99" fmla="*/ 232 h 260"/>
                <a:gd name="T100" fmla="*/ 170 w 260"/>
                <a:gd name="T101" fmla="*/ 225 h 260"/>
                <a:gd name="T102" fmla="*/ 202 w 260"/>
                <a:gd name="T103" fmla="*/ 203 h 260"/>
                <a:gd name="T104" fmla="*/ 224 w 260"/>
                <a:gd name="T105" fmla="*/ 171 h 260"/>
                <a:gd name="T106" fmla="*/ 231 w 260"/>
                <a:gd name="T107" fmla="*/ 150 h 260"/>
                <a:gd name="T108" fmla="*/ 233 w 260"/>
                <a:gd name="T109" fmla="*/ 130 h 260"/>
                <a:gd name="T110" fmla="*/ 233 w 260"/>
                <a:gd name="T111" fmla="*/ 120 h 260"/>
                <a:gd name="T112" fmla="*/ 228 w 260"/>
                <a:gd name="T113" fmla="*/ 100 h 260"/>
                <a:gd name="T114" fmla="*/ 214 w 260"/>
                <a:gd name="T115" fmla="*/ 73 h 260"/>
                <a:gd name="T116" fmla="*/ 187 w 260"/>
                <a:gd name="T117" fmla="*/ 44 h 260"/>
                <a:gd name="T118" fmla="*/ 160 w 260"/>
                <a:gd name="T119" fmla="*/ 32 h 260"/>
                <a:gd name="T120" fmla="*/ 140 w 260"/>
                <a:gd name="T121" fmla="*/ 27 h 260"/>
                <a:gd name="T122" fmla="*/ 130 w 260"/>
                <a:gd name="T123" fmla="*/ 2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0" h="260">
                  <a:moveTo>
                    <a:pt x="130" y="260"/>
                  </a:moveTo>
                  <a:lnTo>
                    <a:pt x="130" y="260"/>
                  </a:lnTo>
                  <a:lnTo>
                    <a:pt x="116" y="260"/>
                  </a:lnTo>
                  <a:lnTo>
                    <a:pt x="103" y="259"/>
                  </a:lnTo>
                  <a:lnTo>
                    <a:pt x="91" y="255"/>
                  </a:lnTo>
                  <a:lnTo>
                    <a:pt x="79" y="250"/>
                  </a:lnTo>
                  <a:lnTo>
                    <a:pt x="67" y="245"/>
                  </a:lnTo>
                  <a:lnTo>
                    <a:pt x="57" y="238"/>
                  </a:lnTo>
                  <a:lnTo>
                    <a:pt x="47" y="232"/>
                  </a:lnTo>
                  <a:lnTo>
                    <a:pt x="37" y="223"/>
                  </a:lnTo>
                  <a:lnTo>
                    <a:pt x="28" y="213"/>
                  </a:lnTo>
                  <a:lnTo>
                    <a:pt x="22" y="203"/>
                  </a:lnTo>
                  <a:lnTo>
                    <a:pt x="15" y="193"/>
                  </a:lnTo>
                  <a:lnTo>
                    <a:pt x="10" y="181"/>
                  </a:lnTo>
                  <a:lnTo>
                    <a:pt x="5" y="169"/>
                  </a:lnTo>
                  <a:lnTo>
                    <a:pt x="1" y="157"/>
                  </a:lnTo>
                  <a:lnTo>
                    <a:pt x="0" y="144"/>
                  </a:lnTo>
                  <a:lnTo>
                    <a:pt x="0" y="130"/>
                  </a:lnTo>
                  <a:lnTo>
                    <a:pt x="0" y="130"/>
                  </a:lnTo>
                  <a:lnTo>
                    <a:pt x="0" y="117"/>
                  </a:lnTo>
                  <a:lnTo>
                    <a:pt x="1" y="105"/>
                  </a:lnTo>
                  <a:lnTo>
                    <a:pt x="5" y="91"/>
                  </a:lnTo>
                  <a:lnTo>
                    <a:pt x="10" y="79"/>
                  </a:lnTo>
                  <a:lnTo>
                    <a:pt x="15" y="68"/>
                  </a:lnTo>
                  <a:lnTo>
                    <a:pt x="22" y="57"/>
                  </a:lnTo>
                  <a:lnTo>
                    <a:pt x="28" y="47"/>
                  </a:lnTo>
                  <a:lnTo>
                    <a:pt x="37" y="39"/>
                  </a:lnTo>
                  <a:lnTo>
                    <a:pt x="47" y="30"/>
                  </a:lnTo>
                  <a:lnTo>
                    <a:pt x="57" y="22"/>
                  </a:lnTo>
                  <a:lnTo>
                    <a:pt x="67" y="15"/>
                  </a:lnTo>
                  <a:lnTo>
                    <a:pt x="79" y="10"/>
                  </a:lnTo>
                  <a:lnTo>
                    <a:pt x="91" y="5"/>
                  </a:lnTo>
                  <a:lnTo>
                    <a:pt x="103" y="2"/>
                  </a:lnTo>
                  <a:lnTo>
                    <a:pt x="116" y="0"/>
                  </a:lnTo>
                  <a:lnTo>
                    <a:pt x="130" y="0"/>
                  </a:lnTo>
                  <a:lnTo>
                    <a:pt x="130" y="0"/>
                  </a:lnTo>
                  <a:lnTo>
                    <a:pt x="143" y="0"/>
                  </a:lnTo>
                  <a:lnTo>
                    <a:pt x="155" y="2"/>
                  </a:lnTo>
                  <a:lnTo>
                    <a:pt x="169" y="5"/>
                  </a:lnTo>
                  <a:lnTo>
                    <a:pt x="180" y="10"/>
                  </a:lnTo>
                  <a:lnTo>
                    <a:pt x="190" y="15"/>
                  </a:lnTo>
                  <a:lnTo>
                    <a:pt x="202" y="22"/>
                  </a:lnTo>
                  <a:lnTo>
                    <a:pt x="212" y="30"/>
                  </a:lnTo>
                  <a:lnTo>
                    <a:pt x="221" y="39"/>
                  </a:lnTo>
                  <a:lnTo>
                    <a:pt x="229" y="47"/>
                  </a:lnTo>
                  <a:lnTo>
                    <a:pt x="238" y="57"/>
                  </a:lnTo>
                  <a:lnTo>
                    <a:pt x="245" y="68"/>
                  </a:lnTo>
                  <a:lnTo>
                    <a:pt x="250" y="79"/>
                  </a:lnTo>
                  <a:lnTo>
                    <a:pt x="253" y="91"/>
                  </a:lnTo>
                  <a:lnTo>
                    <a:pt x="256" y="105"/>
                  </a:lnTo>
                  <a:lnTo>
                    <a:pt x="258" y="117"/>
                  </a:lnTo>
                  <a:lnTo>
                    <a:pt x="260" y="130"/>
                  </a:lnTo>
                  <a:lnTo>
                    <a:pt x="260" y="130"/>
                  </a:lnTo>
                  <a:lnTo>
                    <a:pt x="258" y="144"/>
                  </a:lnTo>
                  <a:lnTo>
                    <a:pt x="256" y="157"/>
                  </a:lnTo>
                  <a:lnTo>
                    <a:pt x="253" y="169"/>
                  </a:lnTo>
                  <a:lnTo>
                    <a:pt x="250" y="181"/>
                  </a:lnTo>
                  <a:lnTo>
                    <a:pt x="245" y="193"/>
                  </a:lnTo>
                  <a:lnTo>
                    <a:pt x="238" y="203"/>
                  </a:lnTo>
                  <a:lnTo>
                    <a:pt x="229" y="213"/>
                  </a:lnTo>
                  <a:lnTo>
                    <a:pt x="221" y="223"/>
                  </a:lnTo>
                  <a:lnTo>
                    <a:pt x="212" y="232"/>
                  </a:lnTo>
                  <a:lnTo>
                    <a:pt x="202" y="238"/>
                  </a:lnTo>
                  <a:lnTo>
                    <a:pt x="190" y="245"/>
                  </a:lnTo>
                  <a:lnTo>
                    <a:pt x="180" y="250"/>
                  </a:lnTo>
                  <a:lnTo>
                    <a:pt x="169" y="255"/>
                  </a:lnTo>
                  <a:lnTo>
                    <a:pt x="155" y="259"/>
                  </a:lnTo>
                  <a:lnTo>
                    <a:pt x="143" y="260"/>
                  </a:lnTo>
                  <a:lnTo>
                    <a:pt x="130" y="260"/>
                  </a:lnTo>
                  <a:lnTo>
                    <a:pt x="130" y="260"/>
                  </a:lnTo>
                  <a:close/>
                  <a:moveTo>
                    <a:pt x="130" y="27"/>
                  </a:moveTo>
                  <a:lnTo>
                    <a:pt x="130" y="27"/>
                  </a:lnTo>
                  <a:lnTo>
                    <a:pt x="118" y="27"/>
                  </a:lnTo>
                  <a:lnTo>
                    <a:pt x="108" y="29"/>
                  </a:lnTo>
                  <a:lnTo>
                    <a:pt x="99" y="32"/>
                  </a:lnTo>
                  <a:lnTo>
                    <a:pt x="89" y="35"/>
                  </a:lnTo>
                  <a:lnTo>
                    <a:pt x="72" y="44"/>
                  </a:lnTo>
                  <a:lnTo>
                    <a:pt x="55" y="57"/>
                  </a:lnTo>
                  <a:lnTo>
                    <a:pt x="44" y="73"/>
                  </a:lnTo>
                  <a:lnTo>
                    <a:pt x="33" y="90"/>
                  </a:lnTo>
                  <a:lnTo>
                    <a:pt x="30" y="100"/>
                  </a:lnTo>
                  <a:lnTo>
                    <a:pt x="28" y="110"/>
                  </a:lnTo>
                  <a:lnTo>
                    <a:pt x="27" y="120"/>
                  </a:lnTo>
                  <a:lnTo>
                    <a:pt x="25" y="130"/>
                  </a:lnTo>
                  <a:lnTo>
                    <a:pt x="25" y="130"/>
                  </a:lnTo>
                  <a:lnTo>
                    <a:pt x="27" y="140"/>
                  </a:lnTo>
                  <a:lnTo>
                    <a:pt x="28" y="150"/>
                  </a:lnTo>
                  <a:lnTo>
                    <a:pt x="30" y="161"/>
                  </a:lnTo>
                  <a:lnTo>
                    <a:pt x="33" y="171"/>
                  </a:lnTo>
                  <a:lnTo>
                    <a:pt x="44" y="188"/>
                  </a:lnTo>
                  <a:lnTo>
                    <a:pt x="55" y="203"/>
                  </a:lnTo>
                  <a:lnTo>
                    <a:pt x="72" y="216"/>
                  </a:lnTo>
                  <a:lnTo>
                    <a:pt x="89" y="225"/>
                  </a:lnTo>
                  <a:lnTo>
                    <a:pt x="99" y="230"/>
                  </a:lnTo>
                  <a:lnTo>
                    <a:pt x="108" y="232"/>
                  </a:lnTo>
                  <a:lnTo>
                    <a:pt x="118" y="233"/>
                  </a:lnTo>
                  <a:lnTo>
                    <a:pt x="130" y="233"/>
                  </a:lnTo>
                  <a:lnTo>
                    <a:pt x="130" y="233"/>
                  </a:lnTo>
                  <a:lnTo>
                    <a:pt x="140" y="233"/>
                  </a:lnTo>
                  <a:lnTo>
                    <a:pt x="150" y="232"/>
                  </a:lnTo>
                  <a:lnTo>
                    <a:pt x="160" y="230"/>
                  </a:lnTo>
                  <a:lnTo>
                    <a:pt x="170" y="225"/>
                  </a:lnTo>
                  <a:lnTo>
                    <a:pt x="187" y="216"/>
                  </a:lnTo>
                  <a:lnTo>
                    <a:pt x="202" y="203"/>
                  </a:lnTo>
                  <a:lnTo>
                    <a:pt x="214" y="188"/>
                  </a:lnTo>
                  <a:lnTo>
                    <a:pt x="224" y="171"/>
                  </a:lnTo>
                  <a:lnTo>
                    <a:pt x="228" y="161"/>
                  </a:lnTo>
                  <a:lnTo>
                    <a:pt x="231" y="150"/>
                  </a:lnTo>
                  <a:lnTo>
                    <a:pt x="233" y="140"/>
                  </a:lnTo>
                  <a:lnTo>
                    <a:pt x="233" y="130"/>
                  </a:lnTo>
                  <a:lnTo>
                    <a:pt x="233" y="130"/>
                  </a:lnTo>
                  <a:lnTo>
                    <a:pt x="233" y="120"/>
                  </a:lnTo>
                  <a:lnTo>
                    <a:pt x="231" y="110"/>
                  </a:lnTo>
                  <a:lnTo>
                    <a:pt x="228" y="100"/>
                  </a:lnTo>
                  <a:lnTo>
                    <a:pt x="224" y="90"/>
                  </a:lnTo>
                  <a:lnTo>
                    <a:pt x="214" y="73"/>
                  </a:lnTo>
                  <a:lnTo>
                    <a:pt x="202" y="57"/>
                  </a:lnTo>
                  <a:lnTo>
                    <a:pt x="187" y="44"/>
                  </a:lnTo>
                  <a:lnTo>
                    <a:pt x="170" y="35"/>
                  </a:lnTo>
                  <a:lnTo>
                    <a:pt x="160" y="32"/>
                  </a:lnTo>
                  <a:lnTo>
                    <a:pt x="150" y="29"/>
                  </a:lnTo>
                  <a:lnTo>
                    <a:pt x="140" y="27"/>
                  </a:lnTo>
                  <a:lnTo>
                    <a:pt x="130" y="27"/>
                  </a:lnTo>
                  <a:lnTo>
                    <a:pt x="130"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 name="Freeform 70"/>
            <p:cNvSpPr>
              <a:spLocks noEditPoints="1"/>
            </p:cNvSpPr>
            <p:nvPr/>
          </p:nvSpPr>
          <p:spPr bwMode="auto">
            <a:xfrm>
              <a:off x="8370888" y="3417888"/>
              <a:ext cx="207963" cy="206375"/>
            </a:xfrm>
            <a:custGeom>
              <a:avLst/>
              <a:gdLst>
                <a:gd name="T0" fmla="*/ 130 w 262"/>
                <a:gd name="T1" fmla="*/ 260 h 260"/>
                <a:gd name="T2" fmla="*/ 105 w 262"/>
                <a:gd name="T3" fmla="*/ 259 h 260"/>
                <a:gd name="T4" fmla="*/ 80 w 262"/>
                <a:gd name="T5" fmla="*/ 250 h 260"/>
                <a:gd name="T6" fmla="*/ 58 w 262"/>
                <a:gd name="T7" fmla="*/ 238 h 260"/>
                <a:gd name="T8" fmla="*/ 39 w 262"/>
                <a:gd name="T9" fmla="*/ 223 h 260"/>
                <a:gd name="T10" fmla="*/ 24 w 262"/>
                <a:gd name="T11" fmla="*/ 203 h 260"/>
                <a:gd name="T12" fmla="*/ 10 w 262"/>
                <a:gd name="T13" fmla="*/ 181 h 260"/>
                <a:gd name="T14" fmla="*/ 4 w 262"/>
                <a:gd name="T15" fmla="*/ 157 h 260"/>
                <a:gd name="T16" fmla="*/ 0 w 262"/>
                <a:gd name="T17" fmla="*/ 130 h 260"/>
                <a:gd name="T18" fmla="*/ 2 w 262"/>
                <a:gd name="T19" fmla="*/ 117 h 260"/>
                <a:gd name="T20" fmla="*/ 7 w 262"/>
                <a:gd name="T21" fmla="*/ 91 h 260"/>
                <a:gd name="T22" fmla="*/ 17 w 262"/>
                <a:gd name="T23" fmla="*/ 68 h 260"/>
                <a:gd name="T24" fmla="*/ 31 w 262"/>
                <a:gd name="T25" fmla="*/ 47 h 260"/>
                <a:gd name="T26" fmla="*/ 48 w 262"/>
                <a:gd name="T27" fmla="*/ 30 h 260"/>
                <a:gd name="T28" fmla="*/ 70 w 262"/>
                <a:gd name="T29" fmla="*/ 15 h 260"/>
                <a:gd name="T30" fmla="*/ 93 w 262"/>
                <a:gd name="T31" fmla="*/ 5 h 260"/>
                <a:gd name="T32" fmla="*/ 119 w 262"/>
                <a:gd name="T33" fmla="*/ 0 h 260"/>
                <a:gd name="T34" fmla="*/ 130 w 262"/>
                <a:gd name="T35" fmla="*/ 0 h 260"/>
                <a:gd name="T36" fmla="*/ 157 w 262"/>
                <a:gd name="T37" fmla="*/ 2 h 260"/>
                <a:gd name="T38" fmla="*/ 181 w 262"/>
                <a:gd name="T39" fmla="*/ 10 h 260"/>
                <a:gd name="T40" fmla="*/ 205 w 262"/>
                <a:gd name="T41" fmla="*/ 22 h 260"/>
                <a:gd name="T42" fmla="*/ 223 w 262"/>
                <a:gd name="T43" fmla="*/ 39 h 260"/>
                <a:gd name="T44" fmla="*/ 239 w 262"/>
                <a:gd name="T45" fmla="*/ 57 h 260"/>
                <a:gd name="T46" fmla="*/ 252 w 262"/>
                <a:gd name="T47" fmla="*/ 79 h 260"/>
                <a:gd name="T48" fmla="*/ 259 w 262"/>
                <a:gd name="T49" fmla="*/ 105 h 260"/>
                <a:gd name="T50" fmla="*/ 262 w 262"/>
                <a:gd name="T51" fmla="*/ 130 h 260"/>
                <a:gd name="T52" fmla="*/ 260 w 262"/>
                <a:gd name="T53" fmla="*/ 144 h 260"/>
                <a:gd name="T54" fmla="*/ 255 w 262"/>
                <a:gd name="T55" fmla="*/ 169 h 260"/>
                <a:gd name="T56" fmla="*/ 245 w 262"/>
                <a:gd name="T57" fmla="*/ 193 h 260"/>
                <a:gd name="T58" fmla="*/ 232 w 262"/>
                <a:gd name="T59" fmla="*/ 213 h 260"/>
                <a:gd name="T60" fmla="*/ 215 w 262"/>
                <a:gd name="T61" fmla="*/ 232 h 260"/>
                <a:gd name="T62" fmla="*/ 193 w 262"/>
                <a:gd name="T63" fmla="*/ 245 h 260"/>
                <a:gd name="T64" fmla="*/ 169 w 262"/>
                <a:gd name="T65" fmla="*/ 255 h 260"/>
                <a:gd name="T66" fmla="*/ 144 w 262"/>
                <a:gd name="T67" fmla="*/ 260 h 260"/>
                <a:gd name="T68" fmla="*/ 130 w 262"/>
                <a:gd name="T69" fmla="*/ 260 h 260"/>
                <a:gd name="T70" fmla="*/ 130 w 262"/>
                <a:gd name="T71" fmla="*/ 27 h 260"/>
                <a:gd name="T72" fmla="*/ 110 w 262"/>
                <a:gd name="T73" fmla="*/ 29 h 260"/>
                <a:gd name="T74" fmla="*/ 92 w 262"/>
                <a:gd name="T75" fmla="*/ 35 h 260"/>
                <a:gd name="T76" fmla="*/ 58 w 262"/>
                <a:gd name="T77" fmla="*/ 57 h 260"/>
                <a:gd name="T78" fmla="*/ 36 w 262"/>
                <a:gd name="T79" fmla="*/ 90 h 260"/>
                <a:gd name="T80" fmla="*/ 29 w 262"/>
                <a:gd name="T81" fmla="*/ 110 h 260"/>
                <a:gd name="T82" fmla="*/ 27 w 262"/>
                <a:gd name="T83" fmla="*/ 130 h 260"/>
                <a:gd name="T84" fmla="*/ 29 w 262"/>
                <a:gd name="T85" fmla="*/ 140 h 260"/>
                <a:gd name="T86" fmla="*/ 32 w 262"/>
                <a:gd name="T87" fmla="*/ 161 h 260"/>
                <a:gd name="T88" fmla="*/ 46 w 262"/>
                <a:gd name="T89" fmla="*/ 188 h 260"/>
                <a:gd name="T90" fmla="*/ 73 w 262"/>
                <a:gd name="T91" fmla="*/ 216 h 260"/>
                <a:gd name="T92" fmla="*/ 100 w 262"/>
                <a:gd name="T93" fmla="*/ 230 h 260"/>
                <a:gd name="T94" fmla="*/ 120 w 262"/>
                <a:gd name="T95" fmla="*/ 233 h 260"/>
                <a:gd name="T96" fmla="*/ 130 w 262"/>
                <a:gd name="T97" fmla="*/ 233 h 260"/>
                <a:gd name="T98" fmla="*/ 152 w 262"/>
                <a:gd name="T99" fmla="*/ 232 h 260"/>
                <a:gd name="T100" fmla="*/ 171 w 262"/>
                <a:gd name="T101" fmla="*/ 225 h 260"/>
                <a:gd name="T102" fmla="*/ 205 w 262"/>
                <a:gd name="T103" fmla="*/ 203 h 260"/>
                <a:gd name="T104" fmla="*/ 227 w 262"/>
                <a:gd name="T105" fmla="*/ 171 h 260"/>
                <a:gd name="T106" fmla="*/ 232 w 262"/>
                <a:gd name="T107" fmla="*/ 150 h 260"/>
                <a:gd name="T108" fmla="*/ 235 w 262"/>
                <a:gd name="T109" fmla="*/ 130 h 260"/>
                <a:gd name="T110" fmla="*/ 233 w 262"/>
                <a:gd name="T111" fmla="*/ 120 h 260"/>
                <a:gd name="T112" fmla="*/ 230 w 262"/>
                <a:gd name="T113" fmla="*/ 100 h 260"/>
                <a:gd name="T114" fmla="*/ 217 w 262"/>
                <a:gd name="T115" fmla="*/ 73 h 260"/>
                <a:gd name="T116" fmla="*/ 190 w 262"/>
                <a:gd name="T117" fmla="*/ 44 h 260"/>
                <a:gd name="T118" fmla="*/ 162 w 262"/>
                <a:gd name="T119" fmla="*/ 32 h 260"/>
                <a:gd name="T120" fmla="*/ 142 w 262"/>
                <a:gd name="T121" fmla="*/ 27 h 260"/>
                <a:gd name="T122" fmla="*/ 130 w 262"/>
                <a:gd name="T123" fmla="*/ 2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2" h="260">
                  <a:moveTo>
                    <a:pt x="130" y="260"/>
                  </a:moveTo>
                  <a:lnTo>
                    <a:pt x="130" y="260"/>
                  </a:lnTo>
                  <a:lnTo>
                    <a:pt x="119" y="260"/>
                  </a:lnTo>
                  <a:lnTo>
                    <a:pt x="105" y="259"/>
                  </a:lnTo>
                  <a:lnTo>
                    <a:pt x="93" y="255"/>
                  </a:lnTo>
                  <a:lnTo>
                    <a:pt x="80" y="250"/>
                  </a:lnTo>
                  <a:lnTo>
                    <a:pt x="70" y="245"/>
                  </a:lnTo>
                  <a:lnTo>
                    <a:pt x="58" y="238"/>
                  </a:lnTo>
                  <a:lnTo>
                    <a:pt x="48" y="232"/>
                  </a:lnTo>
                  <a:lnTo>
                    <a:pt x="39" y="223"/>
                  </a:lnTo>
                  <a:lnTo>
                    <a:pt x="31" y="213"/>
                  </a:lnTo>
                  <a:lnTo>
                    <a:pt x="24" y="203"/>
                  </a:lnTo>
                  <a:lnTo>
                    <a:pt x="17" y="193"/>
                  </a:lnTo>
                  <a:lnTo>
                    <a:pt x="10" y="181"/>
                  </a:lnTo>
                  <a:lnTo>
                    <a:pt x="7" y="169"/>
                  </a:lnTo>
                  <a:lnTo>
                    <a:pt x="4" y="157"/>
                  </a:lnTo>
                  <a:lnTo>
                    <a:pt x="2" y="144"/>
                  </a:lnTo>
                  <a:lnTo>
                    <a:pt x="0" y="130"/>
                  </a:lnTo>
                  <a:lnTo>
                    <a:pt x="0" y="130"/>
                  </a:lnTo>
                  <a:lnTo>
                    <a:pt x="2" y="117"/>
                  </a:lnTo>
                  <a:lnTo>
                    <a:pt x="4" y="105"/>
                  </a:lnTo>
                  <a:lnTo>
                    <a:pt x="7" y="91"/>
                  </a:lnTo>
                  <a:lnTo>
                    <a:pt x="10" y="79"/>
                  </a:lnTo>
                  <a:lnTo>
                    <a:pt x="17" y="68"/>
                  </a:lnTo>
                  <a:lnTo>
                    <a:pt x="24" y="57"/>
                  </a:lnTo>
                  <a:lnTo>
                    <a:pt x="31" y="47"/>
                  </a:lnTo>
                  <a:lnTo>
                    <a:pt x="39" y="39"/>
                  </a:lnTo>
                  <a:lnTo>
                    <a:pt x="48" y="30"/>
                  </a:lnTo>
                  <a:lnTo>
                    <a:pt x="58" y="22"/>
                  </a:lnTo>
                  <a:lnTo>
                    <a:pt x="70" y="15"/>
                  </a:lnTo>
                  <a:lnTo>
                    <a:pt x="80" y="10"/>
                  </a:lnTo>
                  <a:lnTo>
                    <a:pt x="93" y="5"/>
                  </a:lnTo>
                  <a:lnTo>
                    <a:pt x="105" y="2"/>
                  </a:lnTo>
                  <a:lnTo>
                    <a:pt x="119" y="0"/>
                  </a:lnTo>
                  <a:lnTo>
                    <a:pt x="130" y="0"/>
                  </a:lnTo>
                  <a:lnTo>
                    <a:pt x="130" y="0"/>
                  </a:lnTo>
                  <a:lnTo>
                    <a:pt x="144" y="0"/>
                  </a:lnTo>
                  <a:lnTo>
                    <a:pt x="157" y="2"/>
                  </a:lnTo>
                  <a:lnTo>
                    <a:pt x="169" y="5"/>
                  </a:lnTo>
                  <a:lnTo>
                    <a:pt x="181" y="10"/>
                  </a:lnTo>
                  <a:lnTo>
                    <a:pt x="193" y="15"/>
                  </a:lnTo>
                  <a:lnTo>
                    <a:pt x="205" y="22"/>
                  </a:lnTo>
                  <a:lnTo>
                    <a:pt x="215" y="30"/>
                  </a:lnTo>
                  <a:lnTo>
                    <a:pt x="223" y="39"/>
                  </a:lnTo>
                  <a:lnTo>
                    <a:pt x="232" y="47"/>
                  </a:lnTo>
                  <a:lnTo>
                    <a:pt x="239" y="57"/>
                  </a:lnTo>
                  <a:lnTo>
                    <a:pt x="245" y="68"/>
                  </a:lnTo>
                  <a:lnTo>
                    <a:pt x="252" y="79"/>
                  </a:lnTo>
                  <a:lnTo>
                    <a:pt x="255" y="91"/>
                  </a:lnTo>
                  <a:lnTo>
                    <a:pt x="259" y="105"/>
                  </a:lnTo>
                  <a:lnTo>
                    <a:pt x="260" y="117"/>
                  </a:lnTo>
                  <a:lnTo>
                    <a:pt x="262" y="130"/>
                  </a:lnTo>
                  <a:lnTo>
                    <a:pt x="262" y="130"/>
                  </a:lnTo>
                  <a:lnTo>
                    <a:pt x="260" y="144"/>
                  </a:lnTo>
                  <a:lnTo>
                    <a:pt x="259" y="157"/>
                  </a:lnTo>
                  <a:lnTo>
                    <a:pt x="255" y="169"/>
                  </a:lnTo>
                  <a:lnTo>
                    <a:pt x="252" y="181"/>
                  </a:lnTo>
                  <a:lnTo>
                    <a:pt x="245" y="193"/>
                  </a:lnTo>
                  <a:lnTo>
                    <a:pt x="239" y="203"/>
                  </a:lnTo>
                  <a:lnTo>
                    <a:pt x="232" y="213"/>
                  </a:lnTo>
                  <a:lnTo>
                    <a:pt x="223" y="223"/>
                  </a:lnTo>
                  <a:lnTo>
                    <a:pt x="215" y="232"/>
                  </a:lnTo>
                  <a:lnTo>
                    <a:pt x="205" y="238"/>
                  </a:lnTo>
                  <a:lnTo>
                    <a:pt x="193" y="245"/>
                  </a:lnTo>
                  <a:lnTo>
                    <a:pt x="181" y="250"/>
                  </a:lnTo>
                  <a:lnTo>
                    <a:pt x="169" y="255"/>
                  </a:lnTo>
                  <a:lnTo>
                    <a:pt x="157" y="259"/>
                  </a:lnTo>
                  <a:lnTo>
                    <a:pt x="144" y="260"/>
                  </a:lnTo>
                  <a:lnTo>
                    <a:pt x="130" y="260"/>
                  </a:lnTo>
                  <a:lnTo>
                    <a:pt x="130" y="260"/>
                  </a:lnTo>
                  <a:close/>
                  <a:moveTo>
                    <a:pt x="130" y="27"/>
                  </a:moveTo>
                  <a:lnTo>
                    <a:pt x="130" y="27"/>
                  </a:lnTo>
                  <a:lnTo>
                    <a:pt x="120" y="27"/>
                  </a:lnTo>
                  <a:lnTo>
                    <a:pt x="110" y="29"/>
                  </a:lnTo>
                  <a:lnTo>
                    <a:pt x="100" y="32"/>
                  </a:lnTo>
                  <a:lnTo>
                    <a:pt x="92" y="35"/>
                  </a:lnTo>
                  <a:lnTo>
                    <a:pt x="73" y="44"/>
                  </a:lnTo>
                  <a:lnTo>
                    <a:pt x="58" y="57"/>
                  </a:lnTo>
                  <a:lnTo>
                    <a:pt x="46" y="73"/>
                  </a:lnTo>
                  <a:lnTo>
                    <a:pt x="36" y="90"/>
                  </a:lnTo>
                  <a:lnTo>
                    <a:pt x="32" y="100"/>
                  </a:lnTo>
                  <a:lnTo>
                    <a:pt x="29" y="110"/>
                  </a:lnTo>
                  <a:lnTo>
                    <a:pt x="29" y="120"/>
                  </a:lnTo>
                  <a:lnTo>
                    <a:pt x="27" y="130"/>
                  </a:lnTo>
                  <a:lnTo>
                    <a:pt x="27" y="130"/>
                  </a:lnTo>
                  <a:lnTo>
                    <a:pt x="29" y="140"/>
                  </a:lnTo>
                  <a:lnTo>
                    <a:pt x="29" y="150"/>
                  </a:lnTo>
                  <a:lnTo>
                    <a:pt x="32" y="161"/>
                  </a:lnTo>
                  <a:lnTo>
                    <a:pt x="36" y="171"/>
                  </a:lnTo>
                  <a:lnTo>
                    <a:pt x="46" y="188"/>
                  </a:lnTo>
                  <a:lnTo>
                    <a:pt x="58" y="203"/>
                  </a:lnTo>
                  <a:lnTo>
                    <a:pt x="73" y="216"/>
                  </a:lnTo>
                  <a:lnTo>
                    <a:pt x="92" y="225"/>
                  </a:lnTo>
                  <a:lnTo>
                    <a:pt x="100" y="230"/>
                  </a:lnTo>
                  <a:lnTo>
                    <a:pt x="110" y="232"/>
                  </a:lnTo>
                  <a:lnTo>
                    <a:pt x="120" y="233"/>
                  </a:lnTo>
                  <a:lnTo>
                    <a:pt x="130" y="233"/>
                  </a:lnTo>
                  <a:lnTo>
                    <a:pt x="130" y="233"/>
                  </a:lnTo>
                  <a:lnTo>
                    <a:pt x="142" y="233"/>
                  </a:lnTo>
                  <a:lnTo>
                    <a:pt x="152" y="232"/>
                  </a:lnTo>
                  <a:lnTo>
                    <a:pt x="162" y="230"/>
                  </a:lnTo>
                  <a:lnTo>
                    <a:pt x="171" y="225"/>
                  </a:lnTo>
                  <a:lnTo>
                    <a:pt x="190" y="216"/>
                  </a:lnTo>
                  <a:lnTo>
                    <a:pt x="205" y="203"/>
                  </a:lnTo>
                  <a:lnTo>
                    <a:pt x="217" y="188"/>
                  </a:lnTo>
                  <a:lnTo>
                    <a:pt x="227" y="171"/>
                  </a:lnTo>
                  <a:lnTo>
                    <a:pt x="230" y="161"/>
                  </a:lnTo>
                  <a:lnTo>
                    <a:pt x="232" y="150"/>
                  </a:lnTo>
                  <a:lnTo>
                    <a:pt x="233" y="140"/>
                  </a:lnTo>
                  <a:lnTo>
                    <a:pt x="235" y="130"/>
                  </a:lnTo>
                  <a:lnTo>
                    <a:pt x="235" y="130"/>
                  </a:lnTo>
                  <a:lnTo>
                    <a:pt x="233" y="120"/>
                  </a:lnTo>
                  <a:lnTo>
                    <a:pt x="232" y="110"/>
                  </a:lnTo>
                  <a:lnTo>
                    <a:pt x="230" y="100"/>
                  </a:lnTo>
                  <a:lnTo>
                    <a:pt x="227" y="90"/>
                  </a:lnTo>
                  <a:lnTo>
                    <a:pt x="217" y="73"/>
                  </a:lnTo>
                  <a:lnTo>
                    <a:pt x="205" y="57"/>
                  </a:lnTo>
                  <a:lnTo>
                    <a:pt x="190" y="44"/>
                  </a:lnTo>
                  <a:lnTo>
                    <a:pt x="171" y="35"/>
                  </a:lnTo>
                  <a:lnTo>
                    <a:pt x="162" y="32"/>
                  </a:lnTo>
                  <a:lnTo>
                    <a:pt x="152" y="29"/>
                  </a:lnTo>
                  <a:lnTo>
                    <a:pt x="142" y="27"/>
                  </a:lnTo>
                  <a:lnTo>
                    <a:pt x="130" y="27"/>
                  </a:lnTo>
                  <a:lnTo>
                    <a:pt x="130"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 name="Freeform 71"/>
            <p:cNvSpPr>
              <a:spLocks noEditPoints="1"/>
            </p:cNvSpPr>
            <p:nvPr/>
          </p:nvSpPr>
          <p:spPr bwMode="auto">
            <a:xfrm>
              <a:off x="8051800" y="2940050"/>
              <a:ext cx="411163" cy="506412"/>
            </a:xfrm>
            <a:custGeom>
              <a:avLst/>
              <a:gdLst>
                <a:gd name="T0" fmla="*/ 91 w 519"/>
                <a:gd name="T1" fmla="*/ 340 h 637"/>
                <a:gd name="T2" fmla="*/ 91 w 519"/>
                <a:gd name="T3" fmla="*/ 340 h 637"/>
                <a:gd name="T4" fmla="*/ 75 w 519"/>
                <a:gd name="T5" fmla="*/ 321 h 637"/>
                <a:gd name="T6" fmla="*/ 61 w 519"/>
                <a:gd name="T7" fmla="*/ 305 h 637"/>
                <a:gd name="T8" fmla="*/ 49 w 519"/>
                <a:gd name="T9" fmla="*/ 286 h 637"/>
                <a:gd name="T10" fmla="*/ 39 w 519"/>
                <a:gd name="T11" fmla="*/ 269 h 637"/>
                <a:gd name="T12" fmla="*/ 31 w 519"/>
                <a:gd name="T13" fmla="*/ 252 h 637"/>
                <a:gd name="T14" fmla="*/ 22 w 519"/>
                <a:gd name="T15" fmla="*/ 237 h 637"/>
                <a:gd name="T16" fmla="*/ 10 w 519"/>
                <a:gd name="T17" fmla="*/ 207 h 637"/>
                <a:gd name="T18" fmla="*/ 4 w 519"/>
                <a:gd name="T19" fmla="*/ 176 h 637"/>
                <a:gd name="T20" fmla="*/ 0 w 519"/>
                <a:gd name="T21" fmla="*/ 151 h 637"/>
                <a:gd name="T22" fmla="*/ 0 w 519"/>
                <a:gd name="T23" fmla="*/ 125 h 637"/>
                <a:gd name="T24" fmla="*/ 4 w 519"/>
                <a:gd name="T25" fmla="*/ 103 h 637"/>
                <a:gd name="T26" fmla="*/ 9 w 519"/>
                <a:gd name="T27" fmla="*/ 81 h 637"/>
                <a:gd name="T28" fmla="*/ 15 w 519"/>
                <a:gd name="T29" fmla="*/ 65 h 637"/>
                <a:gd name="T30" fmla="*/ 22 w 519"/>
                <a:gd name="T31" fmla="*/ 49 h 637"/>
                <a:gd name="T32" fmla="*/ 31 w 519"/>
                <a:gd name="T33" fmla="*/ 36 h 637"/>
                <a:gd name="T34" fmla="*/ 44 w 519"/>
                <a:gd name="T35" fmla="*/ 17 h 637"/>
                <a:gd name="T36" fmla="*/ 51 w 519"/>
                <a:gd name="T37" fmla="*/ 11 h 637"/>
                <a:gd name="T38" fmla="*/ 61 w 519"/>
                <a:gd name="T39" fmla="*/ 0 h 637"/>
                <a:gd name="T40" fmla="*/ 519 w 519"/>
                <a:gd name="T41" fmla="*/ 526 h 637"/>
                <a:gd name="T42" fmla="*/ 494 w 519"/>
                <a:gd name="T43" fmla="*/ 529 h 637"/>
                <a:gd name="T44" fmla="*/ 494 w 519"/>
                <a:gd name="T45" fmla="*/ 529 h 637"/>
                <a:gd name="T46" fmla="*/ 475 w 519"/>
                <a:gd name="T47" fmla="*/ 534 h 637"/>
                <a:gd name="T48" fmla="*/ 455 w 519"/>
                <a:gd name="T49" fmla="*/ 541 h 637"/>
                <a:gd name="T50" fmla="*/ 436 w 519"/>
                <a:gd name="T51" fmla="*/ 551 h 637"/>
                <a:gd name="T52" fmla="*/ 417 w 519"/>
                <a:gd name="T53" fmla="*/ 563 h 637"/>
                <a:gd name="T54" fmla="*/ 401 w 519"/>
                <a:gd name="T55" fmla="*/ 575 h 637"/>
                <a:gd name="T56" fmla="*/ 384 w 519"/>
                <a:gd name="T57" fmla="*/ 590 h 637"/>
                <a:gd name="T58" fmla="*/ 370 w 519"/>
                <a:gd name="T59" fmla="*/ 605 h 637"/>
                <a:gd name="T60" fmla="*/ 360 w 519"/>
                <a:gd name="T61" fmla="*/ 622 h 637"/>
                <a:gd name="T62" fmla="*/ 350 w 519"/>
                <a:gd name="T63" fmla="*/ 637 h 637"/>
                <a:gd name="T64" fmla="*/ 91 w 519"/>
                <a:gd name="T65" fmla="*/ 340 h 637"/>
                <a:gd name="T66" fmla="*/ 51 w 519"/>
                <a:gd name="T67" fmla="*/ 53 h 637"/>
                <a:gd name="T68" fmla="*/ 51 w 519"/>
                <a:gd name="T69" fmla="*/ 53 h 637"/>
                <a:gd name="T70" fmla="*/ 41 w 519"/>
                <a:gd name="T71" fmla="*/ 71 h 637"/>
                <a:gd name="T72" fmla="*/ 37 w 519"/>
                <a:gd name="T73" fmla="*/ 83 h 637"/>
                <a:gd name="T74" fmla="*/ 32 w 519"/>
                <a:gd name="T75" fmla="*/ 95 h 637"/>
                <a:gd name="T76" fmla="*/ 31 w 519"/>
                <a:gd name="T77" fmla="*/ 109 h 637"/>
                <a:gd name="T78" fmla="*/ 27 w 519"/>
                <a:gd name="T79" fmla="*/ 122 h 637"/>
                <a:gd name="T80" fmla="*/ 27 w 519"/>
                <a:gd name="T81" fmla="*/ 137 h 637"/>
                <a:gd name="T82" fmla="*/ 27 w 519"/>
                <a:gd name="T83" fmla="*/ 154 h 637"/>
                <a:gd name="T84" fmla="*/ 31 w 519"/>
                <a:gd name="T85" fmla="*/ 173 h 637"/>
                <a:gd name="T86" fmla="*/ 34 w 519"/>
                <a:gd name="T87" fmla="*/ 191 h 637"/>
                <a:gd name="T88" fmla="*/ 41 w 519"/>
                <a:gd name="T89" fmla="*/ 210 h 637"/>
                <a:gd name="T90" fmla="*/ 49 w 519"/>
                <a:gd name="T91" fmla="*/ 232 h 637"/>
                <a:gd name="T92" fmla="*/ 61 w 519"/>
                <a:gd name="T93" fmla="*/ 252 h 637"/>
                <a:gd name="T94" fmla="*/ 75 w 519"/>
                <a:gd name="T95" fmla="*/ 276 h 637"/>
                <a:gd name="T96" fmla="*/ 91 w 519"/>
                <a:gd name="T97" fmla="*/ 299 h 637"/>
                <a:gd name="T98" fmla="*/ 112 w 519"/>
                <a:gd name="T99" fmla="*/ 323 h 637"/>
                <a:gd name="T100" fmla="*/ 347 w 519"/>
                <a:gd name="T101" fmla="*/ 592 h 637"/>
                <a:gd name="T102" fmla="*/ 355 w 519"/>
                <a:gd name="T103" fmla="*/ 583 h 637"/>
                <a:gd name="T104" fmla="*/ 355 w 519"/>
                <a:gd name="T105" fmla="*/ 583 h 637"/>
                <a:gd name="T106" fmla="*/ 375 w 519"/>
                <a:gd name="T107" fmla="*/ 561 h 637"/>
                <a:gd name="T108" fmla="*/ 399 w 519"/>
                <a:gd name="T109" fmla="*/ 543 h 637"/>
                <a:gd name="T110" fmla="*/ 424 w 519"/>
                <a:gd name="T111" fmla="*/ 526 h 637"/>
                <a:gd name="T112" fmla="*/ 451 w 519"/>
                <a:gd name="T113" fmla="*/ 514 h 637"/>
                <a:gd name="T114" fmla="*/ 466 w 519"/>
                <a:gd name="T115" fmla="*/ 507 h 637"/>
                <a:gd name="T116" fmla="*/ 59 w 519"/>
                <a:gd name="T117" fmla="*/ 39 h 637"/>
                <a:gd name="T118" fmla="*/ 51 w 519"/>
                <a:gd name="T119" fmla="*/ 5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9" h="637">
                  <a:moveTo>
                    <a:pt x="91" y="340"/>
                  </a:moveTo>
                  <a:lnTo>
                    <a:pt x="91" y="340"/>
                  </a:lnTo>
                  <a:lnTo>
                    <a:pt x="75" y="321"/>
                  </a:lnTo>
                  <a:lnTo>
                    <a:pt x="61" y="305"/>
                  </a:lnTo>
                  <a:lnTo>
                    <a:pt x="49" y="286"/>
                  </a:lnTo>
                  <a:lnTo>
                    <a:pt x="39" y="269"/>
                  </a:lnTo>
                  <a:lnTo>
                    <a:pt x="31" y="252"/>
                  </a:lnTo>
                  <a:lnTo>
                    <a:pt x="22" y="237"/>
                  </a:lnTo>
                  <a:lnTo>
                    <a:pt x="10" y="207"/>
                  </a:lnTo>
                  <a:lnTo>
                    <a:pt x="4" y="176"/>
                  </a:lnTo>
                  <a:lnTo>
                    <a:pt x="0" y="151"/>
                  </a:lnTo>
                  <a:lnTo>
                    <a:pt x="0" y="125"/>
                  </a:lnTo>
                  <a:lnTo>
                    <a:pt x="4" y="103"/>
                  </a:lnTo>
                  <a:lnTo>
                    <a:pt x="9" y="81"/>
                  </a:lnTo>
                  <a:lnTo>
                    <a:pt x="15" y="65"/>
                  </a:lnTo>
                  <a:lnTo>
                    <a:pt x="22" y="49"/>
                  </a:lnTo>
                  <a:lnTo>
                    <a:pt x="31" y="36"/>
                  </a:lnTo>
                  <a:lnTo>
                    <a:pt x="44" y="17"/>
                  </a:lnTo>
                  <a:lnTo>
                    <a:pt x="51" y="11"/>
                  </a:lnTo>
                  <a:lnTo>
                    <a:pt x="61" y="0"/>
                  </a:lnTo>
                  <a:lnTo>
                    <a:pt x="519" y="526"/>
                  </a:lnTo>
                  <a:lnTo>
                    <a:pt x="494" y="529"/>
                  </a:lnTo>
                  <a:lnTo>
                    <a:pt x="494" y="529"/>
                  </a:lnTo>
                  <a:lnTo>
                    <a:pt x="475" y="534"/>
                  </a:lnTo>
                  <a:lnTo>
                    <a:pt x="455" y="541"/>
                  </a:lnTo>
                  <a:lnTo>
                    <a:pt x="436" y="551"/>
                  </a:lnTo>
                  <a:lnTo>
                    <a:pt x="417" y="563"/>
                  </a:lnTo>
                  <a:lnTo>
                    <a:pt x="401" y="575"/>
                  </a:lnTo>
                  <a:lnTo>
                    <a:pt x="384" y="590"/>
                  </a:lnTo>
                  <a:lnTo>
                    <a:pt x="370" y="605"/>
                  </a:lnTo>
                  <a:lnTo>
                    <a:pt x="360" y="622"/>
                  </a:lnTo>
                  <a:lnTo>
                    <a:pt x="350" y="637"/>
                  </a:lnTo>
                  <a:lnTo>
                    <a:pt x="91" y="340"/>
                  </a:lnTo>
                  <a:close/>
                  <a:moveTo>
                    <a:pt x="51" y="53"/>
                  </a:moveTo>
                  <a:lnTo>
                    <a:pt x="51" y="53"/>
                  </a:lnTo>
                  <a:lnTo>
                    <a:pt x="41" y="71"/>
                  </a:lnTo>
                  <a:lnTo>
                    <a:pt x="37" y="83"/>
                  </a:lnTo>
                  <a:lnTo>
                    <a:pt x="32" y="95"/>
                  </a:lnTo>
                  <a:lnTo>
                    <a:pt x="31" y="109"/>
                  </a:lnTo>
                  <a:lnTo>
                    <a:pt x="27" y="122"/>
                  </a:lnTo>
                  <a:lnTo>
                    <a:pt x="27" y="137"/>
                  </a:lnTo>
                  <a:lnTo>
                    <a:pt x="27" y="154"/>
                  </a:lnTo>
                  <a:lnTo>
                    <a:pt x="31" y="173"/>
                  </a:lnTo>
                  <a:lnTo>
                    <a:pt x="34" y="191"/>
                  </a:lnTo>
                  <a:lnTo>
                    <a:pt x="41" y="210"/>
                  </a:lnTo>
                  <a:lnTo>
                    <a:pt x="49" y="232"/>
                  </a:lnTo>
                  <a:lnTo>
                    <a:pt x="61" y="252"/>
                  </a:lnTo>
                  <a:lnTo>
                    <a:pt x="75" y="276"/>
                  </a:lnTo>
                  <a:lnTo>
                    <a:pt x="91" y="299"/>
                  </a:lnTo>
                  <a:lnTo>
                    <a:pt x="112" y="323"/>
                  </a:lnTo>
                  <a:lnTo>
                    <a:pt x="347" y="592"/>
                  </a:lnTo>
                  <a:lnTo>
                    <a:pt x="355" y="583"/>
                  </a:lnTo>
                  <a:lnTo>
                    <a:pt x="355" y="583"/>
                  </a:lnTo>
                  <a:lnTo>
                    <a:pt x="375" y="561"/>
                  </a:lnTo>
                  <a:lnTo>
                    <a:pt x="399" y="543"/>
                  </a:lnTo>
                  <a:lnTo>
                    <a:pt x="424" y="526"/>
                  </a:lnTo>
                  <a:lnTo>
                    <a:pt x="451" y="514"/>
                  </a:lnTo>
                  <a:lnTo>
                    <a:pt x="466" y="507"/>
                  </a:lnTo>
                  <a:lnTo>
                    <a:pt x="59" y="39"/>
                  </a:lnTo>
                  <a:lnTo>
                    <a:pt x="51" y="5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 name="Freeform 72"/>
            <p:cNvSpPr/>
            <p:nvPr/>
          </p:nvSpPr>
          <p:spPr bwMode="auto">
            <a:xfrm>
              <a:off x="8294688" y="3289300"/>
              <a:ext cx="26988" cy="26987"/>
            </a:xfrm>
            <a:custGeom>
              <a:avLst/>
              <a:gdLst>
                <a:gd name="T0" fmla="*/ 17 w 33"/>
                <a:gd name="T1" fmla="*/ 34 h 34"/>
                <a:gd name="T2" fmla="*/ 17 w 33"/>
                <a:gd name="T3" fmla="*/ 34 h 34"/>
                <a:gd name="T4" fmla="*/ 10 w 33"/>
                <a:gd name="T5" fmla="*/ 32 h 34"/>
                <a:gd name="T6" fmla="*/ 5 w 33"/>
                <a:gd name="T7" fmla="*/ 28 h 34"/>
                <a:gd name="T8" fmla="*/ 1 w 33"/>
                <a:gd name="T9" fmla="*/ 23 h 34"/>
                <a:gd name="T10" fmla="*/ 0 w 33"/>
                <a:gd name="T11" fmla="*/ 17 h 34"/>
                <a:gd name="T12" fmla="*/ 0 w 33"/>
                <a:gd name="T13" fmla="*/ 17 h 34"/>
                <a:gd name="T14" fmla="*/ 1 w 33"/>
                <a:gd name="T15" fmla="*/ 10 h 34"/>
                <a:gd name="T16" fmla="*/ 5 w 33"/>
                <a:gd name="T17" fmla="*/ 5 h 34"/>
                <a:gd name="T18" fmla="*/ 10 w 33"/>
                <a:gd name="T19" fmla="*/ 1 h 34"/>
                <a:gd name="T20" fmla="*/ 17 w 33"/>
                <a:gd name="T21" fmla="*/ 0 h 34"/>
                <a:gd name="T22" fmla="*/ 17 w 33"/>
                <a:gd name="T23" fmla="*/ 0 h 34"/>
                <a:gd name="T24" fmla="*/ 23 w 33"/>
                <a:gd name="T25" fmla="*/ 1 h 34"/>
                <a:gd name="T26" fmla="*/ 28 w 33"/>
                <a:gd name="T27" fmla="*/ 5 h 34"/>
                <a:gd name="T28" fmla="*/ 32 w 33"/>
                <a:gd name="T29" fmla="*/ 10 h 34"/>
                <a:gd name="T30" fmla="*/ 33 w 33"/>
                <a:gd name="T31" fmla="*/ 17 h 34"/>
                <a:gd name="T32" fmla="*/ 33 w 33"/>
                <a:gd name="T33" fmla="*/ 17 h 34"/>
                <a:gd name="T34" fmla="*/ 32 w 33"/>
                <a:gd name="T35" fmla="*/ 23 h 34"/>
                <a:gd name="T36" fmla="*/ 28 w 33"/>
                <a:gd name="T37" fmla="*/ 28 h 34"/>
                <a:gd name="T38" fmla="*/ 23 w 33"/>
                <a:gd name="T39" fmla="*/ 32 h 34"/>
                <a:gd name="T40" fmla="*/ 17 w 33"/>
                <a:gd name="T41" fmla="*/ 34 h 34"/>
                <a:gd name="T42" fmla="*/ 17 w 33"/>
                <a:gd name="T43"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4">
                  <a:moveTo>
                    <a:pt x="17" y="34"/>
                  </a:moveTo>
                  <a:lnTo>
                    <a:pt x="17" y="34"/>
                  </a:lnTo>
                  <a:lnTo>
                    <a:pt x="10" y="32"/>
                  </a:lnTo>
                  <a:lnTo>
                    <a:pt x="5" y="28"/>
                  </a:lnTo>
                  <a:lnTo>
                    <a:pt x="1" y="23"/>
                  </a:lnTo>
                  <a:lnTo>
                    <a:pt x="0" y="17"/>
                  </a:lnTo>
                  <a:lnTo>
                    <a:pt x="0" y="17"/>
                  </a:lnTo>
                  <a:lnTo>
                    <a:pt x="1" y="10"/>
                  </a:lnTo>
                  <a:lnTo>
                    <a:pt x="5" y="5"/>
                  </a:lnTo>
                  <a:lnTo>
                    <a:pt x="10" y="1"/>
                  </a:lnTo>
                  <a:lnTo>
                    <a:pt x="17" y="0"/>
                  </a:lnTo>
                  <a:lnTo>
                    <a:pt x="17" y="0"/>
                  </a:lnTo>
                  <a:lnTo>
                    <a:pt x="23" y="1"/>
                  </a:lnTo>
                  <a:lnTo>
                    <a:pt x="28" y="5"/>
                  </a:lnTo>
                  <a:lnTo>
                    <a:pt x="32" y="10"/>
                  </a:lnTo>
                  <a:lnTo>
                    <a:pt x="33" y="17"/>
                  </a:lnTo>
                  <a:lnTo>
                    <a:pt x="33" y="17"/>
                  </a:lnTo>
                  <a:lnTo>
                    <a:pt x="32" y="23"/>
                  </a:lnTo>
                  <a:lnTo>
                    <a:pt x="28" y="28"/>
                  </a:lnTo>
                  <a:lnTo>
                    <a:pt x="23" y="32"/>
                  </a:lnTo>
                  <a:lnTo>
                    <a:pt x="17" y="34"/>
                  </a:lnTo>
                  <a:lnTo>
                    <a:pt x="17" y="3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7" name="Freeform 73"/>
            <p:cNvSpPr/>
            <p:nvPr/>
          </p:nvSpPr>
          <p:spPr bwMode="auto">
            <a:xfrm>
              <a:off x="8369300" y="2940050"/>
              <a:ext cx="233363" cy="334962"/>
            </a:xfrm>
            <a:custGeom>
              <a:avLst/>
              <a:gdLst>
                <a:gd name="T0" fmla="*/ 114 w 294"/>
                <a:gd name="T1" fmla="*/ 401 h 421"/>
                <a:gd name="T2" fmla="*/ 182 w 294"/>
                <a:gd name="T3" fmla="*/ 323 h 421"/>
                <a:gd name="T4" fmla="*/ 182 w 294"/>
                <a:gd name="T5" fmla="*/ 323 h 421"/>
                <a:gd name="T6" fmla="*/ 202 w 294"/>
                <a:gd name="T7" fmla="*/ 298 h 421"/>
                <a:gd name="T8" fmla="*/ 219 w 294"/>
                <a:gd name="T9" fmla="*/ 276 h 421"/>
                <a:gd name="T10" fmla="*/ 233 w 294"/>
                <a:gd name="T11" fmla="*/ 252 h 421"/>
                <a:gd name="T12" fmla="*/ 245 w 294"/>
                <a:gd name="T13" fmla="*/ 230 h 421"/>
                <a:gd name="T14" fmla="*/ 253 w 294"/>
                <a:gd name="T15" fmla="*/ 210 h 421"/>
                <a:gd name="T16" fmla="*/ 260 w 294"/>
                <a:gd name="T17" fmla="*/ 191 h 421"/>
                <a:gd name="T18" fmla="*/ 263 w 294"/>
                <a:gd name="T19" fmla="*/ 173 h 421"/>
                <a:gd name="T20" fmla="*/ 267 w 294"/>
                <a:gd name="T21" fmla="*/ 154 h 421"/>
                <a:gd name="T22" fmla="*/ 267 w 294"/>
                <a:gd name="T23" fmla="*/ 137 h 421"/>
                <a:gd name="T24" fmla="*/ 267 w 294"/>
                <a:gd name="T25" fmla="*/ 122 h 421"/>
                <a:gd name="T26" fmla="*/ 263 w 294"/>
                <a:gd name="T27" fmla="*/ 109 h 421"/>
                <a:gd name="T28" fmla="*/ 260 w 294"/>
                <a:gd name="T29" fmla="*/ 95 h 421"/>
                <a:gd name="T30" fmla="*/ 256 w 294"/>
                <a:gd name="T31" fmla="*/ 83 h 421"/>
                <a:gd name="T32" fmla="*/ 251 w 294"/>
                <a:gd name="T33" fmla="*/ 71 h 421"/>
                <a:gd name="T34" fmla="*/ 241 w 294"/>
                <a:gd name="T35" fmla="*/ 53 h 421"/>
                <a:gd name="T36" fmla="*/ 234 w 294"/>
                <a:gd name="T37" fmla="*/ 39 h 421"/>
                <a:gd name="T38" fmla="*/ 16 w 294"/>
                <a:gd name="T39" fmla="*/ 289 h 421"/>
                <a:gd name="T40" fmla="*/ 0 w 294"/>
                <a:gd name="T41" fmla="*/ 269 h 421"/>
                <a:gd name="T42" fmla="*/ 233 w 294"/>
                <a:gd name="T43" fmla="*/ 0 h 421"/>
                <a:gd name="T44" fmla="*/ 243 w 294"/>
                <a:gd name="T45" fmla="*/ 11 h 421"/>
                <a:gd name="T46" fmla="*/ 243 w 294"/>
                <a:gd name="T47" fmla="*/ 11 h 421"/>
                <a:gd name="T48" fmla="*/ 250 w 294"/>
                <a:gd name="T49" fmla="*/ 17 h 421"/>
                <a:gd name="T50" fmla="*/ 263 w 294"/>
                <a:gd name="T51" fmla="*/ 36 h 421"/>
                <a:gd name="T52" fmla="*/ 270 w 294"/>
                <a:gd name="T53" fmla="*/ 49 h 421"/>
                <a:gd name="T54" fmla="*/ 278 w 294"/>
                <a:gd name="T55" fmla="*/ 65 h 421"/>
                <a:gd name="T56" fmla="*/ 285 w 294"/>
                <a:gd name="T57" fmla="*/ 81 h 421"/>
                <a:gd name="T58" fmla="*/ 290 w 294"/>
                <a:gd name="T59" fmla="*/ 103 h 421"/>
                <a:gd name="T60" fmla="*/ 294 w 294"/>
                <a:gd name="T61" fmla="*/ 125 h 421"/>
                <a:gd name="T62" fmla="*/ 294 w 294"/>
                <a:gd name="T63" fmla="*/ 151 h 421"/>
                <a:gd name="T64" fmla="*/ 290 w 294"/>
                <a:gd name="T65" fmla="*/ 176 h 421"/>
                <a:gd name="T66" fmla="*/ 283 w 294"/>
                <a:gd name="T67" fmla="*/ 207 h 421"/>
                <a:gd name="T68" fmla="*/ 272 w 294"/>
                <a:gd name="T69" fmla="*/ 237 h 421"/>
                <a:gd name="T70" fmla="*/ 263 w 294"/>
                <a:gd name="T71" fmla="*/ 252 h 421"/>
                <a:gd name="T72" fmla="*/ 255 w 294"/>
                <a:gd name="T73" fmla="*/ 269 h 421"/>
                <a:gd name="T74" fmla="*/ 245 w 294"/>
                <a:gd name="T75" fmla="*/ 286 h 421"/>
                <a:gd name="T76" fmla="*/ 231 w 294"/>
                <a:gd name="T77" fmla="*/ 305 h 421"/>
                <a:gd name="T78" fmla="*/ 218 w 294"/>
                <a:gd name="T79" fmla="*/ 321 h 421"/>
                <a:gd name="T80" fmla="*/ 202 w 294"/>
                <a:gd name="T81" fmla="*/ 340 h 421"/>
                <a:gd name="T82" fmla="*/ 131 w 294"/>
                <a:gd name="T83" fmla="*/ 421 h 421"/>
                <a:gd name="T84" fmla="*/ 114 w 294"/>
                <a:gd name="T85" fmla="*/ 401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4" h="421">
                  <a:moveTo>
                    <a:pt x="114" y="401"/>
                  </a:moveTo>
                  <a:lnTo>
                    <a:pt x="182" y="323"/>
                  </a:lnTo>
                  <a:lnTo>
                    <a:pt x="182" y="323"/>
                  </a:lnTo>
                  <a:lnTo>
                    <a:pt x="202" y="298"/>
                  </a:lnTo>
                  <a:lnTo>
                    <a:pt x="219" y="276"/>
                  </a:lnTo>
                  <a:lnTo>
                    <a:pt x="233" y="252"/>
                  </a:lnTo>
                  <a:lnTo>
                    <a:pt x="245" y="230"/>
                  </a:lnTo>
                  <a:lnTo>
                    <a:pt x="253" y="210"/>
                  </a:lnTo>
                  <a:lnTo>
                    <a:pt x="260" y="191"/>
                  </a:lnTo>
                  <a:lnTo>
                    <a:pt x="263" y="173"/>
                  </a:lnTo>
                  <a:lnTo>
                    <a:pt x="267" y="154"/>
                  </a:lnTo>
                  <a:lnTo>
                    <a:pt x="267" y="137"/>
                  </a:lnTo>
                  <a:lnTo>
                    <a:pt x="267" y="122"/>
                  </a:lnTo>
                  <a:lnTo>
                    <a:pt x="263" y="109"/>
                  </a:lnTo>
                  <a:lnTo>
                    <a:pt x="260" y="95"/>
                  </a:lnTo>
                  <a:lnTo>
                    <a:pt x="256" y="83"/>
                  </a:lnTo>
                  <a:lnTo>
                    <a:pt x="251" y="71"/>
                  </a:lnTo>
                  <a:lnTo>
                    <a:pt x="241" y="53"/>
                  </a:lnTo>
                  <a:lnTo>
                    <a:pt x="234" y="39"/>
                  </a:lnTo>
                  <a:lnTo>
                    <a:pt x="16" y="289"/>
                  </a:lnTo>
                  <a:lnTo>
                    <a:pt x="0" y="269"/>
                  </a:lnTo>
                  <a:lnTo>
                    <a:pt x="233" y="0"/>
                  </a:lnTo>
                  <a:lnTo>
                    <a:pt x="243" y="11"/>
                  </a:lnTo>
                  <a:lnTo>
                    <a:pt x="243" y="11"/>
                  </a:lnTo>
                  <a:lnTo>
                    <a:pt x="250" y="17"/>
                  </a:lnTo>
                  <a:lnTo>
                    <a:pt x="263" y="36"/>
                  </a:lnTo>
                  <a:lnTo>
                    <a:pt x="270" y="49"/>
                  </a:lnTo>
                  <a:lnTo>
                    <a:pt x="278" y="65"/>
                  </a:lnTo>
                  <a:lnTo>
                    <a:pt x="285" y="81"/>
                  </a:lnTo>
                  <a:lnTo>
                    <a:pt x="290" y="103"/>
                  </a:lnTo>
                  <a:lnTo>
                    <a:pt x="294" y="125"/>
                  </a:lnTo>
                  <a:lnTo>
                    <a:pt x="294" y="151"/>
                  </a:lnTo>
                  <a:lnTo>
                    <a:pt x="290" y="176"/>
                  </a:lnTo>
                  <a:lnTo>
                    <a:pt x="283" y="207"/>
                  </a:lnTo>
                  <a:lnTo>
                    <a:pt x="272" y="237"/>
                  </a:lnTo>
                  <a:lnTo>
                    <a:pt x="263" y="252"/>
                  </a:lnTo>
                  <a:lnTo>
                    <a:pt x="255" y="269"/>
                  </a:lnTo>
                  <a:lnTo>
                    <a:pt x="245" y="286"/>
                  </a:lnTo>
                  <a:lnTo>
                    <a:pt x="231" y="305"/>
                  </a:lnTo>
                  <a:lnTo>
                    <a:pt x="218" y="321"/>
                  </a:lnTo>
                  <a:lnTo>
                    <a:pt x="202" y="340"/>
                  </a:lnTo>
                  <a:lnTo>
                    <a:pt x="131" y="421"/>
                  </a:lnTo>
                  <a:lnTo>
                    <a:pt x="114" y="40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28" name="Group 27"/>
          <p:cNvGrpSpPr/>
          <p:nvPr/>
        </p:nvGrpSpPr>
        <p:grpSpPr>
          <a:xfrm>
            <a:off x="4244900" y="1941993"/>
            <a:ext cx="413104" cy="393388"/>
            <a:chOff x="7972425" y="328613"/>
            <a:chExt cx="731838" cy="696912"/>
          </a:xfrm>
          <a:solidFill>
            <a:schemeClr val="bg1"/>
          </a:solidFill>
        </p:grpSpPr>
        <p:sp>
          <p:nvSpPr>
            <p:cNvPr id="29" name="Freeform 105"/>
            <p:cNvSpPr/>
            <p:nvPr/>
          </p:nvSpPr>
          <p:spPr bwMode="auto">
            <a:xfrm>
              <a:off x="7972425" y="835025"/>
              <a:ext cx="330200" cy="190500"/>
            </a:xfrm>
            <a:custGeom>
              <a:avLst/>
              <a:gdLst>
                <a:gd name="T0" fmla="*/ 389 w 416"/>
                <a:gd name="T1" fmla="*/ 238 h 238"/>
                <a:gd name="T2" fmla="*/ 389 w 416"/>
                <a:gd name="T3" fmla="*/ 89 h 238"/>
                <a:gd name="T4" fmla="*/ 389 w 416"/>
                <a:gd name="T5" fmla="*/ 89 h 238"/>
                <a:gd name="T6" fmla="*/ 387 w 416"/>
                <a:gd name="T7" fmla="*/ 76 h 238"/>
                <a:gd name="T8" fmla="*/ 384 w 416"/>
                <a:gd name="T9" fmla="*/ 64 h 238"/>
                <a:gd name="T10" fmla="*/ 379 w 416"/>
                <a:gd name="T11" fmla="*/ 54 h 238"/>
                <a:gd name="T12" fmla="*/ 370 w 416"/>
                <a:gd name="T13" fmla="*/ 45 h 238"/>
                <a:gd name="T14" fmla="*/ 362 w 416"/>
                <a:gd name="T15" fmla="*/ 37 h 238"/>
                <a:gd name="T16" fmla="*/ 350 w 416"/>
                <a:gd name="T17" fmla="*/ 32 h 238"/>
                <a:gd name="T18" fmla="*/ 340 w 416"/>
                <a:gd name="T19" fmla="*/ 29 h 238"/>
                <a:gd name="T20" fmla="*/ 327 w 416"/>
                <a:gd name="T21" fmla="*/ 27 h 238"/>
                <a:gd name="T22" fmla="*/ 88 w 416"/>
                <a:gd name="T23" fmla="*/ 27 h 238"/>
                <a:gd name="T24" fmla="*/ 88 w 416"/>
                <a:gd name="T25" fmla="*/ 27 h 238"/>
                <a:gd name="T26" fmla="*/ 77 w 416"/>
                <a:gd name="T27" fmla="*/ 29 h 238"/>
                <a:gd name="T28" fmla="*/ 65 w 416"/>
                <a:gd name="T29" fmla="*/ 32 h 238"/>
                <a:gd name="T30" fmla="*/ 55 w 416"/>
                <a:gd name="T31" fmla="*/ 37 h 238"/>
                <a:gd name="T32" fmla="*/ 46 w 416"/>
                <a:gd name="T33" fmla="*/ 45 h 238"/>
                <a:gd name="T34" fmla="*/ 38 w 416"/>
                <a:gd name="T35" fmla="*/ 54 h 238"/>
                <a:gd name="T36" fmla="*/ 33 w 416"/>
                <a:gd name="T37" fmla="*/ 64 h 238"/>
                <a:gd name="T38" fmla="*/ 29 w 416"/>
                <a:gd name="T39" fmla="*/ 76 h 238"/>
                <a:gd name="T40" fmla="*/ 28 w 416"/>
                <a:gd name="T41" fmla="*/ 89 h 238"/>
                <a:gd name="T42" fmla="*/ 28 w 416"/>
                <a:gd name="T43" fmla="*/ 238 h 238"/>
                <a:gd name="T44" fmla="*/ 0 w 416"/>
                <a:gd name="T45" fmla="*/ 238 h 238"/>
                <a:gd name="T46" fmla="*/ 0 w 416"/>
                <a:gd name="T47" fmla="*/ 89 h 238"/>
                <a:gd name="T48" fmla="*/ 0 w 416"/>
                <a:gd name="T49" fmla="*/ 89 h 238"/>
                <a:gd name="T50" fmla="*/ 2 w 416"/>
                <a:gd name="T51" fmla="*/ 71 h 238"/>
                <a:gd name="T52" fmla="*/ 7 w 416"/>
                <a:gd name="T53" fmla="*/ 54 h 238"/>
                <a:gd name="T54" fmla="*/ 16 w 416"/>
                <a:gd name="T55" fmla="*/ 39 h 238"/>
                <a:gd name="T56" fmla="*/ 26 w 416"/>
                <a:gd name="T57" fmla="*/ 25 h 238"/>
                <a:gd name="T58" fmla="*/ 39 w 416"/>
                <a:gd name="T59" fmla="*/ 15 h 238"/>
                <a:gd name="T60" fmla="*/ 55 w 416"/>
                <a:gd name="T61" fmla="*/ 7 h 238"/>
                <a:gd name="T62" fmla="*/ 71 w 416"/>
                <a:gd name="T63" fmla="*/ 1 h 238"/>
                <a:gd name="T64" fmla="*/ 88 w 416"/>
                <a:gd name="T65" fmla="*/ 0 h 238"/>
                <a:gd name="T66" fmla="*/ 327 w 416"/>
                <a:gd name="T67" fmla="*/ 0 h 238"/>
                <a:gd name="T68" fmla="*/ 327 w 416"/>
                <a:gd name="T69" fmla="*/ 0 h 238"/>
                <a:gd name="T70" fmla="*/ 345 w 416"/>
                <a:gd name="T71" fmla="*/ 1 h 238"/>
                <a:gd name="T72" fmla="*/ 362 w 416"/>
                <a:gd name="T73" fmla="*/ 7 h 238"/>
                <a:gd name="T74" fmla="*/ 377 w 416"/>
                <a:gd name="T75" fmla="*/ 15 h 238"/>
                <a:gd name="T76" fmla="*/ 389 w 416"/>
                <a:gd name="T77" fmla="*/ 25 h 238"/>
                <a:gd name="T78" fmla="*/ 401 w 416"/>
                <a:gd name="T79" fmla="*/ 39 h 238"/>
                <a:gd name="T80" fmla="*/ 409 w 416"/>
                <a:gd name="T81" fmla="*/ 54 h 238"/>
                <a:gd name="T82" fmla="*/ 414 w 416"/>
                <a:gd name="T83" fmla="*/ 71 h 238"/>
                <a:gd name="T84" fmla="*/ 416 w 416"/>
                <a:gd name="T85" fmla="*/ 89 h 238"/>
                <a:gd name="T86" fmla="*/ 416 w 416"/>
                <a:gd name="T87" fmla="*/ 238 h 238"/>
                <a:gd name="T88" fmla="*/ 389 w 416"/>
                <a:gd name="T8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6" h="238">
                  <a:moveTo>
                    <a:pt x="389" y="238"/>
                  </a:moveTo>
                  <a:lnTo>
                    <a:pt x="389" y="89"/>
                  </a:lnTo>
                  <a:lnTo>
                    <a:pt x="389" y="89"/>
                  </a:lnTo>
                  <a:lnTo>
                    <a:pt x="387" y="76"/>
                  </a:lnTo>
                  <a:lnTo>
                    <a:pt x="384" y="64"/>
                  </a:lnTo>
                  <a:lnTo>
                    <a:pt x="379" y="54"/>
                  </a:lnTo>
                  <a:lnTo>
                    <a:pt x="370" y="45"/>
                  </a:lnTo>
                  <a:lnTo>
                    <a:pt x="362" y="37"/>
                  </a:lnTo>
                  <a:lnTo>
                    <a:pt x="350" y="32"/>
                  </a:lnTo>
                  <a:lnTo>
                    <a:pt x="340" y="29"/>
                  </a:lnTo>
                  <a:lnTo>
                    <a:pt x="327" y="27"/>
                  </a:lnTo>
                  <a:lnTo>
                    <a:pt x="88" y="27"/>
                  </a:lnTo>
                  <a:lnTo>
                    <a:pt x="88" y="27"/>
                  </a:lnTo>
                  <a:lnTo>
                    <a:pt x="77" y="29"/>
                  </a:lnTo>
                  <a:lnTo>
                    <a:pt x="65" y="32"/>
                  </a:lnTo>
                  <a:lnTo>
                    <a:pt x="55" y="37"/>
                  </a:lnTo>
                  <a:lnTo>
                    <a:pt x="46" y="45"/>
                  </a:lnTo>
                  <a:lnTo>
                    <a:pt x="38" y="54"/>
                  </a:lnTo>
                  <a:lnTo>
                    <a:pt x="33" y="64"/>
                  </a:lnTo>
                  <a:lnTo>
                    <a:pt x="29" y="76"/>
                  </a:lnTo>
                  <a:lnTo>
                    <a:pt x="28" y="89"/>
                  </a:lnTo>
                  <a:lnTo>
                    <a:pt x="28" y="238"/>
                  </a:lnTo>
                  <a:lnTo>
                    <a:pt x="0" y="238"/>
                  </a:lnTo>
                  <a:lnTo>
                    <a:pt x="0" y="89"/>
                  </a:lnTo>
                  <a:lnTo>
                    <a:pt x="0" y="89"/>
                  </a:lnTo>
                  <a:lnTo>
                    <a:pt x="2" y="71"/>
                  </a:lnTo>
                  <a:lnTo>
                    <a:pt x="7" y="54"/>
                  </a:lnTo>
                  <a:lnTo>
                    <a:pt x="16" y="39"/>
                  </a:lnTo>
                  <a:lnTo>
                    <a:pt x="26" y="25"/>
                  </a:lnTo>
                  <a:lnTo>
                    <a:pt x="39" y="15"/>
                  </a:lnTo>
                  <a:lnTo>
                    <a:pt x="55" y="7"/>
                  </a:lnTo>
                  <a:lnTo>
                    <a:pt x="71" y="1"/>
                  </a:lnTo>
                  <a:lnTo>
                    <a:pt x="88" y="0"/>
                  </a:lnTo>
                  <a:lnTo>
                    <a:pt x="327" y="0"/>
                  </a:lnTo>
                  <a:lnTo>
                    <a:pt x="327" y="0"/>
                  </a:lnTo>
                  <a:lnTo>
                    <a:pt x="345" y="1"/>
                  </a:lnTo>
                  <a:lnTo>
                    <a:pt x="362" y="7"/>
                  </a:lnTo>
                  <a:lnTo>
                    <a:pt x="377" y="15"/>
                  </a:lnTo>
                  <a:lnTo>
                    <a:pt x="389" y="25"/>
                  </a:lnTo>
                  <a:lnTo>
                    <a:pt x="401" y="39"/>
                  </a:lnTo>
                  <a:lnTo>
                    <a:pt x="409" y="54"/>
                  </a:lnTo>
                  <a:lnTo>
                    <a:pt x="414" y="71"/>
                  </a:lnTo>
                  <a:lnTo>
                    <a:pt x="416" y="89"/>
                  </a:lnTo>
                  <a:lnTo>
                    <a:pt x="416" y="238"/>
                  </a:lnTo>
                  <a:lnTo>
                    <a:pt x="389" y="2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0" name="Freeform 106"/>
            <p:cNvSpPr/>
            <p:nvPr/>
          </p:nvSpPr>
          <p:spPr bwMode="auto">
            <a:xfrm>
              <a:off x="8285163" y="328613"/>
              <a:ext cx="419100" cy="390525"/>
            </a:xfrm>
            <a:custGeom>
              <a:avLst/>
              <a:gdLst>
                <a:gd name="T0" fmla="*/ 66 w 527"/>
                <a:gd name="T1" fmla="*/ 492 h 492"/>
                <a:gd name="T2" fmla="*/ 59 w 527"/>
                <a:gd name="T3" fmla="*/ 483 h 492"/>
                <a:gd name="T4" fmla="*/ 62 w 527"/>
                <a:gd name="T5" fmla="*/ 470 h 492"/>
                <a:gd name="T6" fmla="*/ 113 w 527"/>
                <a:gd name="T7" fmla="*/ 379 h 492"/>
                <a:gd name="T8" fmla="*/ 79 w 527"/>
                <a:gd name="T9" fmla="*/ 373 h 492"/>
                <a:gd name="T10" fmla="*/ 49 w 527"/>
                <a:gd name="T11" fmla="*/ 360 h 492"/>
                <a:gd name="T12" fmla="*/ 25 w 527"/>
                <a:gd name="T13" fmla="*/ 338 h 492"/>
                <a:gd name="T14" fmla="*/ 8 w 527"/>
                <a:gd name="T15" fmla="*/ 309 h 492"/>
                <a:gd name="T16" fmla="*/ 0 w 527"/>
                <a:gd name="T17" fmla="*/ 277 h 492"/>
                <a:gd name="T18" fmla="*/ 0 w 527"/>
                <a:gd name="T19" fmla="*/ 113 h 492"/>
                <a:gd name="T20" fmla="*/ 5 w 527"/>
                <a:gd name="T21" fmla="*/ 79 h 492"/>
                <a:gd name="T22" fmla="*/ 18 w 527"/>
                <a:gd name="T23" fmla="*/ 51 h 492"/>
                <a:gd name="T24" fmla="*/ 40 w 527"/>
                <a:gd name="T25" fmla="*/ 25 h 492"/>
                <a:gd name="T26" fmla="*/ 69 w 527"/>
                <a:gd name="T27" fmla="*/ 8 h 492"/>
                <a:gd name="T28" fmla="*/ 101 w 527"/>
                <a:gd name="T29" fmla="*/ 2 h 492"/>
                <a:gd name="T30" fmla="*/ 414 w 527"/>
                <a:gd name="T31" fmla="*/ 0 h 492"/>
                <a:gd name="T32" fmla="*/ 448 w 527"/>
                <a:gd name="T33" fmla="*/ 5 h 492"/>
                <a:gd name="T34" fmla="*/ 476 w 527"/>
                <a:gd name="T35" fmla="*/ 20 h 492"/>
                <a:gd name="T36" fmla="*/ 500 w 527"/>
                <a:gd name="T37" fmla="*/ 41 h 492"/>
                <a:gd name="T38" fmla="*/ 517 w 527"/>
                <a:gd name="T39" fmla="*/ 69 h 492"/>
                <a:gd name="T40" fmla="*/ 525 w 527"/>
                <a:gd name="T41" fmla="*/ 101 h 492"/>
                <a:gd name="T42" fmla="*/ 527 w 527"/>
                <a:gd name="T43" fmla="*/ 267 h 492"/>
                <a:gd name="T44" fmla="*/ 522 w 527"/>
                <a:gd name="T45" fmla="*/ 299 h 492"/>
                <a:gd name="T46" fmla="*/ 507 w 527"/>
                <a:gd name="T47" fmla="*/ 330 h 492"/>
                <a:gd name="T48" fmla="*/ 485 w 527"/>
                <a:gd name="T49" fmla="*/ 353 h 492"/>
                <a:gd name="T50" fmla="*/ 458 w 527"/>
                <a:gd name="T51" fmla="*/ 370 h 492"/>
                <a:gd name="T52" fmla="*/ 426 w 527"/>
                <a:gd name="T53" fmla="*/ 379 h 492"/>
                <a:gd name="T54" fmla="*/ 338 w 527"/>
                <a:gd name="T55" fmla="*/ 352 h 492"/>
                <a:gd name="T56" fmla="*/ 431 w 527"/>
                <a:gd name="T57" fmla="*/ 350 h 492"/>
                <a:gd name="T58" fmla="*/ 475 w 527"/>
                <a:gd name="T59" fmla="*/ 326 h 492"/>
                <a:gd name="T60" fmla="*/ 498 w 527"/>
                <a:gd name="T61" fmla="*/ 284 h 492"/>
                <a:gd name="T62" fmla="*/ 500 w 527"/>
                <a:gd name="T63" fmla="*/ 113 h 492"/>
                <a:gd name="T64" fmla="*/ 485 w 527"/>
                <a:gd name="T65" fmla="*/ 66 h 492"/>
                <a:gd name="T66" fmla="*/ 448 w 527"/>
                <a:gd name="T67" fmla="*/ 34 h 492"/>
                <a:gd name="T68" fmla="*/ 113 w 527"/>
                <a:gd name="T69" fmla="*/ 27 h 492"/>
                <a:gd name="T70" fmla="*/ 79 w 527"/>
                <a:gd name="T71" fmla="*/ 34 h 492"/>
                <a:gd name="T72" fmla="*/ 42 w 527"/>
                <a:gd name="T73" fmla="*/ 66 h 492"/>
                <a:gd name="T74" fmla="*/ 27 w 527"/>
                <a:gd name="T75" fmla="*/ 113 h 492"/>
                <a:gd name="T76" fmla="*/ 29 w 527"/>
                <a:gd name="T77" fmla="*/ 284 h 492"/>
                <a:gd name="T78" fmla="*/ 52 w 527"/>
                <a:gd name="T79" fmla="*/ 326 h 492"/>
                <a:gd name="T80" fmla="*/ 94 w 527"/>
                <a:gd name="T81" fmla="*/ 350 h 492"/>
                <a:gd name="T82" fmla="*/ 81 w 527"/>
                <a:gd name="T83" fmla="*/ 488 h 492"/>
                <a:gd name="T84" fmla="*/ 71 w 527"/>
                <a:gd name="T85" fmla="*/ 49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27" h="492">
                  <a:moveTo>
                    <a:pt x="71" y="492"/>
                  </a:moveTo>
                  <a:lnTo>
                    <a:pt x="71" y="492"/>
                  </a:lnTo>
                  <a:lnTo>
                    <a:pt x="66" y="492"/>
                  </a:lnTo>
                  <a:lnTo>
                    <a:pt x="61" y="488"/>
                  </a:lnTo>
                  <a:lnTo>
                    <a:pt x="61" y="488"/>
                  </a:lnTo>
                  <a:lnTo>
                    <a:pt x="59" y="483"/>
                  </a:lnTo>
                  <a:lnTo>
                    <a:pt x="57" y="478"/>
                  </a:lnTo>
                  <a:lnTo>
                    <a:pt x="59" y="473"/>
                  </a:lnTo>
                  <a:lnTo>
                    <a:pt x="62" y="470"/>
                  </a:lnTo>
                  <a:lnTo>
                    <a:pt x="160" y="379"/>
                  </a:lnTo>
                  <a:lnTo>
                    <a:pt x="113" y="379"/>
                  </a:lnTo>
                  <a:lnTo>
                    <a:pt x="113" y="379"/>
                  </a:lnTo>
                  <a:lnTo>
                    <a:pt x="101" y="379"/>
                  </a:lnTo>
                  <a:lnTo>
                    <a:pt x="89" y="377"/>
                  </a:lnTo>
                  <a:lnTo>
                    <a:pt x="79" y="373"/>
                  </a:lnTo>
                  <a:lnTo>
                    <a:pt x="69" y="370"/>
                  </a:lnTo>
                  <a:lnTo>
                    <a:pt x="59" y="365"/>
                  </a:lnTo>
                  <a:lnTo>
                    <a:pt x="49" y="360"/>
                  </a:lnTo>
                  <a:lnTo>
                    <a:pt x="40" y="353"/>
                  </a:lnTo>
                  <a:lnTo>
                    <a:pt x="32" y="346"/>
                  </a:lnTo>
                  <a:lnTo>
                    <a:pt x="25" y="338"/>
                  </a:lnTo>
                  <a:lnTo>
                    <a:pt x="18" y="330"/>
                  </a:lnTo>
                  <a:lnTo>
                    <a:pt x="13" y="319"/>
                  </a:lnTo>
                  <a:lnTo>
                    <a:pt x="8" y="309"/>
                  </a:lnTo>
                  <a:lnTo>
                    <a:pt x="5" y="299"/>
                  </a:lnTo>
                  <a:lnTo>
                    <a:pt x="2" y="289"/>
                  </a:lnTo>
                  <a:lnTo>
                    <a:pt x="0" y="277"/>
                  </a:lnTo>
                  <a:lnTo>
                    <a:pt x="0" y="267"/>
                  </a:lnTo>
                  <a:lnTo>
                    <a:pt x="0" y="113"/>
                  </a:lnTo>
                  <a:lnTo>
                    <a:pt x="0" y="113"/>
                  </a:lnTo>
                  <a:lnTo>
                    <a:pt x="0" y="101"/>
                  </a:lnTo>
                  <a:lnTo>
                    <a:pt x="2" y="90"/>
                  </a:lnTo>
                  <a:lnTo>
                    <a:pt x="5" y="79"/>
                  </a:lnTo>
                  <a:lnTo>
                    <a:pt x="8" y="69"/>
                  </a:lnTo>
                  <a:lnTo>
                    <a:pt x="13" y="59"/>
                  </a:lnTo>
                  <a:lnTo>
                    <a:pt x="18" y="51"/>
                  </a:lnTo>
                  <a:lnTo>
                    <a:pt x="25" y="41"/>
                  </a:lnTo>
                  <a:lnTo>
                    <a:pt x="32" y="34"/>
                  </a:lnTo>
                  <a:lnTo>
                    <a:pt x="40" y="25"/>
                  </a:lnTo>
                  <a:lnTo>
                    <a:pt x="49" y="20"/>
                  </a:lnTo>
                  <a:lnTo>
                    <a:pt x="59" y="14"/>
                  </a:lnTo>
                  <a:lnTo>
                    <a:pt x="69" y="8"/>
                  </a:lnTo>
                  <a:lnTo>
                    <a:pt x="79" y="5"/>
                  </a:lnTo>
                  <a:lnTo>
                    <a:pt x="89" y="3"/>
                  </a:lnTo>
                  <a:lnTo>
                    <a:pt x="101" y="2"/>
                  </a:lnTo>
                  <a:lnTo>
                    <a:pt x="113" y="0"/>
                  </a:lnTo>
                  <a:lnTo>
                    <a:pt x="414" y="0"/>
                  </a:lnTo>
                  <a:lnTo>
                    <a:pt x="414" y="0"/>
                  </a:lnTo>
                  <a:lnTo>
                    <a:pt x="426" y="2"/>
                  </a:lnTo>
                  <a:lnTo>
                    <a:pt x="437" y="3"/>
                  </a:lnTo>
                  <a:lnTo>
                    <a:pt x="448" y="5"/>
                  </a:lnTo>
                  <a:lnTo>
                    <a:pt x="458" y="8"/>
                  </a:lnTo>
                  <a:lnTo>
                    <a:pt x="468" y="14"/>
                  </a:lnTo>
                  <a:lnTo>
                    <a:pt x="476" y="20"/>
                  </a:lnTo>
                  <a:lnTo>
                    <a:pt x="485" y="25"/>
                  </a:lnTo>
                  <a:lnTo>
                    <a:pt x="493" y="34"/>
                  </a:lnTo>
                  <a:lnTo>
                    <a:pt x="500" y="41"/>
                  </a:lnTo>
                  <a:lnTo>
                    <a:pt x="507" y="51"/>
                  </a:lnTo>
                  <a:lnTo>
                    <a:pt x="513" y="59"/>
                  </a:lnTo>
                  <a:lnTo>
                    <a:pt x="517" y="69"/>
                  </a:lnTo>
                  <a:lnTo>
                    <a:pt x="522" y="79"/>
                  </a:lnTo>
                  <a:lnTo>
                    <a:pt x="524" y="90"/>
                  </a:lnTo>
                  <a:lnTo>
                    <a:pt x="525" y="101"/>
                  </a:lnTo>
                  <a:lnTo>
                    <a:pt x="527" y="113"/>
                  </a:lnTo>
                  <a:lnTo>
                    <a:pt x="527" y="267"/>
                  </a:lnTo>
                  <a:lnTo>
                    <a:pt x="527" y="267"/>
                  </a:lnTo>
                  <a:lnTo>
                    <a:pt x="525" y="277"/>
                  </a:lnTo>
                  <a:lnTo>
                    <a:pt x="524" y="289"/>
                  </a:lnTo>
                  <a:lnTo>
                    <a:pt x="522" y="299"/>
                  </a:lnTo>
                  <a:lnTo>
                    <a:pt x="517" y="309"/>
                  </a:lnTo>
                  <a:lnTo>
                    <a:pt x="513" y="319"/>
                  </a:lnTo>
                  <a:lnTo>
                    <a:pt x="507" y="330"/>
                  </a:lnTo>
                  <a:lnTo>
                    <a:pt x="500" y="338"/>
                  </a:lnTo>
                  <a:lnTo>
                    <a:pt x="493" y="346"/>
                  </a:lnTo>
                  <a:lnTo>
                    <a:pt x="485" y="353"/>
                  </a:lnTo>
                  <a:lnTo>
                    <a:pt x="476" y="360"/>
                  </a:lnTo>
                  <a:lnTo>
                    <a:pt x="468" y="365"/>
                  </a:lnTo>
                  <a:lnTo>
                    <a:pt x="458" y="370"/>
                  </a:lnTo>
                  <a:lnTo>
                    <a:pt x="448" y="373"/>
                  </a:lnTo>
                  <a:lnTo>
                    <a:pt x="437" y="377"/>
                  </a:lnTo>
                  <a:lnTo>
                    <a:pt x="426" y="379"/>
                  </a:lnTo>
                  <a:lnTo>
                    <a:pt x="414" y="379"/>
                  </a:lnTo>
                  <a:lnTo>
                    <a:pt x="307" y="379"/>
                  </a:lnTo>
                  <a:lnTo>
                    <a:pt x="338" y="352"/>
                  </a:lnTo>
                  <a:lnTo>
                    <a:pt x="414" y="352"/>
                  </a:lnTo>
                  <a:lnTo>
                    <a:pt x="414" y="352"/>
                  </a:lnTo>
                  <a:lnTo>
                    <a:pt x="431" y="350"/>
                  </a:lnTo>
                  <a:lnTo>
                    <a:pt x="448" y="345"/>
                  </a:lnTo>
                  <a:lnTo>
                    <a:pt x="461" y="338"/>
                  </a:lnTo>
                  <a:lnTo>
                    <a:pt x="475" y="326"/>
                  </a:lnTo>
                  <a:lnTo>
                    <a:pt x="485" y="314"/>
                  </a:lnTo>
                  <a:lnTo>
                    <a:pt x="493" y="299"/>
                  </a:lnTo>
                  <a:lnTo>
                    <a:pt x="498" y="284"/>
                  </a:lnTo>
                  <a:lnTo>
                    <a:pt x="500" y="267"/>
                  </a:lnTo>
                  <a:lnTo>
                    <a:pt x="500" y="113"/>
                  </a:lnTo>
                  <a:lnTo>
                    <a:pt x="500" y="113"/>
                  </a:lnTo>
                  <a:lnTo>
                    <a:pt x="498" y="96"/>
                  </a:lnTo>
                  <a:lnTo>
                    <a:pt x="493" y="79"/>
                  </a:lnTo>
                  <a:lnTo>
                    <a:pt x="485" y="66"/>
                  </a:lnTo>
                  <a:lnTo>
                    <a:pt x="475" y="52"/>
                  </a:lnTo>
                  <a:lnTo>
                    <a:pt x="461" y="42"/>
                  </a:lnTo>
                  <a:lnTo>
                    <a:pt x="448" y="34"/>
                  </a:lnTo>
                  <a:lnTo>
                    <a:pt x="431" y="29"/>
                  </a:lnTo>
                  <a:lnTo>
                    <a:pt x="414" y="27"/>
                  </a:lnTo>
                  <a:lnTo>
                    <a:pt x="113" y="27"/>
                  </a:lnTo>
                  <a:lnTo>
                    <a:pt x="113" y="27"/>
                  </a:lnTo>
                  <a:lnTo>
                    <a:pt x="94" y="29"/>
                  </a:lnTo>
                  <a:lnTo>
                    <a:pt x="79" y="34"/>
                  </a:lnTo>
                  <a:lnTo>
                    <a:pt x="64" y="42"/>
                  </a:lnTo>
                  <a:lnTo>
                    <a:pt x="52" y="52"/>
                  </a:lnTo>
                  <a:lnTo>
                    <a:pt x="42" y="66"/>
                  </a:lnTo>
                  <a:lnTo>
                    <a:pt x="34" y="79"/>
                  </a:lnTo>
                  <a:lnTo>
                    <a:pt x="29" y="96"/>
                  </a:lnTo>
                  <a:lnTo>
                    <a:pt x="27" y="113"/>
                  </a:lnTo>
                  <a:lnTo>
                    <a:pt x="27" y="267"/>
                  </a:lnTo>
                  <a:lnTo>
                    <a:pt x="27" y="267"/>
                  </a:lnTo>
                  <a:lnTo>
                    <a:pt x="29" y="284"/>
                  </a:lnTo>
                  <a:lnTo>
                    <a:pt x="34" y="299"/>
                  </a:lnTo>
                  <a:lnTo>
                    <a:pt x="42" y="314"/>
                  </a:lnTo>
                  <a:lnTo>
                    <a:pt x="52" y="326"/>
                  </a:lnTo>
                  <a:lnTo>
                    <a:pt x="64" y="338"/>
                  </a:lnTo>
                  <a:lnTo>
                    <a:pt x="79" y="345"/>
                  </a:lnTo>
                  <a:lnTo>
                    <a:pt x="94" y="350"/>
                  </a:lnTo>
                  <a:lnTo>
                    <a:pt x="113" y="352"/>
                  </a:lnTo>
                  <a:lnTo>
                    <a:pt x="228" y="352"/>
                  </a:lnTo>
                  <a:lnTo>
                    <a:pt x="81" y="488"/>
                  </a:lnTo>
                  <a:lnTo>
                    <a:pt x="81" y="488"/>
                  </a:lnTo>
                  <a:lnTo>
                    <a:pt x="76" y="492"/>
                  </a:lnTo>
                  <a:lnTo>
                    <a:pt x="71" y="492"/>
                  </a:lnTo>
                  <a:lnTo>
                    <a:pt x="71" y="4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1" name="Freeform 107"/>
            <p:cNvSpPr>
              <a:spLocks noEditPoints="1"/>
            </p:cNvSpPr>
            <p:nvPr/>
          </p:nvSpPr>
          <p:spPr bwMode="auto">
            <a:xfrm>
              <a:off x="8026400" y="557213"/>
              <a:ext cx="215900" cy="217487"/>
            </a:xfrm>
            <a:custGeom>
              <a:avLst/>
              <a:gdLst>
                <a:gd name="T0" fmla="*/ 121 w 270"/>
                <a:gd name="T1" fmla="*/ 272 h 272"/>
                <a:gd name="T2" fmla="*/ 83 w 270"/>
                <a:gd name="T3" fmla="*/ 262 h 272"/>
                <a:gd name="T4" fmla="*/ 49 w 270"/>
                <a:gd name="T5" fmla="*/ 242 h 272"/>
                <a:gd name="T6" fmla="*/ 23 w 270"/>
                <a:gd name="T7" fmla="*/ 213 h 272"/>
                <a:gd name="T8" fmla="*/ 5 w 270"/>
                <a:gd name="T9" fmla="*/ 177 h 272"/>
                <a:gd name="T10" fmla="*/ 0 w 270"/>
                <a:gd name="T11" fmla="*/ 137 h 272"/>
                <a:gd name="T12" fmla="*/ 1 w 270"/>
                <a:gd name="T13" fmla="*/ 110 h 272"/>
                <a:gd name="T14" fmla="*/ 15 w 270"/>
                <a:gd name="T15" fmla="*/ 71 h 272"/>
                <a:gd name="T16" fmla="*/ 39 w 270"/>
                <a:gd name="T17" fmla="*/ 41 h 272"/>
                <a:gd name="T18" fmla="*/ 71 w 270"/>
                <a:gd name="T19" fmla="*/ 17 h 272"/>
                <a:gd name="T20" fmla="*/ 108 w 270"/>
                <a:gd name="T21" fmla="*/ 3 h 272"/>
                <a:gd name="T22" fmla="*/ 135 w 270"/>
                <a:gd name="T23" fmla="*/ 0 h 272"/>
                <a:gd name="T24" fmla="*/ 175 w 270"/>
                <a:gd name="T25" fmla="*/ 7 h 272"/>
                <a:gd name="T26" fmla="*/ 211 w 270"/>
                <a:gd name="T27" fmla="*/ 24 h 272"/>
                <a:gd name="T28" fmla="*/ 240 w 270"/>
                <a:gd name="T29" fmla="*/ 51 h 272"/>
                <a:gd name="T30" fmla="*/ 260 w 270"/>
                <a:gd name="T31" fmla="*/ 83 h 272"/>
                <a:gd name="T32" fmla="*/ 270 w 270"/>
                <a:gd name="T33" fmla="*/ 123 h 272"/>
                <a:gd name="T34" fmla="*/ 270 w 270"/>
                <a:gd name="T35" fmla="*/ 150 h 272"/>
                <a:gd name="T36" fmla="*/ 260 w 270"/>
                <a:gd name="T37" fmla="*/ 189 h 272"/>
                <a:gd name="T38" fmla="*/ 240 w 270"/>
                <a:gd name="T39" fmla="*/ 223 h 272"/>
                <a:gd name="T40" fmla="*/ 211 w 270"/>
                <a:gd name="T41" fmla="*/ 248 h 272"/>
                <a:gd name="T42" fmla="*/ 175 w 270"/>
                <a:gd name="T43" fmla="*/ 265 h 272"/>
                <a:gd name="T44" fmla="*/ 135 w 270"/>
                <a:gd name="T45" fmla="*/ 272 h 272"/>
                <a:gd name="T46" fmla="*/ 135 w 270"/>
                <a:gd name="T47" fmla="*/ 27 h 272"/>
                <a:gd name="T48" fmla="*/ 103 w 270"/>
                <a:gd name="T49" fmla="*/ 32 h 272"/>
                <a:gd name="T50" fmla="*/ 74 w 270"/>
                <a:gd name="T51" fmla="*/ 46 h 272"/>
                <a:gd name="T52" fmla="*/ 39 w 270"/>
                <a:gd name="T53" fmla="*/ 84 h 272"/>
                <a:gd name="T54" fmla="*/ 28 w 270"/>
                <a:gd name="T55" fmla="*/ 115 h 272"/>
                <a:gd name="T56" fmla="*/ 27 w 270"/>
                <a:gd name="T57" fmla="*/ 137 h 272"/>
                <a:gd name="T58" fmla="*/ 32 w 270"/>
                <a:gd name="T59" fmla="*/ 169 h 272"/>
                <a:gd name="T60" fmla="*/ 45 w 270"/>
                <a:gd name="T61" fmla="*/ 198 h 272"/>
                <a:gd name="T62" fmla="*/ 83 w 270"/>
                <a:gd name="T63" fmla="*/ 232 h 272"/>
                <a:gd name="T64" fmla="*/ 113 w 270"/>
                <a:gd name="T65" fmla="*/ 243 h 272"/>
                <a:gd name="T66" fmla="*/ 135 w 270"/>
                <a:gd name="T67" fmla="*/ 245 h 272"/>
                <a:gd name="T68" fmla="*/ 167 w 270"/>
                <a:gd name="T69" fmla="*/ 240 h 272"/>
                <a:gd name="T70" fmla="*/ 196 w 270"/>
                <a:gd name="T71" fmla="*/ 226 h 272"/>
                <a:gd name="T72" fmla="*/ 231 w 270"/>
                <a:gd name="T73" fmla="*/ 188 h 272"/>
                <a:gd name="T74" fmla="*/ 241 w 270"/>
                <a:gd name="T75" fmla="*/ 159 h 272"/>
                <a:gd name="T76" fmla="*/ 245 w 270"/>
                <a:gd name="T77" fmla="*/ 137 h 272"/>
                <a:gd name="T78" fmla="*/ 240 w 270"/>
                <a:gd name="T79" fmla="*/ 105 h 272"/>
                <a:gd name="T80" fmla="*/ 226 w 270"/>
                <a:gd name="T81" fmla="*/ 76 h 272"/>
                <a:gd name="T82" fmla="*/ 187 w 270"/>
                <a:gd name="T83" fmla="*/ 41 h 272"/>
                <a:gd name="T84" fmla="*/ 157 w 270"/>
                <a:gd name="T85" fmla="*/ 30 h 272"/>
                <a:gd name="T86" fmla="*/ 135 w 270"/>
                <a:gd name="T87" fmla="*/ 27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0" h="272">
                  <a:moveTo>
                    <a:pt x="135" y="272"/>
                  </a:moveTo>
                  <a:lnTo>
                    <a:pt x="135" y="272"/>
                  </a:lnTo>
                  <a:lnTo>
                    <a:pt x="121" y="272"/>
                  </a:lnTo>
                  <a:lnTo>
                    <a:pt x="108" y="269"/>
                  </a:lnTo>
                  <a:lnTo>
                    <a:pt x="94" y="265"/>
                  </a:lnTo>
                  <a:lnTo>
                    <a:pt x="83" y="262"/>
                  </a:lnTo>
                  <a:lnTo>
                    <a:pt x="71" y="255"/>
                  </a:lnTo>
                  <a:lnTo>
                    <a:pt x="59" y="248"/>
                  </a:lnTo>
                  <a:lnTo>
                    <a:pt x="49" y="242"/>
                  </a:lnTo>
                  <a:lnTo>
                    <a:pt x="39" y="233"/>
                  </a:lnTo>
                  <a:lnTo>
                    <a:pt x="30" y="223"/>
                  </a:lnTo>
                  <a:lnTo>
                    <a:pt x="23" y="213"/>
                  </a:lnTo>
                  <a:lnTo>
                    <a:pt x="15" y="201"/>
                  </a:lnTo>
                  <a:lnTo>
                    <a:pt x="10" y="189"/>
                  </a:lnTo>
                  <a:lnTo>
                    <a:pt x="5" y="177"/>
                  </a:lnTo>
                  <a:lnTo>
                    <a:pt x="1" y="164"/>
                  </a:lnTo>
                  <a:lnTo>
                    <a:pt x="0" y="150"/>
                  </a:lnTo>
                  <a:lnTo>
                    <a:pt x="0" y="137"/>
                  </a:lnTo>
                  <a:lnTo>
                    <a:pt x="0" y="137"/>
                  </a:lnTo>
                  <a:lnTo>
                    <a:pt x="0" y="123"/>
                  </a:lnTo>
                  <a:lnTo>
                    <a:pt x="1" y="110"/>
                  </a:lnTo>
                  <a:lnTo>
                    <a:pt x="5" y="96"/>
                  </a:lnTo>
                  <a:lnTo>
                    <a:pt x="10" y="83"/>
                  </a:lnTo>
                  <a:lnTo>
                    <a:pt x="15" y="71"/>
                  </a:lnTo>
                  <a:lnTo>
                    <a:pt x="23" y="61"/>
                  </a:lnTo>
                  <a:lnTo>
                    <a:pt x="30" y="51"/>
                  </a:lnTo>
                  <a:lnTo>
                    <a:pt x="39" y="41"/>
                  </a:lnTo>
                  <a:lnTo>
                    <a:pt x="49" y="32"/>
                  </a:lnTo>
                  <a:lnTo>
                    <a:pt x="59" y="24"/>
                  </a:lnTo>
                  <a:lnTo>
                    <a:pt x="71" y="17"/>
                  </a:lnTo>
                  <a:lnTo>
                    <a:pt x="83" y="12"/>
                  </a:lnTo>
                  <a:lnTo>
                    <a:pt x="94" y="7"/>
                  </a:lnTo>
                  <a:lnTo>
                    <a:pt x="108" y="3"/>
                  </a:lnTo>
                  <a:lnTo>
                    <a:pt x="121" y="2"/>
                  </a:lnTo>
                  <a:lnTo>
                    <a:pt x="135" y="0"/>
                  </a:lnTo>
                  <a:lnTo>
                    <a:pt x="135" y="0"/>
                  </a:lnTo>
                  <a:lnTo>
                    <a:pt x="148" y="2"/>
                  </a:lnTo>
                  <a:lnTo>
                    <a:pt x="162" y="3"/>
                  </a:lnTo>
                  <a:lnTo>
                    <a:pt x="175" y="7"/>
                  </a:lnTo>
                  <a:lnTo>
                    <a:pt x="187" y="12"/>
                  </a:lnTo>
                  <a:lnTo>
                    <a:pt x="199" y="17"/>
                  </a:lnTo>
                  <a:lnTo>
                    <a:pt x="211" y="24"/>
                  </a:lnTo>
                  <a:lnTo>
                    <a:pt x="221" y="32"/>
                  </a:lnTo>
                  <a:lnTo>
                    <a:pt x="231" y="41"/>
                  </a:lnTo>
                  <a:lnTo>
                    <a:pt x="240" y="51"/>
                  </a:lnTo>
                  <a:lnTo>
                    <a:pt x="248" y="61"/>
                  </a:lnTo>
                  <a:lnTo>
                    <a:pt x="255" y="71"/>
                  </a:lnTo>
                  <a:lnTo>
                    <a:pt x="260" y="83"/>
                  </a:lnTo>
                  <a:lnTo>
                    <a:pt x="265" y="96"/>
                  </a:lnTo>
                  <a:lnTo>
                    <a:pt x="268" y="110"/>
                  </a:lnTo>
                  <a:lnTo>
                    <a:pt x="270" y="123"/>
                  </a:lnTo>
                  <a:lnTo>
                    <a:pt x="270" y="137"/>
                  </a:lnTo>
                  <a:lnTo>
                    <a:pt x="270" y="137"/>
                  </a:lnTo>
                  <a:lnTo>
                    <a:pt x="270" y="150"/>
                  </a:lnTo>
                  <a:lnTo>
                    <a:pt x="268" y="164"/>
                  </a:lnTo>
                  <a:lnTo>
                    <a:pt x="265" y="177"/>
                  </a:lnTo>
                  <a:lnTo>
                    <a:pt x="260" y="189"/>
                  </a:lnTo>
                  <a:lnTo>
                    <a:pt x="255" y="201"/>
                  </a:lnTo>
                  <a:lnTo>
                    <a:pt x="248" y="213"/>
                  </a:lnTo>
                  <a:lnTo>
                    <a:pt x="240" y="223"/>
                  </a:lnTo>
                  <a:lnTo>
                    <a:pt x="231" y="233"/>
                  </a:lnTo>
                  <a:lnTo>
                    <a:pt x="221" y="242"/>
                  </a:lnTo>
                  <a:lnTo>
                    <a:pt x="211" y="248"/>
                  </a:lnTo>
                  <a:lnTo>
                    <a:pt x="199" y="255"/>
                  </a:lnTo>
                  <a:lnTo>
                    <a:pt x="187" y="262"/>
                  </a:lnTo>
                  <a:lnTo>
                    <a:pt x="175" y="265"/>
                  </a:lnTo>
                  <a:lnTo>
                    <a:pt x="162" y="269"/>
                  </a:lnTo>
                  <a:lnTo>
                    <a:pt x="148" y="272"/>
                  </a:lnTo>
                  <a:lnTo>
                    <a:pt x="135" y="272"/>
                  </a:lnTo>
                  <a:lnTo>
                    <a:pt x="135" y="272"/>
                  </a:lnTo>
                  <a:close/>
                  <a:moveTo>
                    <a:pt x="135" y="27"/>
                  </a:moveTo>
                  <a:lnTo>
                    <a:pt x="135" y="27"/>
                  </a:lnTo>
                  <a:lnTo>
                    <a:pt x="125" y="29"/>
                  </a:lnTo>
                  <a:lnTo>
                    <a:pt x="113" y="30"/>
                  </a:lnTo>
                  <a:lnTo>
                    <a:pt x="103" y="32"/>
                  </a:lnTo>
                  <a:lnTo>
                    <a:pt x="93" y="35"/>
                  </a:lnTo>
                  <a:lnTo>
                    <a:pt x="83" y="41"/>
                  </a:lnTo>
                  <a:lnTo>
                    <a:pt x="74" y="46"/>
                  </a:lnTo>
                  <a:lnTo>
                    <a:pt x="59" y="59"/>
                  </a:lnTo>
                  <a:lnTo>
                    <a:pt x="45" y="76"/>
                  </a:lnTo>
                  <a:lnTo>
                    <a:pt x="39" y="84"/>
                  </a:lnTo>
                  <a:lnTo>
                    <a:pt x="35" y="95"/>
                  </a:lnTo>
                  <a:lnTo>
                    <a:pt x="32" y="105"/>
                  </a:lnTo>
                  <a:lnTo>
                    <a:pt x="28" y="115"/>
                  </a:lnTo>
                  <a:lnTo>
                    <a:pt x="27" y="125"/>
                  </a:lnTo>
                  <a:lnTo>
                    <a:pt x="27" y="137"/>
                  </a:lnTo>
                  <a:lnTo>
                    <a:pt x="27" y="137"/>
                  </a:lnTo>
                  <a:lnTo>
                    <a:pt x="27" y="147"/>
                  </a:lnTo>
                  <a:lnTo>
                    <a:pt x="28" y="159"/>
                  </a:lnTo>
                  <a:lnTo>
                    <a:pt x="32" y="169"/>
                  </a:lnTo>
                  <a:lnTo>
                    <a:pt x="35" y="179"/>
                  </a:lnTo>
                  <a:lnTo>
                    <a:pt x="39" y="188"/>
                  </a:lnTo>
                  <a:lnTo>
                    <a:pt x="45" y="198"/>
                  </a:lnTo>
                  <a:lnTo>
                    <a:pt x="59" y="213"/>
                  </a:lnTo>
                  <a:lnTo>
                    <a:pt x="74" y="226"/>
                  </a:lnTo>
                  <a:lnTo>
                    <a:pt x="83" y="232"/>
                  </a:lnTo>
                  <a:lnTo>
                    <a:pt x="93" y="237"/>
                  </a:lnTo>
                  <a:lnTo>
                    <a:pt x="103" y="240"/>
                  </a:lnTo>
                  <a:lnTo>
                    <a:pt x="113" y="243"/>
                  </a:lnTo>
                  <a:lnTo>
                    <a:pt x="125" y="245"/>
                  </a:lnTo>
                  <a:lnTo>
                    <a:pt x="135" y="245"/>
                  </a:lnTo>
                  <a:lnTo>
                    <a:pt x="135" y="245"/>
                  </a:lnTo>
                  <a:lnTo>
                    <a:pt x="147" y="245"/>
                  </a:lnTo>
                  <a:lnTo>
                    <a:pt x="157" y="243"/>
                  </a:lnTo>
                  <a:lnTo>
                    <a:pt x="167" y="240"/>
                  </a:lnTo>
                  <a:lnTo>
                    <a:pt x="177" y="237"/>
                  </a:lnTo>
                  <a:lnTo>
                    <a:pt x="187" y="232"/>
                  </a:lnTo>
                  <a:lnTo>
                    <a:pt x="196" y="226"/>
                  </a:lnTo>
                  <a:lnTo>
                    <a:pt x="213" y="213"/>
                  </a:lnTo>
                  <a:lnTo>
                    <a:pt x="226" y="198"/>
                  </a:lnTo>
                  <a:lnTo>
                    <a:pt x="231" y="188"/>
                  </a:lnTo>
                  <a:lnTo>
                    <a:pt x="236" y="179"/>
                  </a:lnTo>
                  <a:lnTo>
                    <a:pt x="240" y="169"/>
                  </a:lnTo>
                  <a:lnTo>
                    <a:pt x="241" y="159"/>
                  </a:lnTo>
                  <a:lnTo>
                    <a:pt x="243" y="147"/>
                  </a:lnTo>
                  <a:lnTo>
                    <a:pt x="245" y="137"/>
                  </a:lnTo>
                  <a:lnTo>
                    <a:pt x="245" y="137"/>
                  </a:lnTo>
                  <a:lnTo>
                    <a:pt x="243" y="125"/>
                  </a:lnTo>
                  <a:lnTo>
                    <a:pt x="241" y="115"/>
                  </a:lnTo>
                  <a:lnTo>
                    <a:pt x="240" y="105"/>
                  </a:lnTo>
                  <a:lnTo>
                    <a:pt x="236" y="95"/>
                  </a:lnTo>
                  <a:lnTo>
                    <a:pt x="231" y="84"/>
                  </a:lnTo>
                  <a:lnTo>
                    <a:pt x="226" y="76"/>
                  </a:lnTo>
                  <a:lnTo>
                    <a:pt x="213" y="59"/>
                  </a:lnTo>
                  <a:lnTo>
                    <a:pt x="196" y="46"/>
                  </a:lnTo>
                  <a:lnTo>
                    <a:pt x="187" y="41"/>
                  </a:lnTo>
                  <a:lnTo>
                    <a:pt x="177" y="35"/>
                  </a:lnTo>
                  <a:lnTo>
                    <a:pt x="167" y="32"/>
                  </a:lnTo>
                  <a:lnTo>
                    <a:pt x="157" y="30"/>
                  </a:lnTo>
                  <a:lnTo>
                    <a:pt x="147" y="29"/>
                  </a:lnTo>
                  <a:lnTo>
                    <a:pt x="135" y="27"/>
                  </a:lnTo>
                  <a:lnTo>
                    <a:pt x="135"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32" name="Group 31"/>
          <p:cNvGrpSpPr/>
          <p:nvPr/>
        </p:nvGrpSpPr>
        <p:grpSpPr>
          <a:xfrm>
            <a:off x="4259182" y="3381321"/>
            <a:ext cx="219545" cy="388908"/>
            <a:chOff x="5205413" y="2936875"/>
            <a:chExt cx="388938" cy="688975"/>
          </a:xfrm>
          <a:solidFill>
            <a:schemeClr val="bg1"/>
          </a:solidFill>
        </p:grpSpPr>
        <p:sp>
          <p:nvSpPr>
            <p:cNvPr id="33" name="Freeform 141"/>
            <p:cNvSpPr>
              <a:spLocks noEditPoints="1"/>
            </p:cNvSpPr>
            <p:nvPr/>
          </p:nvSpPr>
          <p:spPr bwMode="auto">
            <a:xfrm>
              <a:off x="5205413" y="2936875"/>
              <a:ext cx="388938" cy="688975"/>
            </a:xfrm>
            <a:custGeom>
              <a:avLst/>
              <a:gdLst>
                <a:gd name="T0" fmla="*/ 59 w 490"/>
                <a:gd name="T1" fmla="*/ 869 h 869"/>
                <a:gd name="T2" fmla="*/ 37 w 490"/>
                <a:gd name="T3" fmla="*/ 864 h 869"/>
                <a:gd name="T4" fmla="*/ 17 w 490"/>
                <a:gd name="T5" fmla="*/ 850 h 869"/>
                <a:gd name="T6" fmla="*/ 5 w 490"/>
                <a:gd name="T7" fmla="*/ 832 h 869"/>
                <a:gd name="T8" fmla="*/ 0 w 490"/>
                <a:gd name="T9" fmla="*/ 808 h 869"/>
                <a:gd name="T10" fmla="*/ 0 w 490"/>
                <a:gd name="T11" fmla="*/ 59 h 869"/>
                <a:gd name="T12" fmla="*/ 5 w 490"/>
                <a:gd name="T13" fmla="*/ 37 h 869"/>
                <a:gd name="T14" fmla="*/ 17 w 490"/>
                <a:gd name="T15" fmla="*/ 17 h 869"/>
                <a:gd name="T16" fmla="*/ 37 w 490"/>
                <a:gd name="T17" fmla="*/ 5 h 869"/>
                <a:gd name="T18" fmla="*/ 59 w 490"/>
                <a:gd name="T19" fmla="*/ 0 h 869"/>
                <a:gd name="T20" fmla="*/ 431 w 490"/>
                <a:gd name="T21" fmla="*/ 0 h 869"/>
                <a:gd name="T22" fmla="*/ 454 w 490"/>
                <a:gd name="T23" fmla="*/ 5 h 869"/>
                <a:gd name="T24" fmla="*/ 473 w 490"/>
                <a:gd name="T25" fmla="*/ 17 h 869"/>
                <a:gd name="T26" fmla="*/ 486 w 490"/>
                <a:gd name="T27" fmla="*/ 37 h 869"/>
                <a:gd name="T28" fmla="*/ 490 w 490"/>
                <a:gd name="T29" fmla="*/ 59 h 869"/>
                <a:gd name="T30" fmla="*/ 490 w 490"/>
                <a:gd name="T31" fmla="*/ 808 h 869"/>
                <a:gd name="T32" fmla="*/ 486 w 490"/>
                <a:gd name="T33" fmla="*/ 832 h 869"/>
                <a:gd name="T34" fmla="*/ 473 w 490"/>
                <a:gd name="T35" fmla="*/ 850 h 869"/>
                <a:gd name="T36" fmla="*/ 454 w 490"/>
                <a:gd name="T37" fmla="*/ 864 h 869"/>
                <a:gd name="T38" fmla="*/ 431 w 490"/>
                <a:gd name="T39" fmla="*/ 869 h 869"/>
                <a:gd name="T40" fmla="*/ 27 w 490"/>
                <a:gd name="T41" fmla="*/ 808 h 869"/>
                <a:gd name="T42" fmla="*/ 27 w 490"/>
                <a:gd name="T43" fmla="*/ 815 h 869"/>
                <a:gd name="T44" fmla="*/ 32 w 490"/>
                <a:gd name="T45" fmla="*/ 827 h 869"/>
                <a:gd name="T46" fmla="*/ 42 w 490"/>
                <a:gd name="T47" fmla="*/ 835 h 869"/>
                <a:gd name="T48" fmla="*/ 52 w 490"/>
                <a:gd name="T49" fmla="*/ 840 h 869"/>
                <a:gd name="T50" fmla="*/ 431 w 490"/>
                <a:gd name="T51" fmla="*/ 842 h 869"/>
                <a:gd name="T52" fmla="*/ 437 w 490"/>
                <a:gd name="T53" fmla="*/ 840 h 869"/>
                <a:gd name="T54" fmla="*/ 449 w 490"/>
                <a:gd name="T55" fmla="*/ 835 h 869"/>
                <a:gd name="T56" fmla="*/ 458 w 490"/>
                <a:gd name="T57" fmla="*/ 827 h 869"/>
                <a:gd name="T58" fmla="*/ 463 w 490"/>
                <a:gd name="T59" fmla="*/ 815 h 869"/>
                <a:gd name="T60" fmla="*/ 463 w 490"/>
                <a:gd name="T61" fmla="*/ 686 h 869"/>
                <a:gd name="T62" fmla="*/ 27 w 490"/>
                <a:gd name="T63" fmla="*/ 808 h 869"/>
                <a:gd name="T64" fmla="*/ 463 w 490"/>
                <a:gd name="T65" fmla="*/ 659 h 869"/>
                <a:gd name="T66" fmla="*/ 27 w 490"/>
                <a:gd name="T67" fmla="*/ 151 h 869"/>
                <a:gd name="T68" fmla="*/ 59 w 490"/>
                <a:gd name="T69" fmla="*/ 27 h 869"/>
                <a:gd name="T70" fmla="*/ 52 w 490"/>
                <a:gd name="T71" fmla="*/ 27 h 869"/>
                <a:gd name="T72" fmla="*/ 42 w 490"/>
                <a:gd name="T73" fmla="*/ 32 h 869"/>
                <a:gd name="T74" fmla="*/ 32 w 490"/>
                <a:gd name="T75" fmla="*/ 43 h 869"/>
                <a:gd name="T76" fmla="*/ 27 w 490"/>
                <a:gd name="T77" fmla="*/ 53 h 869"/>
                <a:gd name="T78" fmla="*/ 27 w 490"/>
                <a:gd name="T79" fmla="*/ 124 h 869"/>
                <a:gd name="T80" fmla="*/ 463 w 490"/>
                <a:gd name="T81" fmla="*/ 59 h 869"/>
                <a:gd name="T82" fmla="*/ 463 w 490"/>
                <a:gd name="T83" fmla="*/ 53 h 869"/>
                <a:gd name="T84" fmla="*/ 458 w 490"/>
                <a:gd name="T85" fmla="*/ 43 h 869"/>
                <a:gd name="T86" fmla="*/ 449 w 490"/>
                <a:gd name="T87" fmla="*/ 32 h 869"/>
                <a:gd name="T88" fmla="*/ 437 w 490"/>
                <a:gd name="T89" fmla="*/ 27 h 869"/>
                <a:gd name="T90" fmla="*/ 59 w 490"/>
                <a:gd name="T91" fmla="*/ 27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0" h="869">
                  <a:moveTo>
                    <a:pt x="59" y="869"/>
                  </a:moveTo>
                  <a:lnTo>
                    <a:pt x="59" y="869"/>
                  </a:lnTo>
                  <a:lnTo>
                    <a:pt x="47" y="867"/>
                  </a:lnTo>
                  <a:lnTo>
                    <a:pt x="37" y="864"/>
                  </a:lnTo>
                  <a:lnTo>
                    <a:pt x="27" y="857"/>
                  </a:lnTo>
                  <a:lnTo>
                    <a:pt x="17" y="850"/>
                  </a:lnTo>
                  <a:lnTo>
                    <a:pt x="10" y="842"/>
                  </a:lnTo>
                  <a:lnTo>
                    <a:pt x="5" y="832"/>
                  </a:lnTo>
                  <a:lnTo>
                    <a:pt x="1" y="820"/>
                  </a:lnTo>
                  <a:lnTo>
                    <a:pt x="0" y="808"/>
                  </a:lnTo>
                  <a:lnTo>
                    <a:pt x="0" y="59"/>
                  </a:lnTo>
                  <a:lnTo>
                    <a:pt x="0" y="59"/>
                  </a:lnTo>
                  <a:lnTo>
                    <a:pt x="1" y="48"/>
                  </a:lnTo>
                  <a:lnTo>
                    <a:pt x="5" y="37"/>
                  </a:lnTo>
                  <a:lnTo>
                    <a:pt x="10" y="27"/>
                  </a:lnTo>
                  <a:lnTo>
                    <a:pt x="17" y="17"/>
                  </a:lnTo>
                  <a:lnTo>
                    <a:pt x="27" y="10"/>
                  </a:lnTo>
                  <a:lnTo>
                    <a:pt x="37" y="5"/>
                  </a:lnTo>
                  <a:lnTo>
                    <a:pt x="47" y="2"/>
                  </a:lnTo>
                  <a:lnTo>
                    <a:pt x="59" y="0"/>
                  </a:lnTo>
                  <a:lnTo>
                    <a:pt x="431" y="0"/>
                  </a:lnTo>
                  <a:lnTo>
                    <a:pt x="431" y="0"/>
                  </a:lnTo>
                  <a:lnTo>
                    <a:pt x="442" y="2"/>
                  </a:lnTo>
                  <a:lnTo>
                    <a:pt x="454" y="5"/>
                  </a:lnTo>
                  <a:lnTo>
                    <a:pt x="464" y="10"/>
                  </a:lnTo>
                  <a:lnTo>
                    <a:pt x="473" y="17"/>
                  </a:lnTo>
                  <a:lnTo>
                    <a:pt x="480" y="27"/>
                  </a:lnTo>
                  <a:lnTo>
                    <a:pt x="486" y="37"/>
                  </a:lnTo>
                  <a:lnTo>
                    <a:pt x="490" y="48"/>
                  </a:lnTo>
                  <a:lnTo>
                    <a:pt x="490" y="59"/>
                  </a:lnTo>
                  <a:lnTo>
                    <a:pt x="490" y="808"/>
                  </a:lnTo>
                  <a:lnTo>
                    <a:pt x="490" y="808"/>
                  </a:lnTo>
                  <a:lnTo>
                    <a:pt x="490" y="820"/>
                  </a:lnTo>
                  <a:lnTo>
                    <a:pt x="486" y="832"/>
                  </a:lnTo>
                  <a:lnTo>
                    <a:pt x="480" y="842"/>
                  </a:lnTo>
                  <a:lnTo>
                    <a:pt x="473" y="850"/>
                  </a:lnTo>
                  <a:lnTo>
                    <a:pt x="464" y="857"/>
                  </a:lnTo>
                  <a:lnTo>
                    <a:pt x="454" y="864"/>
                  </a:lnTo>
                  <a:lnTo>
                    <a:pt x="442" y="867"/>
                  </a:lnTo>
                  <a:lnTo>
                    <a:pt x="431" y="869"/>
                  </a:lnTo>
                  <a:lnTo>
                    <a:pt x="59" y="869"/>
                  </a:lnTo>
                  <a:close/>
                  <a:moveTo>
                    <a:pt x="27" y="808"/>
                  </a:moveTo>
                  <a:lnTo>
                    <a:pt x="27" y="808"/>
                  </a:lnTo>
                  <a:lnTo>
                    <a:pt x="27" y="815"/>
                  </a:lnTo>
                  <a:lnTo>
                    <a:pt x="30" y="822"/>
                  </a:lnTo>
                  <a:lnTo>
                    <a:pt x="32" y="827"/>
                  </a:lnTo>
                  <a:lnTo>
                    <a:pt x="37" y="832"/>
                  </a:lnTo>
                  <a:lnTo>
                    <a:pt x="42" y="835"/>
                  </a:lnTo>
                  <a:lnTo>
                    <a:pt x="47" y="839"/>
                  </a:lnTo>
                  <a:lnTo>
                    <a:pt x="52" y="840"/>
                  </a:lnTo>
                  <a:lnTo>
                    <a:pt x="59" y="842"/>
                  </a:lnTo>
                  <a:lnTo>
                    <a:pt x="431" y="842"/>
                  </a:lnTo>
                  <a:lnTo>
                    <a:pt x="431" y="842"/>
                  </a:lnTo>
                  <a:lnTo>
                    <a:pt x="437" y="840"/>
                  </a:lnTo>
                  <a:lnTo>
                    <a:pt x="444" y="839"/>
                  </a:lnTo>
                  <a:lnTo>
                    <a:pt x="449" y="835"/>
                  </a:lnTo>
                  <a:lnTo>
                    <a:pt x="454" y="832"/>
                  </a:lnTo>
                  <a:lnTo>
                    <a:pt x="458" y="827"/>
                  </a:lnTo>
                  <a:lnTo>
                    <a:pt x="461" y="822"/>
                  </a:lnTo>
                  <a:lnTo>
                    <a:pt x="463" y="815"/>
                  </a:lnTo>
                  <a:lnTo>
                    <a:pt x="463" y="808"/>
                  </a:lnTo>
                  <a:lnTo>
                    <a:pt x="463" y="686"/>
                  </a:lnTo>
                  <a:lnTo>
                    <a:pt x="27" y="686"/>
                  </a:lnTo>
                  <a:lnTo>
                    <a:pt x="27" y="808"/>
                  </a:lnTo>
                  <a:close/>
                  <a:moveTo>
                    <a:pt x="27" y="659"/>
                  </a:moveTo>
                  <a:lnTo>
                    <a:pt x="463" y="659"/>
                  </a:lnTo>
                  <a:lnTo>
                    <a:pt x="463" y="151"/>
                  </a:lnTo>
                  <a:lnTo>
                    <a:pt x="27" y="151"/>
                  </a:lnTo>
                  <a:lnTo>
                    <a:pt x="27" y="659"/>
                  </a:lnTo>
                  <a:close/>
                  <a:moveTo>
                    <a:pt x="59" y="27"/>
                  </a:moveTo>
                  <a:lnTo>
                    <a:pt x="59" y="27"/>
                  </a:lnTo>
                  <a:lnTo>
                    <a:pt x="52" y="27"/>
                  </a:lnTo>
                  <a:lnTo>
                    <a:pt x="47" y="31"/>
                  </a:lnTo>
                  <a:lnTo>
                    <a:pt x="42" y="32"/>
                  </a:lnTo>
                  <a:lnTo>
                    <a:pt x="37" y="37"/>
                  </a:lnTo>
                  <a:lnTo>
                    <a:pt x="32" y="43"/>
                  </a:lnTo>
                  <a:lnTo>
                    <a:pt x="30" y="48"/>
                  </a:lnTo>
                  <a:lnTo>
                    <a:pt x="27" y="53"/>
                  </a:lnTo>
                  <a:lnTo>
                    <a:pt x="27" y="59"/>
                  </a:lnTo>
                  <a:lnTo>
                    <a:pt x="27" y="124"/>
                  </a:lnTo>
                  <a:lnTo>
                    <a:pt x="463" y="124"/>
                  </a:lnTo>
                  <a:lnTo>
                    <a:pt x="463" y="59"/>
                  </a:lnTo>
                  <a:lnTo>
                    <a:pt x="463" y="59"/>
                  </a:lnTo>
                  <a:lnTo>
                    <a:pt x="463" y="53"/>
                  </a:lnTo>
                  <a:lnTo>
                    <a:pt x="461" y="48"/>
                  </a:lnTo>
                  <a:lnTo>
                    <a:pt x="458" y="43"/>
                  </a:lnTo>
                  <a:lnTo>
                    <a:pt x="454" y="37"/>
                  </a:lnTo>
                  <a:lnTo>
                    <a:pt x="449" y="32"/>
                  </a:lnTo>
                  <a:lnTo>
                    <a:pt x="444" y="31"/>
                  </a:lnTo>
                  <a:lnTo>
                    <a:pt x="437" y="27"/>
                  </a:lnTo>
                  <a:lnTo>
                    <a:pt x="431" y="27"/>
                  </a:lnTo>
                  <a:lnTo>
                    <a:pt x="59"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4" name="Freeform 142"/>
            <p:cNvSpPr/>
            <p:nvPr/>
          </p:nvSpPr>
          <p:spPr bwMode="auto">
            <a:xfrm>
              <a:off x="5383213" y="3524250"/>
              <a:ext cx="33338" cy="31750"/>
            </a:xfrm>
            <a:custGeom>
              <a:avLst/>
              <a:gdLst>
                <a:gd name="T0" fmla="*/ 20 w 40"/>
                <a:gd name="T1" fmla="*/ 41 h 41"/>
                <a:gd name="T2" fmla="*/ 20 w 40"/>
                <a:gd name="T3" fmla="*/ 41 h 41"/>
                <a:gd name="T4" fmla="*/ 13 w 40"/>
                <a:gd name="T5" fmla="*/ 39 h 41"/>
                <a:gd name="T6" fmla="*/ 6 w 40"/>
                <a:gd name="T7" fmla="*/ 36 h 41"/>
                <a:gd name="T8" fmla="*/ 1 w 40"/>
                <a:gd name="T9" fmla="*/ 29 h 41"/>
                <a:gd name="T10" fmla="*/ 0 w 40"/>
                <a:gd name="T11" fmla="*/ 21 h 41"/>
                <a:gd name="T12" fmla="*/ 0 w 40"/>
                <a:gd name="T13" fmla="*/ 21 h 41"/>
                <a:gd name="T14" fmla="*/ 1 w 40"/>
                <a:gd name="T15" fmla="*/ 12 h 41"/>
                <a:gd name="T16" fmla="*/ 6 w 40"/>
                <a:gd name="T17" fmla="*/ 6 h 41"/>
                <a:gd name="T18" fmla="*/ 13 w 40"/>
                <a:gd name="T19" fmla="*/ 2 h 41"/>
                <a:gd name="T20" fmla="*/ 20 w 40"/>
                <a:gd name="T21" fmla="*/ 0 h 41"/>
                <a:gd name="T22" fmla="*/ 20 w 40"/>
                <a:gd name="T23" fmla="*/ 0 h 41"/>
                <a:gd name="T24" fmla="*/ 28 w 40"/>
                <a:gd name="T25" fmla="*/ 2 h 41"/>
                <a:gd name="T26" fmla="*/ 35 w 40"/>
                <a:gd name="T27" fmla="*/ 6 h 41"/>
                <a:gd name="T28" fmla="*/ 38 w 40"/>
                <a:gd name="T29" fmla="*/ 12 h 41"/>
                <a:gd name="T30" fmla="*/ 40 w 40"/>
                <a:gd name="T31" fmla="*/ 21 h 41"/>
                <a:gd name="T32" fmla="*/ 40 w 40"/>
                <a:gd name="T33" fmla="*/ 21 h 41"/>
                <a:gd name="T34" fmla="*/ 38 w 40"/>
                <a:gd name="T35" fmla="*/ 29 h 41"/>
                <a:gd name="T36" fmla="*/ 35 w 40"/>
                <a:gd name="T37" fmla="*/ 36 h 41"/>
                <a:gd name="T38" fmla="*/ 28 w 40"/>
                <a:gd name="T39" fmla="*/ 39 h 41"/>
                <a:gd name="T40" fmla="*/ 20 w 40"/>
                <a:gd name="T41" fmla="*/ 41 h 41"/>
                <a:gd name="T42" fmla="*/ 20 w 40"/>
                <a:gd name="T4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41">
                  <a:moveTo>
                    <a:pt x="20" y="41"/>
                  </a:moveTo>
                  <a:lnTo>
                    <a:pt x="20" y="41"/>
                  </a:lnTo>
                  <a:lnTo>
                    <a:pt x="13" y="39"/>
                  </a:lnTo>
                  <a:lnTo>
                    <a:pt x="6" y="36"/>
                  </a:lnTo>
                  <a:lnTo>
                    <a:pt x="1" y="29"/>
                  </a:lnTo>
                  <a:lnTo>
                    <a:pt x="0" y="21"/>
                  </a:lnTo>
                  <a:lnTo>
                    <a:pt x="0" y="21"/>
                  </a:lnTo>
                  <a:lnTo>
                    <a:pt x="1" y="12"/>
                  </a:lnTo>
                  <a:lnTo>
                    <a:pt x="6" y="6"/>
                  </a:lnTo>
                  <a:lnTo>
                    <a:pt x="13" y="2"/>
                  </a:lnTo>
                  <a:lnTo>
                    <a:pt x="20" y="0"/>
                  </a:lnTo>
                  <a:lnTo>
                    <a:pt x="20" y="0"/>
                  </a:lnTo>
                  <a:lnTo>
                    <a:pt x="28" y="2"/>
                  </a:lnTo>
                  <a:lnTo>
                    <a:pt x="35" y="6"/>
                  </a:lnTo>
                  <a:lnTo>
                    <a:pt x="38" y="12"/>
                  </a:lnTo>
                  <a:lnTo>
                    <a:pt x="40" y="21"/>
                  </a:lnTo>
                  <a:lnTo>
                    <a:pt x="40" y="21"/>
                  </a:lnTo>
                  <a:lnTo>
                    <a:pt x="38" y="29"/>
                  </a:lnTo>
                  <a:lnTo>
                    <a:pt x="35" y="36"/>
                  </a:lnTo>
                  <a:lnTo>
                    <a:pt x="28" y="39"/>
                  </a:lnTo>
                  <a:lnTo>
                    <a:pt x="20" y="41"/>
                  </a:lnTo>
                  <a:lnTo>
                    <a:pt x="20" y="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cxnSp>
        <p:nvCxnSpPr>
          <p:cNvPr id="35" name="Straight Connector 34"/>
          <p:cNvCxnSpPr/>
          <p:nvPr/>
        </p:nvCxnSpPr>
        <p:spPr>
          <a:xfrm>
            <a:off x="6337298" y="1745006"/>
            <a:ext cx="0" cy="78021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6337298" y="3243606"/>
            <a:ext cx="0" cy="78021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337298" y="4704106"/>
            <a:ext cx="0" cy="78021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advClick="0" advTm="0">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p:nvPr/>
        </p:nvSpPr>
        <p:spPr>
          <a:xfrm>
            <a:off x="904902" y="644336"/>
            <a:ext cx="4352898"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3600" b="1" spc="-151" dirty="0">
                <a:solidFill>
                  <a:schemeClr val="accent1"/>
                </a:solidFill>
                <a:latin typeface="Playfair Display" panose="00000500000000000000" pitchFamily="2" charset="0"/>
                <a:ea typeface="Open Sans" panose="020B0606030504020204" pitchFamily="34" charset="0"/>
                <a:cs typeface="Lato" panose="020F0502020204030203" pitchFamily="34" charset="0"/>
              </a:rPr>
              <a:t>What </a:t>
            </a:r>
            <a:r>
              <a:rPr lang="en-US" sz="3600"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We Do</a:t>
            </a:r>
            <a:endParaRPr lang="en-US" sz="3600"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4" name="Rectangle 3"/>
          <p:cNvSpPr/>
          <p:nvPr/>
        </p:nvSpPr>
        <p:spPr>
          <a:xfrm>
            <a:off x="958692" y="1290667"/>
            <a:ext cx="2156010" cy="261610"/>
          </a:xfrm>
          <a:prstGeom prst="rect">
            <a:avLst/>
          </a:prstGeom>
        </p:spPr>
        <p:txBody>
          <a:bodyPr wrap="square">
            <a:spAutoFit/>
          </a:bodyPr>
          <a:lstStyle/>
          <a:p>
            <a:pPr>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cxnSp>
        <p:nvCxnSpPr>
          <p:cNvPr id="45" name="Straight Connector 44"/>
          <p:cNvCxnSpPr/>
          <p:nvPr/>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27" name="图片占位符 26"/>
          <p:cNvPicPr>
            <a:picLocks noGrp="1" noChangeAspect="1"/>
          </p:cNvPicPr>
          <p:nvPr>
            <p:ph type="pic" sz="quarter" idx="23"/>
          </p:nvPr>
        </p:nvPicPr>
        <p:blipFill>
          <a:blip r:embed="rId1" cstate="screen"/>
          <a:srcRect/>
          <a:stretch>
            <a:fillRect/>
          </a:stretch>
        </p:blipFill>
        <p:spPr>
          <a:solidFill>
            <a:schemeClr val="bg1">
              <a:lumMod val="85000"/>
            </a:schemeClr>
          </a:solidFill>
        </p:spPr>
      </p:pic>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sp>
        <p:nvSpPr>
          <p:cNvPr id="7" name="Rounded Rectangle 6"/>
          <p:cNvSpPr/>
          <p:nvPr/>
        </p:nvSpPr>
        <p:spPr>
          <a:xfrm>
            <a:off x="1311532" y="1936998"/>
            <a:ext cx="828673" cy="2565926"/>
          </a:xfrm>
          <a:prstGeom prst="roundRect">
            <a:avLst>
              <a:gd name="adj" fmla="val 0"/>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8" name="TextBox 7"/>
          <p:cNvSpPr txBox="1"/>
          <p:nvPr/>
        </p:nvSpPr>
        <p:spPr>
          <a:xfrm>
            <a:off x="1298832" y="4664057"/>
            <a:ext cx="1399742" cy="338554"/>
          </a:xfrm>
          <a:prstGeom prst="rect">
            <a:avLst/>
          </a:prstGeom>
          <a:noFill/>
        </p:spPr>
        <p:txBody>
          <a:bodyPr wrap="none" rtlCol="0">
            <a:spAutoFit/>
          </a:bodyPr>
          <a:lstStyle/>
          <a:p>
            <a:r>
              <a:rPr lang="id-ID" sz="1600" b="1" dirty="0">
                <a:solidFill>
                  <a:schemeClr val="tx1">
                    <a:lumMod val="85000"/>
                    <a:lumOff val="15000"/>
                  </a:schemeClr>
                </a:solidFill>
                <a:latin typeface="Playfair Display" panose="00000500000000000000" pitchFamily="2" charset="0"/>
                <a:ea typeface="Roboto" panose="02000000000000000000" pitchFamily="2" charset="0"/>
                <a:cs typeface="Lato" panose="020F0502020204030203" pitchFamily="34" charset="0"/>
              </a:rPr>
              <a:t>Introduction</a:t>
            </a:r>
            <a:endParaRPr lang="id-ID" sz="1600" b="1" dirty="0">
              <a:solidFill>
                <a:schemeClr val="tx1">
                  <a:lumMod val="85000"/>
                  <a:lumOff val="15000"/>
                </a:schemeClr>
              </a:solidFill>
              <a:latin typeface="Playfair Display" panose="00000500000000000000" pitchFamily="2" charset="0"/>
              <a:ea typeface="Roboto" panose="02000000000000000000" pitchFamily="2" charset="0"/>
              <a:cs typeface="Lato" panose="020F0502020204030203" pitchFamily="34" charset="0"/>
            </a:endParaRPr>
          </a:p>
        </p:txBody>
      </p:sp>
      <p:sp>
        <p:nvSpPr>
          <p:cNvPr id="9" name="TextBox 8"/>
          <p:cNvSpPr txBox="1"/>
          <p:nvPr/>
        </p:nvSpPr>
        <p:spPr>
          <a:xfrm>
            <a:off x="1298832" y="5002611"/>
            <a:ext cx="2098673" cy="646331"/>
          </a:xfrm>
          <a:prstGeom prst="rect">
            <a:avLst/>
          </a:prstGeom>
          <a:noFill/>
        </p:spPr>
        <p:txBody>
          <a:bodyPr wrap="square" rtlCol="0">
            <a:spAutoFit/>
          </a:bodyPr>
          <a:lstStyle/>
          <a:p>
            <a:r>
              <a:rPr lang="id-ID" sz="1200" dirty="0">
                <a:solidFill>
                  <a:schemeClr val="tx1">
                    <a:lumMod val="75000"/>
                    <a:lumOff val="25000"/>
                  </a:schemeClr>
                </a:solidFill>
              </a:rPr>
              <a:t>Suitable for all category</a:t>
            </a:r>
            <a:r>
              <a:rPr lang="en-US" sz="1200" dirty="0">
                <a:solidFill>
                  <a:schemeClr val="tx1">
                    <a:lumMod val="75000"/>
                    <a:lumOff val="25000"/>
                  </a:schemeClr>
                </a:solidFill>
              </a:rPr>
              <a:t>, Lorem Ipsum is not simply random text. It has roots in a piece.</a:t>
            </a:r>
            <a:endParaRPr lang="en-US" sz="1200" b="1" dirty="0">
              <a:solidFill>
                <a:schemeClr val="tx1">
                  <a:lumMod val="75000"/>
                  <a:lumOff val="25000"/>
                </a:schemeClr>
              </a:solidFill>
            </a:endParaRPr>
          </a:p>
        </p:txBody>
      </p:sp>
      <p:sp>
        <p:nvSpPr>
          <p:cNvPr id="10" name="Rounded Rectangle 9"/>
          <p:cNvSpPr/>
          <p:nvPr/>
        </p:nvSpPr>
        <p:spPr>
          <a:xfrm>
            <a:off x="4091765" y="1936998"/>
            <a:ext cx="828673" cy="2565926"/>
          </a:xfrm>
          <a:prstGeom prst="roundRect">
            <a:avLst>
              <a:gd name="adj" fmla="val 0"/>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1" name="TextBox 10"/>
          <p:cNvSpPr txBox="1"/>
          <p:nvPr/>
        </p:nvSpPr>
        <p:spPr>
          <a:xfrm>
            <a:off x="4079065" y="4664057"/>
            <a:ext cx="1399742" cy="338554"/>
          </a:xfrm>
          <a:prstGeom prst="rect">
            <a:avLst/>
          </a:prstGeom>
          <a:noFill/>
        </p:spPr>
        <p:txBody>
          <a:bodyPr wrap="none" rtlCol="0">
            <a:spAutoFit/>
          </a:bodyPr>
          <a:lstStyle/>
          <a:p>
            <a:r>
              <a:rPr lang="id-ID" sz="1600" b="1" dirty="0">
                <a:solidFill>
                  <a:schemeClr val="tx1">
                    <a:lumMod val="85000"/>
                    <a:lumOff val="15000"/>
                  </a:schemeClr>
                </a:solidFill>
                <a:latin typeface="Playfair Display" panose="00000500000000000000" pitchFamily="2" charset="0"/>
                <a:ea typeface="Roboto" panose="02000000000000000000" pitchFamily="2" charset="0"/>
                <a:cs typeface="Lato" panose="020F0502020204030203" pitchFamily="34" charset="0"/>
              </a:rPr>
              <a:t>Introduction</a:t>
            </a:r>
            <a:endParaRPr lang="id-ID" sz="1600" b="1" dirty="0">
              <a:solidFill>
                <a:schemeClr val="tx1">
                  <a:lumMod val="85000"/>
                  <a:lumOff val="15000"/>
                </a:schemeClr>
              </a:solidFill>
              <a:latin typeface="Playfair Display" panose="00000500000000000000" pitchFamily="2" charset="0"/>
              <a:ea typeface="Roboto" panose="02000000000000000000" pitchFamily="2" charset="0"/>
              <a:cs typeface="Lato" panose="020F0502020204030203" pitchFamily="34" charset="0"/>
            </a:endParaRPr>
          </a:p>
        </p:txBody>
      </p:sp>
      <p:sp>
        <p:nvSpPr>
          <p:cNvPr id="12" name="TextBox 11"/>
          <p:cNvSpPr txBox="1"/>
          <p:nvPr/>
        </p:nvSpPr>
        <p:spPr>
          <a:xfrm>
            <a:off x="4079065" y="5002611"/>
            <a:ext cx="2098673" cy="646331"/>
          </a:xfrm>
          <a:prstGeom prst="rect">
            <a:avLst/>
          </a:prstGeom>
          <a:noFill/>
        </p:spPr>
        <p:txBody>
          <a:bodyPr wrap="square" rtlCol="0">
            <a:spAutoFit/>
          </a:bodyPr>
          <a:lstStyle/>
          <a:p>
            <a:r>
              <a:rPr lang="id-ID" sz="1200" dirty="0">
                <a:solidFill>
                  <a:schemeClr val="tx1">
                    <a:lumMod val="75000"/>
                    <a:lumOff val="25000"/>
                  </a:schemeClr>
                </a:solidFill>
              </a:rPr>
              <a:t>Suitable for all category</a:t>
            </a:r>
            <a:r>
              <a:rPr lang="en-US" sz="1200" dirty="0">
                <a:solidFill>
                  <a:schemeClr val="tx1">
                    <a:lumMod val="75000"/>
                    <a:lumOff val="25000"/>
                  </a:schemeClr>
                </a:solidFill>
              </a:rPr>
              <a:t>, Lorem Ipsum is not simply random text. It has roots in a piece.</a:t>
            </a:r>
            <a:endParaRPr lang="en-US" sz="1200" b="1" dirty="0">
              <a:solidFill>
                <a:schemeClr val="tx1">
                  <a:lumMod val="75000"/>
                  <a:lumOff val="25000"/>
                </a:schemeClr>
              </a:solidFill>
            </a:endParaRPr>
          </a:p>
        </p:txBody>
      </p:sp>
      <p:sp>
        <p:nvSpPr>
          <p:cNvPr id="13" name="Rounded Rectangle 12"/>
          <p:cNvSpPr/>
          <p:nvPr/>
        </p:nvSpPr>
        <p:spPr>
          <a:xfrm>
            <a:off x="6871998" y="1936998"/>
            <a:ext cx="828673" cy="2565926"/>
          </a:xfrm>
          <a:prstGeom prst="roundRect">
            <a:avLst>
              <a:gd name="adj" fmla="val 0"/>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4" name="TextBox 13"/>
          <p:cNvSpPr txBox="1"/>
          <p:nvPr/>
        </p:nvSpPr>
        <p:spPr>
          <a:xfrm>
            <a:off x="6859298" y="4664057"/>
            <a:ext cx="1399742" cy="338554"/>
          </a:xfrm>
          <a:prstGeom prst="rect">
            <a:avLst/>
          </a:prstGeom>
          <a:noFill/>
        </p:spPr>
        <p:txBody>
          <a:bodyPr wrap="none" rtlCol="0">
            <a:spAutoFit/>
          </a:bodyPr>
          <a:lstStyle/>
          <a:p>
            <a:r>
              <a:rPr lang="id-ID" sz="1600" b="1" dirty="0">
                <a:solidFill>
                  <a:schemeClr val="tx1">
                    <a:lumMod val="85000"/>
                    <a:lumOff val="15000"/>
                  </a:schemeClr>
                </a:solidFill>
                <a:latin typeface="Playfair Display" panose="00000500000000000000" pitchFamily="2" charset="0"/>
                <a:ea typeface="Roboto" panose="02000000000000000000" pitchFamily="2" charset="0"/>
                <a:cs typeface="Lato" panose="020F0502020204030203" pitchFamily="34" charset="0"/>
              </a:rPr>
              <a:t>Introduction</a:t>
            </a:r>
            <a:endParaRPr lang="id-ID" sz="1600" b="1" dirty="0">
              <a:solidFill>
                <a:schemeClr val="tx1">
                  <a:lumMod val="85000"/>
                  <a:lumOff val="15000"/>
                </a:schemeClr>
              </a:solidFill>
              <a:latin typeface="Playfair Display" panose="00000500000000000000" pitchFamily="2" charset="0"/>
              <a:ea typeface="Roboto" panose="02000000000000000000" pitchFamily="2" charset="0"/>
              <a:cs typeface="Lato" panose="020F0502020204030203" pitchFamily="34" charset="0"/>
            </a:endParaRPr>
          </a:p>
        </p:txBody>
      </p:sp>
      <p:sp>
        <p:nvSpPr>
          <p:cNvPr id="15" name="TextBox 14"/>
          <p:cNvSpPr txBox="1"/>
          <p:nvPr/>
        </p:nvSpPr>
        <p:spPr>
          <a:xfrm>
            <a:off x="6859298" y="5002611"/>
            <a:ext cx="2098673" cy="646331"/>
          </a:xfrm>
          <a:prstGeom prst="rect">
            <a:avLst/>
          </a:prstGeom>
          <a:noFill/>
        </p:spPr>
        <p:txBody>
          <a:bodyPr wrap="square" rtlCol="0">
            <a:spAutoFit/>
          </a:bodyPr>
          <a:lstStyle/>
          <a:p>
            <a:r>
              <a:rPr lang="id-ID" sz="1200" dirty="0">
                <a:solidFill>
                  <a:schemeClr val="tx1">
                    <a:lumMod val="75000"/>
                    <a:lumOff val="25000"/>
                  </a:schemeClr>
                </a:solidFill>
              </a:rPr>
              <a:t>Suitable for all category</a:t>
            </a:r>
            <a:r>
              <a:rPr lang="en-US" sz="1200" dirty="0">
                <a:solidFill>
                  <a:schemeClr val="tx1">
                    <a:lumMod val="75000"/>
                    <a:lumOff val="25000"/>
                  </a:schemeClr>
                </a:solidFill>
              </a:rPr>
              <a:t>, Lorem Ipsum is not simply random text. It has roots in a piece.</a:t>
            </a:r>
            <a:endParaRPr lang="en-US" sz="1200" b="1" dirty="0">
              <a:solidFill>
                <a:schemeClr val="tx1">
                  <a:lumMod val="75000"/>
                  <a:lumOff val="25000"/>
                </a:schemeClr>
              </a:solidFill>
            </a:endParaRPr>
          </a:p>
        </p:txBody>
      </p:sp>
      <p:sp>
        <p:nvSpPr>
          <p:cNvPr id="16" name="Rounded Rectangle 15"/>
          <p:cNvSpPr/>
          <p:nvPr/>
        </p:nvSpPr>
        <p:spPr>
          <a:xfrm>
            <a:off x="9652231" y="1936998"/>
            <a:ext cx="828673" cy="2565926"/>
          </a:xfrm>
          <a:prstGeom prst="roundRect">
            <a:avLst>
              <a:gd name="adj" fmla="val 0"/>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17" name="TextBox 16"/>
          <p:cNvSpPr txBox="1"/>
          <p:nvPr/>
        </p:nvSpPr>
        <p:spPr>
          <a:xfrm>
            <a:off x="9639531" y="4664057"/>
            <a:ext cx="1399742" cy="338554"/>
          </a:xfrm>
          <a:prstGeom prst="rect">
            <a:avLst/>
          </a:prstGeom>
          <a:noFill/>
        </p:spPr>
        <p:txBody>
          <a:bodyPr wrap="none" rtlCol="0">
            <a:spAutoFit/>
          </a:bodyPr>
          <a:lstStyle/>
          <a:p>
            <a:r>
              <a:rPr lang="id-ID" sz="1600" b="1" dirty="0">
                <a:solidFill>
                  <a:schemeClr val="tx1">
                    <a:lumMod val="85000"/>
                    <a:lumOff val="15000"/>
                  </a:schemeClr>
                </a:solidFill>
                <a:latin typeface="Playfair Display" panose="00000500000000000000" pitchFamily="2" charset="0"/>
                <a:ea typeface="Roboto" panose="02000000000000000000" pitchFamily="2" charset="0"/>
                <a:cs typeface="Lato" panose="020F0502020204030203" pitchFamily="34" charset="0"/>
              </a:rPr>
              <a:t>Introduction</a:t>
            </a:r>
            <a:endParaRPr lang="id-ID" sz="1600" b="1" dirty="0">
              <a:solidFill>
                <a:schemeClr val="tx1">
                  <a:lumMod val="85000"/>
                  <a:lumOff val="15000"/>
                </a:schemeClr>
              </a:solidFill>
              <a:latin typeface="Playfair Display" panose="00000500000000000000" pitchFamily="2" charset="0"/>
              <a:ea typeface="Roboto" panose="02000000000000000000" pitchFamily="2" charset="0"/>
              <a:cs typeface="Lato" panose="020F0502020204030203" pitchFamily="34" charset="0"/>
            </a:endParaRPr>
          </a:p>
        </p:txBody>
      </p:sp>
      <p:sp>
        <p:nvSpPr>
          <p:cNvPr id="18" name="TextBox 17"/>
          <p:cNvSpPr txBox="1"/>
          <p:nvPr/>
        </p:nvSpPr>
        <p:spPr>
          <a:xfrm>
            <a:off x="9639531" y="5002611"/>
            <a:ext cx="2098673" cy="646331"/>
          </a:xfrm>
          <a:prstGeom prst="rect">
            <a:avLst/>
          </a:prstGeom>
          <a:noFill/>
        </p:spPr>
        <p:txBody>
          <a:bodyPr wrap="square" rtlCol="0">
            <a:spAutoFit/>
          </a:bodyPr>
          <a:lstStyle/>
          <a:p>
            <a:r>
              <a:rPr lang="id-ID" sz="1200" dirty="0">
                <a:solidFill>
                  <a:schemeClr val="tx1">
                    <a:lumMod val="75000"/>
                    <a:lumOff val="25000"/>
                  </a:schemeClr>
                </a:solidFill>
              </a:rPr>
              <a:t>Suitable for all category</a:t>
            </a:r>
            <a:r>
              <a:rPr lang="en-US" sz="1200" dirty="0">
                <a:solidFill>
                  <a:schemeClr val="tx1">
                    <a:lumMod val="75000"/>
                    <a:lumOff val="25000"/>
                  </a:schemeClr>
                </a:solidFill>
              </a:rPr>
              <a:t>, Lorem Ipsum is not simply random text. It has roots in a piece.</a:t>
            </a:r>
            <a:endParaRPr lang="en-US" sz="1200" b="1" dirty="0">
              <a:solidFill>
                <a:schemeClr val="tx1">
                  <a:lumMod val="75000"/>
                  <a:lumOff val="25000"/>
                </a:schemeClr>
              </a:solidFill>
            </a:endParaRPr>
          </a:p>
        </p:txBody>
      </p:sp>
      <p:sp>
        <p:nvSpPr>
          <p:cNvPr id="19" name="Freeform 127"/>
          <p:cNvSpPr>
            <a:spLocks noEditPoints="1"/>
          </p:cNvSpPr>
          <p:nvPr/>
        </p:nvSpPr>
        <p:spPr bwMode="auto">
          <a:xfrm>
            <a:off x="4366582" y="3865476"/>
            <a:ext cx="319647" cy="426991"/>
          </a:xfrm>
          <a:custGeom>
            <a:avLst/>
            <a:gdLst>
              <a:gd name="T0" fmla="*/ 434 w 535"/>
              <a:gd name="T1" fmla="*/ 66 h 714"/>
              <a:gd name="T2" fmla="*/ 425 w 535"/>
              <a:gd name="T3" fmla="*/ 53 h 714"/>
              <a:gd name="T4" fmla="*/ 413 w 535"/>
              <a:gd name="T5" fmla="*/ 46 h 714"/>
              <a:gd name="T6" fmla="*/ 326 w 535"/>
              <a:gd name="T7" fmla="*/ 45 h 714"/>
              <a:gd name="T8" fmla="*/ 312 w 535"/>
              <a:gd name="T9" fmla="*/ 19 h 714"/>
              <a:gd name="T10" fmla="*/ 288 w 535"/>
              <a:gd name="T11" fmla="*/ 2 h 714"/>
              <a:gd name="T12" fmla="*/ 268 w 535"/>
              <a:gd name="T13" fmla="*/ 0 h 714"/>
              <a:gd name="T14" fmla="*/ 238 w 535"/>
              <a:gd name="T15" fmla="*/ 7 h 714"/>
              <a:gd name="T16" fmla="*/ 217 w 535"/>
              <a:gd name="T17" fmla="*/ 27 h 714"/>
              <a:gd name="T18" fmla="*/ 128 w 535"/>
              <a:gd name="T19" fmla="*/ 45 h 714"/>
              <a:gd name="T20" fmla="*/ 118 w 535"/>
              <a:gd name="T21" fmla="*/ 48 h 714"/>
              <a:gd name="T22" fmla="*/ 107 w 535"/>
              <a:gd name="T23" fmla="*/ 56 h 714"/>
              <a:gd name="T24" fmla="*/ 102 w 535"/>
              <a:gd name="T25" fmla="*/ 71 h 714"/>
              <a:gd name="T26" fmla="*/ 41 w 535"/>
              <a:gd name="T27" fmla="*/ 71 h 714"/>
              <a:gd name="T28" fmla="*/ 15 w 535"/>
              <a:gd name="T29" fmla="*/ 86 h 714"/>
              <a:gd name="T30" fmla="*/ 0 w 535"/>
              <a:gd name="T31" fmla="*/ 113 h 714"/>
              <a:gd name="T32" fmla="*/ 0 w 535"/>
              <a:gd name="T33" fmla="*/ 662 h 714"/>
              <a:gd name="T34" fmla="*/ 8 w 535"/>
              <a:gd name="T35" fmla="*/ 691 h 714"/>
              <a:gd name="T36" fmla="*/ 31 w 535"/>
              <a:gd name="T37" fmla="*/ 710 h 714"/>
              <a:gd name="T38" fmla="*/ 483 w 535"/>
              <a:gd name="T39" fmla="*/ 714 h 714"/>
              <a:gd name="T40" fmla="*/ 504 w 535"/>
              <a:gd name="T41" fmla="*/ 710 h 714"/>
              <a:gd name="T42" fmla="*/ 527 w 535"/>
              <a:gd name="T43" fmla="*/ 691 h 714"/>
              <a:gd name="T44" fmla="*/ 535 w 535"/>
              <a:gd name="T45" fmla="*/ 662 h 714"/>
              <a:gd name="T46" fmla="*/ 535 w 535"/>
              <a:gd name="T47" fmla="*/ 274 h 714"/>
              <a:gd name="T48" fmla="*/ 535 w 535"/>
              <a:gd name="T49" fmla="*/ 124 h 714"/>
              <a:gd name="T50" fmla="*/ 527 w 535"/>
              <a:gd name="T51" fmla="*/ 95 h 714"/>
              <a:gd name="T52" fmla="*/ 504 w 535"/>
              <a:gd name="T53" fmla="*/ 75 h 714"/>
              <a:gd name="T54" fmla="*/ 434 w 535"/>
              <a:gd name="T55" fmla="*/ 71 h 714"/>
              <a:gd name="T56" fmla="*/ 52 w 535"/>
              <a:gd name="T57" fmla="*/ 681 h 714"/>
              <a:gd name="T58" fmla="*/ 34 w 535"/>
              <a:gd name="T59" fmla="*/ 669 h 714"/>
              <a:gd name="T60" fmla="*/ 33 w 535"/>
              <a:gd name="T61" fmla="*/ 124 h 714"/>
              <a:gd name="T62" fmla="*/ 45 w 535"/>
              <a:gd name="T63" fmla="*/ 106 h 714"/>
              <a:gd name="T64" fmla="*/ 121 w 535"/>
              <a:gd name="T65" fmla="*/ 126 h 714"/>
              <a:gd name="T66" fmla="*/ 465 w 535"/>
              <a:gd name="T67" fmla="*/ 644 h 714"/>
              <a:gd name="T68" fmla="*/ 414 w 535"/>
              <a:gd name="T69" fmla="*/ 104 h 714"/>
              <a:gd name="T70" fmla="*/ 491 w 535"/>
              <a:gd name="T71" fmla="*/ 106 h 714"/>
              <a:gd name="T72" fmla="*/ 502 w 535"/>
              <a:gd name="T73" fmla="*/ 124 h 714"/>
              <a:gd name="T74" fmla="*/ 501 w 535"/>
              <a:gd name="T75" fmla="*/ 669 h 714"/>
              <a:gd name="T76" fmla="*/ 483 w 535"/>
              <a:gd name="T77" fmla="*/ 681 h 714"/>
              <a:gd name="T78" fmla="*/ 246 w 535"/>
              <a:gd name="T79" fmla="*/ 78 h 714"/>
              <a:gd name="T80" fmla="*/ 241 w 535"/>
              <a:gd name="T81" fmla="*/ 64 h 714"/>
              <a:gd name="T82" fmla="*/ 241 w 535"/>
              <a:gd name="T83" fmla="*/ 55 h 714"/>
              <a:gd name="T84" fmla="*/ 249 w 535"/>
              <a:gd name="T85" fmla="*/ 41 h 714"/>
              <a:gd name="T86" fmla="*/ 263 w 535"/>
              <a:gd name="T87" fmla="*/ 33 h 714"/>
              <a:gd name="T88" fmla="*/ 272 w 535"/>
              <a:gd name="T89" fmla="*/ 33 h 714"/>
              <a:gd name="T90" fmla="*/ 286 w 535"/>
              <a:gd name="T91" fmla="*/ 41 h 714"/>
              <a:gd name="T92" fmla="*/ 294 w 535"/>
              <a:gd name="T93" fmla="*/ 55 h 714"/>
              <a:gd name="T94" fmla="*/ 294 w 535"/>
              <a:gd name="T95" fmla="*/ 64 h 714"/>
              <a:gd name="T96" fmla="*/ 401 w 535"/>
              <a:gd name="T97" fmla="*/ 78 h 714"/>
              <a:gd name="T98" fmla="*/ 401 w 535"/>
              <a:gd name="T99" fmla="*/ 133 h 714"/>
              <a:gd name="T100" fmla="*/ 135 w 535"/>
              <a:gd name="T101" fmla="*/ 133 h 714"/>
              <a:gd name="T102" fmla="*/ 414 w 535"/>
              <a:gd name="T103" fmla="*/ 165 h 714"/>
              <a:gd name="T104" fmla="*/ 453 w 535"/>
              <a:gd name="T105" fmla="*/ 630 h 714"/>
              <a:gd name="T106" fmla="*/ 121 w 535"/>
              <a:gd name="T107" fmla="*/ 139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35" h="714">
                <a:moveTo>
                  <a:pt x="434" y="71"/>
                </a:moveTo>
                <a:lnTo>
                  <a:pt x="434" y="71"/>
                </a:lnTo>
                <a:lnTo>
                  <a:pt x="434" y="66"/>
                </a:lnTo>
                <a:lnTo>
                  <a:pt x="431" y="60"/>
                </a:lnTo>
                <a:lnTo>
                  <a:pt x="428" y="56"/>
                </a:lnTo>
                <a:lnTo>
                  <a:pt x="425" y="53"/>
                </a:lnTo>
                <a:lnTo>
                  <a:pt x="421" y="49"/>
                </a:lnTo>
                <a:lnTo>
                  <a:pt x="417" y="48"/>
                </a:lnTo>
                <a:lnTo>
                  <a:pt x="413" y="46"/>
                </a:lnTo>
                <a:lnTo>
                  <a:pt x="407" y="45"/>
                </a:lnTo>
                <a:lnTo>
                  <a:pt x="326" y="45"/>
                </a:lnTo>
                <a:lnTo>
                  <a:pt x="326" y="45"/>
                </a:lnTo>
                <a:lnTo>
                  <a:pt x="323" y="35"/>
                </a:lnTo>
                <a:lnTo>
                  <a:pt x="318" y="27"/>
                </a:lnTo>
                <a:lnTo>
                  <a:pt x="312" y="19"/>
                </a:lnTo>
                <a:lnTo>
                  <a:pt x="306" y="12"/>
                </a:lnTo>
                <a:lnTo>
                  <a:pt x="297" y="7"/>
                </a:lnTo>
                <a:lnTo>
                  <a:pt x="288" y="2"/>
                </a:lnTo>
                <a:lnTo>
                  <a:pt x="278" y="1"/>
                </a:lnTo>
                <a:lnTo>
                  <a:pt x="268" y="0"/>
                </a:lnTo>
                <a:lnTo>
                  <a:pt x="268" y="0"/>
                </a:lnTo>
                <a:lnTo>
                  <a:pt x="257" y="1"/>
                </a:lnTo>
                <a:lnTo>
                  <a:pt x="248" y="2"/>
                </a:lnTo>
                <a:lnTo>
                  <a:pt x="238" y="7"/>
                </a:lnTo>
                <a:lnTo>
                  <a:pt x="230" y="12"/>
                </a:lnTo>
                <a:lnTo>
                  <a:pt x="223" y="19"/>
                </a:lnTo>
                <a:lnTo>
                  <a:pt x="217" y="27"/>
                </a:lnTo>
                <a:lnTo>
                  <a:pt x="212" y="35"/>
                </a:lnTo>
                <a:lnTo>
                  <a:pt x="209" y="45"/>
                </a:lnTo>
                <a:lnTo>
                  <a:pt x="128" y="45"/>
                </a:lnTo>
                <a:lnTo>
                  <a:pt x="128" y="45"/>
                </a:lnTo>
                <a:lnTo>
                  <a:pt x="122" y="46"/>
                </a:lnTo>
                <a:lnTo>
                  <a:pt x="118" y="48"/>
                </a:lnTo>
                <a:lnTo>
                  <a:pt x="114" y="49"/>
                </a:lnTo>
                <a:lnTo>
                  <a:pt x="110" y="53"/>
                </a:lnTo>
                <a:lnTo>
                  <a:pt x="107" y="56"/>
                </a:lnTo>
                <a:lnTo>
                  <a:pt x="104" y="60"/>
                </a:lnTo>
                <a:lnTo>
                  <a:pt x="103" y="66"/>
                </a:lnTo>
                <a:lnTo>
                  <a:pt x="102" y="71"/>
                </a:lnTo>
                <a:lnTo>
                  <a:pt x="52" y="71"/>
                </a:lnTo>
                <a:lnTo>
                  <a:pt x="52" y="71"/>
                </a:lnTo>
                <a:lnTo>
                  <a:pt x="41" y="71"/>
                </a:lnTo>
                <a:lnTo>
                  <a:pt x="31" y="75"/>
                </a:lnTo>
                <a:lnTo>
                  <a:pt x="23" y="80"/>
                </a:lnTo>
                <a:lnTo>
                  <a:pt x="15" y="86"/>
                </a:lnTo>
                <a:lnTo>
                  <a:pt x="8" y="95"/>
                </a:lnTo>
                <a:lnTo>
                  <a:pt x="4" y="103"/>
                </a:lnTo>
                <a:lnTo>
                  <a:pt x="0" y="113"/>
                </a:lnTo>
                <a:lnTo>
                  <a:pt x="0" y="124"/>
                </a:lnTo>
                <a:lnTo>
                  <a:pt x="0" y="662"/>
                </a:lnTo>
                <a:lnTo>
                  <a:pt x="0" y="662"/>
                </a:lnTo>
                <a:lnTo>
                  <a:pt x="0" y="672"/>
                </a:lnTo>
                <a:lnTo>
                  <a:pt x="4" y="683"/>
                </a:lnTo>
                <a:lnTo>
                  <a:pt x="8" y="691"/>
                </a:lnTo>
                <a:lnTo>
                  <a:pt x="15" y="699"/>
                </a:lnTo>
                <a:lnTo>
                  <a:pt x="23" y="706"/>
                </a:lnTo>
                <a:lnTo>
                  <a:pt x="31" y="710"/>
                </a:lnTo>
                <a:lnTo>
                  <a:pt x="41" y="713"/>
                </a:lnTo>
                <a:lnTo>
                  <a:pt x="52" y="714"/>
                </a:lnTo>
                <a:lnTo>
                  <a:pt x="483" y="714"/>
                </a:lnTo>
                <a:lnTo>
                  <a:pt x="483" y="714"/>
                </a:lnTo>
                <a:lnTo>
                  <a:pt x="494" y="713"/>
                </a:lnTo>
                <a:lnTo>
                  <a:pt x="504" y="710"/>
                </a:lnTo>
                <a:lnTo>
                  <a:pt x="512" y="706"/>
                </a:lnTo>
                <a:lnTo>
                  <a:pt x="520" y="699"/>
                </a:lnTo>
                <a:lnTo>
                  <a:pt x="527" y="691"/>
                </a:lnTo>
                <a:lnTo>
                  <a:pt x="531" y="683"/>
                </a:lnTo>
                <a:lnTo>
                  <a:pt x="535" y="672"/>
                </a:lnTo>
                <a:lnTo>
                  <a:pt x="535" y="662"/>
                </a:lnTo>
                <a:lnTo>
                  <a:pt x="535" y="524"/>
                </a:lnTo>
                <a:lnTo>
                  <a:pt x="535" y="471"/>
                </a:lnTo>
                <a:lnTo>
                  <a:pt x="535" y="274"/>
                </a:lnTo>
                <a:lnTo>
                  <a:pt x="535" y="221"/>
                </a:lnTo>
                <a:lnTo>
                  <a:pt x="535" y="124"/>
                </a:lnTo>
                <a:lnTo>
                  <a:pt x="535" y="124"/>
                </a:lnTo>
                <a:lnTo>
                  <a:pt x="535" y="113"/>
                </a:lnTo>
                <a:lnTo>
                  <a:pt x="531" y="103"/>
                </a:lnTo>
                <a:lnTo>
                  <a:pt x="527" y="95"/>
                </a:lnTo>
                <a:lnTo>
                  <a:pt x="520" y="86"/>
                </a:lnTo>
                <a:lnTo>
                  <a:pt x="512" y="80"/>
                </a:lnTo>
                <a:lnTo>
                  <a:pt x="504" y="75"/>
                </a:lnTo>
                <a:lnTo>
                  <a:pt x="494" y="71"/>
                </a:lnTo>
                <a:lnTo>
                  <a:pt x="483" y="71"/>
                </a:lnTo>
                <a:lnTo>
                  <a:pt x="434" y="71"/>
                </a:lnTo>
                <a:close/>
                <a:moveTo>
                  <a:pt x="483" y="681"/>
                </a:moveTo>
                <a:lnTo>
                  <a:pt x="52" y="681"/>
                </a:lnTo>
                <a:lnTo>
                  <a:pt x="52" y="681"/>
                </a:lnTo>
                <a:lnTo>
                  <a:pt x="45" y="680"/>
                </a:lnTo>
                <a:lnTo>
                  <a:pt x="38" y="676"/>
                </a:lnTo>
                <a:lnTo>
                  <a:pt x="34" y="669"/>
                </a:lnTo>
                <a:lnTo>
                  <a:pt x="33" y="662"/>
                </a:lnTo>
                <a:lnTo>
                  <a:pt x="33" y="124"/>
                </a:lnTo>
                <a:lnTo>
                  <a:pt x="33" y="124"/>
                </a:lnTo>
                <a:lnTo>
                  <a:pt x="34" y="115"/>
                </a:lnTo>
                <a:lnTo>
                  <a:pt x="38" y="110"/>
                </a:lnTo>
                <a:lnTo>
                  <a:pt x="45" y="106"/>
                </a:lnTo>
                <a:lnTo>
                  <a:pt x="52" y="104"/>
                </a:lnTo>
                <a:lnTo>
                  <a:pt x="121" y="104"/>
                </a:lnTo>
                <a:lnTo>
                  <a:pt x="121" y="126"/>
                </a:lnTo>
                <a:lnTo>
                  <a:pt x="70" y="126"/>
                </a:lnTo>
                <a:lnTo>
                  <a:pt x="70" y="644"/>
                </a:lnTo>
                <a:lnTo>
                  <a:pt x="465" y="644"/>
                </a:lnTo>
                <a:lnTo>
                  <a:pt x="465" y="126"/>
                </a:lnTo>
                <a:lnTo>
                  <a:pt x="414" y="126"/>
                </a:lnTo>
                <a:lnTo>
                  <a:pt x="414" y="104"/>
                </a:lnTo>
                <a:lnTo>
                  <a:pt x="483" y="104"/>
                </a:lnTo>
                <a:lnTo>
                  <a:pt x="483" y="104"/>
                </a:lnTo>
                <a:lnTo>
                  <a:pt x="491" y="106"/>
                </a:lnTo>
                <a:lnTo>
                  <a:pt x="497" y="110"/>
                </a:lnTo>
                <a:lnTo>
                  <a:pt x="501" y="115"/>
                </a:lnTo>
                <a:lnTo>
                  <a:pt x="502" y="124"/>
                </a:lnTo>
                <a:lnTo>
                  <a:pt x="502" y="662"/>
                </a:lnTo>
                <a:lnTo>
                  <a:pt x="502" y="662"/>
                </a:lnTo>
                <a:lnTo>
                  <a:pt x="501" y="669"/>
                </a:lnTo>
                <a:lnTo>
                  <a:pt x="497" y="676"/>
                </a:lnTo>
                <a:lnTo>
                  <a:pt x="491" y="680"/>
                </a:lnTo>
                <a:lnTo>
                  <a:pt x="483" y="681"/>
                </a:lnTo>
                <a:close/>
                <a:moveTo>
                  <a:pt x="135" y="97"/>
                </a:moveTo>
                <a:lnTo>
                  <a:pt x="135" y="78"/>
                </a:lnTo>
                <a:lnTo>
                  <a:pt x="246" y="78"/>
                </a:lnTo>
                <a:lnTo>
                  <a:pt x="242" y="70"/>
                </a:lnTo>
                <a:lnTo>
                  <a:pt x="242" y="70"/>
                </a:lnTo>
                <a:lnTo>
                  <a:pt x="241" y="64"/>
                </a:lnTo>
                <a:lnTo>
                  <a:pt x="241" y="59"/>
                </a:lnTo>
                <a:lnTo>
                  <a:pt x="241" y="59"/>
                </a:lnTo>
                <a:lnTo>
                  <a:pt x="241" y="55"/>
                </a:lnTo>
                <a:lnTo>
                  <a:pt x="244" y="49"/>
                </a:lnTo>
                <a:lnTo>
                  <a:pt x="245" y="45"/>
                </a:lnTo>
                <a:lnTo>
                  <a:pt x="249" y="41"/>
                </a:lnTo>
                <a:lnTo>
                  <a:pt x="253" y="37"/>
                </a:lnTo>
                <a:lnTo>
                  <a:pt x="257" y="35"/>
                </a:lnTo>
                <a:lnTo>
                  <a:pt x="263" y="33"/>
                </a:lnTo>
                <a:lnTo>
                  <a:pt x="268" y="33"/>
                </a:lnTo>
                <a:lnTo>
                  <a:pt x="268" y="33"/>
                </a:lnTo>
                <a:lnTo>
                  <a:pt x="272" y="33"/>
                </a:lnTo>
                <a:lnTo>
                  <a:pt x="278" y="35"/>
                </a:lnTo>
                <a:lnTo>
                  <a:pt x="282" y="37"/>
                </a:lnTo>
                <a:lnTo>
                  <a:pt x="286" y="41"/>
                </a:lnTo>
                <a:lnTo>
                  <a:pt x="290" y="45"/>
                </a:lnTo>
                <a:lnTo>
                  <a:pt x="292" y="49"/>
                </a:lnTo>
                <a:lnTo>
                  <a:pt x="294" y="55"/>
                </a:lnTo>
                <a:lnTo>
                  <a:pt x="294" y="59"/>
                </a:lnTo>
                <a:lnTo>
                  <a:pt x="294" y="59"/>
                </a:lnTo>
                <a:lnTo>
                  <a:pt x="294" y="64"/>
                </a:lnTo>
                <a:lnTo>
                  <a:pt x="293" y="70"/>
                </a:lnTo>
                <a:lnTo>
                  <a:pt x="289" y="78"/>
                </a:lnTo>
                <a:lnTo>
                  <a:pt x="401" y="78"/>
                </a:lnTo>
                <a:lnTo>
                  <a:pt x="401" y="97"/>
                </a:lnTo>
                <a:lnTo>
                  <a:pt x="401" y="104"/>
                </a:lnTo>
                <a:lnTo>
                  <a:pt x="401" y="133"/>
                </a:lnTo>
                <a:lnTo>
                  <a:pt x="401" y="151"/>
                </a:lnTo>
                <a:lnTo>
                  <a:pt x="135" y="151"/>
                </a:lnTo>
                <a:lnTo>
                  <a:pt x="135" y="133"/>
                </a:lnTo>
                <a:lnTo>
                  <a:pt x="135" y="104"/>
                </a:lnTo>
                <a:lnTo>
                  <a:pt x="135" y="97"/>
                </a:lnTo>
                <a:close/>
                <a:moveTo>
                  <a:pt x="414" y="165"/>
                </a:moveTo>
                <a:lnTo>
                  <a:pt x="414" y="139"/>
                </a:lnTo>
                <a:lnTo>
                  <a:pt x="453" y="139"/>
                </a:lnTo>
                <a:lnTo>
                  <a:pt x="453" y="630"/>
                </a:lnTo>
                <a:lnTo>
                  <a:pt x="82" y="630"/>
                </a:lnTo>
                <a:lnTo>
                  <a:pt x="82" y="139"/>
                </a:lnTo>
                <a:lnTo>
                  <a:pt x="121" y="139"/>
                </a:lnTo>
                <a:lnTo>
                  <a:pt x="121" y="165"/>
                </a:lnTo>
                <a:lnTo>
                  <a:pt x="414" y="165"/>
                </a:lnTo>
                <a:close/>
              </a:path>
            </a:pathLst>
          </a:custGeom>
          <a:solidFill>
            <a:schemeClr val="accent2"/>
          </a:solidFill>
          <a:ln>
            <a:noFill/>
          </a:ln>
        </p:spPr>
        <p:txBody>
          <a:bodyPr vert="horz" wrap="square" lIns="91440" tIns="45720" rIns="91440" bIns="45720" numCol="1" anchor="t" anchorCtr="0" compatLnSpc="1"/>
          <a:lstStyle/>
          <a:p>
            <a:endParaRPr lang="en-US"/>
          </a:p>
        </p:txBody>
      </p:sp>
      <p:sp>
        <p:nvSpPr>
          <p:cNvPr id="20" name="Freeform 171"/>
          <p:cNvSpPr>
            <a:spLocks noEditPoints="1"/>
          </p:cNvSpPr>
          <p:nvPr/>
        </p:nvSpPr>
        <p:spPr bwMode="auto">
          <a:xfrm>
            <a:off x="7080231" y="3896852"/>
            <a:ext cx="446075" cy="426991"/>
          </a:xfrm>
          <a:custGeom>
            <a:avLst/>
            <a:gdLst>
              <a:gd name="T0" fmla="*/ 686 w 748"/>
              <a:gd name="T1" fmla="*/ 183 h 714"/>
              <a:gd name="T2" fmla="*/ 674 w 748"/>
              <a:gd name="T3" fmla="*/ 169 h 714"/>
              <a:gd name="T4" fmla="*/ 387 w 748"/>
              <a:gd name="T5" fmla="*/ 4 h 714"/>
              <a:gd name="T6" fmla="*/ 375 w 748"/>
              <a:gd name="T7" fmla="*/ 0 h 714"/>
              <a:gd name="T8" fmla="*/ 368 w 748"/>
              <a:gd name="T9" fmla="*/ 1 h 714"/>
              <a:gd name="T10" fmla="*/ 75 w 748"/>
              <a:gd name="T11" fmla="*/ 169 h 714"/>
              <a:gd name="T12" fmla="*/ 68 w 748"/>
              <a:gd name="T13" fmla="*/ 175 h 714"/>
              <a:gd name="T14" fmla="*/ 64 w 748"/>
              <a:gd name="T15" fmla="*/ 183 h 714"/>
              <a:gd name="T16" fmla="*/ 2 w 748"/>
              <a:gd name="T17" fmla="*/ 341 h 714"/>
              <a:gd name="T18" fmla="*/ 0 w 748"/>
              <a:gd name="T19" fmla="*/ 349 h 714"/>
              <a:gd name="T20" fmla="*/ 6 w 748"/>
              <a:gd name="T21" fmla="*/ 367 h 714"/>
              <a:gd name="T22" fmla="*/ 14 w 748"/>
              <a:gd name="T23" fmla="*/ 373 h 714"/>
              <a:gd name="T24" fmla="*/ 61 w 748"/>
              <a:gd name="T25" fmla="*/ 523 h 714"/>
              <a:gd name="T26" fmla="*/ 62 w 748"/>
              <a:gd name="T27" fmla="*/ 530 h 714"/>
              <a:gd name="T28" fmla="*/ 69 w 748"/>
              <a:gd name="T29" fmla="*/ 541 h 714"/>
              <a:gd name="T30" fmla="*/ 361 w 748"/>
              <a:gd name="T31" fmla="*/ 710 h 714"/>
              <a:gd name="T32" fmla="*/ 367 w 748"/>
              <a:gd name="T33" fmla="*/ 713 h 714"/>
              <a:gd name="T34" fmla="*/ 375 w 748"/>
              <a:gd name="T35" fmla="*/ 714 h 714"/>
              <a:gd name="T36" fmla="*/ 383 w 748"/>
              <a:gd name="T37" fmla="*/ 713 h 714"/>
              <a:gd name="T38" fmla="*/ 674 w 748"/>
              <a:gd name="T39" fmla="*/ 545 h 714"/>
              <a:gd name="T40" fmla="*/ 679 w 748"/>
              <a:gd name="T41" fmla="*/ 541 h 714"/>
              <a:gd name="T42" fmla="*/ 686 w 748"/>
              <a:gd name="T43" fmla="*/ 530 h 714"/>
              <a:gd name="T44" fmla="*/ 688 w 748"/>
              <a:gd name="T45" fmla="*/ 402 h 714"/>
              <a:gd name="T46" fmla="*/ 736 w 748"/>
              <a:gd name="T47" fmla="*/ 373 h 714"/>
              <a:gd name="T48" fmla="*/ 743 w 748"/>
              <a:gd name="T49" fmla="*/ 367 h 714"/>
              <a:gd name="T50" fmla="*/ 748 w 748"/>
              <a:gd name="T51" fmla="*/ 349 h 714"/>
              <a:gd name="T52" fmla="*/ 747 w 748"/>
              <a:gd name="T53" fmla="*/ 341 h 714"/>
              <a:gd name="T54" fmla="*/ 94 w 748"/>
              <a:gd name="T55" fmla="*/ 519 h 714"/>
              <a:gd name="T56" fmla="*/ 313 w 748"/>
              <a:gd name="T57" fmla="*/ 528 h 714"/>
              <a:gd name="T58" fmla="*/ 368 w 748"/>
              <a:gd name="T59" fmla="*/ 676 h 714"/>
              <a:gd name="T60" fmla="*/ 648 w 748"/>
              <a:gd name="T61" fmla="*/ 191 h 714"/>
              <a:gd name="T62" fmla="*/ 101 w 748"/>
              <a:gd name="T63" fmla="*/ 191 h 714"/>
              <a:gd name="T64" fmla="*/ 368 w 748"/>
              <a:gd name="T65" fmla="*/ 40 h 714"/>
              <a:gd name="T66" fmla="*/ 381 w 748"/>
              <a:gd name="T67" fmla="*/ 38 h 714"/>
              <a:gd name="T68" fmla="*/ 367 w 748"/>
              <a:gd name="T69" fmla="*/ 360 h 714"/>
              <a:gd name="T70" fmla="*/ 35 w 748"/>
              <a:gd name="T71" fmla="*/ 348 h 714"/>
              <a:gd name="T72" fmla="*/ 367 w 748"/>
              <a:gd name="T73" fmla="*/ 360 h 714"/>
              <a:gd name="T74" fmla="*/ 381 w 748"/>
              <a:gd name="T75" fmla="*/ 391 h 714"/>
              <a:gd name="T76" fmla="*/ 655 w 748"/>
              <a:gd name="T77" fmla="*/ 398 h 714"/>
              <a:gd name="T78" fmla="*/ 381 w 748"/>
              <a:gd name="T79" fmla="*/ 676 h 714"/>
              <a:gd name="T80" fmla="*/ 383 w 748"/>
              <a:gd name="T81" fmla="*/ 360 h 714"/>
              <a:gd name="T82" fmla="*/ 714 w 748"/>
              <a:gd name="T83" fmla="*/ 348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48" h="714">
                <a:moveTo>
                  <a:pt x="686" y="183"/>
                </a:moveTo>
                <a:lnTo>
                  <a:pt x="686" y="183"/>
                </a:lnTo>
                <a:lnTo>
                  <a:pt x="681" y="175"/>
                </a:lnTo>
                <a:lnTo>
                  <a:pt x="674" y="169"/>
                </a:lnTo>
                <a:lnTo>
                  <a:pt x="387" y="4"/>
                </a:lnTo>
                <a:lnTo>
                  <a:pt x="387" y="4"/>
                </a:lnTo>
                <a:lnTo>
                  <a:pt x="381" y="1"/>
                </a:lnTo>
                <a:lnTo>
                  <a:pt x="375" y="0"/>
                </a:lnTo>
                <a:lnTo>
                  <a:pt x="375" y="0"/>
                </a:lnTo>
                <a:lnTo>
                  <a:pt x="368" y="1"/>
                </a:lnTo>
                <a:lnTo>
                  <a:pt x="361" y="4"/>
                </a:lnTo>
                <a:lnTo>
                  <a:pt x="75" y="169"/>
                </a:lnTo>
                <a:lnTo>
                  <a:pt x="75" y="169"/>
                </a:lnTo>
                <a:lnTo>
                  <a:pt x="68" y="175"/>
                </a:lnTo>
                <a:lnTo>
                  <a:pt x="65" y="179"/>
                </a:lnTo>
                <a:lnTo>
                  <a:pt x="64" y="183"/>
                </a:lnTo>
                <a:lnTo>
                  <a:pt x="2" y="341"/>
                </a:lnTo>
                <a:lnTo>
                  <a:pt x="2" y="341"/>
                </a:lnTo>
                <a:lnTo>
                  <a:pt x="2" y="345"/>
                </a:lnTo>
                <a:lnTo>
                  <a:pt x="0" y="349"/>
                </a:lnTo>
                <a:lnTo>
                  <a:pt x="2" y="359"/>
                </a:lnTo>
                <a:lnTo>
                  <a:pt x="6" y="367"/>
                </a:lnTo>
                <a:lnTo>
                  <a:pt x="10" y="370"/>
                </a:lnTo>
                <a:lnTo>
                  <a:pt x="14" y="373"/>
                </a:lnTo>
                <a:lnTo>
                  <a:pt x="61" y="402"/>
                </a:lnTo>
                <a:lnTo>
                  <a:pt x="61" y="523"/>
                </a:lnTo>
                <a:lnTo>
                  <a:pt x="61" y="523"/>
                </a:lnTo>
                <a:lnTo>
                  <a:pt x="62" y="530"/>
                </a:lnTo>
                <a:lnTo>
                  <a:pt x="65" y="535"/>
                </a:lnTo>
                <a:lnTo>
                  <a:pt x="69" y="541"/>
                </a:lnTo>
                <a:lnTo>
                  <a:pt x="75" y="545"/>
                </a:lnTo>
                <a:lnTo>
                  <a:pt x="361" y="710"/>
                </a:lnTo>
                <a:lnTo>
                  <a:pt x="361" y="710"/>
                </a:lnTo>
                <a:lnTo>
                  <a:pt x="367" y="713"/>
                </a:lnTo>
                <a:lnTo>
                  <a:pt x="375" y="714"/>
                </a:lnTo>
                <a:lnTo>
                  <a:pt x="375" y="714"/>
                </a:lnTo>
                <a:lnTo>
                  <a:pt x="383" y="713"/>
                </a:lnTo>
                <a:lnTo>
                  <a:pt x="383" y="713"/>
                </a:lnTo>
                <a:lnTo>
                  <a:pt x="389" y="710"/>
                </a:lnTo>
                <a:lnTo>
                  <a:pt x="674" y="545"/>
                </a:lnTo>
                <a:lnTo>
                  <a:pt x="674" y="545"/>
                </a:lnTo>
                <a:lnTo>
                  <a:pt x="679" y="541"/>
                </a:lnTo>
                <a:lnTo>
                  <a:pt x="684" y="535"/>
                </a:lnTo>
                <a:lnTo>
                  <a:pt x="686" y="530"/>
                </a:lnTo>
                <a:lnTo>
                  <a:pt x="688" y="523"/>
                </a:lnTo>
                <a:lnTo>
                  <a:pt x="688" y="402"/>
                </a:lnTo>
                <a:lnTo>
                  <a:pt x="736" y="373"/>
                </a:lnTo>
                <a:lnTo>
                  <a:pt x="736" y="373"/>
                </a:lnTo>
                <a:lnTo>
                  <a:pt x="739" y="370"/>
                </a:lnTo>
                <a:lnTo>
                  <a:pt x="743" y="367"/>
                </a:lnTo>
                <a:lnTo>
                  <a:pt x="747" y="359"/>
                </a:lnTo>
                <a:lnTo>
                  <a:pt x="748" y="349"/>
                </a:lnTo>
                <a:lnTo>
                  <a:pt x="748" y="345"/>
                </a:lnTo>
                <a:lnTo>
                  <a:pt x="747" y="341"/>
                </a:lnTo>
                <a:lnTo>
                  <a:pt x="686" y="183"/>
                </a:lnTo>
                <a:close/>
                <a:moveTo>
                  <a:pt x="94" y="519"/>
                </a:moveTo>
                <a:lnTo>
                  <a:pt x="94" y="398"/>
                </a:lnTo>
                <a:lnTo>
                  <a:pt x="313" y="528"/>
                </a:lnTo>
                <a:lnTo>
                  <a:pt x="368" y="391"/>
                </a:lnTo>
                <a:lnTo>
                  <a:pt x="368" y="676"/>
                </a:lnTo>
                <a:lnTo>
                  <a:pt x="94" y="519"/>
                </a:lnTo>
                <a:close/>
                <a:moveTo>
                  <a:pt x="648" y="191"/>
                </a:moveTo>
                <a:lnTo>
                  <a:pt x="375" y="349"/>
                </a:lnTo>
                <a:lnTo>
                  <a:pt x="101" y="191"/>
                </a:lnTo>
                <a:lnTo>
                  <a:pt x="368" y="38"/>
                </a:lnTo>
                <a:lnTo>
                  <a:pt x="368" y="40"/>
                </a:lnTo>
                <a:lnTo>
                  <a:pt x="381" y="40"/>
                </a:lnTo>
                <a:lnTo>
                  <a:pt x="381" y="38"/>
                </a:lnTo>
                <a:lnTo>
                  <a:pt x="648" y="191"/>
                </a:lnTo>
                <a:close/>
                <a:moveTo>
                  <a:pt x="367" y="360"/>
                </a:moveTo>
                <a:lnTo>
                  <a:pt x="306" y="509"/>
                </a:lnTo>
                <a:lnTo>
                  <a:pt x="35" y="348"/>
                </a:lnTo>
                <a:lnTo>
                  <a:pt x="91" y="201"/>
                </a:lnTo>
                <a:lnTo>
                  <a:pt x="367" y="360"/>
                </a:lnTo>
                <a:close/>
                <a:moveTo>
                  <a:pt x="381" y="676"/>
                </a:moveTo>
                <a:lnTo>
                  <a:pt x="381" y="391"/>
                </a:lnTo>
                <a:lnTo>
                  <a:pt x="437" y="528"/>
                </a:lnTo>
                <a:lnTo>
                  <a:pt x="655" y="398"/>
                </a:lnTo>
                <a:lnTo>
                  <a:pt x="655" y="519"/>
                </a:lnTo>
                <a:lnTo>
                  <a:pt x="381" y="676"/>
                </a:lnTo>
                <a:close/>
                <a:moveTo>
                  <a:pt x="443" y="509"/>
                </a:moveTo>
                <a:lnTo>
                  <a:pt x="383" y="360"/>
                </a:lnTo>
                <a:lnTo>
                  <a:pt x="657" y="201"/>
                </a:lnTo>
                <a:lnTo>
                  <a:pt x="714" y="348"/>
                </a:lnTo>
                <a:lnTo>
                  <a:pt x="443" y="509"/>
                </a:lnTo>
                <a:close/>
              </a:path>
            </a:pathLst>
          </a:custGeom>
          <a:solidFill>
            <a:schemeClr val="accent1"/>
          </a:solidFill>
          <a:ln>
            <a:noFill/>
          </a:ln>
        </p:spPr>
        <p:txBody>
          <a:bodyPr vert="horz" wrap="square" lIns="91440" tIns="45720" rIns="91440" bIns="45720" numCol="1" anchor="t" anchorCtr="0" compatLnSpc="1"/>
          <a:lstStyle/>
          <a:p>
            <a:endParaRPr lang="en-US"/>
          </a:p>
        </p:txBody>
      </p:sp>
      <p:sp>
        <p:nvSpPr>
          <p:cNvPr id="21" name="Freeform 222"/>
          <p:cNvSpPr>
            <a:spLocks noEditPoints="1"/>
          </p:cNvSpPr>
          <p:nvPr/>
        </p:nvSpPr>
        <p:spPr bwMode="auto">
          <a:xfrm>
            <a:off x="1511036" y="3895293"/>
            <a:ext cx="430569" cy="397174"/>
          </a:xfrm>
          <a:custGeom>
            <a:avLst/>
            <a:gdLst>
              <a:gd name="T0" fmla="*/ 680 w 723"/>
              <a:gd name="T1" fmla="*/ 665 h 665"/>
              <a:gd name="T2" fmla="*/ 708 w 723"/>
              <a:gd name="T3" fmla="*/ 650 h 665"/>
              <a:gd name="T4" fmla="*/ 722 w 723"/>
              <a:gd name="T5" fmla="*/ 624 h 665"/>
              <a:gd name="T6" fmla="*/ 723 w 723"/>
              <a:gd name="T7" fmla="*/ 161 h 665"/>
              <a:gd name="T8" fmla="*/ 722 w 723"/>
              <a:gd name="T9" fmla="*/ 146 h 665"/>
              <a:gd name="T10" fmla="*/ 708 w 723"/>
              <a:gd name="T11" fmla="*/ 124 h 665"/>
              <a:gd name="T12" fmla="*/ 687 w 723"/>
              <a:gd name="T13" fmla="*/ 110 h 665"/>
              <a:gd name="T14" fmla="*/ 493 w 723"/>
              <a:gd name="T15" fmla="*/ 107 h 665"/>
              <a:gd name="T16" fmla="*/ 488 w 723"/>
              <a:gd name="T17" fmla="*/ 85 h 665"/>
              <a:gd name="T18" fmla="*/ 471 w 723"/>
              <a:gd name="T19" fmla="*/ 55 h 665"/>
              <a:gd name="T20" fmla="*/ 448 w 723"/>
              <a:gd name="T21" fmla="*/ 30 h 665"/>
              <a:gd name="T22" fmla="*/ 419 w 723"/>
              <a:gd name="T23" fmla="*/ 12 h 665"/>
              <a:gd name="T24" fmla="*/ 386 w 723"/>
              <a:gd name="T25" fmla="*/ 1 h 665"/>
              <a:gd name="T26" fmla="*/ 362 w 723"/>
              <a:gd name="T27" fmla="*/ 0 h 665"/>
              <a:gd name="T28" fmla="*/ 327 w 723"/>
              <a:gd name="T29" fmla="*/ 4 h 665"/>
              <a:gd name="T30" fmla="*/ 295 w 723"/>
              <a:gd name="T31" fmla="*/ 18 h 665"/>
              <a:gd name="T32" fmla="*/ 267 w 723"/>
              <a:gd name="T33" fmla="*/ 38 h 665"/>
              <a:gd name="T34" fmla="*/ 247 w 723"/>
              <a:gd name="T35" fmla="*/ 65 h 665"/>
              <a:gd name="T36" fmla="*/ 233 w 723"/>
              <a:gd name="T37" fmla="*/ 96 h 665"/>
              <a:gd name="T38" fmla="*/ 52 w 723"/>
              <a:gd name="T39" fmla="*/ 107 h 665"/>
              <a:gd name="T40" fmla="*/ 28 w 723"/>
              <a:gd name="T41" fmla="*/ 114 h 665"/>
              <a:gd name="T42" fmla="*/ 10 w 723"/>
              <a:gd name="T43" fmla="*/ 131 h 665"/>
              <a:gd name="T44" fmla="*/ 1 w 723"/>
              <a:gd name="T45" fmla="*/ 146 h 665"/>
              <a:gd name="T46" fmla="*/ 0 w 723"/>
              <a:gd name="T47" fmla="*/ 613 h 665"/>
              <a:gd name="T48" fmla="*/ 4 w 723"/>
              <a:gd name="T49" fmla="*/ 633 h 665"/>
              <a:gd name="T50" fmla="*/ 24 w 723"/>
              <a:gd name="T51" fmla="*/ 657 h 665"/>
              <a:gd name="T52" fmla="*/ 52 w 723"/>
              <a:gd name="T53" fmla="*/ 665 h 665"/>
              <a:gd name="T54" fmla="*/ 143 w 723"/>
              <a:gd name="T55" fmla="*/ 140 h 665"/>
              <a:gd name="T56" fmla="*/ 52 w 723"/>
              <a:gd name="T57" fmla="*/ 632 h 665"/>
              <a:gd name="T58" fmla="*/ 35 w 723"/>
              <a:gd name="T59" fmla="*/ 621 h 665"/>
              <a:gd name="T60" fmla="*/ 33 w 723"/>
              <a:gd name="T61" fmla="*/ 161 h 665"/>
              <a:gd name="T62" fmla="*/ 37 w 723"/>
              <a:gd name="T63" fmla="*/ 150 h 665"/>
              <a:gd name="T64" fmla="*/ 52 w 723"/>
              <a:gd name="T65" fmla="*/ 140 h 665"/>
              <a:gd name="T66" fmla="*/ 372 w 723"/>
              <a:gd name="T67" fmla="*/ 33 h 665"/>
              <a:gd name="T68" fmla="*/ 400 w 723"/>
              <a:gd name="T69" fmla="*/ 40 h 665"/>
              <a:gd name="T70" fmla="*/ 424 w 723"/>
              <a:gd name="T71" fmla="*/ 54 h 665"/>
              <a:gd name="T72" fmla="*/ 444 w 723"/>
              <a:gd name="T73" fmla="*/ 74 h 665"/>
              <a:gd name="T74" fmla="*/ 457 w 723"/>
              <a:gd name="T75" fmla="*/ 99 h 665"/>
              <a:gd name="T76" fmla="*/ 463 w 723"/>
              <a:gd name="T77" fmla="*/ 128 h 665"/>
              <a:gd name="T78" fmla="*/ 262 w 723"/>
              <a:gd name="T79" fmla="*/ 118 h 665"/>
              <a:gd name="T80" fmla="*/ 270 w 723"/>
              <a:gd name="T81" fmla="*/ 91 h 665"/>
              <a:gd name="T82" fmla="*/ 285 w 723"/>
              <a:gd name="T83" fmla="*/ 67 h 665"/>
              <a:gd name="T84" fmla="*/ 307 w 723"/>
              <a:gd name="T85" fmla="*/ 49 h 665"/>
              <a:gd name="T86" fmla="*/ 332 w 723"/>
              <a:gd name="T87" fmla="*/ 37 h 665"/>
              <a:gd name="T88" fmla="*/ 362 w 723"/>
              <a:gd name="T89" fmla="*/ 33 h 665"/>
              <a:gd name="T90" fmla="*/ 580 w 723"/>
              <a:gd name="T91" fmla="*/ 140 h 665"/>
              <a:gd name="T92" fmla="*/ 676 w 723"/>
              <a:gd name="T93" fmla="*/ 142 h 665"/>
              <a:gd name="T94" fmla="*/ 690 w 723"/>
              <a:gd name="T95" fmla="*/ 155 h 665"/>
              <a:gd name="T96" fmla="*/ 690 w 723"/>
              <a:gd name="T97" fmla="*/ 613 h 665"/>
              <a:gd name="T98" fmla="*/ 685 w 723"/>
              <a:gd name="T99" fmla="*/ 626 h 665"/>
              <a:gd name="T100" fmla="*/ 568 w 723"/>
              <a:gd name="T101" fmla="*/ 632 h 665"/>
              <a:gd name="T102" fmla="*/ 568 w 723"/>
              <a:gd name="T103" fmla="*/ 14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3" h="665">
                <a:moveTo>
                  <a:pt x="671" y="665"/>
                </a:moveTo>
                <a:lnTo>
                  <a:pt x="671" y="665"/>
                </a:lnTo>
                <a:lnTo>
                  <a:pt x="680" y="665"/>
                </a:lnTo>
                <a:lnTo>
                  <a:pt x="691" y="661"/>
                </a:lnTo>
                <a:lnTo>
                  <a:pt x="700" y="657"/>
                </a:lnTo>
                <a:lnTo>
                  <a:pt x="708" y="650"/>
                </a:lnTo>
                <a:lnTo>
                  <a:pt x="715" y="642"/>
                </a:lnTo>
                <a:lnTo>
                  <a:pt x="719" y="633"/>
                </a:lnTo>
                <a:lnTo>
                  <a:pt x="722" y="624"/>
                </a:lnTo>
                <a:lnTo>
                  <a:pt x="723" y="613"/>
                </a:lnTo>
                <a:lnTo>
                  <a:pt x="723" y="161"/>
                </a:lnTo>
                <a:lnTo>
                  <a:pt x="723" y="161"/>
                </a:lnTo>
                <a:lnTo>
                  <a:pt x="723" y="154"/>
                </a:lnTo>
                <a:lnTo>
                  <a:pt x="722" y="146"/>
                </a:lnTo>
                <a:lnTo>
                  <a:pt x="722" y="146"/>
                </a:lnTo>
                <a:lnTo>
                  <a:pt x="718" y="138"/>
                </a:lnTo>
                <a:lnTo>
                  <a:pt x="714" y="131"/>
                </a:lnTo>
                <a:lnTo>
                  <a:pt x="708" y="124"/>
                </a:lnTo>
                <a:lnTo>
                  <a:pt x="702" y="118"/>
                </a:lnTo>
                <a:lnTo>
                  <a:pt x="696" y="114"/>
                </a:lnTo>
                <a:lnTo>
                  <a:pt x="687" y="110"/>
                </a:lnTo>
                <a:lnTo>
                  <a:pt x="679" y="109"/>
                </a:lnTo>
                <a:lnTo>
                  <a:pt x="671" y="107"/>
                </a:lnTo>
                <a:lnTo>
                  <a:pt x="493" y="107"/>
                </a:lnTo>
                <a:lnTo>
                  <a:pt x="493" y="107"/>
                </a:lnTo>
                <a:lnTo>
                  <a:pt x="490" y="96"/>
                </a:lnTo>
                <a:lnTo>
                  <a:pt x="488" y="85"/>
                </a:lnTo>
                <a:lnTo>
                  <a:pt x="482" y="74"/>
                </a:lnTo>
                <a:lnTo>
                  <a:pt x="477" y="65"/>
                </a:lnTo>
                <a:lnTo>
                  <a:pt x="471" y="55"/>
                </a:lnTo>
                <a:lnTo>
                  <a:pt x="464" y="47"/>
                </a:lnTo>
                <a:lnTo>
                  <a:pt x="456" y="38"/>
                </a:lnTo>
                <a:lnTo>
                  <a:pt x="448" y="30"/>
                </a:lnTo>
                <a:lnTo>
                  <a:pt x="438" y="23"/>
                </a:lnTo>
                <a:lnTo>
                  <a:pt x="428" y="18"/>
                </a:lnTo>
                <a:lnTo>
                  <a:pt x="419" y="12"/>
                </a:lnTo>
                <a:lnTo>
                  <a:pt x="408" y="8"/>
                </a:lnTo>
                <a:lnTo>
                  <a:pt x="397" y="4"/>
                </a:lnTo>
                <a:lnTo>
                  <a:pt x="386" y="1"/>
                </a:lnTo>
                <a:lnTo>
                  <a:pt x="373" y="0"/>
                </a:lnTo>
                <a:lnTo>
                  <a:pt x="362" y="0"/>
                </a:lnTo>
                <a:lnTo>
                  <a:pt x="362" y="0"/>
                </a:lnTo>
                <a:lnTo>
                  <a:pt x="350" y="0"/>
                </a:lnTo>
                <a:lnTo>
                  <a:pt x="338" y="1"/>
                </a:lnTo>
                <a:lnTo>
                  <a:pt x="327" y="4"/>
                </a:lnTo>
                <a:lnTo>
                  <a:pt x="315" y="8"/>
                </a:lnTo>
                <a:lnTo>
                  <a:pt x="304" y="12"/>
                </a:lnTo>
                <a:lnTo>
                  <a:pt x="295" y="18"/>
                </a:lnTo>
                <a:lnTo>
                  <a:pt x="285" y="23"/>
                </a:lnTo>
                <a:lnTo>
                  <a:pt x="276" y="30"/>
                </a:lnTo>
                <a:lnTo>
                  <a:pt x="267" y="38"/>
                </a:lnTo>
                <a:lnTo>
                  <a:pt x="259" y="47"/>
                </a:lnTo>
                <a:lnTo>
                  <a:pt x="252" y="55"/>
                </a:lnTo>
                <a:lnTo>
                  <a:pt x="247" y="65"/>
                </a:lnTo>
                <a:lnTo>
                  <a:pt x="241" y="74"/>
                </a:lnTo>
                <a:lnTo>
                  <a:pt x="236" y="85"/>
                </a:lnTo>
                <a:lnTo>
                  <a:pt x="233" y="96"/>
                </a:lnTo>
                <a:lnTo>
                  <a:pt x="230" y="107"/>
                </a:lnTo>
                <a:lnTo>
                  <a:pt x="52" y="107"/>
                </a:lnTo>
                <a:lnTo>
                  <a:pt x="52" y="107"/>
                </a:lnTo>
                <a:lnTo>
                  <a:pt x="44" y="109"/>
                </a:lnTo>
                <a:lnTo>
                  <a:pt x="36" y="110"/>
                </a:lnTo>
                <a:lnTo>
                  <a:pt x="28" y="114"/>
                </a:lnTo>
                <a:lnTo>
                  <a:pt x="21" y="118"/>
                </a:lnTo>
                <a:lnTo>
                  <a:pt x="15" y="124"/>
                </a:lnTo>
                <a:lnTo>
                  <a:pt x="10" y="131"/>
                </a:lnTo>
                <a:lnTo>
                  <a:pt x="6" y="138"/>
                </a:lnTo>
                <a:lnTo>
                  <a:pt x="1" y="146"/>
                </a:lnTo>
                <a:lnTo>
                  <a:pt x="1" y="146"/>
                </a:lnTo>
                <a:lnTo>
                  <a:pt x="0" y="154"/>
                </a:lnTo>
                <a:lnTo>
                  <a:pt x="0" y="161"/>
                </a:lnTo>
                <a:lnTo>
                  <a:pt x="0" y="613"/>
                </a:lnTo>
                <a:lnTo>
                  <a:pt x="0" y="613"/>
                </a:lnTo>
                <a:lnTo>
                  <a:pt x="1" y="624"/>
                </a:lnTo>
                <a:lnTo>
                  <a:pt x="4" y="633"/>
                </a:lnTo>
                <a:lnTo>
                  <a:pt x="8" y="642"/>
                </a:lnTo>
                <a:lnTo>
                  <a:pt x="15" y="650"/>
                </a:lnTo>
                <a:lnTo>
                  <a:pt x="24" y="657"/>
                </a:lnTo>
                <a:lnTo>
                  <a:pt x="32" y="661"/>
                </a:lnTo>
                <a:lnTo>
                  <a:pt x="43" y="665"/>
                </a:lnTo>
                <a:lnTo>
                  <a:pt x="52" y="665"/>
                </a:lnTo>
                <a:lnTo>
                  <a:pt x="671" y="665"/>
                </a:lnTo>
                <a:close/>
                <a:moveTo>
                  <a:pt x="52" y="140"/>
                </a:moveTo>
                <a:lnTo>
                  <a:pt x="143" y="140"/>
                </a:lnTo>
                <a:lnTo>
                  <a:pt x="143" y="632"/>
                </a:lnTo>
                <a:lnTo>
                  <a:pt x="52" y="632"/>
                </a:lnTo>
                <a:lnTo>
                  <a:pt x="52" y="632"/>
                </a:lnTo>
                <a:lnTo>
                  <a:pt x="46" y="631"/>
                </a:lnTo>
                <a:lnTo>
                  <a:pt x="39" y="626"/>
                </a:lnTo>
                <a:lnTo>
                  <a:pt x="35" y="621"/>
                </a:lnTo>
                <a:lnTo>
                  <a:pt x="33" y="613"/>
                </a:lnTo>
                <a:lnTo>
                  <a:pt x="33" y="161"/>
                </a:lnTo>
                <a:lnTo>
                  <a:pt x="33" y="161"/>
                </a:lnTo>
                <a:lnTo>
                  <a:pt x="35" y="155"/>
                </a:lnTo>
                <a:lnTo>
                  <a:pt x="35" y="155"/>
                </a:lnTo>
                <a:lnTo>
                  <a:pt x="37" y="150"/>
                </a:lnTo>
                <a:lnTo>
                  <a:pt x="41" y="144"/>
                </a:lnTo>
                <a:lnTo>
                  <a:pt x="47" y="142"/>
                </a:lnTo>
                <a:lnTo>
                  <a:pt x="52" y="140"/>
                </a:lnTo>
                <a:close/>
                <a:moveTo>
                  <a:pt x="362" y="33"/>
                </a:moveTo>
                <a:lnTo>
                  <a:pt x="362" y="33"/>
                </a:lnTo>
                <a:lnTo>
                  <a:pt x="372" y="33"/>
                </a:lnTo>
                <a:lnTo>
                  <a:pt x="382" y="34"/>
                </a:lnTo>
                <a:lnTo>
                  <a:pt x="391" y="37"/>
                </a:lnTo>
                <a:lnTo>
                  <a:pt x="400" y="40"/>
                </a:lnTo>
                <a:lnTo>
                  <a:pt x="408" y="44"/>
                </a:lnTo>
                <a:lnTo>
                  <a:pt x="416" y="49"/>
                </a:lnTo>
                <a:lnTo>
                  <a:pt x="424" y="54"/>
                </a:lnTo>
                <a:lnTo>
                  <a:pt x="431" y="60"/>
                </a:lnTo>
                <a:lnTo>
                  <a:pt x="438" y="67"/>
                </a:lnTo>
                <a:lnTo>
                  <a:pt x="444" y="74"/>
                </a:lnTo>
                <a:lnTo>
                  <a:pt x="449" y="82"/>
                </a:lnTo>
                <a:lnTo>
                  <a:pt x="453" y="91"/>
                </a:lnTo>
                <a:lnTo>
                  <a:pt x="457" y="99"/>
                </a:lnTo>
                <a:lnTo>
                  <a:pt x="460" y="109"/>
                </a:lnTo>
                <a:lnTo>
                  <a:pt x="461" y="118"/>
                </a:lnTo>
                <a:lnTo>
                  <a:pt x="463" y="128"/>
                </a:lnTo>
                <a:lnTo>
                  <a:pt x="260" y="128"/>
                </a:lnTo>
                <a:lnTo>
                  <a:pt x="260" y="128"/>
                </a:lnTo>
                <a:lnTo>
                  <a:pt x="262" y="118"/>
                </a:lnTo>
                <a:lnTo>
                  <a:pt x="263" y="109"/>
                </a:lnTo>
                <a:lnTo>
                  <a:pt x="266" y="99"/>
                </a:lnTo>
                <a:lnTo>
                  <a:pt x="270" y="91"/>
                </a:lnTo>
                <a:lnTo>
                  <a:pt x="274" y="82"/>
                </a:lnTo>
                <a:lnTo>
                  <a:pt x="280" y="74"/>
                </a:lnTo>
                <a:lnTo>
                  <a:pt x="285" y="67"/>
                </a:lnTo>
                <a:lnTo>
                  <a:pt x="292" y="60"/>
                </a:lnTo>
                <a:lnTo>
                  <a:pt x="299" y="54"/>
                </a:lnTo>
                <a:lnTo>
                  <a:pt x="307" y="49"/>
                </a:lnTo>
                <a:lnTo>
                  <a:pt x="315" y="44"/>
                </a:lnTo>
                <a:lnTo>
                  <a:pt x="324" y="40"/>
                </a:lnTo>
                <a:lnTo>
                  <a:pt x="332" y="37"/>
                </a:lnTo>
                <a:lnTo>
                  <a:pt x="342" y="34"/>
                </a:lnTo>
                <a:lnTo>
                  <a:pt x="351" y="33"/>
                </a:lnTo>
                <a:lnTo>
                  <a:pt x="362" y="33"/>
                </a:lnTo>
                <a:close/>
                <a:moveTo>
                  <a:pt x="671" y="632"/>
                </a:moveTo>
                <a:lnTo>
                  <a:pt x="580" y="632"/>
                </a:lnTo>
                <a:lnTo>
                  <a:pt x="580" y="140"/>
                </a:lnTo>
                <a:lnTo>
                  <a:pt x="671" y="140"/>
                </a:lnTo>
                <a:lnTo>
                  <a:pt x="671" y="140"/>
                </a:lnTo>
                <a:lnTo>
                  <a:pt x="676" y="142"/>
                </a:lnTo>
                <a:lnTo>
                  <a:pt x="682" y="144"/>
                </a:lnTo>
                <a:lnTo>
                  <a:pt x="687" y="150"/>
                </a:lnTo>
                <a:lnTo>
                  <a:pt x="690" y="155"/>
                </a:lnTo>
                <a:lnTo>
                  <a:pt x="690" y="155"/>
                </a:lnTo>
                <a:lnTo>
                  <a:pt x="690" y="161"/>
                </a:lnTo>
                <a:lnTo>
                  <a:pt x="690" y="613"/>
                </a:lnTo>
                <a:lnTo>
                  <a:pt x="690" y="613"/>
                </a:lnTo>
                <a:lnTo>
                  <a:pt x="689" y="621"/>
                </a:lnTo>
                <a:lnTo>
                  <a:pt x="685" y="626"/>
                </a:lnTo>
                <a:lnTo>
                  <a:pt x="678" y="631"/>
                </a:lnTo>
                <a:lnTo>
                  <a:pt x="671" y="632"/>
                </a:lnTo>
                <a:close/>
                <a:moveTo>
                  <a:pt x="568" y="632"/>
                </a:moveTo>
                <a:lnTo>
                  <a:pt x="156" y="632"/>
                </a:lnTo>
                <a:lnTo>
                  <a:pt x="156" y="140"/>
                </a:lnTo>
                <a:lnTo>
                  <a:pt x="568" y="140"/>
                </a:lnTo>
                <a:lnTo>
                  <a:pt x="568" y="632"/>
                </a:lnTo>
                <a:close/>
              </a:path>
            </a:pathLst>
          </a:custGeom>
          <a:solidFill>
            <a:schemeClr val="accent1"/>
          </a:solidFill>
          <a:ln>
            <a:noFill/>
          </a:ln>
        </p:spPr>
        <p:txBody>
          <a:bodyPr vert="horz" wrap="square" lIns="91440" tIns="45720" rIns="91440" bIns="45720" numCol="1" anchor="t" anchorCtr="0" compatLnSpc="1"/>
          <a:lstStyle/>
          <a:p>
            <a:endParaRPr lang="en-US"/>
          </a:p>
        </p:txBody>
      </p:sp>
      <p:sp>
        <p:nvSpPr>
          <p:cNvPr id="22" name="Freeform 289"/>
          <p:cNvSpPr>
            <a:spLocks noEditPoints="1"/>
          </p:cNvSpPr>
          <p:nvPr/>
        </p:nvSpPr>
        <p:spPr bwMode="auto">
          <a:xfrm>
            <a:off x="9853071" y="3865476"/>
            <a:ext cx="426991" cy="412678"/>
          </a:xfrm>
          <a:custGeom>
            <a:avLst/>
            <a:gdLst>
              <a:gd name="T0" fmla="*/ 147 w 716"/>
              <a:gd name="T1" fmla="*/ 0 h 691"/>
              <a:gd name="T2" fmla="*/ 121 w 716"/>
              <a:gd name="T3" fmla="*/ 5 h 691"/>
              <a:gd name="T4" fmla="*/ 92 w 716"/>
              <a:gd name="T5" fmla="*/ 24 h 691"/>
              <a:gd name="T6" fmla="*/ 72 w 716"/>
              <a:gd name="T7" fmla="*/ 56 h 691"/>
              <a:gd name="T8" fmla="*/ 61 w 716"/>
              <a:gd name="T9" fmla="*/ 95 h 691"/>
              <a:gd name="T10" fmla="*/ 48 w 716"/>
              <a:gd name="T11" fmla="*/ 491 h 691"/>
              <a:gd name="T12" fmla="*/ 10 w 716"/>
              <a:gd name="T13" fmla="*/ 537 h 691"/>
              <a:gd name="T14" fmla="*/ 0 w 716"/>
              <a:gd name="T15" fmla="*/ 586 h 691"/>
              <a:gd name="T16" fmla="*/ 7 w 716"/>
              <a:gd name="T17" fmla="*/ 626 h 691"/>
              <a:gd name="T18" fmla="*/ 25 w 716"/>
              <a:gd name="T19" fmla="*/ 661 h 691"/>
              <a:gd name="T20" fmla="*/ 52 w 716"/>
              <a:gd name="T21" fmla="*/ 683 h 691"/>
              <a:gd name="T22" fmla="*/ 87 w 716"/>
              <a:gd name="T23" fmla="*/ 691 h 691"/>
              <a:gd name="T24" fmla="*/ 525 w 716"/>
              <a:gd name="T25" fmla="*/ 690 h 691"/>
              <a:gd name="T26" fmla="*/ 555 w 716"/>
              <a:gd name="T27" fmla="*/ 673 h 691"/>
              <a:gd name="T28" fmla="*/ 578 w 716"/>
              <a:gd name="T29" fmla="*/ 644 h 691"/>
              <a:gd name="T30" fmla="*/ 592 w 716"/>
              <a:gd name="T31" fmla="*/ 607 h 691"/>
              <a:gd name="T32" fmla="*/ 594 w 716"/>
              <a:gd name="T33" fmla="*/ 135 h 691"/>
              <a:gd name="T34" fmla="*/ 700 w 716"/>
              <a:gd name="T35" fmla="*/ 132 h 691"/>
              <a:gd name="T36" fmla="*/ 713 w 716"/>
              <a:gd name="T37" fmla="*/ 118 h 691"/>
              <a:gd name="T38" fmla="*/ 715 w 716"/>
              <a:gd name="T39" fmla="*/ 89 h 691"/>
              <a:gd name="T40" fmla="*/ 696 w 716"/>
              <a:gd name="T41" fmla="*/ 35 h 691"/>
              <a:gd name="T42" fmla="*/ 667 w 716"/>
              <a:gd name="T43" fmla="*/ 11 h 691"/>
              <a:gd name="T44" fmla="*/ 632 w 716"/>
              <a:gd name="T45" fmla="*/ 0 h 691"/>
              <a:gd name="T46" fmla="*/ 486 w 716"/>
              <a:gd name="T47" fmla="*/ 652 h 691"/>
              <a:gd name="T48" fmla="*/ 457 w 716"/>
              <a:gd name="T49" fmla="*/ 614 h 691"/>
              <a:gd name="T50" fmla="*/ 453 w 716"/>
              <a:gd name="T51" fmla="*/ 571 h 691"/>
              <a:gd name="T52" fmla="*/ 477 w 716"/>
              <a:gd name="T53" fmla="*/ 526 h 691"/>
              <a:gd name="T54" fmla="*/ 507 w 716"/>
              <a:gd name="T55" fmla="*/ 500 h 691"/>
              <a:gd name="T56" fmla="*/ 95 w 716"/>
              <a:gd name="T57" fmla="*/ 91 h 691"/>
              <a:gd name="T58" fmla="*/ 117 w 716"/>
              <a:gd name="T59" fmla="*/ 45 h 691"/>
              <a:gd name="T60" fmla="*/ 592 w 716"/>
              <a:gd name="T61" fmla="*/ 33 h 691"/>
              <a:gd name="T62" fmla="*/ 576 w 716"/>
              <a:gd name="T63" fmla="*/ 53 h 691"/>
              <a:gd name="T64" fmla="*/ 562 w 716"/>
              <a:gd name="T65" fmla="*/ 91 h 691"/>
              <a:gd name="T66" fmla="*/ 561 w 716"/>
              <a:gd name="T67" fmla="*/ 586 h 691"/>
              <a:gd name="T68" fmla="*/ 545 w 716"/>
              <a:gd name="T69" fmla="*/ 637 h 691"/>
              <a:gd name="T70" fmla="*/ 507 w 716"/>
              <a:gd name="T71" fmla="*/ 658 h 691"/>
              <a:gd name="T72" fmla="*/ 464 w 716"/>
              <a:gd name="T73" fmla="*/ 519 h 691"/>
              <a:gd name="T74" fmla="*/ 445 w 716"/>
              <a:gd name="T75" fmla="*/ 553 h 691"/>
              <a:gd name="T76" fmla="*/ 439 w 716"/>
              <a:gd name="T77" fmla="*/ 586 h 691"/>
              <a:gd name="T78" fmla="*/ 448 w 716"/>
              <a:gd name="T79" fmla="*/ 628 h 691"/>
              <a:gd name="T80" fmla="*/ 471 w 716"/>
              <a:gd name="T81" fmla="*/ 658 h 691"/>
              <a:gd name="T82" fmla="*/ 66 w 716"/>
              <a:gd name="T83" fmla="*/ 652 h 691"/>
              <a:gd name="T84" fmla="*/ 37 w 716"/>
              <a:gd name="T85" fmla="*/ 614 h 691"/>
              <a:gd name="T86" fmla="*/ 33 w 716"/>
              <a:gd name="T87" fmla="*/ 571 h 691"/>
              <a:gd name="T88" fmla="*/ 56 w 716"/>
              <a:gd name="T89" fmla="*/ 526 h 691"/>
              <a:gd name="T90" fmla="*/ 94 w 716"/>
              <a:gd name="T91" fmla="*/ 513 h 691"/>
              <a:gd name="T92" fmla="*/ 642 w 716"/>
              <a:gd name="T93" fmla="*/ 34 h 691"/>
              <a:gd name="T94" fmla="*/ 668 w 716"/>
              <a:gd name="T95" fmla="*/ 55 h 691"/>
              <a:gd name="T96" fmla="*/ 683 w 716"/>
              <a:gd name="T97" fmla="*/ 102 h 691"/>
              <a:gd name="T98" fmla="*/ 580 w 716"/>
              <a:gd name="T99" fmla="*/ 74 h 691"/>
              <a:gd name="T100" fmla="*/ 609 w 716"/>
              <a:gd name="T101" fmla="*/ 38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6" h="691">
                <a:moveTo>
                  <a:pt x="632" y="0"/>
                </a:moveTo>
                <a:lnTo>
                  <a:pt x="629" y="0"/>
                </a:lnTo>
                <a:lnTo>
                  <a:pt x="629" y="0"/>
                </a:lnTo>
                <a:lnTo>
                  <a:pt x="147" y="0"/>
                </a:lnTo>
                <a:lnTo>
                  <a:pt x="147" y="0"/>
                </a:lnTo>
                <a:lnTo>
                  <a:pt x="139" y="1"/>
                </a:lnTo>
                <a:lnTo>
                  <a:pt x="131" y="2"/>
                </a:lnTo>
                <a:lnTo>
                  <a:pt x="121" y="5"/>
                </a:lnTo>
                <a:lnTo>
                  <a:pt x="114" y="8"/>
                </a:lnTo>
                <a:lnTo>
                  <a:pt x="106" y="13"/>
                </a:lnTo>
                <a:lnTo>
                  <a:pt x="99" y="19"/>
                </a:lnTo>
                <a:lnTo>
                  <a:pt x="92" y="24"/>
                </a:lnTo>
                <a:lnTo>
                  <a:pt x="87" y="31"/>
                </a:lnTo>
                <a:lnTo>
                  <a:pt x="80" y="38"/>
                </a:lnTo>
                <a:lnTo>
                  <a:pt x="76" y="46"/>
                </a:lnTo>
                <a:lnTo>
                  <a:pt x="72" y="56"/>
                </a:lnTo>
                <a:lnTo>
                  <a:pt x="68" y="64"/>
                </a:lnTo>
                <a:lnTo>
                  <a:pt x="65" y="74"/>
                </a:lnTo>
                <a:lnTo>
                  <a:pt x="62" y="85"/>
                </a:lnTo>
                <a:lnTo>
                  <a:pt x="61" y="95"/>
                </a:lnTo>
                <a:lnTo>
                  <a:pt x="61" y="106"/>
                </a:lnTo>
                <a:lnTo>
                  <a:pt x="61" y="484"/>
                </a:lnTo>
                <a:lnTo>
                  <a:pt x="61" y="484"/>
                </a:lnTo>
                <a:lnTo>
                  <a:pt x="48" y="491"/>
                </a:lnTo>
                <a:lnTo>
                  <a:pt x="36" y="500"/>
                </a:lnTo>
                <a:lnTo>
                  <a:pt x="26" y="511"/>
                </a:lnTo>
                <a:lnTo>
                  <a:pt x="17" y="523"/>
                </a:lnTo>
                <a:lnTo>
                  <a:pt x="10" y="537"/>
                </a:lnTo>
                <a:lnTo>
                  <a:pt x="4" y="552"/>
                </a:lnTo>
                <a:lnTo>
                  <a:pt x="1" y="568"/>
                </a:lnTo>
                <a:lnTo>
                  <a:pt x="0" y="586"/>
                </a:lnTo>
                <a:lnTo>
                  <a:pt x="0" y="586"/>
                </a:lnTo>
                <a:lnTo>
                  <a:pt x="0" y="596"/>
                </a:lnTo>
                <a:lnTo>
                  <a:pt x="1" y="607"/>
                </a:lnTo>
                <a:lnTo>
                  <a:pt x="4" y="617"/>
                </a:lnTo>
                <a:lnTo>
                  <a:pt x="7" y="626"/>
                </a:lnTo>
                <a:lnTo>
                  <a:pt x="10" y="636"/>
                </a:lnTo>
                <a:lnTo>
                  <a:pt x="15" y="644"/>
                </a:lnTo>
                <a:lnTo>
                  <a:pt x="19" y="652"/>
                </a:lnTo>
                <a:lnTo>
                  <a:pt x="25" y="661"/>
                </a:lnTo>
                <a:lnTo>
                  <a:pt x="32" y="668"/>
                </a:lnTo>
                <a:lnTo>
                  <a:pt x="39" y="673"/>
                </a:lnTo>
                <a:lnTo>
                  <a:pt x="45" y="679"/>
                </a:lnTo>
                <a:lnTo>
                  <a:pt x="52" y="683"/>
                </a:lnTo>
                <a:lnTo>
                  <a:pt x="61" y="687"/>
                </a:lnTo>
                <a:lnTo>
                  <a:pt x="69" y="690"/>
                </a:lnTo>
                <a:lnTo>
                  <a:pt x="79" y="691"/>
                </a:lnTo>
                <a:lnTo>
                  <a:pt x="87" y="691"/>
                </a:lnTo>
                <a:lnTo>
                  <a:pt x="507" y="691"/>
                </a:lnTo>
                <a:lnTo>
                  <a:pt x="507" y="691"/>
                </a:lnTo>
                <a:lnTo>
                  <a:pt x="515" y="691"/>
                </a:lnTo>
                <a:lnTo>
                  <a:pt x="525" y="690"/>
                </a:lnTo>
                <a:lnTo>
                  <a:pt x="533" y="687"/>
                </a:lnTo>
                <a:lnTo>
                  <a:pt x="541" y="683"/>
                </a:lnTo>
                <a:lnTo>
                  <a:pt x="548" y="679"/>
                </a:lnTo>
                <a:lnTo>
                  <a:pt x="555" y="673"/>
                </a:lnTo>
                <a:lnTo>
                  <a:pt x="562" y="668"/>
                </a:lnTo>
                <a:lnTo>
                  <a:pt x="569" y="661"/>
                </a:lnTo>
                <a:lnTo>
                  <a:pt x="574" y="652"/>
                </a:lnTo>
                <a:lnTo>
                  <a:pt x="578" y="644"/>
                </a:lnTo>
                <a:lnTo>
                  <a:pt x="584" y="636"/>
                </a:lnTo>
                <a:lnTo>
                  <a:pt x="587" y="626"/>
                </a:lnTo>
                <a:lnTo>
                  <a:pt x="589" y="617"/>
                </a:lnTo>
                <a:lnTo>
                  <a:pt x="592" y="607"/>
                </a:lnTo>
                <a:lnTo>
                  <a:pt x="594" y="596"/>
                </a:lnTo>
                <a:lnTo>
                  <a:pt x="594" y="586"/>
                </a:lnTo>
                <a:lnTo>
                  <a:pt x="594" y="506"/>
                </a:lnTo>
                <a:lnTo>
                  <a:pt x="594" y="135"/>
                </a:lnTo>
                <a:lnTo>
                  <a:pt x="690" y="135"/>
                </a:lnTo>
                <a:lnTo>
                  <a:pt x="690" y="135"/>
                </a:lnTo>
                <a:lnTo>
                  <a:pt x="696" y="133"/>
                </a:lnTo>
                <a:lnTo>
                  <a:pt x="700" y="132"/>
                </a:lnTo>
                <a:lnTo>
                  <a:pt x="704" y="130"/>
                </a:lnTo>
                <a:lnTo>
                  <a:pt x="708" y="126"/>
                </a:lnTo>
                <a:lnTo>
                  <a:pt x="711" y="124"/>
                </a:lnTo>
                <a:lnTo>
                  <a:pt x="713" y="118"/>
                </a:lnTo>
                <a:lnTo>
                  <a:pt x="715" y="114"/>
                </a:lnTo>
                <a:lnTo>
                  <a:pt x="716" y="108"/>
                </a:lnTo>
                <a:lnTo>
                  <a:pt x="716" y="108"/>
                </a:lnTo>
                <a:lnTo>
                  <a:pt x="715" y="89"/>
                </a:lnTo>
                <a:lnTo>
                  <a:pt x="711" y="70"/>
                </a:lnTo>
                <a:lnTo>
                  <a:pt x="705" y="52"/>
                </a:lnTo>
                <a:lnTo>
                  <a:pt x="696" y="35"/>
                </a:lnTo>
                <a:lnTo>
                  <a:pt x="696" y="35"/>
                </a:lnTo>
                <a:lnTo>
                  <a:pt x="689" y="29"/>
                </a:lnTo>
                <a:lnTo>
                  <a:pt x="682" y="22"/>
                </a:lnTo>
                <a:lnTo>
                  <a:pt x="675" y="15"/>
                </a:lnTo>
                <a:lnTo>
                  <a:pt x="667" y="11"/>
                </a:lnTo>
                <a:lnTo>
                  <a:pt x="658" y="7"/>
                </a:lnTo>
                <a:lnTo>
                  <a:pt x="650" y="4"/>
                </a:lnTo>
                <a:lnTo>
                  <a:pt x="642" y="1"/>
                </a:lnTo>
                <a:lnTo>
                  <a:pt x="632" y="0"/>
                </a:lnTo>
                <a:close/>
                <a:moveTo>
                  <a:pt x="507" y="658"/>
                </a:moveTo>
                <a:lnTo>
                  <a:pt x="507" y="658"/>
                </a:lnTo>
                <a:lnTo>
                  <a:pt x="496" y="657"/>
                </a:lnTo>
                <a:lnTo>
                  <a:pt x="486" y="652"/>
                </a:lnTo>
                <a:lnTo>
                  <a:pt x="477" y="646"/>
                </a:lnTo>
                <a:lnTo>
                  <a:pt x="468" y="637"/>
                </a:lnTo>
                <a:lnTo>
                  <a:pt x="461" y="626"/>
                </a:lnTo>
                <a:lnTo>
                  <a:pt x="457" y="614"/>
                </a:lnTo>
                <a:lnTo>
                  <a:pt x="453" y="600"/>
                </a:lnTo>
                <a:lnTo>
                  <a:pt x="452" y="586"/>
                </a:lnTo>
                <a:lnTo>
                  <a:pt x="452" y="586"/>
                </a:lnTo>
                <a:lnTo>
                  <a:pt x="453" y="571"/>
                </a:lnTo>
                <a:lnTo>
                  <a:pt x="457" y="557"/>
                </a:lnTo>
                <a:lnTo>
                  <a:pt x="461" y="545"/>
                </a:lnTo>
                <a:lnTo>
                  <a:pt x="468" y="534"/>
                </a:lnTo>
                <a:lnTo>
                  <a:pt x="477" y="526"/>
                </a:lnTo>
                <a:lnTo>
                  <a:pt x="486" y="519"/>
                </a:lnTo>
                <a:lnTo>
                  <a:pt x="496" y="515"/>
                </a:lnTo>
                <a:lnTo>
                  <a:pt x="507" y="513"/>
                </a:lnTo>
                <a:lnTo>
                  <a:pt x="507" y="500"/>
                </a:lnTo>
                <a:lnTo>
                  <a:pt x="94" y="500"/>
                </a:lnTo>
                <a:lnTo>
                  <a:pt x="94" y="106"/>
                </a:lnTo>
                <a:lnTo>
                  <a:pt x="94" y="106"/>
                </a:lnTo>
                <a:lnTo>
                  <a:pt x="95" y="91"/>
                </a:lnTo>
                <a:lnTo>
                  <a:pt x="98" y="78"/>
                </a:lnTo>
                <a:lnTo>
                  <a:pt x="103" y="66"/>
                </a:lnTo>
                <a:lnTo>
                  <a:pt x="109" y="55"/>
                </a:lnTo>
                <a:lnTo>
                  <a:pt x="117" y="45"/>
                </a:lnTo>
                <a:lnTo>
                  <a:pt x="127" y="38"/>
                </a:lnTo>
                <a:lnTo>
                  <a:pt x="136" y="34"/>
                </a:lnTo>
                <a:lnTo>
                  <a:pt x="147" y="33"/>
                </a:lnTo>
                <a:lnTo>
                  <a:pt x="592" y="33"/>
                </a:lnTo>
                <a:lnTo>
                  <a:pt x="592" y="33"/>
                </a:lnTo>
                <a:lnTo>
                  <a:pt x="587" y="38"/>
                </a:lnTo>
                <a:lnTo>
                  <a:pt x="580" y="45"/>
                </a:lnTo>
                <a:lnTo>
                  <a:pt x="576" y="53"/>
                </a:lnTo>
                <a:lnTo>
                  <a:pt x="570" y="62"/>
                </a:lnTo>
                <a:lnTo>
                  <a:pt x="567" y="71"/>
                </a:lnTo>
                <a:lnTo>
                  <a:pt x="565" y="81"/>
                </a:lnTo>
                <a:lnTo>
                  <a:pt x="562" y="91"/>
                </a:lnTo>
                <a:lnTo>
                  <a:pt x="562" y="102"/>
                </a:lnTo>
                <a:lnTo>
                  <a:pt x="561" y="102"/>
                </a:lnTo>
                <a:lnTo>
                  <a:pt x="561" y="586"/>
                </a:lnTo>
                <a:lnTo>
                  <a:pt x="561" y="586"/>
                </a:lnTo>
                <a:lnTo>
                  <a:pt x="561" y="600"/>
                </a:lnTo>
                <a:lnTo>
                  <a:pt x="556" y="614"/>
                </a:lnTo>
                <a:lnTo>
                  <a:pt x="552" y="626"/>
                </a:lnTo>
                <a:lnTo>
                  <a:pt x="545" y="637"/>
                </a:lnTo>
                <a:lnTo>
                  <a:pt x="537" y="646"/>
                </a:lnTo>
                <a:lnTo>
                  <a:pt x="527" y="652"/>
                </a:lnTo>
                <a:lnTo>
                  <a:pt x="518" y="657"/>
                </a:lnTo>
                <a:lnTo>
                  <a:pt x="507" y="658"/>
                </a:lnTo>
                <a:close/>
                <a:moveTo>
                  <a:pt x="94" y="513"/>
                </a:moveTo>
                <a:lnTo>
                  <a:pt x="471" y="513"/>
                </a:lnTo>
                <a:lnTo>
                  <a:pt x="471" y="513"/>
                </a:lnTo>
                <a:lnTo>
                  <a:pt x="464" y="519"/>
                </a:lnTo>
                <a:lnTo>
                  <a:pt x="459" y="526"/>
                </a:lnTo>
                <a:lnTo>
                  <a:pt x="453" y="534"/>
                </a:lnTo>
                <a:lnTo>
                  <a:pt x="448" y="544"/>
                </a:lnTo>
                <a:lnTo>
                  <a:pt x="445" y="553"/>
                </a:lnTo>
                <a:lnTo>
                  <a:pt x="442" y="563"/>
                </a:lnTo>
                <a:lnTo>
                  <a:pt x="439" y="574"/>
                </a:lnTo>
                <a:lnTo>
                  <a:pt x="439" y="586"/>
                </a:lnTo>
                <a:lnTo>
                  <a:pt x="439" y="586"/>
                </a:lnTo>
                <a:lnTo>
                  <a:pt x="439" y="597"/>
                </a:lnTo>
                <a:lnTo>
                  <a:pt x="442" y="608"/>
                </a:lnTo>
                <a:lnTo>
                  <a:pt x="445" y="618"/>
                </a:lnTo>
                <a:lnTo>
                  <a:pt x="448" y="628"/>
                </a:lnTo>
                <a:lnTo>
                  <a:pt x="453" y="637"/>
                </a:lnTo>
                <a:lnTo>
                  <a:pt x="459" y="646"/>
                </a:lnTo>
                <a:lnTo>
                  <a:pt x="464" y="652"/>
                </a:lnTo>
                <a:lnTo>
                  <a:pt x="471" y="658"/>
                </a:lnTo>
                <a:lnTo>
                  <a:pt x="87" y="658"/>
                </a:lnTo>
                <a:lnTo>
                  <a:pt x="87" y="658"/>
                </a:lnTo>
                <a:lnTo>
                  <a:pt x="76" y="657"/>
                </a:lnTo>
                <a:lnTo>
                  <a:pt x="66" y="652"/>
                </a:lnTo>
                <a:lnTo>
                  <a:pt x="56" y="646"/>
                </a:lnTo>
                <a:lnTo>
                  <a:pt x="48" y="637"/>
                </a:lnTo>
                <a:lnTo>
                  <a:pt x="41" y="626"/>
                </a:lnTo>
                <a:lnTo>
                  <a:pt x="37" y="614"/>
                </a:lnTo>
                <a:lnTo>
                  <a:pt x="33" y="600"/>
                </a:lnTo>
                <a:lnTo>
                  <a:pt x="32" y="586"/>
                </a:lnTo>
                <a:lnTo>
                  <a:pt x="32" y="586"/>
                </a:lnTo>
                <a:lnTo>
                  <a:pt x="33" y="571"/>
                </a:lnTo>
                <a:lnTo>
                  <a:pt x="37" y="557"/>
                </a:lnTo>
                <a:lnTo>
                  <a:pt x="41" y="545"/>
                </a:lnTo>
                <a:lnTo>
                  <a:pt x="48" y="534"/>
                </a:lnTo>
                <a:lnTo>
                  <a:pt x="56" y="526"/>
                </a:lnTo>
                <a:lnTo>
                  <a:pt x="66" y="519"/>
                </a:lnTo>
                <a:lnTo>
                  <a:pt x="76" y="515"/>
                </a:lnTo>
                <a:lnTo>
                  <a:pt x="87" y="513"/>
                </a:lnTo>
                <a:lnTo>
                  <a:pt x="94" y="513"/>
                </a:lnTo>
                <a:close/>
                <a:moveTo>
                  <a:pt x="629" y="33"/>
                </a:moveTo>
                <a:lnTo>
                  <a:pt x="631" y="33"/>
                </a:lnTo>
                <a:lnTo>
                  <a:pt x="631" y="33"/>
                </a:lnTo>
                <a:lnTo>
                  <a:pt x="642" y="34"/>
                </a:lnTo>
                <a:lnTo>
                  <a:pt x="651" y="40"/>
                </a:lnTo>
                <a:lnTo>
                  <a:pt x="661" y="46"/>
                </a:lnTo>
                <a:lnTo>
                  <a:pt x="668" y="55"/>
                </a:lnTo>
                <a:lnTo>
                  <a:pt x="668" y="55"/>
                </a:lnTo>
                <a:lnTo>
                  <a:pt x="675" y="66"/>
                </a:lnTo>
                <a:lnTo>
                  <a:pt x="679" y="77"/>
                </a:lnTo>
                <a:lnTo>
                  <a:pt x="682" y="89"/>
                </a:lnTo>
                <a:lnTo>
                  <a:pt x="683" y="102"/>
                </a:lnTo>
                <a:lnTo>
                  <a:pt x="574" y="102"/>
                </a:lnTo>
                <a:lnTo>
                  <a:pt x="574" y="102"/>
                </a:lnTo>
                <a:lnTo>
                  <a:pt x="576" y="88"/>
                </a:lnTo>
                <a:lnTo>
                  <a:pt x="580" y="74"/>
                </a:lnTo>
                <a:lnTo>
                  <a:pt x="585" y="63"/>
                </a:lnTo>
                <a:lnTo>
                  <a:pt x="592" y="53"/>
                </a:lnTo>
                <a:lnTo>
                  <a:pt x="599" y="45"/>
                </a:lnTo>
                <a:lnTo>
                  <a:pt x="609" y="38"/>
                </a:lnTo>
                <a:lnTo>
                  <a:pt x="618" y="34"/>
                </a:lnTo>
                <a:lnTo>
                  <a:pt x="629" y="33"/>
                </a:lnTo>
                <a:close/>
              </a:path>
            </a:pathLst>
          </a:custGeom>
          <a:solidFill>
            <a:schemeClr val="accent2"/>
          </a:solidFill>
          <a:ln>
            <a:noFill/>
          </a:ln>
        </p:spPr>
        <p:txBody>
          <a:bodyPr vert="horz" wrap="square" lIns="91440" tIns="45720" rIns="91440" bIns="45720" numCol="1" anchor="t" anchorCtr="0" compatLnSpc="1"/>
          <a:lstStyle/>
          <a:p>
            <a:endParaRPr lang="en-US"/>
          </a:p>
        </p:txBody>
      </p:sp>
    </p:spTree>
  </p:cSld>
  <p:clrMapOvr>
    <a:masterClrMapping/>
  </p:clrMapOvr>
  <p:transition spd="slow" advClick="0" advTm="0">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占位符 4"/>
          <p:cNvPicPr>
            <a:picLocks noGrp="1" noChangeAspect="1"/>
          </p:cNvPicPr>
          <p:nvPr>
            <p:ph type="pic" sz="quarter" idx="14"/>
          </p:nvPr>
        </p:nvPicPr>
        <p:blipFill>
          <a:blip r:embed="rId1" cstate="screen"/>
          <a:srcRect/>
          <a:stretch>
            <a:fillRect/>
          </a:stretch>
        </p:blipFill>
        <p:spPr>
          <a:solidFill>
            <a:schemeClr val="bg1">
              <a:lumMod val="85000"/>
            </a:schemeClr>
          </a:solidFill>
        </p:spPr>
      </p:pic>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sp>
        <p:nvSpPr>
          <p:cNvPr id="24" name="Rectangle 23"/>
          <p:cNvSpPr/>
          <p:nvPr/>
        </p:nvSpPr>
        <p:spPr>
          <a:xfrm>
            <a:off x="6484277" y="3332107"/>
            <a:ext cx="3931578" cy="324478"/>
          </a:xfrm>
          <a:prstGeom prst="rect">
            <a:avLst/>
          </a:prstGeom>
        </p:spPr>
        <p:txBody>
          <a:bodyPr vert="horz" lIns="91440" tIns="45720" rIns="91440" bIns="45720" rtlCol="0" anchor="ctr">
            <a:noAutofit/>
          </a:bodyPr>
          <a:lstStyle/>
          <a:p>
            <a:pPr defTabSz="913765">
              <a:spcBef>
                <a:spcPct val="0"/>
              </a:spcBef>
            </a:pPr>
            <a:r>
              <a:rPr lang="da-DK" b="1" noProof="1">
                <a:solidFill>
                  <a:schemeClr val="accent1"/>
                </a:solidFill>
                <a:latin typeface="Playfair Display" panose="00000500000000000000" pitchFamily="2" charset="0"/>
                <a:ea typeface="Roboto" panose="02000000000000000000" pitchFamily="2" charset="0"/>
                <a:cs typeface="Lato" panose="020F0502020204030203" pitchFamily="34" charset="0"/>
              </a:rPr>
              <a:t>MATUY DEE</a:t>
            </a:r>
            <a:endParaRPr lang="da-DK" b="1" noProof="1">
              <a:solidFill>
                <a:schemeClr val="accent1"/>
              </a:solidFill>
              <a:latin typeface="Playfair Display" panose="00000500000000000000" pitchFamily="2" charset="0"/>
              <a:ea typeface="Roboto" panose="02000000000000000000" pitchFamily="2" charset="0"/>
              <a:cs typeface="Lato" panose="020F0502020204030203" pitchFamily="34" charset="0"/>
            </a:endParaRPr>
          </a:p>
        </p:txBody>
      </p:sp>
      <p:sp>
        <p:nvSpPr>
          <p:cNvPr id="25" name="Rectangle 34"/>
          <p:cNvSpPr>
            <a:spLocks noChangeArrowheads="1"/>
          </p:cNvSpPr>
          <p:nvPr/>
        </p:nvSpPr>
        <p:spPr bwMode="auto">
          <a:xfrm>
            <a:off x="6484277" y="3131414"/>
            <a:ext cx="2892629" cy="261610"/>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buClr>
                <a:srgbClr val="E24848"/>
              </a:buClr>
            </a:pPr>
            <a:r>
              <a:rPr lang="en-US" sz="1050" noProof="1">
                <a:solidFill>
                  <a:schemeClr val="tx1">
                    <a:lumMod val="85000"/>
                    <a:lumOff val="15000"/>
                  </a:schemeClr>
                </a:solidFill>
                <a:latin typeface="Roboto" panose="02000000000000000000" pitchFamily="2" charset="0"/>
                <a:ea typeface="Roboto" panose="02000000000000000000" pitchFamily="2" charset="0"/>
                <a:cs typeface="Open Sans" panose="020B0606030504020204" pitchFamily="34" charset="0"/>
              </a:rPr>
              <a:t>CEO</a:t>
            </a:r>
            <a:endParaRPr lang="en-US" sz="1050" noProof="1">
              <a:solidFill>
                <a:schemeClr val="tx1">
                  <a:lumMod val="85000"/>
                  <a:lumOff val="15000"/>
                </a:schemeClr>
              </a:solidFill>
              <a:latin typeface="Roboto" panose="02000000000000000000" pitchFamily="2" charset="0"/>
              <a:ea typeface="Roboto" panose="02000000000000000000" pitchFamily="2" charset="0"/>
              <a:cs typeface="Open Sans" panose="020B0606030504020204" pitchFamily="34" charset="0"/>
            </a:endParaRPr>
          </a:p>
        </p:txBody>
      </p:sp>
      <p:sp>
        <p:nvSpPr>
          <p:cNvPr id="26" name="Rectangle 25"/>
          <p:cNvSpPr/>
          <p:nvPr/>
        </p:nvSpPr>
        <p:spPr>
          <a:xfrm>
            <a:off x="6484277" y="3716299"/>
            <a:ext cx="5222705" cy="1375752"/>
          </a:xfrm>
          <a:prstGeom prst="rect">
            <a:avLst/>
          </a:prstGeom>
        </p:spPr>
        <p:txBody>
          <a:bodyPr wrap="square" anchor="t">
            <a:noAutofit/>
          </a:bodyPr>
          <a:lstStyle/>
          <a:p>
            <a:pPr>
              <a:lnSpc>
                <a:spcPct val="150000"/>
              </a:lnSpc>
              <a:spcBef>
                <a:spcPts val="600"/>
              </a:spcBef>
              <a:buClr>
                <a:srgbClr val="E24848"/>
              </a:buClr>
              <a:defRPr/>
            </a:pPr>
            <a:r>
              <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Behavior we improving at something to. Evil true high lady roof men had open. To projection considered it precaution an melancholy or. Wound young you thing worse along being ham. Dissimilar of favorable solicitude if sympathize middle tons at. Forfeited up if disposing perfectly in an eagerness</a:t>
            </a:r>
            <a:endPar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23" name="Elipse 7"/>
          <p:cNvSpPr/>
          <p:nvPr/>
        </p:nvSpPr>
        <p:spPr>
          <a:xfrm>
            <a:off x="4852055" y="4607973"/>
            <a:ext cx="921140" cy="9211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b="1" dirty="0">
                <a:latin typeface="Playfair Display" panose="00000500000000000000" pitchFamily="2" charset="0"/>
                <a:cs typeface="Lato" panose="020F0502020204030203" pitchFamily="34" charset="0"/>
              </a:rPr>
              <a:t>CEO</a:t>
            </a:r>
            <a:endParaRPr lang="es-ES_tradnl" b="1" dirty="0">
              <a:latin typeface="Playfair Display" panose="00000500000000000000" pitchFamily="2" charset="0"/>
              <a:cs typeface="Lato" panose="020F0502020204030203" pitchFamily="34" charset="0"/>
            </a:endParaRPr>
          </a:p>
        </p:txBody>
      </p:sp>
      <p:grpSp>
        <p:nvGrpSpPr>
          <p:cNvPr id="35" name="Group 34"/>
          <p:cNvGrpSpPr/>
          <p:nvPr/>
        </p:nvGrpSpPr>
        <p:grpSpPr>
          <a:xfrm>
            <a:off x="6403651" y="-152400"/>
            <a:ext cx="1801541" cy="762000"/>
            <a:chOff x="-110315" y="-141204"/>
            <a:chExt cx="1656388" cy="700605"/>
          </a:xfrm>
        </p:grpSpPr>
        <p:sp>
          <p:nvSpPr>
            <p:cNvPr id="36" name="Freeform 35"/>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alpha val="70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7" name="Freeform 36"/>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5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38" name="Title 1"/>
          <p:cNvSpPr txBox="1"/>
          <p:nvPr/>
        </p:nvSpPr>
        <p:spPr>
          <a:xfrm>
            <a:off x="6403651" y="1640206"/>
            <a:ext cx="4133915" cy="1601470"/>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3200" b="1"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Let’s Introduce Our </a:t>
            </a:r>
            <a:r>
              <a:rPr lang="en-US" sz="3200" spc="-151" dirty="0">
                <a:solidFill>
                  <a:schemeClr val="accent1"/>
                </a:solidFill>
                <a:latin typeface="Playfair Display" panose="00000500000000000000" pitchFamily="2" charset="0"/>
                <a:ea typeface="Open Sans" panose="020B0606030504020204" pitchFamily="34" charset="0"/>
                <a:cs typeface="Lato" panose="020F0502020204030203" pitchFamily="34" charset="0"/>
              </a:rPr>
              <a:t>Chief Executive Officer</a:t>
            </a:r>
            <a:endParaRPr lang="en-US" sz="3200" spc="-151" dirty="0">
              <a:solidFill>
                <a:schemeClr val="accent1"/>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41" name="Rounded Rectangle 40"/>
          <p:cNvSpPr/>
          <p:nvPr/>
        </p:nvSpPr>
        <p:spPr>
          <a:xfrm>
            <a:off x="4132310" y="2115327"/>
            <a:ext cx="1779908" cy="32981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bg1"/>
                </a:solidFill>
                <a:latin typeface="+mj-lt"/>
                <a:ea typeface="Roboto" panose="02000000000000000000" pitchFamily="2" charset="0"/>
                <a:cs typeface="Open Sans" panose="020B0606030504020204"/>
              </a:rPr>
              <a:t>GRAPHIC DESIGN	</a:t>
            </a:r>
            <a:endParaRPr lang="en-AU" sz="1000" dirty="0">
              <a:solidFill>
                <a:schemeClr val="bg1"/>
              </a:solidFill>
              <a:latin typeface="+mj-lt"/>
              <a:ea typeface="Roboto" panose="02000000000000000000" pitchFamily="2" charset="0"/>
              <a:cs typeface="Open Sans" panose="020B0606030504020204"/>
            </a:endParaRPr>
          </a:p>
        </p:txBody>
      </p:sp>
      <p:sp>
        <p:nvSpPr>
          <p:cNvPr id="42" name="Rounded Rectangle 41"/>
          <p:cNvSpPr/>
          <p:nvPr/>
        </p:nvSpPr>
        <p:spPr>
          <a:xfrm>
            <a:off x="3543160" y="2606555"/>
            <a:ext cx="2369058" cy="329815"/>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bg1"/>
                </a:solidFill>
                <a:latin typeface="+mj-lt"/>
                <a:ea typeface="Roboto" panose="02000000000000000000" pitchFamily="2" charset="0"/>
                <a:cs typeface="Open Sans" panose="020B0606030504020204"/>
              </a:rPr>
              <a:t>BRANDING</a:t>
            </a:r>
            <a:endParaRPr lang="en-AU" sz="1000" dirty="0">
              <a:solidFill>
                <a:schemeClr val="bg1"/>
              </a:solidFill>
              <a:latin typeface="+mj-lt"/>
              <a:ea typeface="Roboto" panose="02000000000000000000" pitchFamily="2" charset="0"/>
              <a:cs typeface="Open Sans" panose="020B0606030504020204"/>
            </a:endParaRPr>
          </a:p>
        </p:txBody>
      </p:sp>
      <p:sp>
        <p:nvSpPr>
          <p:cNvPr id="43" name="Rounded Rectangle 42"/>
          <p:cNvSpPr/>
          <p:nvPr/>
        </p:nvSpPr>
        <p:spPr>
          <a:xfrm>
            <a:off x="4132311" y="3137278"/>
            <a:ext cx="1779908" cy="329815"/>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bg1"/>
                </a:solidFill>
                <a:latin typeface="+mj-lt"/>
                <a:ea typeface="Roboto" panose="02000000000000000000" pitchFamily="2" charset="0"/>
                <a:cs typeface="Open Sans" panose="020B0606030504020204"/>
              </a:rPr>
              <a:t>STANDARDIZATION</a:t>
            </a:r>
            <a:endParaRPr lang="en-AU" sz="1000" dirty="0">
              <a:solidFill>
                <a:schemeClr val="bg1"/>
              </a:solidFill>
              <a:latin typeface="+mj-lt"/>
              <a:ea typeface="Roboto" panose="02000000000000000000" pitchFamily="2" charset="0"/>
              <a:cs typeface="Open Sans" panose="020B0606030504020204"/>
            </a:endParaRPr>
          </a:p>
        </p:txBody>
      </p:sp>
      <p:sp>
        <p:nvSpPr>
          <p:cNvPr id="44" name="Rounded Rectangle 43"/>
          <p:cNvSpPr/>
          <p:nvPr/>
        </p:nvSpPr>
        <p:spPr>
          <a:xfrm>
            <a:off x="3954319" y="3687678"/>
            <a:ext cx="1957899" cy="32981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bg1"/>
                </a:solidFill>
                <a:latin typeface="+mj-lt"/>
                <a:ea typeface="Roboto" panose="02000000000000000000" pitchFamily="2" charset="0"/>
                <a:cs typeface="Open Sans" panose="020B0606030504020204"/>
              </a:rPr>
              <a:t>HARDCODE CENTRAL</a:t>
            </a:r>
            <a:endParaRPr lang="en-AU" sz="1000" dirty="0">
              <a:solidFill>
                <a:schemeClr val="bg1"/>
              </a:solidFill>
              <a:latin typeface="+mj-lt"/>
              <a:ea typeface="Roboto" panose="02000000000000000000" pitchFamily="2" charset="0"/>
              <a:cs typeface="Open Sans" panose="020B0606030504020204"/>
            </a:endParaRPr>
          </a:p>
        </p:txBody>
      </p:sp>
      <p:sp>
        <p:nvSpPr>
          <p:cNvPr id="46" name="Rectangle 45"/>
          <p:cNvSpPr/>
          <p:nvPr/>
        </p:nvSpPr>
        <p:spPr>
          <a:xfrm>
            <a:off x="5479616" y="2134829"/>
            <a:ext cx="432602" cy="246221"/>
          </a:xfrm>
          <a:prstGeom prst="rect">
            <a:avLst/>
          </a:prstGeom>
        </p:spPr>
        <p:txBody>
          <a:bodyPr wrap="square">
            <a:spAutoFit/>
          </a:bodyPr>
          <a:lstStyle/>
          <a:p>
            <a:pPr algn="ctr">
              <a:buClr>
                <a:srgbClr val="E24848"/>
              </a:buClr>
              <a:defRPr/>
            </a:pPr>
            <a:r>
              <a:rPr lang="en-US" sz="1000" noProof="1">
                <a:solidFill>
                  <a:schemeClr val="bg1"/>
                </a:solidFill>
                <a:latin typeface="+mj-lt"/>
                <a:ea typeface="Open Sans Light" panose="020B0306030504020204" pitchFamily="34" charset="0"/>
                <a:cs typeface="Open Sans Light" panose="020B0306030504020204" pitchFamily="34" charset="0"/>
              </a:rPr>
              <a:t>45%</a:t>
            </a:r>
            <a:endParaRPr lang="en-US" sz="1000" noProof="1">
              <a:solidFill>
                <a:schemeClr val="bg1"/>
              </a:solidFill>
              <a:latin typeface="+mj-lt"/>
              <a:ea typeface="Open Sans Light" panose="020B0306030504020204" pitchFamily="34" charset="0"/>
              <a:cs typeface="Open Sans Light" panose="020B0306030504020204" pitchFamily="34" charset="0"/>
            </a:endParaRPr>
          </a:p>
        </p:txBody>
      </p:sp>
      <p:sp>
        <p:nvSpPr>
          <p:cNvPr id="47" name="Rectangle 46"/>
          <p:cNvSpPr/>
          <p:nvPr/>
        </p:nvSpPr>
        <p:spPr>
          <a:xfrm>
            <a:off x="5476268" y="2634571"/>
            <a:ext cx="432602" cy="246221"/>
          </a:xfrm>
          <a:prstGeom prst="rect">
            <a:avLst/>
          </a:prstGeom>
        </p:spPr>
        <p:txBody>
          <a:bodyPr wrap="square">
            <a:spAutoFit/>
          </a:bodyPr>
          <a:lstStyle/>
          <a:p>
            <a:pPr algn="ctr">
              <a:buClr>
                <a:srgbClr val="E24848"/>
              </a:buClr>
              <a:defRPr/>
            </a:pPr>
            <a:r>
              <a:rPr lang="en-US" sz="1000" noProof="1">
                <a:solidFill>
                  <a:schemeClr val="bg1"/>
                </a:solidFill>
                <a:latin typeface="+mj-lt"/>
                <a:ea typeface="Open Sans Light" panose="020B0306030504020204" pitchFamily="34" charset="0"/>
                <a:cs typeface="Open Sans Light" panose="020B0306030504020204" pitchFamily="34" charset="0"/>
              </a:rPr>
              <a:t>75%</a:t>
            </a:r>
            <a:endParaRPr lang="en-US" sz="1000" noProof="1">
              <a:solidFill>
                <a:schemeClr val="bg1"/>
              </a:solidFill>
              <a:latin typeface="+mj-lt"/>
              <a:ea typeface="Open Sans Light" panose="020B0306030504020204" pitchFamily="34" charset="0"/>
              <a:cs typeface="Open Sans Light" panose="020B0306030504020204" pitchFamily="34" charset="0"/>
            </a:endParaRPr>
          </a:p>
        </p:txBody>
      </p:sp>
      <p:sp>
        <p:nvSpPr>
          <p:cNvPr id="48" name="Rectangle 47"/>
          <p:cNvSpPr/>
          <p:nvPr/>
        </p:nvSpPr>
        <p:spPr>
          <a:xfrm>
            <a:off x="5479271" y="3173853"/>
            <a:ext cx="432602" cy="246221"/>
          </a:xfrm>
          <a:prstGeom prst="rect">
            <a:avLst/>
          </a:prstGeom>
        </p:spPr>
        <p:txBody>
          <a:bodyPr wrap="square">
            <a:spAutoFit/>
          </a:bodyPr>
          <a:lstStyle/>
          <a:p>
            <a:pPr algn="ctr">
              <a:buClr>
                <a:srgbClr val="E24848"/>
              </a:buClr>
              <a:defRPr/>
            </a:pPr>
            <a:r>
              <a:rPr lang="en-US" sz="1000" noProof="1">
                <a:solidFill>
                  <a:schemeClr val="bg1"/>
                </a:solidFill>
                <a:latin typeface="+mj-lt"/>
                <a:ea typeface="Open Sans Light" panose="020B0306030504020204" pitchFamily="34" charset="0"/>
                <a:cs typeface="Open Sans Light" panose="020B0306030504020204" pitchFamily="34" charset="0"/>
              </a:rPr>
              <a:t>30%</a:t>
            </a:r>
            <a:endParaRPr lang="en-US" sz="1000" noProof="1">
              <a:solidFill>
                <a:schemeClr val="bg1"/>
              </a:solidFill>
              <a:latin typeface="+mj-lt"/>
              <a:ea typeface="Open Sans Light" panose="020B0306030504020204" pitchFamily="34" charset="0"/>
              <a:cs typeface="Open Sans Light" panose="020B0306030504020204" pitchFamily="34" charset="0"/>
            </a:endParaRPr>
          </a:p>
        </p:txBody>
      </p:sp>
      <p:sp>
        <p:nvSpPr>
          <p:cNvPr id="49" name="Rectangle 48"/>
          <p:cNvSpPr/>
          <p:nvPr/>
        </p:nvSpPr>
        <p:spPr>
          <a:xfrm>
            <a:off x="5421218" y="3716299"/>
            <a:ext cx="432602" cy="246221"/>
          </a:xfrm>
          <a:prstGeom prst="rect">
            <a:avLst/>
          </a:prstGeom>
        </p:spPr>
        <p:txBody>
          <a:bodyPr wrap="square">
            <a:spAutoFit/>
          </a:bodyPr>
          <a:lstStyle/>
          <a:p>
            <a:pPr algn="ctr">
              <a:buClr>
                <a:srgbClr val="E24848"/>
              </a:buClr>
              <a:defRPr/>
            </a:pPr>
            <a:r>
              <a:rPr lang="en-US" sz="1000" noProof="1">
                <a:solidFill>
                  <a:schemeClr val="bg1"/>
                </a:solidFill>
                <a:latin typeface="+mj-lt"/>
                <a:ea typeface="Open Sans Light" panose="020B0306030504020204" pitchFamily="34" charset="0"/>
                <a:cs typeface="Open Sans Light" panose="020B0306030504020204" pitchFamily="34" charset="0"/>
              </a:rPr>
              <a:t>45%</a:t>
            </a:r>
            <a:endParaRPr lang="en-US" sz="1000" noProof="1">
              <a:solidFill>
                <a:schemeClr val="bg1"/>
              </a:solidFill>
              <a:latin typeface="+mj-lt"/>
              <a:ea typeface="Open Sans Light" panose="020B0306030504020204" pitchFamily="34" charset="0"/>
              <a:cs typeface="Open Sans Light" panose="020B0306030504020204" pitchFamily="34" charset="0"/>
            </a:endParaRPr>
          </a:p>
        </p:txBody>
      </p:sp>
    </p:spTree>
  </p:cSld>
  <p:clrMapOvr>
    <a:masterClrMapping/>
  </p:clrMapOvr>
  <p:transition spd="slow" advClick="0" advTm="0">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Oval 42"/>
          <p:cNvSpPr/>
          <p:nvPr/>
        </p:nvSpPr>
        <p:spPr>
          <a:xfrm>
            <a:off x="6319050" y="4899185"/>
            <a:ext cx="3305200" cy="734021"/>
          </a:xfrm>
          <a:prstGeom prst="ellipse">
            <a:avLst/>
          </a:prstGeom>
          <a:gradFill flip="none" rotWithShape="1">
            <a:gsLst>
              <a:gs pos="0">
                <a:schemeClr val="tx2">
                  <a:lumMod val="75000"/>
                </a:schemeClr>
              </a:gs>
              <a:gs pos="100000">
                <a:schemeClr val="bg1">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sp>
        <p:nvSpPr>
          <p:cNvPr id="82" name="Block Arc 81"/>
          <p:cNvSpPr/>
          <p:nvPr/>
        </p:nvSpPr>
        <p:spPr>
          <a:xfrm rot="18900000">
            <a:off x="6256392" y="2195614"/>
            <a:ext cx="3106302" cy="3106302"/>
          </a:xfrm>
          <a:prstGeom prst="blockArc">
            <a:avLst>
              <a:gd name="adj1" fmla="val 5306531"/>
              <a:gd name="adj2" fmla="val 21527698"/>
              <a:gd name="adj3" fmla="val 5564"/>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3" name="Oval 82"/>
          <p:cNvSpPr/>
          <p:nvPr/>
        </p:nvSpPr>
        <p:spPr>
          <a:xfrm>
            <a:off x="6390398" y="2302683"/>
            <a:ext cx="2811961" cy="2811961"/>
          </a:xfrm>
          <a:prstGeom prst="ellipse">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p:cNvSpPr/>
          <p:nvPr/>
        </p:nvSpPr>
        <p:spPr>
          <a:xfrm>
            <a:off x="3019412" y="4908130"/>
            <a:ext cx="3305200" cy="734021"/>
          </a:xfrm>
          <a:prstGeom prst="ellipse">
            <a:avLst/>
          </a:prstGeom>
          <a:gradFill flip="none" rotWithShape="1">
            <a:gsLst>
              <a:gs pos="0">
                <a:schemeClr val="tx2">
                  <a:lumMod val="75000"/>
                </a:schemeClr>
              </a:gs>
              <a:gs pos="100000">
                <a:schemeClr val="bg1">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d-ID"/>
          </a:p>
        </p:txBody>
      </p:sp>
      <p:sp>
        <p:nvSpPr>
          <p:cNvPr id="13" name="Block Arc 12"/>
          <p:cNvSpPr/>
          <p:nvPr/>
        </p:nvSpPr>
        <p:spPr>
          <a:xfrm rot="8100000">
            <a:off x="3071296" y="2195614"/>
            <a:ext cx="3106302" cy="3106302"/>
          </a:xfrm>
          <a:prstGeom prst="blockArc">
            <a:avLst>
              <a:gd name="adj1" fmla="val 5306531"/>
              <a:gd name="adj2" fmla="val 21527698"/>
              <a:gd name="adj3" fmla="val 5564"/>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Oval 11"/>
          <p:cNvSpPr/>
          <p:nvPr/>
        </p:nvSpPr>
        <p:spPr>
          <a:xfrm>
            <a:off x="3205302" y="2302683"/>
            <a:ext cx="2811961" cy="2811961"/>
          </a:xfrm>
          <a:prstGeom prst="ellipse">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pic>
        <p:nvPicPr>
          <p:cNvPr id="4" name="图片占位符 3"/>
          <p:cNvPicPr>
            <a:picLocks noGrp="1" noChangeAspect="1"/>
          </p:cNvPicPr>
          <p:nvPr>
            <p:ph type="pic" sz="quarter" idx="15"/>
          </p:nvPr>
        </p:nvPicPr>
        <p:blipFill>
          <a:blip r:embed="rId1" cstate="screen"/>
          <a:srcRect/>
          <a:stretch>
            <a:fillRect/>
          </a:stretch>
        </p:blipFill>
        <p:spPr>
          <a:solidFill>
            <a:schemeClr val="bg1">
              <a:lumMod val="75000"/>
            </a:schemeClr>
          </a:solidFill>
        </p:spPr>
      </p:pic>
      <p:pic>
        <p:nvPicPr>
          <p:cNvPr id="8" name="图片占位符 7"/>
          <p:cNvPicPr>
            <a:picLocks noGrp="1" noChangeAspect="1"/>
          </p:cNvPicPr>
          <p:nvPr>
            <p:ph type="pic" sz="quarter" idx="16"/>
          </p:nvPr>
        </p:nvPicPr>
        <p:blipFill>
          <a:blip r:embed="rId2" cstate="screen"/>
          <a:srcRect/>
          <a:stretch>
            <a:fillRect/>
          </a:stretch>
        </p:blipFill>
        <p:spPr>
          <a:solidFill>
            <a:schemeClr val="bg1">
              <a:lumMod val="75000"/>
            </a:schemeClr>
          </a:solidFill>
        </p:spPr>
      </p:pic>
      <p:grpSp>
        <p:nvGrpSpPr>
          <p:cNvPr id="5" name="Group 4"/>
          <p:cNvGrpSpPr/>
          <p:nvPr/>
        </p:nvGrpSpPr>
        <p:grpSpPr>
          <a:xfrm>
            <a:off x="9442755" y="2419920"/>
            <a:ext cx="2089175" cy="2415700"/>
            <a:chOff x="8528988" y="2198608"/>
            <a:chExt cx="2089175" cy="2415700"/>
          </a:xfrm>
        </p:grpSpPr>
        <p:sp>
          <p:nvSpPr>
            <p:cNvPr id="35" name="Rectangle 34"/>
            <p:cNvSpPr/>
            <p:nvPr/>
          </p:nvSpPr>
          <p:spPr>
            <a:xfrm>
              <a:off x="8535796" y="2786336"/>
              <a:ext cx="2082367" cy="723331"/>
            </a:xfrm>
            <a:prstGeom prst="rect">
              <a:avLst/>
            </a:prstGeom>
          </p:spPr>
          <p:txBody>
            <a:bodyPr wrap="square">
              <a:noAutofit/>
            </a:bodyPr>
            <a:lstStyle/>
            <a:p>
              <a:pPr>
                <a:buClr>
                  <a:srgbClr val="E24848"/>
                </a:buClr>
                <a:defRPr/>
              </a:pPr>
              <a:r>
                <a:rPr lang="en-US" sz="1000" noProof="1">
                  <a:solidFill>
                    <a:schemeClr val="tx1">
                      <a:lumMod val="75000"/>
                      <a:lumOff val="25000"/>
                    </a:schemeClr>
                  </a:solidFill>
                  <a:latin typeface="+mj-lt"/>
                  <a:cs typeface="Arial" panose="020B0604020202020204" pitchFamily="34" charset="0"/>
                </a:rPr>
                <a:t>Lorem ipsum dolor sit amet consectetur adipiscing elit. Nunc enim sem, commodo a rhoncus sit amet, elementum ut mi. </a:t>
              </a:r>
              <a:endParaRPr lang="en-US" sz="1000" noProof="1">
                <a:solidFill>
                  <a:schemeClr val="tx1">
                    <a:lumMod val="75000"/>
                    <a:lumOff val="25000"/>
                  </a:schemeClr>
                </a:solidFill>
                <a:latin typeface="+mj-lt"/>
                <a:cs typeface="Arial" panose="020B0604020202020204" pitchFamily="34" charset="0"/>
              </a:endParaRPr>
            </a:p>
          </p:txBody>
        </p:sp>
        <p:sp>
          <p:nvSpPr>
            <p:cNvPr id="36" name="Rectangle 34"/>
            <p:cNvSpPr>
              <a:spLocks noChangeArrowheads="1"/>
            </p:cNvSpPr>
            <p:nvPr/>
          </p:nvSpPr>
          <p:spPr bwMode="auto">
            <a:xfrm>
              <a:off x="8528988" y="2198608"/>
              <a:ext cx="151169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buClr>
                  <a:srgbClr val="E24848"/>
                </a:buClr>
              </a:pPr>
              <a:r>
                <a:rPr lang="en-US" sz="1100" noProof="1">
                  <a:solidFill>
                    <a:schemeClr val="tx1">
                      <a:lumMod val="75000"/>
                      <a:lumOff val="25000"/>
                    </a:schemeClr>
                  </a:solidFill>
                  <a:latin typeface="Playfair Display" panose="00000500000000000000" pitchFamily="2" charset="0"/>
                  <a:ea typeface="Arial" panose="020B0604020202020204" pitchFamily="34" charset="0"/>
                  <a:cs typeface="Lato" panose="020F0502020204030203" pitchFamily="34" charset="0"/>
                </a:rPr>
                <a:t>Designer </a:t>
              </a:r>
              <a:endParaRPr lang="en-US" sz="1100" noProof="1">
                <a:solidFill>
                  <a:schemeClr val="tx1">
                    <a:lumMod val="75000"/>
                    <a:lumOff val="25000"/>
                  </a:schemeClr>
                </a:solidFill>
                <a:latin typeface="Playfair Display" panose="00000500000000000000" pitchFamily="2" charset="0"/>
                <a:ea typeface="Arial" panose="020B0604020202020204" pitchFamily="34" charset="0"/>
                <a:cs typeface="Lato" panose="020F0502020204030203" pitchFamily="34" charset="0"/>
              </a:endParaRPr>
            </a:p>
          </p:txBody>
        </p:sp>
        <p:grpSp>
          <p:nvGrpSpPr>
            <p:cNvPr id="37" name="Group 36"/>
            <p:cNvGrpSpPr/>
            <p:nvPr/>
          </p:nvGrpSpPr>
          <p:grpSpPr>
            <a:xfrm>
              <a:off x="8653842" y="3601227"/>
              <a:ext cx="680996" cy="164272"/>
              <a:chOff x="-2421436" y="2172193"/>
              <a:chExt cx="973294" cy="234782"/>
            </a:xfrm>
            <a:solidFill>
              <a:schemeClr val="accent1"/>
            </a:solidFill>
          </p:grpSpPr>
          <p:sp>
            <p:nvSpPr>
              <p:cNvPr id="39" name="Freeform 9"/>
              <p:cNvSpPr>
                <a:spLocks noEditPoints="1"/>
              </p:cNvSpPr>
              <p:nvPr/>
            </p:nvSpPr>
            <p:spPr bwMode="auto">
              <a:xfrm>
                <a:off x="-2421436" y="2172193"/>
                <a:ext cx="230025" cy="230294"/>
              </a:xfrm>
              <a:custGeom>
                <a:avLst/>
                <a:gdLst>
                  <a:gd name="T0" fmla="*/ 333 w 360"/>
                  <a:gd name="T1" fmla="*/ 0 h 360"/>
                  <a:gd name="T2" fmla="*/ 26 w 360"/>
                  <a:gd name="T3" fmla="*/ 0 h 360"/>
                  <a:gd name="T4" fmla="*/ 0 w 360"/>
                  <a:gd name="T5" fmla="*/ 25 h 360"/>
                  <a:gd name="T6" fmla="*/ 0 w 360"/>
                  <a:gd name="T7" fmla="*/ 334 h 360"/>
                  <a:gd name="T8" fmla="*/ 26 w 360"/>
                  <a:gd name="T9" fmla="*/ 360 h 360"/>
                  <a:gd name="T10" fmla="*/ 333 w 360"/>
                  <a:gd name="T11" fmla="*/ 360 h 360"/>
                  <a:gd name="T12" fmla="*/ 360 w 360"/>
                  <a:gd name="T13" fmla="*/ 334 h 360"/>
                  <a:gd name="T14" fmla="*/ 360 w 360"/>
                  <a:gd name="T15" fmla="*/ 25 h 360"/>
                  <a:gd name="T16" fmla="*/ 333 w 360"/>
                  <a:gd name="T17" fmla="*/ 0 h 360"/>
                  <a:gd name="T18" fmla="*/ 109 w 360"/>
                  <a:gd name="T19" fmla="*/ 301 h 360"/>
                  <a:gd name="T20" fmla="*/ 54 w 360"/>
                  <a:gd name="T21" fmla="*/ 301 h 360"/>
                  <a:gd name="T22" fmla="*/ 54 w 360"/>
                  <a:gd name="T23" fmla="*/ 138 h 360"/>
                  <a:gd name="T24" fmla="*/ 109 w 360"/>
                  <a:gd name="T25" fmla="*/ 138 h 360"/>
                  <a:gd name="T26" fmla="*/ 109 w 360"/>
                  <a:gd name="T27" fmla="*/ 301 h 360"/>
                  <a:gd name="T28" fmla="*/ 82 w 360"/>
                  <a:gd name="T29" fmla="*/ 116 h 360"/>
                  <a:gd name="T30" fmla="*/ 81 w 360"/>
                  <a:gd name="T31" fmla="*/ 116 h 360"/>
                  <a:gd name="T32" fmla="*/ 51 w 360"/>
                  <a:gd name="T33" fmla="*/ 88 h 360"/>
                  <a:gd name="T34" fmla="*/ 82 w 360"/>
                  <a:gd name="T35" fmla="*/ 60 h 360"/>
                  <a:gd name="T36" fmla="*/ 112 w 360"/>
                  <a:gd name="T37" fmla="*/ 88 h 360"/>
                  <a:gd name="T38" fmla="*/ 82 w 360"/>
                  <a:gd name="T39" fmla="*/ 116 h 360"/>
                  <a:gd name="T40" fmla="*/ 305 w 360"/>
                  <a:gd name="T41" fmla="*/ 301 h 360"/>
                  <a:gd name="T42" fmla="*/ 251 w 360"/>
                  <a:gd name="T43" fmla="*/ 301 h 360"/>
                  <a:gd name="T44" fmla="*/ 251 w 360"/>
                  <a:gd name="T45" fmla="*/ 214 h 360"/>
                  <a:gd name="T46" fmla="*/ 223 w 360"/>
                  <a:gd name="T47" fmla="*/ 177 h 360"/>
                  <a:gd name="T48" fmla="*/ 195 w 360"/>
                  <a:gd name="T49" fmla="*/ 197 h 360"/>
                  <a:gd name="T50" fmla="*/ 193 w 360"/>
                  <a:gd name="T51" fmla="*/ 210 h 360"/>
                  <a:gd name="T52" fmla="*/ 193 w 360"/>
                  <a:gd name="T53" fmla="*/ 301 h 360"/>
                  <a:gd name="T54" fmla="*/ 139 w 360"/>
                  <a:gd name="T55" fmla="*/ 301 h 360"/>
                  <a:gd name="T56" fmla="*/ 139 w 360"/>
                  <a:gd name="T57" fmla="*/ 138 h 360"/>
                  <a:gd name="T58" fmla="*/ 193 w 360"/>
                  <a:gd name="T59" fmla="*/ 138 h 360"/>
                  <a:gd name="T60" fmla="*/ 193 w 360"/>
                  <a:gd name="T61" fmla="*/ 161 h 360"/>
                  <a:gd name="T62" fmla="*/ 242 w 360"/>
                  <a:gd name="T63" fmla="*/ 135 h 360"/>
                  <a:gd name="T64" fmla="*/ 305 w 360"/>
                  <a:gd name="T65" fmla="*/ 208 h 360"/>
                  <a:gd name="T66" fmla="*/ 305 w 360"/>
                  <a:gd name="T67" fmla="*/ 301 h 360"/>
                  <a:gd name="T68" fmla="*/ 193 w 360"/>
                  <a:gd name="T69" fmla="*/ 162 h 360"/>
                  <a:gd name="T70" fmla="*/ 193 w 360"/>
                  <a:gd name="T71" fmla="*/ 161 h 360"/>
                  <a:gd name="T72" fmla="*/ 193 w 360"/>
                  <a:gd name="T73" fmla="*/ 16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0" h="360">
                    <a:moveTo>
                      <a:pt x="333" y="0"/>
                    </a:moveTo>
                    <a:cubicBezTo>
                      <a:pt x="26" y="0"/>
                      <a:pt x="26" y="0"/>
                      <a:pt x="26" y="0"/>
                    </a:cubicBezTo>
                    <a:cubicBezTo>
                      <a:pt x="12" y="0"/>
                      <a:pt x="0" y="11"/>
                      <a:pt x="0" y="25"/>
                    </a:cubicBezTo>
                    <a:cubicBezTo>
                      <a:pt x="0" y="334"/>
                      <a:pt x="0" y="334"/>
                      <a:pt x="0" y="334"/>
                    </a:cubicBezTo>
                    <a:cubicBezTo>
                      <a:pt x="0" y="348"/>
                      <a:pt x="12" y="360"/>
                      <a:pt x="26" y="360"/>
                    </a:cubicBezTo>
                    <a:cubicBezTo>
                      <a:pt x="333" y="360"/>
                      <a:pt x="333" y="360"/>
                      <a:pt x="333" y="360"/>
                    </a:cubicBezTo>
                    <a:cubicBezTo>
                      <a:pt x="348" y="360"/>
                      <a:pt x="360" y="348"/>
                      <a:pt x="360" y="334"/>
                    </a:cubicBezTo>
                    <a:cubicBezTo>
                      <a:pt x="360" y="25"/>
                      <a:pt x="360" y="25"/>
                      <a:pt x="360" y="25"/>
                    </a:cubicBezTo>
                    <a:cubicBezTo>
                      <a:pt x="360" y="11"/>
                      <a:pt x="348" y="0"/>
                      <a:pt x="333" y="0"/>
                    </a:cubicBezTo>
                    <a:close/>
                    <a:moveTo>
                      <a:pt x="109" y="301"/>
                    </a:moveTo>
                    <a:cubicBezTo>
                      <a:pt x="54" y="301"/>
                      <a:pt x="54" y="301"/>
                      <a:pt x="54" y="301"/>
                    </a:cubicBezTo>
                    <a:cubicBezTo>
                      <a:pt x="54" y="138"/>
                      <a:pt x="54" y="138"/>
                      <a:pt x="54" y="138"/>
                    </a:cubicBezTo>
                    <a:cubicBezTo>
                      <a:pt x="109" y="138"/>
                      <a:pt x="109" y="138"/>
                      <a:pt x="109" y="138"/>
                    </a:cubicBezTo>
                    <a:lnTo>
                      <a:pt x="109" y="301"/>
                    </a:lnTo>
                    <a:close/>
                    <a:moveTo>
                      <a:pt x="82" y="116"/>
                    </a:moveTo>
                    <a:cubicBezTo>
                      <a:pt x="81" y="116"/>
                      <a:pt x="81" y="116"/>
                      <a:pt x="81" y="116"/>
                    </a:cubicBezTo>
                    <a:cubicBezTo>
                      <a:pt x="63" y="116"/>
                      <a:pt x="51" y="104"/>
                      <a:pt x="51" y="88"/>
                    </a:cubicBezTo>
                    <a:cubicBezTo>
                      <a:pt x="51" y="72"/>
                      <a:pt x="63" y="60"/>
                      <a:pt x="82" y="60"/>
                    </a:cubicBezTo>
                    <a:cubicBezTo>
                      <a:pt x="101" y="60"/>
                      <a:pt x="112" y="72"/>
                      <a:pt x="112" y="88"/>
                    </a:cubicBezTo>
                    <a:cubicBezTo>
                      <a:pt x="112" y="104"/>
                      <a:pt x="101" y="116"/>
                      <a:pt x="82" y="116"/>
                    </a:cubicBezTo>
                    <a:close/>
                    <a:moveTo>
                      <a:pt x="305" y="301"/>
                    </a:moveTo>
                    <a:cubicBezTo>
                      <a:pt x="251" y="301"/>
                      <a:pt x="251" y="301"/>
                      <a:pt x="251" y="301"/>
                    </a:cubicBezTo>
                    <a:cubicBezTo>
                      <a:pt x="251" y="214"/>
                      <a:pt x="251" y="214"/>
                      <a:pt x="251" y="214"/>
                    </a:cubicBezTo>
                    <a:cubicBezTo>
                      <a:pt x="251" y="192"/>
                      <a:pt x="243" y="177"/>
                      <a:pt x="223" y="177"/>
                    </a:cubicBezTo>
                    <a:cubicBezTo>
                      <a:pt x="208" y="177"/>
                      <a:pt x="199" y="187"/>
                      <a:pt x="195" y="197"/>
                    </a:cubicBezTo>
                    <a:cubicBezTo>
                      <a:pt x="194" y="200"/>
                      <a:pt x="193" y="205"/>
                      <a:pt x="193" y="210"/>
                    </a:cubicBezTo>
                    <a:cubicBezTo>
                      <a:pt x="193" y="301"/>
                      <a:pt x="193" y="301"/>
                      <a:pt x="193" y="301"/>
                    </a:cubicBezTo>
                    <a:cubicBezTo>
                      <a:pt x="139" y="301"/>
                      <a:pt x="139" y="301"/>
                      <a:pt x="139" y="301"/>
                    </a:cubicBezTo>
                    <a:cubicBezTo>
                      <a:pt x="139" y="301"/>
                      <a:pt x="140" y="154"/>
                      <a:pt x="139" y="138"/>
                    </a:cubicBezTo>
                    <a:cubicBezTo>
                      <a:pt x="193" y="138"/>
                      <a:pt x="193" y="138"/>
                      <a:pt x="193" y="138"/>
                    </a:cubicBezTo>
                    <a:cubicBezTo>
                      <a:pt x="193" y="161"/>
                      <a:pt x="193" y="161"/>
                      <a:pt x="193" y="161"/>
                    </a:cubicBezTo>
                    <a:cubicBezTo>
                      <a:pt x="201" y="150"/>
                      <a:pt x="213" y="135"/>
                      <a:pt x="242" y="135"/>
                    </a:cubicBezTo>
                    <a:cubicBezTo>
                      <a:pt x="278" y="135"/>
                      <a:pt x="305" y="158"/>
                      <a:pt x="305" y="208"/>
                    </a:cubicBezTo>
                    <a:lnTo>
                      <a:pt x="305" y="301"/>
                    </a:lnTo>
                    <a:close/>
                    <a:moveTo>
                      <a:pt x="193" y="162"/>
                    </a:moveTo>
                    <a:cubicBezTo>
                      <a:pt x="193" y="162"/>
                      <a:pt x="193" y="162"/>
                      <a:pt x="193" y="161"/>
                    </a:cubicBezTo>
                    <a:cubicBezTo>
                      <a:pt x="193" y="162"/>
                      <a:pt x="193" y="162"/>
                      <a:pt x="193" y="162"/>
                    </a:cubicBezTo>
                    <a:close/>
                  </a:path>
                </a:pathLst>
              </a:custGeom>
              <a:solidFill>
                <a:schemeClr val="accent2"/>
              </a:solidFill>
              <a:ln>
                <a:noFill/>
              </a:ln>
            </p:spPr>
            <p:txBody>
              <a:bodyPr vert="horz" wrap="square" lIns="91440" tIns="45720" rIns="91440" bIns="45720" numCol="1" anchor="t" anchorCtr="0" compatLnSpc="1"/>
              <a:lstStyle/>
              <a:p>
                <a:endParaRPr lang="id-ID">
                  <a:solidFill>
                    <a:schemeClr val="tx1">
                      <a:lumMod val="75000"/>
                      <a:lumOff val="25000"/>
                    </a:schemeClr>
                  </a:solidFill>
                  <a:latin typeface="+mj-lt"/>
                </a:endParaRPr>
              </a:p>
            </p:txBody>
          </p:sp>
          <p:sp>
            <p:nvSpPr>
              <p:cNvPr id="40" name="Freeform 13"/>
              <p:cNvSpPr/>
              <p:nvPr/>
            </p:nvSpPr>
            <p:spPr bwMode="auto">
              <a:xfrm>
                <a:off x="-2085373" y="2181102"/>
                <a:ext cx="221553" cy="221811"/>
              </a:xfrm>
              <a:custGeom>
                <a:avLst/>
                <a:gdLst>
                  <a:gd name="T0" fmla="*/ 360 w 360"/>
                  <a:gd name="T1" fmla="*/ 60 h 360"/>
                  <a:gd name="T2" fmla="*/ 300 w 360"/>
                  <a:gd name="T3" fmla="*/ 0 h 360"/>
                  <a:gd name="T4" fmla="*/ 60 w 360"/>
                  <a:gd name="T5" fmla="*/ 0 h 360"/>
                  <a:gd name="T6" fmla="*/ 0 w 360"/>
                  <a:gd name="T7" fmla="*/ 60 h 360"/>
                  <a:gd name="T8" fmla="*/ 0 w 360"/>
                  <a:gd name="T9" fmla="*/ 300 h 360"/>
                  <a:gd name="T10" fmla="*/ 60 w 360"/>
                  <a:gd name="T11" fmla="*/ 360 h 360"/>
                  <a:gd name="T12" fmla="*/ 180 w 360"/>
                  <a:gd name="T13" fmla="*/ 360 h 360"/>
                  <a:gd name="T14" fmla="*/ 180 w 360"/>
                  <a:gd name="T15" fmla="*/ 224 h 360"/>
                  <a:gd name="T16" fmla="*/ 136 w 360"/>
                  <a:gd name="T17" fmla="*/ 224 h 360"/>
                  <a:gd name="T18" fmla="*/ 136 w 360"/>
                  <a:gd name="T19" fmla="*/ 164 h 360"/>
                  <a:gd name="T20" fmla="*/ 180 w 360"/>
                  <a:gd name="T21" fmla="*/ 164 h 360"/>
                  <a:gd name="T22" fmla="*/ 180 w 360"/>
                  <a:gd name="T23" fmla="*/ 141 h 360"/>
                  <a:gd name="T24" fmla="*/ 248 w 360"/>
                  <a:gd name="T25" fmla="*/ 64 h 360"/>
                  <a:gd name="T26" fmla="*/ 296 w 360"/>
                  <a:gd name="T27" fmla="*/ 64 h 360"/>
                  <a:gd name="T28" fmla="*/ 296 w 360"/>
                  <a:gd name="T29" fmla="*/ 124 h 360"/>
                  <a:gd name="T30" fmla="*/ 248 w 360"/>
                  <a:gd name="T31" fmla="*/ 124 h 360"/>
                  <a:gd name="T32" fmla="*/ 236 w 360"/>
                  <a:gd name="T33" fmla="*/ 140 h 360"/>
                  <a:gd name="T34" fmla="*/ 236 w 360"/>
                  <a:gd name="T35" fmla="*/ 164 h 360"/>
                  <a:gd name="T36" fmla="*/ 296 w 360"/>
                  <a:gd name="T37" fmla="*/ 164 h 360"/>
                  <a:gd name="T38" fmla="*/ 296 w 360"/>
                  <a:gd name="T39" fmla="*/ 224 h 360"/>
                  <a:gd name="T40" fmla="*/ 236 w 360"/>
                  <a:gd name="T41" fmla="*/ 224 h 360"/>
                  <a:gd name="T42" fmla="*/ 236 w 360"/>
                  <a:gd name="T43" fmla="*/ 360 h 360"/>
                  <a:gd name="T44" fmla="*/ 300 w 360"/>
                  <a:gd name="T45" fmla="*/ 360 h 360"/>
                  <a:gd name="T46" fmla="*/ 360 w 360"/>
                  <a:gd name="T47" fmla="*/ 300 h 360"/>
                  <a:gd name="T48" fmla="*/ 360 w 360"/>
                  <a:gd name="T4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0" h="360">
                    <a:moveTo>
                      <a:pt x="360" y="60"/>
                    </a:moveTo>
                    <a:cubicBezTo>
                      <a:pt x="360" y="29"/>
                      <a:pt x="332" y="0"/>
                      <a:pt x="300" y="0"/>
                    </a:cubicBezTo>
                    <a:cubicBezTo>
                      <a:pt x="60" y="0"/>
                      <a:pt x="60" y="0"/>
                      <a:pt x="60" y="0"/>
                    </a:cubicBezTo>
                    <a:cubicBezTo>
                      <a:pt x="28" y="0"/>
                      <a:pt x="0" y="29"/>
                      <a:pt x="0" y="60"/>
                    </a:cubicBezTo>
                    <a:cubicBezTo>
                      <a:pt x="0" y="300"/>
                      <a:pt x="0" y="300"/>
                      <a:pt x="0" y="300"/>
                    </a:cubicBezTo>
                    <a:cubicBezTo>
                      <a:pt x="0" y="332"/>
                      <a:pt x="28" y="360"/>
                      <a:pt x="60" y="360"/>
                    </a:cubicBezTo>
                    <a:cubicBezTo>
                      <a:pt x="180" y="360"/>
                      <a:pt x="180" y="360"/>
                      <a:pt x="180" y="360"/>
                    </a:cubicBezTo>
                    <a:cubicBezTo>
                      <a:pt x="180" y="224"/>
                      <a:pt x="180" y="224"/>
                      <a:pt x="180" y="224"/>
                    </a:cubicBezTo>
                    <a:cubicBezTo>
                      <a:pt x="136" y="224"/>
                      <a:pt x="136" y="224"/>
                      <a:pt x="136" y="224"/>
                    </a:cubicBezTo>
                    <a:cubicBezTo>
                      <a:pt x="136" y="164"/>
                      <a:pt x="136" y="164"/>
                      <a:pt x="136" y="164"/>
                    </a:cubicBezTo>
                    <a:cubicBezTo>
                      <a:pt x="180" y="164"/>
                      <a:pt x="180" y="164"/>
                      <a:pt x="180" y="164"/>
                    </a:cubicBezTo>
                    <a:cubicBezTo>
                      <a:pt x="180" y="141"/>
                      <a:pt x="180" y="141"/>
                      <a:pt x="180" y="141"/>
                    </a:cubicBezTo>
                    <a:cubicBezTo>
                      <a:pt x="180" y="100"/>
                      <a:pt x="210" y="64"/>
                      <a:pt x="248" y="64"/>
                    </a:cubicBezTo>
                    <a:cubicBezTo>
                      <a:pt x="296" y="64"/>
                      <a:pt x="296" y="64"/>
                      <a:pt x="296" y="64"/>
                    </a:cubicBezTo>
                    <a:cubicBezTo>
                      <a:pt x="296" y="124"/>
                      <a:pt x="296" y="124"/>
                      <a:pt x="296" y="124"/>
                    </a:cubicBezTo>
                    <a:cubicBezTo>
                      <a:pt x="248" y="124"/>
                      <a:pt x="248" y="124"/>
                      <a:pt x="248" y="124"/>
                    </a:cubicBezTo>
                    <a:cubicBezTo>
                      <a:pt x="242" y="124"/>
                      <a:pt x="236" y="131"/>
                      <a:pt x="236" y="140"/>
                    </a:cubicBezTo>
                    <a:cubicBezTo>
                      <a:pt x="236" y="164"/>
                      <a:pt x="236" y="164"/>
                      <a:pt x="236" y="164"/>
                    </a:cubicBezTo>
                    <a:cubicBezTo>
                      <a:pt x="296" y="164"/>
                      <a:pt x="296" y="164"/>
                      <a:pt x="296" y="164"/>
                    </a:cubicBezTo>
                    <a:cubicBezTo>
                      <a:pt x="296" y="224"/>
                      <a:pt x="296" y="224"/>
                      <a:pt x="296" y="224"/>
                    </a:cubicBezTo>
                    <a:cubicBezTo>
                      <a:pt x="236" y="224"/>
                      <a:pt x="236" y="224"/>
                      <a:pt x="236" y="224"/>
                    </a:cubicBezTo>
                    <a:cubicBezTo>
                      <a:pt x="236" y="360"/>
                      <a:pt x="236" y="360"/>
                      <a:pt x="236" y="360"/>
                    </a:cubicBezTo>
                    <a:cubicBezTo>
                      <a:pt x="300" y="360"/>
                      <a:pt x="300" y="360"/>
                      <a:pt x="300" y="360"/>
                    </a:cubicBezTo>
                    <a:cubicBezTo>
                      <a:pt x="332" y="360"/>
                      <a:pt x="360" y="332"/>
                      <a:pt x="360" y="300"/>
                    </a:cubicBezTo>
                    <a:lnTo>
                      <a:pt x="360" y="60"/>
                    </a:lnTo>
                    <a:close/>
                  </a:path>
                </a:pathLst>
              </a:custGeom>
              <a:solidFill>
                <a:schemeClr val="accent2"/>
              </a:solidFill>
              <a:ln>
                <a:noFill/>
              </a:ln>
            </p:spPr>
            <p:txBody>
              <a:bodyPr vert="horz" wrap="square" lIns="91440" tIns="45720" rIns="91440" bIns="45720" numCol="1" anchor="t" anchorCtr="0" compatLnSpc="1"/>
              <a:lstStyle/>
              <a:p>
                <a:endParaRPr lang="id-ID">
                  <a:solidFill>
                    <a:schemeClr val="tx1">
                      <a:lumMod val="75000"/>
                      <a:lumOff val="25000"/>
                    </a:schemeClr>
                  </a:solidFill>
                  <a:latin typeface="+mj-lt"/>
                </a:endParaRPr>
              </a:p>
            </p:txBody>
          </p:sp>
          <p:sp>
            <p:nvSpPr>
              <p:cNvPr id="41" name="Freeform 16"/>
              <p:cNvSpPr/>
              <p:nvPr/>
            </p:nvSpPr>
            <p:spPr bwMode="auto">
              <a:xfrm>
                <a:off x="-1725854" y="2181294"/>
                <a:ext cx="277712" cy="225681"/>
              </a:xfrm>
              <a:custGeom>
                <a:avLst/>
                <a:gdLst>
                  <a:gd name="T0" fmla="*/ 368 w 368"/>
                  <a:gd name="T1" fmla="*/ 36 h 299"/>
                  <a:gd name="T2" fmla="*/ 324 w 368"/>
                  <a:gd name="T3" fmla="*/ 48 h 299"/>
                  <a:gd name="T4" fmla="*/ 358 w 368"/>
                  <a:gd name="T5" fmla="*/ 6 h 299"/>
                  <a:gd name="T6" fmla="*/ 310 w 368"/>
                  <a:gd name="T7" fmla="*/ 24 h 299"/>
                  <a:gd name="T8" fmla="*/ 255 w 368"/>
                  <a:gd name="T9" fmla="*/ 0 h 299"/>
                  <a:gd name="T10" fmla="*/ 179 w 368"/>
                  <a:gd name="T11" fmla="*/ 76 h 299"/>
                  <a:gd name="T12" fmla="*/ 181 w 368"/>
                  <a:gd name="T13" fmla="*/ 93 h 299"/>
                  <a:gd name="T14" fmla="*/ 25 w 368"/>
                  <a:gd name="T15" fmla="*/ 14 h 299"/>
                  <a:gd name="T16" fmla="*/ 15 w 368"/>
                  <a:gd name="T17" fmla="*/ 52 h 299"/>
                  <a:gd name="T18" fmla="*/ 49 w 368"/>
                  <a:gd name="T19" fmla="*/ 115 h 299"/>
                  <a:gd name="T20" fmla="*/ 15 w 368"/>
                  <a:gd name="T21" fmla="*/ 106 h 299"/>
                  <a:gd name="T22" fmla="*/ 14 w 368"/>
                  <a:gd name="T23" fmla="*/ 106 h 299"/>
                  <a:gd name="T24" fmla="*/ 75 w 368"/>
                  <a:gd name="T25" fmla="*/ 181 h 299"/>
                  <a:gd name="T26" fmla="*/ 55 w 368"/>
                  <a:gd name="T27" fmla="*/ 183 h 299"/>
                  <a:gd name="T28" fmla="*/ 41 w 368"/>
                  <a:gd name="T29" fmla="*/ 182 h 299"/>
                  <a:gd name="T30" fmla="*/ 111 w 368"/>
                  <a:gd name="T31" fmla="*/ 234 h 299"/>
                  <a:gd name="T32" fmla="*/ 18 w 368"/>
                  <a:gd name="T33" fmla="*/ 267 h 299"/>
                  <a:gd name="T34" fmla="*/ 0 w 368"/>
                  <a:gd name="T35" fmla="*/ 265 h 299"/>
                  <a:gd name="T36" fmla="*/ 115 w 368"/>
                  <a:gd name="T37" fmla="*/ 299 h 299"/>
                  <a:gd name="T38" fmla="*/ 330 w 368"/>
                  <a:gd name="T39" fmla="*/ 85 h 299"/>
                  <a:gd name="T40" fmla="*/ 330 w 368"/>
                  <a:gd name="T41" fmla="*/ 75 h 299"/>
                  <a:gd name="T42" fmla="*/ 368 w 368"/>
                  <a:gd name="T43" fmla="*/ 3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8" h="299">
                    <a:moveTo>
                      <a:pt x="368" y="36"/>
                    </a:moveTo>
                    <a:cubicBezTo>
                      <a:pt x="354" y="42"/>
                      <a:pt x="340" y="46"/>
                      <a:pt x="324" y="48"/>
                    </a:cubicBezTo>
                    <a:cubicBezTo>
                      <a:pt x="340" y="38"/>
                      <a:pt x="352" y="24"/>
                      <a:pt x="358" y="6"/>
                    </a:cubicBezTo>
                    <a:cubicBezTo>
                      <a:pt x="343" y="15"/>
                      <a:pt x="327" y="21"/>
                      <a:pt x="310" y="24"/>
                    </a:cubicBezTo>
                    <a:cubicBezTo>
                      <a:pt x="296" y="10"/>
                      <a:pt x="276" y="0"/>
                      <a:pt x="255" y="0"/>
                    </a:cubicBezTo>
                    <a:cubicBezTo>
                      <a:pt x="213" y="0"/>
                      <a:pt x="179" y="34"/>
                      <a:pt x="179" y="76"/>
                    </a:cubicBezTo>
                    <a:cubicBezTo>
                      <a:pt x="179" y="82"/>
                      <a:pt x="180" y="88"/>
                      <a:pt x="181" y="93"/>
                    </a:cubicBezTo>
                    <a:cubicBezTo>
                      <a:pt x="118" y="90"/>
                      <a:pt x="63" y="60"/>
                      <a:pt x="25" y="14"/>
                    </a:cubicBezTo>
                    <a:cubicBezTo>
                      <a:pt x="19" y="25"/>
                      <a:pt x="15" y="38"/>
                      <a:pt x="15" y="52"/>
                    </a:cubicBezTo>
                    <a:cubicBezTo>
                      <a:pt x="15" y="78"/>
                      <a:pt x="28" y="101"/>
                      <a:pt x="49" y="115"/>
                    </a:cubicBezTo>
                    <a:cubicBezTo>
                      <a:pt x="36" y="115"/>
                      <a:pt x="25" y="111"/>
                      <a:pt x="15" y="106"/>
                    </a:cubicBezTo>
                    <a:cubicBezTo>
                      <a:pt x="14" y="106"/>
                      <a:pt x="14" y="106"/>
                      <a:pt x="14" y="106"/>
                    </a:cubicBezTo>
                    <a:cubicBezTo>
                      <a:pt x="14" y="143"/>
                      <a:pt x="41" y="174"/>
                      <a:pt x="75" y="181"/>
                    </a:cubicBezTo>
                    <a:cubicBezTo>
                      <a:pt x="69" y="182"/>
                      <a:pt x="62" y="183"/>
                      <a:pt x="55" y="183"/>
                    </a:cubicBezTo>
                    <a:cubicBezTo>
                      <a:pt x="50" y="183"/>
                      <a:pt x="46" y="183"/>
                      <a:pt x="41" y="182"/>
                    </a:cubicBezTo>
                    <a:cubicBezTo>
                      <a:pt x="51" y="212"/>
                      <a:pt x="78" y="234"/>
                      <a:pt x="111" y="234"/>
                    </a:cubicBezTo>
                    <a:cubicBezTo>
                      <a:pt x="86" y="254"/>
                      <a:pt x="53" y="267"/>
                      <a:pt x="18" y="267"/>
                    </a:cubicBezTo>
                    <a:cubicBezTo>
                      <a:pt x="12" y="267"/>
                      <a:pt x="6" y="266"/>
                      <a:pt x="0" y="265"/>
                    </a:cubicBezTo>
                    <a:cubicBezTo>
                      <a:pt x="33" y="287"/>
                      <a:pt x="73" y="299"/>
                      <a:pt x="115" y="299"/>
                    </a:cubicBezTo>
                    <a:cubicBezTo>
                      <a:pt x="254" y="299"/>
                      <a:pt x="330" y="184"/>
                      <a:pt x="330" y="85"/>
                    </a:cubicBezTo>
                    <a:cubicBezTo>
                      <a:pt x="330" y="81"/>
                      <a:pt x="330" y="78"/>
                      <a:pt x="330" y="75"/>
                    </a:cubicBezTo>
                    <a:cubicBezTo>
                      <a:pt x="345" y="64"/>
                      <a:pt x="358" y="51"/>
                      <a:pt x="368" y="36"/>
                    </a:cubicBezTo>
                    <a:close/>
                  </a:path>
                </a:pathLst>
              </a:custGeom>
              <a:solidFill>
                <a:schemeClr val="accent2"/>
              </a:solidFill>
              <a:ln>
                <a:noFill/>
              </a:ln>
            </p:spPr>
            <p:txBody>
              <a:bodyPr vert="horz" wrap="square" lIns="91440" tIns="45720" rIns="91440" bIns="45720" numCol="1" anchor="t" anchorCtr="0" compatLnSpc="1"/>
              <a:lstStyle/>
              <a:p>
                <a:endParaRPr lang="en-US" sz="2800" dirty="0">
                  <a:solidFill>
                    <a:schemeClr val="tx1">
                      <a:lumMod val="75000"/>
                      <a:lumOff val="25000"/>
                    </a:schemeClr>
                  </a:solidFill>
                  <a:latin typeface="+mj-lt"/>
                </a:endParaRPr>
              </a:p>
            </p:txBody>
          </p:sp>
        </p:grpSp>
        <p:sp>
          <p:nvSpPr>
            <p:cNvPr id="38" name="Rectangle 37"/>
            <p:cNvSpPr/>
            <p:nvPr/>
          </p:nvSpPr>
          <p:spPr>
            <a:xfrm>
              <a:off x="8528988" y="2403399"/>
              <a:ext cx="1502005" cy="369332"/>
            </a:xfrm>
            <a:prstGeom prst="rect">
              <a:avLst/>
            </a:prstGeom>
          </p:spPr>
          <p:txBody>
            <a:bodyPr wrap="square">
              <a:spAutoFit/>
            </a:bodyPr>
            <a:lstStyle/>
            <a:p>
              <a:pPr>
                <a:buClr>
                  <a:srgbClr val="E24848"/>
                </a:buClr>
                <a:defRPr/>
              </a:pPr>
              <a:r>
                <a:rPr lang="en-US" b="1" noProof="1">
                  <a:solidFill>
                    <a:schemeClr val="tx1">
                      <a:lumMod val="75000"/>
                      <a:lumOff val="25000"/>
                    </a:schemeClr>
                  </a:solidFill>
                  <a:latin typeface="Playfair Display" panose="00000500000000000000" pitchFamily="2" charset="0"/>
                  <a:ea typeface="Open Sans" panose="020B0606030504020204" pitchFamily="34" charset="0"/>
                  <a:cs typeface="Lato" panose="020F0502020204030203" pitchFamily="34" charset="0"/>
                </a:rPr>
                <a:t>Stay </a:t>
              </a:r>
              <a:r>
                <a:rPr lang="en-US" noProof="1">
                  <a:solidFill>
                    <a:schemeClr val="tx1">
                      <a:lumMod val="75000"/>
                      <a:lumOff val="25000"/>
                    </a:schemeClr>
                  </a:solidFill>
                  <a:latin typeface="Playfair Display" panose="00000500000000000000" pitchFamily="2" charset="0"/>
                  <a:ea typeface="Open Sans" panose="020B0606030504020204" pitchFamily="34" charset="0"/>
                  <a:cs typeface="Lato" panose="020F0502020204030203" pitchFamily="34" charset="0"/>
                </a:rPr>
                <a:t>Dee</a:t>
              </a:r>
              <a:endParaRPr lang="en-US" noProof="1">
                <a:solidFill>
                  <a:schemeClr val="tx1">
                    <a:lumMod val="75000"/>
                    <a:lumOff val="25000"/>
                  </a:schemeClr>
                </a:solidFill>
                <a:latin typeface="Playfair Display" panose="00000500000000000000" pitchFamily="2" charset="0"/>
                <a:ea typeface="Open Sans" panose="020B0606030504020204" pitchFamily="34" charset="0"/>
                <a:cs typeface="Lato" panose="020F0502020204030203" pitchFamily="34" charset="0"/>
              </a:endParaRPr>
            </a:p>
          </p:txBody>
        </p:sp>
        <p:grpSp>
          <p:nvGrpSpPr>
            <p:cNvPr id="52" name="Group 51"/>
            <p:cNvGrpSpPr/>
            <p:nvPr/>
          </p:nvGrpSpPr>
          <p:grpSpPr>
            <a:xfrm>
              <a:off x="8643316" y="3901009"/>
              <a:ext cx="1751438" cy="713299"/>
              <a:chOff x="1818179" y="3915769"/>
              <a:chExt cx="1751438" cy="713299"/>
            </a:xfrm>
          </p:grpSpPr>
          <p:sp>
            <p:nvSpPr>
              <p:cNvPr id="53" name="TextBox 52"/>
              <p:cNvSpPr txBox="1"/>
              <p:nvPr/>
            </p:nvSpPr>
            <p:spPr>
              <a:xfrm>
                <a:off x="2956949" y="3915769"/>
                <a:ext cx="612668" cy="369332"/>
              </a:xfrm>
              <a:prstGeom prst="rect">
                <a:avLst/>
              </a:prstGeom>
              <a:noFill/>
            </p:spPr>
            <p:txBody>
              <a:bodyPr wrap="none" rtlCol="0">
                <a:spAutoFit/>
              </a:bodyPr>
              <a:lstStyle/>
              <a:p>
                <a:pPr algn="r"/>
                <a:r>
                  <a:rPr lang="en-US" dirty="0">
                    <a:solidFill>
                      <a:schemeClr val="tx1">
                        <a:lumMod val="65000"/>
                        <a:lumOff val="35000"/>
                      </a:schemeClr>
                    </a:solidFill>
                    <a:latin typeface="Roboto" panose="02000000000000000000" pitchFamily="2" charset="0"/>
                    <a:ea typeface="Roboto" panose="02000000000000000000" pitchFamily="2" charset="0"/>
                  </a:rPr>
                  <a:t>90%</a:t>
                </a:r>
                <a:endParaRPr lang="en-US" dirty="0">
                  <a:solidFill>
                    <a:schemeClr val="tx1">
                      <a:lumMod val="65000"/>
                      <a:lumOff val="35000"/>
                    </a:schemeClr>
                  </a:solidFill>
                  <a:latin typeface="Roboto" panose="02000000000000000000" pitchFamily="2" charset="0"/>
                  <a:ea typeface="Roboto" panose="02000000000000000000" pitchFamily="2" charset="0"/>
                </a:endParaRPr>
              </a:p>
            </p:txBody>
          </p:sp>
          <p:sp>
            <p:nvSpPr>
              <p:cNvPr id="54" name="Rounded Rectangle 53"/>
              <p:cNvSpPr/>
              <p:nvPr/>
            </p:nvSpPr>
            <p:spPr>
              <a:xfrm>
                <a:off x="1818180" y="4354747"/>
                <a:ext cx="1751437" cy="274320"/>
              </a:xfrm>
              <a:prstGeom prst="roundRect">
                <a:avLst/>
              </a:prstGeom>
              <a:solidFill>
                <a:schemeClr val="bg1">
                  <a:lumMod val="8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900" dirty="0">
                    <a:solidFill>
                      <a:schemeClr val="tx1">
                        <a:lumMod val="65000"/>
                        <a:lumOff val="35000"/>
                      </a:schemeClr>
                    </a:solidFill>
                    <a:latin typeface="Roboto" panose="02000000000000000000" pitchFamily="2" charset="0"/>
                    <a:ea typeface="Roboto" panose="02000000000000000000" pitchFamily="2" charset="0"/>
                  </a:rPr>
                  <a:t>950,20k</a:t>
                </a:r>
                <a:endParaRPr lang="en-US" sz="900" dirty="0">
                  <a:solidFill>
                    <a:schemeClr val="tx1">
                      <a:lumMod val="65000"/>
                      <a:lumOff val="35000"/>
                    </a:schemeClr>
                  </a:solidFill>
                  <a:latin typeface="Roboto" panose="02000000000000000000" pitchFamily="2" charset="0"/>
                  <a:ea typeface="Roboto" panose="02000000000000000000" pitchFamily="2" charset="0"/>
                </a:endParaRPr>
              </a:p>
            </p:txBody>
          </p:sp>
          <p:sp>
            <p:nvSpPr>
              <p:cNvPr id="55" name="Rounded Rectangle 54"/>
              <p:cNvSpPr/>
              <p:nvPr/>
            </p:nvSpPr>
            <p:spPr>
              <a:xfrm>
                <a:off x="1818179" y="4354748"/>
                <a:ext cx="1078533" cy="27432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1200" dirty="0">
                  <a:solidFill>
                    <a:schemeClr val="bg1"/>
                  </a:solidFill>
                </a:endParaRPr>
              </a:p>
            </p:txBody>
          </p:sp>
        </p:grpSp>
      </p:grpSp>
      <p:grpSp>
        <p:nvGrpSpPr>
          <p:cNvPr id="6" name="Group 5"/>
          <p:cNvGrpSpPr/>
          <p:nvPr/>
        </p:nvGrpSpPr>
        <p:grpSpPr>
          <a:xfrm>
            <a:off x="597872" y="2437706"/>
            <a:ext cx="2082367" cy="2380128"/>
            <a:chOff x="1573838" y="2234180"/>
            <a:chExt cx="2082367" cy="2380128"/>
          </a:xfrm>
        </p:grpSpPr>
        <p:sp>
          <p:nvSpPr>
            <p:cNvPr id="27" name="Rectangle 26"/>
            <p:cNvSpPr/>
            <p:nvPr/>
          </p:nvSpPr>
          <p:spPr>
            <a:xfrm>
              <a:off x="1573838" y="2821908"/>
              <a:ext cx="2082367" cy="723331"/>
            </a:xfrm>
            <a:prstGeom prst="rect">
              <a:avLst/>
            </a:prstGeom>
          </p:spPr>
          <p:txBody>
            <a:bodyPr wrap="square">
              <a:noAutofit/>
            </a:bodyPr>
            <a:lstStyle/>
            <a:p>
              <a:pPr algn="r">
                <a:buClr>
                  <a:srgbClr val="E24848"/>
                </a:buClr>
                <a:defRPr/>
              </a:pPr>
              <a:r>
                <a:rPr lang="en-US" sz="1000" noProof="1">
                  <a:solidFill>
                    <a:schemeClr val="tx1">
                      <a:lumMod val="75000"/>
                      <a:lumOff val="25000"/>
                    </a:schemeClr>
                  </a:solidFill>
                  <a:latin typeface="+mj-lt"/>
                  <a:cs typeface="Arial" panose="020B0604020202020204" pitchFamily="34" charset="0"/>
                </a:rPr>
                <a:t>Lorem ipsum dolor sit amet consectetur adipiscing elit. Nunc enim sem, commodo a rhoncus sit amet, elementum ut mi. </a:t>
              </a:r>
              <a:endParaRPr lang="en-US" sz="1000" noProof="1">
                <a:solidFill>
                  <a:schemeClr val="tx1">
                    <a:lumMod val="75000"/>
                    <a:lumOff val="25000"/>
                  </a:schemeClr>
                </a:solidFill>
                <a:latin typeface="+mj-lt"/>
                <a:cs typeface="Arial" panose="020B0604020202020204" pitchFamily="34" charset="0"/>
              </a:endParaRPr>
            </a:p>
          </p:txBody>
        </p:sp>
        <p:sp>
          <p:nvSpPr>
            <p:cNvPr id="28" name="Rectangle 34"/>
            <p:cNvSpPr>
              <a:spLocks noChangeArrowheads="1"/>
            </p:cNvSpPr>
            <p:nvPr/>
          </p:nvSpPr>
          <p:spPr bwMode="auto">
            <a:xfrm>
              <a:off x="2144508" y="2234180"/>
              <a:ext cx="151169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a:buClr>
                  <a:srgbClr val="E24848"/>
                </a:buClr>
              </a:pPr>
              <a:r>
                <a:rPr lang="en-US" sz="1100" noProof="1">
                  <a:solidFill>
                    <a:schemeClr val="tx1">
                      <a:lumMod val="75000"/>
                      <a:lumOff val="25000"/>
                    </a:schemeClr>
                  </a:solidFill>
                  <a:latin typeface="Playfair Display" panose="00000500000000000000" pitchFamily="2" charset="0"/>
                  <a:ea typeface="Arial" panose="020B0604020202020204" pitchFamily="34" charset="0"/>
                  <a:cs typeface="Lato" panose="020F0502020204030203" pitchFamily="34" charset="0"/>
                </a:rPr>
                <a:t>Designer </a:t>
              </a:r>
              <a:endParaRPr lang="en-US" sz="1100" noProof="1">
                <a:solidFill>
                  <a:schemeClr val="tx1">
                    <a:lumMod val="75000"/>
                    <a:lumOff val="25000"/>
                  </a:schemeClr>
                </a:solidFill>
                <a:latin typeface="Playfair Display" panose="00000500000000000000" pitchFamily="2" charset="0"/>
                <a:ea typeface="Arial" panose="020B0604020202020204" pitchFamily="34" charset="0"/>
                <a:cs typeface="Lato" panose="020F0502020204030203" pitchFamily="34" charset="0"/>
              </a:endParaRPr>
            </a:p>
          </p:txBody>
        </p:sp>
        <p:grpSp>
          <p:nvGrpSpPr>
            <p:cNvPr id="29" name="Group 28"/>
            <p:cNvGrpSpPr/>
            <p:nvPr/>
          </p:nvGrpSpPr>
          <p:grpSpPr>
            <a:xfrm>
              <a:off x="2888621" y="3636799"/>
              <a:ext cx="680996" cy="164272"/>
              <a:chOff x="-2421436" y="2172193"/>
              <a:chExt cx="973294" cy="234782"/>
            </a:xfrm>
            <a:solidFill>
              <a:schemeClr val="accent1"/>
            </a:solidFill>
          </p:grpSpPr>
          <p:sp>
            <p:nvSpPr>
              <p:cNvPr id="30" name="Freeform 9"/>
              <p:cNvSpPr>
                <a:spLocks noEditPoints="1"/>
              </p:cNvSpPr>
              <p:nvPr/>
            </p:nvSpPr>
            <p:spPr bwMode="auto">
              <a:xfrm>
                <a:off x="-2421436" y="2172193"/>
                <a:ext cx="230025" cy="230294"/>
              </a:xfrm>
              <a:custGeom>
                <a:avLst/>
                <a:gdLst>
                  <a:gd name="T0" fmla="*/ 333 w 360"/>
                  <a:gd name="T1" fmla="*/ 0 h 360"/>
                  <a:gd name="T2" fmla="*/ 26 w 360"/>
                  <a:gd name="T3" fmla="*/ 0 h 360"/>
                  <a:gd name="T4" fmla="*/ 0 w 360"/>
                  <a:gd name="T5" fmla="*/ 25 h 360"/>
                  <a:gd name="T6" fmla="*/ 0 w 360"/>
                  <a:gd name="T7" fmla="*/ 334 h 360"/>
                  <a:gd name="T8" fmla="*/ 26 w 360"/>
                  <a:gd name="T9" fmla="*/ 360 h 360"/>
                  <a:gd name="T10" fmla="*/ 333 w 360"/>
                  <a:gd name="T11" fmla="*/ 360 h 360"/>
                  <a:gd name="T12" fmla="*/ 360 w 360"/>
                  <a:gd name="T13" fmla="*/ 334 h 360"/>
                  <a:gd name="T14" fmla="*/ 360 w 360"/>
                  <a:gd name="T15" fmla="*/ 25 h 360"/>
                  <a:gd name="T16" fmla="*/ 333 w 360"/>
                  <a:gd name="T17" fmla="*/ 0 h 360"/>
                  <a:gd name="T18" fmla="*/ 109 w 360"/>
                  <a:gd name="T19" fmla="*/ 301 h 360"/>
                  <a:gd name="T20" fmla="*/ 54 w 360"/>
                  <a:gd name="T21" fmla="*/ 301 h 360"/>
                  <a:gd name="T22" fmla="*/ 54 w 360"/>
                  <a:gd name="T23" fmla="*/ 138 h 360"/>
                  <a:gd name="T24" fmla="*/ 109 w 360"/>
                  <a:gd name="T25" fmla="*/ 138 h 360"/>
                  <a:gd name="T26" fmla="*/ 109 w 360"/>
                  <a:gd name="T27" fmla="*/ 301 h 360"/>
                  <a:gd name="T28" fmla="*/ 82 w 360"/>
                  <a:gd name="T29" fmla="*/ 116 h 360"/>
                  <a:gd name="T30" fmla="*/ 81 w 360"/>
                  <a:gd name="T31" fmla="*/ 116 h 360"/>
                  <a:gd name="T32" fmla="*/ 51 w 360"/>
                  <a:gd name="T33" fmla="*/ 88 h 360"/>
                  <a:gd name="T34" fmla="*/ 82 w 360"/>
                  <a:gd name="T35" fmla="*/ 60 h 360"/>
                  <a:gd name="T36" fmla="*/ 112 w 360"/>
                  <a:gd name="T37" fmla="*/ 88 h 360"/>
                  <a:gd name="T38" fmla="*/ 82 w 360"/>
                  <a:gd name="T39" fmla="*/ 116 h 360"/>
                  <a:gd name="T40" fmla="*/ 305 w 360"/>
                  <a:gd name="T41" fmla="*/ 301 h 360"/>
                  <a:gd name="T42" fmla="*/ 251 w 360"/>
                  <a:gd name="T43" fmla="*/ 301 h 360"/>
                  <a:gd name="T44" fmla="*/ 251 w 360"/>
                  <a:gd name="T45" fmla="*/ 214 h 360"/>
                  <a:gd name="T46" fmla="*/ 223 w 360"/>
                  <a:gd name="T47" fmla="*/ 177 h 360"/>
                  <a:gd name="T48" fmla="*/ 195 w 360"/>
                  <a:gd name="T49" fmla="*/ 197 h 360"/>
                  <a:gd name="T50" fmla="*/ 193 w 360"/>
                  <a:gd name="T51" fmla="*/ 210 h 360"/>
                  <a:gd name="T52" fmla="*/ 193 w 360"/>
                  <a:gd name="T53" fmla="*/ 301 h 360"/>
                  <a:gd name="T54" fmla="*/ 139 w 360"/>
                  <a:gd name="T55" fmla="*/ 301 h 360"/>
                  <a:gd name="T56" fmla="*/ 139 w 360"/>
                  <a:gd name="T57" fmla="*/ 138 h 360"/>
                  <a:gd name="T58" fmla="*/ 193 w 360"/>
                  <a:gd name="T59" fmla="*/ 138 h 360"/>
                  <a:gd name="T60" fmla="*/ 193 w 360"/>
                  <a:gd name="T61" fmla="*/ 161 h 360"/>
                  <a:gd name="T62" fmla="*/ 242 w 360"/>
                  <a:gd name="T63" fmla="*/ 135 h 360"/>
                  <a:gd name="T64" fmla="*/ 305 w 360"/>
                  <a:gd name="T65" fmla="*/ 208 h 360"/>
                  <a:gd name="T66" fmla="*/ 305 w 360"/>
                  <a:gd name="T67" fmla="*/ 301 h 360"/>
                  <a:gd name="T68" fmla="*/ 193 w 360"/>
                  <a:gd name="T69" fmla="*/ 162 h 360"/>
                  <a:gd name="T70" fmla="*/ 193 w 360"/>
                  <a:gd name="T71" fmla="*/ 161 h 360"/>
                  <a:gd name="T72" fmla="*/ 193 w 360"/>
                  <a:gd name="T73" fmla="*/ 16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0" h="360">
                    <a:moveTo>
                      <a:pt x="333" y="0"/>
                    </a:moveTo>
                    <a:cubicBezTo>
                      <a:pt x="26" y="0"/>
                      <a:pt x="26" y="0"/>
                      <a:pt x="26" y="0"/>
                    </a:cubicBezTo>
                    <a:cubicBezTo>
                      <a:pt x="12" y="0"/>
                      <a:pt x="0" y="11"/>
                      <a:pt x="0" y="25"/>
                    </a:cubicBezTo>
                    <a:cubicBezTo>
                      <a:pt x="0" y="334"/>
                      <a:pt x="0" y="334"/>
                      <a:pt x="0" y="334"/>
                    </a:cubicBezTo>
                    <a:cubicBezTo>
                      <a:pt x="0" y="348"/>
                      <a:pt x="12" y="360"/>
                      <a:pt x="26" y="360"/>
                    </a:cubicBezTo>
                    <a:cubicBezTo>
                      <a:pt x="333" y="360"/>
                      <a:pt x="333" y="360"/>
                      <a:pt x="333" y="360"/>
                    </a:cubicBezTo>
                    <a:cubicBezTo>
                      <a:pt x="348" y="360"/>
                      <a:pt x="360" y="348"/>
                      <a:pt x="360" y="334"/>
                    </a:cubicBezTo>
                    <a:cubicBezTo>
                      <a:pt x="360" y="25"/>
                      <a:pt x="360" y="25"/>
                      <a:pt x="360" y="25"/>
                    </a:cubicBezTo>
                    <a:cubicBezTo>
                      <a:pt x="360" y="11"/>
                      <a:pt x="348" y="0"/>
                      <a:pt x="333" y="0"/>
                    </a:cubicBezTo>
                    <a:close/>
                    <a:moveTo>
                      <a:pt x="109" y="301"/>
                    </a:moveTo>
                    <a:cubicBezTo>
                      <a:pt x="54" y="301"/>
                      <a:pt x="54" y="301"/>
                      <a:pt x="54" y="301"/>
                    </a:cubicBezTo>
                    <a:cubicBezTo>
                      <a:pt x="54" y="138"/>
                      <a:pt x="54" y="138"/>
                      <a:pt x="54" y="138"/>
                    </a:cubicBezTo>
                    <a:cubicBezTo>
                      <a:pt x="109" y="138"/>
                      <a:pt x="109" y="138"/>
                      <a:pt x="109" y="138"/>
                    </a:cubicBezTo>
                    <a:lnTo>
                      <a:pt x="109" y="301"/>
                    </a:lnTo>
                    <a:close/>
                    <a:moveTo>
                      <a:pt x="82" y="116"/>
                    </a:moveTo>
                    <a:cubicBezTo>
                      <a:pt x="81" y="116"/>
                      <a:pt x="81" y="116"/>
                      <a:pt x="81" y="116"/>
                    </a:cubicBezTo>
                    <a:cubicBezTo>
                      <a:pt x="63" y="116"/>
                      <a:pt x="51" y="104"/>
                      <a:pt x="51" y="88"/>
                    </a:cubicBezTo>
                    <a:cubicBezTo>
                      <a:pt x="51" y="72"/>
                      <a:pt x="63" y="60"/>
                      <a:pt x="82" y="60"/>
                    </a:cubicBezTo>
                    <a:cubicBezTo>
                      <a:pt x="101" y="60"/>
                      <a:pt x="112" y="72"/>
                      <a:pt x="112" y="88"/>
                    </a:cubicBezTo>
                    <a:cubicBezTo>
                      <a:pt x="112" y="104"/>
                      <a:pt x="101" y="116"/>
                      <a:pt x="82" y="116"/>
                    </a:cubicBezTo>
                    <a:close/>
                    <a:moveTo>
                      <a:pt x="305" y="301"/>
                    </a:moveTo>
                    <a:cubicBezTo>
                      <a:pt x="251" y="301"/>
                      <a:pt x="251" y="301"/>
                      <a:pt x="251" y="301"/>
                    </a:cubicBezTo>
                    <a:cubicBezTo>
                      <a:pt x="251" y="214"/>
                      <a:pt x="251" y="214"/>
                      <a:pt x="251" y="214"/>
                    </a:cubicBezTo>
                    <a:cubicBezTo>
                      <a:pt x="251" y="192"/>
                      <a:pt x="243" y="177"/>
                      <a:pt x="223" y="177"/>
                    </a:cubicBezTo>
                    <a:cubicBezTo>
                      <a:pt x="208" y="177"/>
                      <a:pt x="199" y="187"/>
                      <a:pt x="195" y="197"/>
                    </a:cubicBezTo>
                    <a:cubicBezTo>
                      <a:pt x="194" y="200"/>
                      <a:pt x="193" y="205"/>
                      <a:pt x="193" y="210"/>
                    </a:cubicBezTo>
                    <a:cubicBezTo>
                      <a:pt x="193" y="301"/>
                      <a:pt x="193" y="301"/>
                      <a:pt x="193" y="301"/>
                    </a:cubicBezTo>
                    <a:cubicBezTo>
                      <a:pt x="139" y="301"/>
                      <a:pt x="139" y="301"/>
                      <a:pt x="139" y="301"/>
                    </a:cubicBezTo>
                    <a:cubicBezTo>
                      <a:pt x="139" y="301"/>
                      <a:pt x="140" y="154"/>
                      <a:pt x="139" y="138"/>
                    </a:cubicBezTo>
                    <a:cubicBezTo>
                      <a:pt x="193" y="138"/>
                      <a:pt x="193" y="138"/>
                      <a:pt x="193" y="138"/>
                    </a:cubicBezTo>
                    <a:cubicBezTo>
                      <a:pt x="193" y="161"/>
                      <a:pt x="193" y="161"/>
                      <a:pt x="193" y="161"/>
                    </a:cubicBezTo>
                    <a:cubicBezTo>
                      <a:pt x="201" y="150"/>
                      <a:pt x="213" y="135"/>
                      <a:pt x="242" y="135"/>
                    </a:cubicBezTo>
                    <a:cubicBezTo>
                      <a:pt x="278" y="135"/>
                      <a:pt x="305" y="158"/>
                      <a:pt x="305" y="208"/>
                    </a:cubicBezTo>
                    <a:lnTo>
                      <a:pt x="305" y="301"/>
                    </a:lnTo>
                    <a:close/>
                    <a:moveTo>
                      <a:pt x="193" y="162"/>
                    </a:moveTo>
                    <a:cubicBezTo>
                      <a:pt x="193" y="162"/>
                      <a:pt x="193" y="162"/>
                      <a:pt x="193" y="161"/>
                    </a:cubicBezTo>
                    <a:cubicBezTo>
                      <a:pt x="193" y="162"/>
                      <a:pt x="193" y="162"/>
                      <a:pt x="193" y="162"/>
                    </a:cubicBezTo>
                    <a:close/>
                  </a:path>
                </a:pathLst>
              </a:custGeom>
              <a:grpFill/>
              <a:ln>
                <a:noFill/>
              </a:ln>
            </p:spPr>
            <p:txBody>
              <a:bodyPr vert="horz" wrap="square" lIns="91440" tIns="45720" rIns="91440" bIns="45720" numCol="1" anchor="t" anchorCtr="0" compatLnSpc="1"/>
              <a:lstStyle/>
              <a:p>
                <a:pPr algn="r"/>
                <a:endParaRPr lang="id-ID">
                  <a:solidFill>
                    <a:schemeClr val="tx1">
                      <a:lumMod val="75000"/>
                      <a:lumOff val="25000"/>
                    </a:schemeClr>
                  </a:solidFill>
                  <a:latin typeface="+mj-lt"/>
                </a:endParaRPr>
              </a:p>
            </p:txBody>
          </p:sp>
          <p:sp>
            <p:nvSpPr>
              <p:cNvPr id="31" name="Freeform 13"/>
              <p:cNvSpPr/>
              <p:nvPr/>
            </p:nvSpPr>
            <p:spPr bwMode="auto">
              <a:xfrm>
                <a:off x="-2085373" y="2181102"/>
                <a:ext cx="221553" cy="221811"/>
              </a:xfrm>
              <a:custGeom>
                <a:avLst/>
                <a:gdLst>
                  <a:gd name="T0" fmla="*/ 360 w 360"/>
                  <a:gd name="T1" fmla="*/ 60 h 360"/>
                  <a:gd name="T2" fmla="*/ 300 w 360"/>
                  <a:gd name="T3" fmla="*/ 0 h 360"/>
                  <a:gd name="T4" fmla="*/ 60 w 360"/>
                  <a:gd name="T5" fmla="*/ 0 h 360"/>
                  <a:gd name="T6" fmla="*/ 0 w 360"/>
                  <a:gd name="T7" fmla="*/ 60 h 360"/>
                  <a:gd name="T8" fmla="*/ 0 w 360"/>
                  <a:gd name="T9" fmla="*/ 300 h 360"/>
                  <a:gd name="T10" fmla="*/ 60 w 360"/>
                  <a:gd name="T11" fmla="*/ 360 h 360"/>
                  <a:gd name="T12" fmla="*/ 180 w 360"/>
                  <a:gd name="T13" fmla="*/ 360 h 360"/>
                  <a:gd name="T14" fmla="*/ 180 w 360"/>
                  <a:gd name="T15" fmla="*/ 224 h 360"/>
                  <a:gd name="T16" fmla="*/ 136 w 360"/>
                  <a:gd name="T17" fmla="*/ 224 h 360"/>
                  <a:gd name="T18" fmla="*/ 136 w 360"/>
                  <a:gd name="T19" fmla="*/ 164 h 360"/>
                  <a:gd name="T20" fmla="*/ 180 w 360"/>
                  <a:gd name="T21" fmla="*/ 164 h 360"/>
                  <a:gd name="T22" fmla="*/ 180 w 360"/>
                  <a:gd name="T23" fmla="*/ 141 h 360"/>
                  <a:gd name="T24" fmla="*/ 248 w 360"/>
                  <a:gd name="T25" fmla="*/ 64 h 360"/>
                  <a:gd name="T26" fmla="*/ 296 w 360"/>
                  <a:gd name="T27" fmla="*/ 64 h 360"/>
                  <a:gd name="T28" fmla="*/ 296 w 360"/>
                  <a:gd name="T29" fmla="*/ 124 h 360"/>
                  <a:gd name="T30" fmla="*/ 248 w 360"/>
                  <a:gd name="T31" fmla="*/ 124 h 360"/>
                  <a:gd name="T32" fmla="*/ 236 w 360"/>
                  <a:gd name="T33" fmla="*/ 140 h 360"/>
                  <a:gd name="T34" fmla="*/ 236 w 360"/>
                  <a:gd name="T35" fmla="*/ 164 h 360"/>
                  <a:gd name="T36" fmla="*/ 296 w 360"/>
                  <a:gd name="T37" fmla="*/ 164 h 360"/>
                  <a:gd name="T38" fmla="*/ 296 w 360"/>
                  <a:gd name="T39" fmla="*/ 224 h 360"/>
                  <a:gd name="T40" fmla="*/ 236 w 360"/>
                  <a:gd name="T41" fmla="*/ 224 h 360"/>
                  <a:gd name="T42" fmla="*/ 236 w 360"/>
                  <a:gd name="T43" fmla="*/ 360 h 360"/>
                  <a:gd name="T44" fmla="*/ 300 w 360"/>
                  <a:gd name="T45" fmla="*/ 360 h 360"/>
                  <a:gd name="T46" fmla="*/ 360 w 360"/>
                  <a:gd name="T47" fmla="*/ 300 h 360"/>
                  <a:gd name="T48" fmla="*/ 360 w 360"/>
                  <a:gd name="T4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0" h="360">
                    <a:moveTo>
                      <a:pt x="360" y="60"/>
                    </a:moveTo>
                    <a:cubicBezTo>
                      <a:pt x="360" y="29"/>
                      <a:pt x="332" y="0"/>
                      <a:pt x="300" y="0"/>
                    </a:cubicBezTo>
                    <a:cubicBezTo>
                      <a:pt x="60" y="0"/>
                      <a:pt x="60" y="0"/>
                      <a:pt x="60" y="0"/>
                    </a:cubicBezTo>
                    <a:cubicBezTo>
                      <a:pt x="28" y="0"/>
                      <a:pt x="0" y="29"/>
                      <a:pt x="0" y="60"/>
                    </a:cubicBezTo>
                    <a:cubicBezTo>
                      <a:pt x="0" y="300"/>
                      <a:pt x="0" y="300"/>
                      <a:pt x="0" y="300"/>
                    </a:cubicBezTo>
                    <a:cubicBezTo>
                      <a:pt x="0" y="332"/>
                      <a:pt x="28" y="360"/>
                      <a:pt x="60" y="360"/>
                    </a:cubicBezTo>
                    <a:cubicBezTo>
                      <a:pt x="180" y="360"/>
                      <a:pt x="180" y="360"/>
                      <a:pt x="180" y="360"/>
                    </a:cubicBezTo>
                    <a:cubicBezTo>
                      <a:pt x="180" y="224"/>
                      <a:pt x="180" y="224"/>
                      <a:pt x="180" y="224"/>
                    </a:cubicBezTo>
                    <a:cubicBezTo>
                      <a:pt x="136" y="224"/>
                      <a:pt x="136" y="224"/>
                      <a:pt x="136" y="224"/>
                    </a:cubicBezTo>
                    <a:cubicBezTo>
                      <a:pt x="136" y="164"/>
                      <a:pt x="136" y="164"/>
                      <a:pt x="136" y="164"/>
                    </a:cubicBezTo>
                    <a:cubicBezTo>
                      <a:pt x="180" y="164"/>
                      <a:pt x="180" y="164"/>
                      <a:pt x="180" y="164"/>
                    </a:cubicBezTo>
                    <a:cubicBezTo>
                      <a:pt x="180" y="141"/>
                      <a:pt x="180" y="141"/>
                      <a:pt x="180" y="141"/>
                    </a:cubicBezTo>
                    <a:cubicBezTo>
                      <a:pt x="180" y="100"/>
                      <a:pt x="210" y="64"/>
                      <a:pt x="248" y="64"/>
                    </a:cubicBezTo>
                    <a:cubicBezTo>
                      <a:pt x="296" y="64"/>
                      <a:pt x="296" y="64"/>
                      <a:pt x="296" y="64"/>
                    </a:cubicBezTo>
                    <a:cubicBezTo>
                      <a:pt x="296" y="124"/>
                      <a:pt x="296" y="124"/>
                      <a:pt x="296" y="124"/>
                    </a:cubicBezTo>
                    <a:cubicBezTo>
                      <a:pt x="248" y="124"/>
                      <a:pt x="248" y="124"/>
                      <a:pt x="248" y="124"/>
                    </a:cubicBezTo>
                    <a:cubicBezTo>
                      <a:pt x="242" y="124"/>
                      <a:pt x="236" y="131"/>
                      <a:pt x="236" y="140"/>
                    </a:cubicBezTo>
                    <a:cubicBezTo>
                      <a:pt x="236" y="164"/>
                      <a:pt x="236" y="164"/>
                      <a:pt x="236" y="164"/>
                    </a:cubicBezTo>
                    <a:cubicBezTo>
                      <a:pt x="296" y="164"/>
                      <a:pt x="296" y="164"/>
                      <a:pt x="296" y="164"/>
                    </a:cubicBezTo>
                    <a:cubicBezTo>
                      <a:pt x="296" y="224"/>
                      <a:pt x="296" y="224"/>
                      <a:pt x="296" y="224"/>
                    </a:cubicBezTo>
                    <a:cubicBezTo>
                      <a:pt x="236" y="224"/>
                      <a:pt x="236" y="224"/>
                      <a:pt x="236" y="224"/>
                    </a:cubicBezTo>
                    <a:cubicBezTo>
                      <a:pt x="236" y="360"/>
                      <a:pt x="236" y="360"/>
                      <a:pt x="236" y="360"/>
                    </a:cubicBezTo>
                    <a:cubicBezTo>
                      <a:pt x="300" y="360"/>
                      <a:pt x="300" y="360"/>
                      <a:pt x="300" y="360"/>
                    </a:cubicBezTo>
                    <a:cubicBezTo>
                      <a:pt x="332" y="360"/>
                      <a:pt x="360" y="332"/>
                      <a:pt x="360" y="300"/>
                    </a:cubicBezTo>
                    <a:lnTo>
                      <a:pt x="360" y="60"/>
                    </a:lnTo>
                    <a:close/>
                  </a:path>
                </a:pathLst>
              </a:custGeom>
              <a:grpFill/>
              <a:ln>
                <a:noFill/>
              </a:ln>
            </p:spPr>
            <p:txBody>
              <a:bodyPr vert="horz" wrap="square" lIns="91440" tIns="45720" rIns="91440" bIns="45720" numCol="1" anchor="t" anchorCtr="0" compatLnSpc="1"/>
              <a:lstStyle/>
              <a:p>
                <a:pPr algn="r"/>
                <a:endParaRPr lang="id-ID">
                  <a:solidFill>
                    <a:schemeClr val="tx1">
                      <a:lumMod val="75000"/>
                      <a:lumOff val="25000"/>
                    </a:schemeClr>
                  </a:solidFill>
                  <a:latin typeface="+mj-lt"/>
                </a:endParaRPr>
              </a:p>
            </p:txBody>
          </p:sp>
          <p:sp>
            <p:nvSpPr>
              <p:cNvPr id="32" name="Freeform 16"/>
              <p:cNvSpPr/>
              <p:nvPr/>
            </p:nvSpPr>
            <p:spPr bwMode="auto">
              <a:xfrm>
                <a:off x="-1725854" y="2181294"/>
                <a:ext cx="277712" cy="225681"/>
              </a:xfrm>
              <a:custGeom>
                <a:avLst/>
                <a:gdLst>
                  <a:gd name="T0" fmla="*/ 368 w 368"/>
                  <a:gd name="T1" fmla="*/ 36 h 299"/>
                  <a:gd name="T2" fmla="*/ 324 w 368"/>
                  <a:gd name="T3" fmla="*/ 48 h 299"/>
                  <a:gd name="T4" fmla="*/ 358 w 368"/>
                  <a:gd name="T5" fmla="*/ 6 h 299"/>
                  <a:gd name="T6" fmla="*/ 310 w 368"/>
                  <a:gd name="T7" fmla="*/ 24 h 299"/>
                  <a:gd name="T8" fmla="*/ 255 w 368"/>
                  <a:gd name="T9" fmla="*/ 0 h 299"/>
                  <a:gd name="T10" fmla="*/ 179 w 368"/>
                  <a:gd name="T11" fmla="*/ 76 h 299"/>
                  <a:gd name="T12" fmla="*/ 181 w 368"/>
                  <a:gd name="T13" fmla="*/ 93 h 299"/>
                  <a:gd name="T14" fmla="*/ 25 w 368"/>
                  <a:gd name="T15" fmla="*/ 14 h 299"/>
                  <a:gd name="T16" fmla="*/ 15 w 368"/>
                  <a:gd name="T17" fmla="*/ 52 h 299"/>
                  <a:gd name="T18" fmla="*/ 49 w 368"/>
                  <a:gd name="T19" fmla="*/ 115 h 299"/>
                  <a:gd name="T20" fmla="*/ 15 w 368"/>
                  <a:gd name="T21" fmla="*/ 106 h 299"/>
                  <a:gd name="T22" fmla="*/ 14 w 368"/>
                  <a:gd name="T23" fmla="*/ 106 h 299"/>
                  <a:gd name="T24" fmla="*/ 75 w 368"/>
                  <a:gd name="T25" fmla="*/ 181 h 299"/>
                  <a:gd name="T26" fmla="*/ 55 w 368"/>
                  <a:gd name="T27" fmla="*/ 183 h 299"/>
                  <a:gd name="T28" fmla="*/ 41 w 368"/>
                  <a:gd name="T29" fmla="*/ 182 h 299"/>
                  <a:gd name="T30" fmla="*/ 111 w 368"/>
                  <a:gd name="T31" fmla="*/ 234 h 299"/>
                  <a:gd name="T32" fmla="*/ 18 w 368"/>
                  <a:gd name="T33" fmla="*/ 267 h 299"/>
                  <a:gd name="T34" fmla="*/ 0 w 368"/>
                  <a:gd name="T35" fmla="*/ 265 h 299"/>
                  <a:gd name="T36" fmla="*/ 115 w 368"/>
                  <a:gd name="T37" fmla="*/ 299 h 299"/>
                  <a:gd name="T38" fmla="*/ 330 w 368"/>
                  <a:gd name="T39" fmla="*/ 85 h 299"/>
                  <a:gd name="T40" fmla="*/ 330 w 368"/>
                  <a:gd name="T41" fmla="*/ 75 h 299"/>
                  <a:gd name="T42" fmla="*/ 368 w 368"/>
                  <a:gd name="T43" fmla="*/ 3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8" h="299">
                    <a:moveTo>
                      <a:pt x="368" y="36"/>
                    </a:moveTo>
                    <a:cubicBezTo>
                      <a:pt x="354" y="42"/>
                      <a:pt x="340" y="46"/>
                      <a:pt x="324" y="48"/>
                    </a:cubicBezTo>
                    <a:cubicBezTo>
                      <a:pt x="340" y="38"/>
                      <a:pt x="352" y="24"/>
                      <a:pt x="358" y="6"/>
                    </a:cubicBezTo>
                    <a:cubicBezTo>
                      <a:pt x="343" y="15"/>
                      <a:pt x="327" y="21"/>
                      <a:pt x="310" y="24"/>
                    </a:cubicBezTo>
                    <a:cubicBezTo>
                      <a:pt x="296" y="10"/>
                      <a:pt x="276" y="0"/>
                      <a:pt x="255" y="0"/>
                    </a:cubicBezTo>
                    <a:cubicBezTo>
                      <a:pt x="213" y="0"/>
                      <a:pt x="179" y="34"/>
                      <a:pt x="179" y="76"/>
                    </a:cubicBezTo>
                    <a:cubicBezTo>
                      <a:pt x="179" y="82"/>
                      <a:pt x="180" y="88"/>
                      <a:pt x="181" y="93"/>
                    </a:cubicBezTo>
                    <a:cubicBezTo>
                      <a:pt x="118" y="90"/>
                      <a:pt x="63" y="60"/>
                      <a:pt x="25" y="14"/>
                    </a:cubicBezTo>
                    <a:cubicBezTo>
                      <a:pt x="19" y="25"/>
                      <a:pt x="15" y="38"/>
                      <a:pt x="15" y="52"/>
                    </a:cubicBezTo>
                    <a:cubicBezTo>
                      <a:pt x="15" y="78"/>
                      <a:pt x="28" y="101"/>
                      <a:pt x="49" y="115"/>
                    </a:cubicBezTo>
                    <a:cubicBezTo>
                      <a:pt x="36" y="115"/>
                      <a:pt x="25" y="111"/>
                      <a:pt x="15" y="106"/>
                    </a:cubicBezTo>
                    <a:cubicBezTo>
                      <a:pt x="14" y="106"/>
                      <a:pt x="14" y="106"/>
                      <a:pt x="14" y="106"/>
                    </a:cubicBezTo>
                    <a:cubicBezTo>
                      <a:pt x="14" y="143"/>
                      <a:pt x="41" y="174"/>
                      <a:pt x="75" y="181"/>
                    </a:cubicBezTo>
                    <a:cubicBezTo>
                      <a:pt x="69" y="182"/>
                      <a:pt x="62" y="183"/>
                      <a:pt x="55" y="183"/>
                    </a:cubicBezTo>
                    <a:cubicBezTo>
                      <a:pt x="50" y="183"/>
                      <a:pt x="46" y="183"/>
                      <a:pt x="41" y="182"/>
                    </a:cubicBezTo>
                    <a:cubicBezTo>
                      <a:pt x="51" y="212"/>
                      <a:pt x="78" y="234"/>
                      <a:pt x="111" y="234"/>
                    </a:cubicBezTo>
                    <a:cubicBezTo>
                      <a:pt x="86" y="254"/>
                      <a:pt x="53" y="267"/>
                      <a:pt x="18" y="267"/>
                    </a:cubicBezTo>
                    <a:cubicBezTo>
                      <a:pt x="12" y="267"/>
                      <a:pt x="6" y="266"/>
                      <a:pt x="0" y="265"/>
                    </a:cubicBezTo>
                    <a:cubicBezTo>
                      <a:pt x="33" y="287"/>
                      <a:pt x="73" y="299"/>
                      <a:pt x="115" y="299"/>
                    </a:cubicBezTo>
                    <a:cubicBezTo>
                      <a:pt x="254" y="299"/>
                      <a:pt x="330" y="184"/>
                      <a:pt x="330" y="85"/>
                    </a:cubicBezTo>
                    <a:cubicBezTo>
                      <a:pt x="330" y="81"/>
                      <a:pt x="330" y="78"/>
                      <a:pt x="330" y="75"/>
                    </a:cubicBezTo>
                    <a:cubicBezTo>
                      <a:pt x="345" y="64"/>
                      <a:pt x="358" y="51"/>
                      <a:pt x="368" y="36"/>
                    </a:cubicBezTo>
                    <a:close/>
                  </a:path>
                </a:pathLst>
              </a:custGeom>
              <a:grpFill/>
              <a:ln>
                <a:noFill/>
              </a:ln>
            </p:spPr>
            <p:txBody>
              <a:bodyPr vert="horz" wrap="square" lIns="91440" tIns="45720" rIns="91440" bIns="45720" numCol="1" anchor="t" anchorCtr="0" compatLnSpc="1"/>
              <a:lstStyle/>
              <a:p>
                <a:pPr algn="r"/>
                <a:endParaRPr lang="en-US" sz="2800" dirty="0">
                  <a:solidFill>
                    <a:schemeClr val="tx1">
                      <a:lumMod val="75000"/>
                      <a:lumOff val="25000"/>
                    </a:schemeClr>
                  </a:solidFill>
                  <a:latin typeface="+mj-lt"/>
                </a:endParaRPr>
              </a:p>
            </p:txBody>
          </p:sp>
        </p:grpSp>
        <p:sp>
          <p:nvSpPr>
            <p:cNvPr id="33" name="Rectangle 32"/>
            <p:cNvSpPr/>
            <p:nvPr/>
          </p:nvSpPr>
          <p:spPr>
            <a:xfrm>
              <a:off x="2154200" y="2438971"/>
              <a:ext cx="1502005" cy="369332"/>
            </a:xfrm>
            <a:prstGeom prst="rect">
              <a:avLst/>
            </a:prstGeom>
          </p:spPr>
          <p:txBody>
            <a:bodyPr wrap="square">
              <a:spAutoFit/>
            </a:bodyPr>
            <a:lstStyle/>
            <a:p>
              <a:pPr algn="r">
                <a:buClr>
                  <a:srgbClr val="E24848"/>
                </a:buClr>
                <a:defRPr/>
              </a:pPr>
              <a:r>
                <a:rPr lang="en-US" b="1" noProof="1">
                  <a:solidFill>
                    <a:schemeClr val="tx1">
                      <a:lumMod val="75000"/>
                      <a:lumOff val="25000"/>
                    </a:schemeClr>
                  </a:solidFill>
                  <a:latin typeface="Playfair Display" panose="00000500000000000000" pitchFamily="2" charset="0"/>
                  <a:ea typeface="Open Sans" panose="020B0606030504020204" pitchFamily="34" charset="0"/>
                  <a:cs typeface="Lato" panose="020F0502020204030203" pitchFamily="34" charset="0"/>
                </a:rPr>
                <a:t>Matuy </a:t>
              </a:r>
              <a:r>
                <a:rPr lang="en-US" noProof="1">
                  <a:solidFill>
                    <a:schemeClr val="tx1">
                      <a:lumMod val="75000"/>
                      <a:lumOff val="25000"/>
                    </a:schemeClr>
                  </a:solidFill>
                  <a:latin typeface="Playfair Display" panose="00000500000000000000" pitchFamily="2" charset="0"/>
                  <a:ea typeface="Open Sans" panose="020B0606030504020204" pitchFamily="34" charset="0"/>
                  <a:cs typeface="Lato" panose="020F0502020204030203" pitchFamily="34" charset="0"/>
                </a:rPr>
                <a:t>Dee</a:t>
              </a:r>
              <a:endParaRPr lang="en-US" noProof="1">
                <a:solidFill>
                  <a:schemeClr val="tx1">
                    <a:lumMod val="75000"/>
                    <a:lumOff val="25000"/>
                  </a:schemeClr>
                </a:solidFill>
                <a:latin typeface="Playfair Display" panose="00000500000000000000" pitchFamily="2" charset="0"/>
                <a:ea typeface="Open Sans" panose="020B0606030504020204" pitchFamily="34" charset="0"/>
                <a:cs typeface="Lato" panose="020F0502020204030203" pitchFamily="34" charset="0"/>
              </a:endParaRPr>
            </a:p>
          </p:txBody>
        </p:sp>
        <p:grpSp>
          <p:nvGrpSpPr>
            <p:cNvPr id="48" name="Group 47"/>
            <p:cNvGrpSpPr/>
            <p:nvPr/>
          </p:nvGrpSpPr>
          <p:grpSpPr>
            <a:xfrm flipH="1">
              <a:off x="1722483" y="3901009"/>
              <a:ext cx="1751437" cy="713299"/>
              <a:chOff x="1818180" y="3915769"/>
              <a:chExt cx="1751437" cy="713299"/>
            </a:xfrm>
          </p:grpSpPr>
          <p:sp>
            <p:nvSpPr>
              <p:cNvPr id="49" name="TextBox 48"/>
              <p:cNvSpPr txBox="1"/>
              <p:nvPr/>
            </p:nvSpPr>
            <p:spPr>
              <a:xfrm>
                <a:off x="2956949" y="3915769"/>
                <a:ext cx="612668" cy="369332"/>
              </a:xfrm>
              <a:prstGeom prst="rect">
                <a:avLst/>
              </a:prstGeom>
              <a:noFill/>
            </p:spPr>
            <p:txBody>
              <a:bodyPr wrap="none" rtlCol="0">
                <a:spAutoFit/>
              </a:bodyPr>
              <a:lstStyle/>
              <a:p>
                <a:r>
                  <a:rPr lang="en-US" dirty="0">
                    <a:solidFill>
                      <a:schemeClr val="tx1">
                        <a:lumMod val="65000"/>
                        <a:lumOff val="35000"/>
                      </a:schemeClr>
                    </a:solidFill>
                    <a:latin typeface="Roboto" panose="02000000000000000000" pitchFamily="2" charset="0"/>
                    <a:ea typeface="Roboto" panose="02000000000000000000" pitchFamily="2" charset="0"/>
                  </a:rPr>
                  <a:t>90%</a:t>
                </a:r>
                <a:endParaRPr lang="en-US" dirty="0">
                  <a:solidFill>
                    <a:schemeClr val="tx1">
                      <a:lumMod val="65000"/>
                      <a:lumOff val="35000"/>
                    </a:schemeClr>
                  </a:solidFill>
                  <a:latin typeface="Roboto" panose="02000000000000000000" pitchFamily="2" charset="0"/>
                  <a:ea typeface="Roboto" panose="02000000000000000000" pitchFamily="2" charset="0"/>
                </a:endParaRPr>
              </a:p>
            </p:txBody>
          </p:sp>
          <p:sp>
            <p:nvSpPr>
              <p:cNvPr id="50" name="Rounded Rectangle 49"/>
              <p:cNvSpPr/>
              <p:nvPr/>
            </p:nvSpPr>
            <p:spPr>
              <a:xfrm>
                <a:off x="1818180" y="4354747"/>
                <a:ext cx="1751437" cy="274320"/>
              </a:xfrm>
              <a:prstGeom prst="roundRect">
                <a:avLst/>
              </a:prstGeom>
              <a:solidFill>
                <a:schemeClr val="bg1">
                  <a:lumMod val="8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chemeClr val="tx1">
                        <a:lumMod val="65000"/>
                        <a:lumOff val="35000"/>
                      </a:schemeClr>
                    </a:solidFill>
                    <a:latin typeface="Roboto" panose="02000000000000000000" pitchFamily="2" charset="0"/>
                    <a:ea typeface="Roboto" panose="02000000000000000000" pitchFamily="2" charset="0"/>
                  </a:rPr>
                  <a:t>950,20k</a:t>
                </a:r>
                <a:endParaRPr lang="en-US" sz="900" dirty="0">
                  <a:solidFill>
                    <a:schemeClr val="tx1">
                      <a:lumMod val="65000"/>
                      <a:lumOff val="35000"/>
                    </a:schemeClr>
                  </a:solidFill>
                  <a:latin typeface="Roboto" panose="02000000000000000000" pitchFamily="2" charset="0"/>
                  <a:ea typeface="Roboto" panose="02000000000000000000" pitchFamily="2" charset="0"/>
                </a:endParaRPr>
              </a:p>
            </p:txBody>
          </p:sp>
          <p:sp>
            <p:nvSpPr>
              <p:cNvPr id="51" name="Rounded Rectangle 50"/>
              <p:cNvSpPr/>
              <p:nvPr/>
            </p:nvSpPr>
            <p:spPr>
              <a:xfrm>
                <a:off x="1818180" y="4354748"/>
                <a:ext cx="457200" cy="27432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bg1"/>
                  </a:solidFill>
                </a:endParaRPr>
              </a:p>
            </p:txBody>
          </p:sp>
        </p:grpSp>
      </p:grpSp>
      <p:sp>
        <p:nvSpPr>
          <p:cNvPr id="68" name="Title 1"/>
          <p:cNvSpPr txBox="1"/>
          <p:nvPr/>
        </p:nvSpPr>
        <p:spPr>
          <a:xfrm>
            <a:off x="3919551" y="644336"/>
            <a:ext cx="4352898"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3600" b="1" spc="-151" dirty="0">
                <a:solidFill>
                  <a:schemeClr val="accent1"/>
                </a:solidFill>
                <a:latin typeface="Playfair Display" panose="00000500000000000000" pitchFamily="2" charset="0"/>
                <a:ea typeface="Open Sans" panose="020B0606030504020204" pitchFamily="34" charset="0"/>
                <a:cs typeface="Lato" panose="020F0502020204030203" pitchFamily="34" charset="0"/>
              </a:rPr>
              <a:t>Meet </a:t>
            </a:r>
            <a:r>
              <a:rPr lang="en-US" sz="3600"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The Team</a:t>
            </a:r>
            <a:endParaRPr lang="en-US" sz="3600"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69" name="Rectangle 68"/>
          <p:cNvSpPr/>
          <p:nvPr/>
        </p:nvSpPr>
        <p:spPr>
          <a:xfrm>
            <a:off x="5017995" y="1290667"/>
            <a:ext cx="2156010" cy="261610"/>
          </a:xfrm>
          <a:prstGeom prst="rect">
            <a:avLst/>
          </a:prstGeom>
        </p:spPr>
        <p:txBody>
          <a:bodyPr wrap="square">
            <a:spAutoFit/>
          </a:bodyPr>
          <a:lstStyle/>
          <a:p>
            <a:pPr algn="ctr">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Tree>
  </p:cSld>
  <p:clrMapOvr>
    <a:masterClrMapping/>
  </p:clrMapOvr>
  <p:transition spd="slow" advClick="0" advTm="0">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占位符 7"/>
          <p:cNvPicPr>
            <a:picLocks noGrp="1" noChangeAspect="1"/>
          </p:cNvPicPr>
          <p:nvPr>
            <p:ph type="pic" sz="quarter" idx="13"/>
          </p:nvPr>
        </p:nvPicPr>
        <p:blipFill>
          <a:blip r:embed="rId1" cstate="screen"/>
          <a:srcRect/>
          <a:stretch>
            <a:fillRect/>
          </a:stretch>
        </p:blipFill>
        <p:spPr>
          <a:xfrm>
            <a:off x="0" y="0"/>
            <a:ext cx="12192000" cy="6858000"/>
          </a:xfrm>
        </p:spPr>
      </p:pic>
      <p:sp>
        <p:nvSpPr>
          <p:cNvPr id="3" name="Title 1"/>
          <p:cNvSpPr txBox="1"/>
          <p:nvPr/>
        </p:nvSpPr>
        <p:spPr>
          <a:xfrm>
            <a:off x="1486010" y="1996130"/>
            <a:ext cx="4352898"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6000" b="1" spc="-151" dirty="0">
                <a:solidFill>
                  <a:schemeClr val="accent1"/>
                </a:solidFill>
                <a:latin typeface="Playfair Display" panose="00000500000000000000" pitchFamily="2" charset="0"/>
                <a:ea typeface="Open Sans" panose="020B0606030504020204" pitchFamily="34" charset="0"/>
                <a:cs typeface="Lato" panose="020F0502020204030203" pitchFamily="34" charset="0"/>
              </a:rPr>
              <a:t>Part  </a:t>
            </a:r>
            <a:r>
              <a:rPr lang="en-US" sz="6000" b="1"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Three </a:t>
            </a:r>
            <a:endParaRPr lang="en-US" sz="6000" b="1"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4" name="Rectangle 3"/>
          <p:cNvSpPr/>
          <p:nvPr/>
        </p:nvSpPr>
        <p:spPr>
          <a:xfrm>
            <a:off x="1603189" y="1647107"/>
            <a:ext cx="2156010" cy="261610"/>
          </a:xfrm>
          <a:prstGeom prst="rect">
            <a:avLst/>
          </a:prstGeom>
        </p:spPr>
        <p:txBody>
          <a:bodyPr wrap="square">
            <a:spAutoFit/>
          </a:bodyPr>
          <a:lstStyle/>
          <a:p>
            <a:pPr>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cxnSp>
        <p:nvCxnSpPr>
          <p:cNvPr id="45" name="Straight Connector 44"/>
          <p:cNvCxnSpPr/>
          <p:nvPr/>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sp>
        <p:nvSpPr>
          <p:cNvPr id="31" name="Rectangle 30"/>
          <p:cNvSpPr/>
          <p:nvPr/>
        </p:nvSpPr>
        <p:spPr>
          <a:xfrm>
            <a:off x="5956087" y="1575012"/>
            <a:ext cx="3381135" cy="1015663"/>
          </a:xfrm>
          <a:prstGeom prst="rect">
            <a:avLst/>
          </a:prstGeom>
        </p:spPr>
        <p:txBody>
          <a:bodyPr wrap="square">
            <a:spAutoFit/>
          </a:bodyPr>
          <a:lstStyle/>
          <a:p>
            <a:pPr>
              <a:buClr>
                <a:srgbClr val="E24848"/>
              </a:buClr>
            </a:pPr>
            <a:r>
              <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Nam auctorLorem ipsum</a:t>
            </a:r>
            <a:endPar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grpSp>
        <p:nvGrpSpPr>
          <p:cNvPr id="32" name="Group 31"/>
          <p:cNvGrpSpPr/>
          <p:nvPr/>
        </p:nvGrpSpPr>
        <p:grpSpPr>
          <a:xfrm flipV="1">
            <a:off x="-762640" y="3114720"/>
            <a:ext cx="11131907" cy="4708479"/>
            <a:chOff x="-110315" y="-141204"/>
            <a:chExt cx="1656388" cy="700605"/>
          </a:xfrm>
        </p:grpSpPr>
        <p:sp>
          <p:nvSpPr>
            <p:cNvPr id="33" name="Freeform 32"/>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accent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4" name="Freeform 33"/>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cSld>
  <p:clrMapOvr>
    <a:masterClrMapping/>
  </p:clrMapOvr>
  <p:transition spd="slow" advClick="0" advTm="0">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p:nvPr/>
        </p:nvSpPr>
        <p:spPr>
          <a:xfrm>
            <a:off x="904902" y="644336"/>
            <a:ext cx="4352898"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3600" b="1"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Our </a:t>
            </a:r>
            <a:r>
              <a:rPr lang="en-US" sz="3600" spc="-151" dirty="0">
                <a:solidFill>
                  <a:schemeClr val="accent1"/>
                </a:solidFill>
                <a:latin typeface="Playfair Display" panose="00000500000000000000" pitchFamily="2" charset="0"/>
                <a:ea typeface="Open Sans" panose="020B0606030504020204" pitchFamily="34" charset="0"/>
                <a:cs typeface="Lato" panose="020F0502020204030203" pitchFamily="34" charset="0"/>
              </a:rPr>
              <a:t>Analysis</a:t>
            </a:r>
            <a:endParaRPr lang="en-US" sz="3600" spc="-151" dirty="0">
              <a:solidFill>
                <a:schemeClr val="accent1"/>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4" name="Rectangle 3"/>
          <p:cNvSpPr/>
          <p:nvPr/>
        </p:nvSpPr>
        <p:spPr>
          <a:xfrm>
            <a:off x="958692" y="1290667"/>
            <a:ext cx="2156010" cy="261610"/>
          </a:xfrm>
          <a:prstGeom prst="rect">
            <a:avLst/>
          </a:prstGeom>
        </p:spPr>
        <p:txBody>
          <a:bodyPr wrap="square">
            <a:spAutoFit/>
          </a:bodyPr>
          <a:lstStyle/>
          <a:p>
            <a:pPr>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sp>
        <p:nvSpPr>
          <p:cNvPr id="11" name="Title 11"/>
          <p:cNvSpPr txBox="1"/>
          <p:nvPr/>
        </p:nvSpPr>
        <p:spPr>
          <a:xfrm>
            <a:off x="5297446" y="3805210"/>
            <a:ext cx="1583299" cy="401321"/>
          </a:xfrm>
          <a:prstGeom prst="rect">
            <a:avLst/>
          </a:prstGeom>
        </p:spPr>
        <p:txBody>
          <a:bodyPr vert="horz" wrap="square"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800"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ANALYSIS</a:t>
            </a:r>
            <a:endParaRPr lang="en-US" sz="1800"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grpSp>
        <p:nvGrpSpPr>
          <p:cNvPr id="12" name="Group 11"/>
          <p:cNvGrpSpPr/>
          <p:nvPr/>
        </p:nvGrpSpPr>
        <p:grpSpPr>
          <a:xfrm>
            <a:off x="3992098" y="2690135"/>
            <a:ext cx="4495027" cy="2230150"/>
            <a:chOff x="2073274" y="4119570"/>
            <a:chExt cx="2671761" cy="1325565"/>
          </a:xfrm>
        </p:grpSpPr>
        <p:sp>
          <p:nvSpPr>
            <p:cNvPr id="13" name="Freeform 642"/>
            <p:cNvSpPr/>
            <p:nvPr/>
          </p:nvSpPr>
          <p:spPr bwMode="auto">
            <a:xfrm>
              <a:off x="2109787" y="5205422"/>
              <a:ext cx="2601911" cy="239713"/>
            </a:xfrm>
            <a:custGeom>
              <a:avLst/>
              <a:gdLst>
                <a:gd name="T0" fmla="*/ 0 w 4917"/>
                <a:gd name="T1" fmla="*/ 0 h 453"/>
                <a:gd name="T2" fmla="*/ 0 w 4917"/>
                <a:gd name="T3" fmla="*/ 0 h 453"/>
                <a:gd name="T4" fmla="*/ 8 w 4917"/>
                <a:gd name="T5" fmla="*/ 6 h 453"/>
                <a:gd name="T6" fmla="*/ 32 w 4917"/>
                <a:gd name="T7" fmla="*/ 20 h 453"/>
                <a:gd name="T8" fmla="*/ 72 w 4917"/>
                <a:gd name="T9" fmla="*/ 42 h 453"/>
                <a:gd name="T10" fmla="*/ 129 w 4917"/>
                <a:gd name="T11" fmla="*/ 71 h 453"/>
                <a:gd name="T12" fmla="*/ 165 w 4917"/>
                <a:gd name="T13" fmla="*/ 89 h 453"/>
                <a:gd name="T14" fmla="*/ 204 w 4917"/>
                <a:gd name="T15" fmla="*/ 106 h 453"/>
                <a:gd name="T16" fmla="*/ 248 w 4917"/>
                <a:gd name="T17" fmla="*/ 125 h 453"/>
                <a:gd name="T18" fmla="*/ 296 w 4917"/>
                <a:gd name="T19" fmla="*/ 144 h 453"/>
                <a:gd name="T20" fmla="*/ 350 w 4917"/>
                <a:gd name="T21" fmla="*/ 165 h 453"/>
                <a:gd name="T22" fmla="*/ 407 w 4917"/>
                <a:gd name="T23" fmla="*/ 185 h 453"/>
                <a:gd name="T24" fmla="*/ 470 w 4917"/>
                <a:gd name="T25" fmla="*/ 206 h 453"/>
                <a:gd name="T26" fmla="*/ 538 w 4917"/>
                <a:gd name="T27" fmla="*/ 228 h 453"/>
                <a:gd name="T28" fmla="*/ 611 w 4917"/>
                <a:gd name="T29" fmla="*/ 249 h 453"/>
                <a:gd name="T30" fmla="*/ 688 w 4917"/>
                <a:gd name="T31" fmla="*/ 269 h 453"/>
                <a:gd name="T32" fmla="*/ 771 w 4917"/>
                <a:gd name="T33" fmla="*/ 291 h 453"/>
                <a:gd name="T34" fmla="*/ 858 w 4917"/>
                <a:gd name="T35" fmla="*/ 311 h 453"/>
                <a:gd name="T36" fmla="*/ 952 w 4917"/>
                <a:gd name="T37" fmla="*/ 331 h 453"/>
                <a:gd name="T38" fmla="*/ 1050 w 4917"/>
                <a:gd name="T39" fmla="*/ 350 h 453"/>
                <a:gd name="T40" fmla="*/ 1153 w 4917"/>
                <a:gd name="T41" fmla="*/ 367 h 453"/>
                <a:gd name="T42" fmla="*/ 1263 w 4917"/>
                <a:gd name="T43" fmla="*/ 383 h 453"/>
                <a:gd name="T44" fmla="*/ 1377 w 4917"/>
                <a:gd name="T45" fmla="*/ 399 h 453"/>
                <a:gd name="T46" fmla="*/ 1497 w 4917"/>
                <a:gd name="T47" fmla="*/ 413 h 453"/>
                <a:gd name="T48" fmla="*/ 1623 w 4917"/>
                <a:gd name="T49" fmla="*/ 425 h 453"/>
                <a:gd name="T50" fmla="*/ 1754 w 4917"/>
                <a:gd name="T51" fmla="*/ 434 h 453"/>
                <a:gd name="T52" fmla="*/ 1891 w 4917"/>
                <a:gd name="T53" fmla="*/ 442 h 453"/>
                <a:gd name="T54" fmla="*/ 2034 w 4917"/>
                <a:gd name="T55" fmla="*/ 449 h 453"/>
                <a:gd name="T56" fmla="*/ 2183 w 4917"/>
                <a:gd name="T57" fmla="*/ 451 h 453"/>
                <a:gd name="T58" fmla="*/ 2338 w 4917"/>
                <a:gd name="T59" fmla="*/ 453 h 453"/>
                <a:gd name="T60" fmla="*/ 2338 w 4917"/>
                <a:gd name="T61" fmla="*/ 453 h 453"/>
                <a:gd name="T62" fmla="*/ 2493 w 4917"/>
                <a:gd name="T63" fmla="*/ 451 h 453"/>
                <a:gd name="T64" fmla="*/ 2645 w 4917"/>
                <a:gd name="T65" fmla="*/ 449 h 453"/>
                <a:gd name="T66" fmla="*/ 2791 w 4917"/>
                <a:gd name="T67" fmla="*/ 445 h 453"/>
                <a:gd name="T68" fmla="*/ 2933 w 4917"/>
                <a:gd name="T69" fmla="*/ 439 h 453"/>
                <a:gd name="T70" fmla="*/ 3069 w 4917"/>
                <a:gd name="T71" fmla="*/ 431 h 453"/>
                <a:gd name="T72" fmla="*/ 3200 w 4917"/>
                <a:gd name="T73" fmla="*/ 423 h 453"/>
                <a:gd name="T74" fmla="*/ 3329 w 4917"/>
                <a:gd name="T75" fmla="*/ 414 h 453"/>
                <a:gd name="T76" fmla="*/ 3451 w 4917"/>
                <a:gd name="T77" fmla="*/ 403 h 453"/>
                <a:gd name="T78" fmla="*/ 3569 w 4917"/>
                <a:gd name="T79" fmla="*/ 391 h 453"/>
                <a:gd name="T80" fmla="*/ 3682 w 4917"/>
                <a:gd name="T81" fmla="*/ 379 h 453"/>
                <a:gd name="T82" fmla="*/ 3790 w 4917"/>
                <a:gd name="T83" fmla="*/ 367 h 453"/>
                <a:gd name="T84" fmla="*/ 3894 w 4917"/>
                <a:gd name="T85" fmla="*/ 352 h 453"/>
                <a:gd name="T86" fmla="*/ 3992 w 4917"/>
                <a:gd name="T87" fmla="*/ 339 h 453"/>
                <a:gd name="T88" fmla="*/ 4085 w 4917"/>
                <a:gd name="T89" fmla="*/ 324 h 453"/>
                <a:gd name="T90" fmla="*/ 4175 w 4917"/>
                <a:gd name="T91" fmla="*/ 311 h 453"/>
                <a:gd name="T92" fmla="*/ 4258 w 4917"/>
                <a:gd name="T93" fmla="*/ 296 h 453"/>
                <a:gd name="T94" fmla="*/ 4337 w 4917"/>
                <a:gd name="T95" fmla="*/ 281 h 453"/>
                <a:gd name="T96" fmla="*/ 4411 w 4917"/>
                <a:gd name="T97" fmla="*/ 267 h 453"/>
                <a:gd name="T98" fmla="*/ 4545 w 4917"/>
                <a:gd name="T99" fmla="*/ 239 h 453"/>
                <a:gd name="T100" fmla="*/ 4657 w 4917"/>
                <a:gd name="T101" fmla="*/ 212 h 453"/>
                <a:gd name="T102" fmla="*/ 4750 w 4917"/>
                <a:gd name="T103" fmla="*/ 189 h 453"/>
                <a:gd name="T104" fmla="*/ 4823 w 4917"/>
                <a:gd name="T105" fmla="*/ 169 h 453"/>
                <a:gd name="T106" fmla="*/ 4874 w 4917"/>
                <a:gd name="T107" fmla="*/ 154 h 453"/>
                <a:gd name="T108" fmla="*/ 4917 w 4917"/>
                <a:gd name="T109" fmla="*/ 141 h 453"/>
                <a:gd name="T110" fmla="*/ 0 w 4917"/>
                <a:gd name="T111" fmla="*/ 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17" h="453">
                  <a:moveTo>
                    <a:pt x="0" y="0"/>
                  </a:moveTo>
                  <a:lnTo>
                    <a:pt x="0" y="0"/>
                  </a:lnTo>
                  <a:lnTo>
                    <a:pt x="8" y="6"/>
                  </a:lnTo>
                  <a:lnTo>
                    <a:pt x="32" y="20"/>
                  </a:lnTo>
                  <a:lnTo>
                    <a:pt x="72" y="42"/>
                  </a:lnTo>
                  <a:lnTo>
                    <a:pt x="129" y="71"/>
                  </a:lnTo>
                  <a:lnTo>
                    <a:pt x="165" y="89"/>
                  </a:lnTo>
                  <a:lnTo>
                    <a:pt x="204" y="106"/>
                  </a:lnTo>
                  <a:lnTo>
                    <a:pt x="248" y="125"/>
                  </a:lnTo>
                  <a:lnTo>
                    <a:pt x="296" y="144"/>
                  </a:lnTo>
                  <a:lnTo>
                    <a:pt x="350" y="165"/>
                  </a:lnTo>
                  <a:lnTo>
                    <a:pt x="407" y="185"/>
                  </a:lnTo>
                  <a:lnTo>
                    <a:pt x="470" y="206"/>
                  </a:lnTo>
                  <a:lnTo>
                    <a:pt x="538" y="228"/>
                  </a:lnTo>
                  <a:lnTo>
                    <a:pt x="611" y="249"/>
                  </a:lnTo>
                  <a:lnTo>
                    <a:pt x="688" y="269"/>
                  </a:lnTo>
                  <a:lnTo>
                    <a:pt x="771" y="291"/>
                  </a:lnTo>
                  <a:lnTo>
                    <a:pt x="858" y="311"/>
                  </a:lnTo>
                  <a:lnTo>
                    <a:pt x="952" y="331"/>
                  </a:lnTo>
                  <a:lnTo>
                    <a:pt x="1050" y="350"/>
                  </a:lnTo>
                  <a:lnTo>
                    <a:pt x="1153" y="367"/>
                  </a:lnTo>
                  <a:lnTo>
                    <a:pt x="1263" y="383"/>
                  </a:lnTo>
                  <a:lnTo>
                    <a:pt x="1377" y="399"/>
                  </a:lnTo>
                  <a:lnTo>
                    <a:pt x="1497" y="413"/>
                  </a:lnTo>
                  <a:lnTo>
                    <a:pt x="1623" y="425"/>
                  </a:lnTo>
                  <a:lnTo>
                    <a:pt x="1754" y="434"/>
                  </a:lnTo>
                  <a:lnTo>
                    <a:pt x="1891" y="442"/>
                  </a:lnTo>
                  <a:lnTo>
                    <a:pt x="2034" y="449"/>
                  </a:lnTo>
                  <a:lnTo>
                    <a:pt x="2183" y="451"/>
                  </a:lnTo>
                  <a:lnTo>
                    <a:pt x="2338" y="453"/>
                  </a:lnTo>
                  <a:lnTo>
                    <a:pt x="2338" y="453"/>
                  </a:lnTo>
                  <a:lnTo>
                    <a:pt x="2493" y="451"/>
                  </a:lnTo>
                  <a:lnTo>
                    <a:pt x="2645" y="449"/>
                  </a:lnTo>
                  <a:lnTo>
                    <a:pt x="2791" y="445"/>
                  </a:lnTo>
                  <a:lnTo>
                    <a:pt x="2933" y="439"/>
                  </a:lnTo>
                  <a:lnTo>
                    <a:pt x="3069" y="431"/>
                  </a:lnTo>
                  <a:lnTo>
                    <a:pt x="3200" y="423"/>
                  </a:lnTo>
                  <a:lnTo>
                    <a:pt x="3329" y="414"/>
                  </a:lnTo>
                  <a:lnTo>
                    <a:pt x="3451" y="403"/>
                  </a:lnTo>
                  <a:lnTo>
                    <a:pt x="3569" y="391"/>
                  </a:lnTo>
                  <a:lnTo>
                    <a:pt x="3682" y="379"/>
                  </a:lnTo>
                  <a:lnTo>
                    <a:pt x="3790" y="367"/>
                  </a:lnTo>
                  <a:lnTo>
                    <a:pt x="3894" y="352"/>
                  </a:lnTo>
                  <a:lnTo>
                    <a:pt x="3992" y="339"/>
                  </a:lnTo>
                  <a:lnTo>
                    <a:pt x="4085" y="324"/>
                  </a:lnTo>
                  <a:lnTo>
                    <a:pt x="4175" y="311"/>
                  </a:lnTo>
                  <a:lnTo>
                    <a:pt x="4258" y="296"/>
                  </a:lnTo>
                  <a:lnTo>
                    <a:pt x="4337" y="281"/>
                  </a:lnTo>
                  <a:lnTo>
                    <a:pt x="4411" y="267"/>
                  </a:lnTo>
                  <a:lnTo>
                    <a:pt x="4545" y="239"/>
                  </a:lnTo>
                  <a:lnTo>
                    <a:pt x="4657" y="212"/>
                  </a:lnTo>
                  <a:lnTo>
                    <a:pt x="4750" y="189"/>
                  </a:lnTo>
                  <a:lnTo>
                    <a:pt x="4823" y="169"/>
                  </a:lnTo>
                  <a:lnTo>
                    <a:pt x="4874" y="154"/>
                  </a:lnTo>
                  <a:lnTo>
                    <a:pt x="4917" y="141"/>
                  </a:lnTo>
                  <a:lnTo>
                    <a:pt x="0" y="0"/>
                  </a:lnTo>
                  <a:close/>
                </a:path>
              </a:pathLst>
            </a:custGeom>
            <a:solidFill>
              <a:srgbClr val="B9B33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 name="Freeform 643"/>
            <p:cNvSpPr/>
            <p:nvPr/>
          </p:nvSpPr>
          <p:spPr bwMode="auto">
            <a:xfrm>
              <a:off x="2073274" y="4159258"/>
              <a:ext cx="2671761" cy="1108077"/>
            </a:xfrm>
            <a:custGeom>
              <a:avLst/>
              <a:gdLst>
                <a:gd name="T0" fmla="*/ 4802 w 5049"/>
                <a:gd name="T1" fmla="*/ 2093 h 2093"/>
                <a:gd name="T2" fmla="*/ 4860 w 5049"/>
                <a:gd name="T3" fmla="*/ 2022 h 2093"/>
                <a:gd name="T4" fmla="*/ 4927 w 5049"/>
                <a:gd name="T5" fmla="*/ 1918 h 2093"/>
                <a:gd name="T6" fmla="*/ 4985 w 5049"/>
                <a:gd name="T7" fmla="*/ 1803 h 2093"/>
                <a:gd name="T8" fmla="*/ 5013 w 5049"/>
                <a:gd name="T9" fmla="*/ 1722 h 2093"/>
                <a:gd name="T10" fmla="*/ 5036 w 5049"/>
                <a:gd name="T11" fmla="*/ 1635 h 2093"/>
                <a:gd name="T12" fmla="*/ 5048 w 5049"/>
                <a:gd name="T13" fmla="*/ 1540 h 2093"/>
                <a:gd name="T14" fmla="*/ 5048 w 5049"/>
                <a:gd name="T15" fmla="*/ 1440 h 2093"/>
                <a:gd name="T16" fmla="*/ 5034 w 5049"/>
                <a:gd name="T17" fmla="*/ 1335 h 2093"/>
                <a:gd name="T18" fmla="*/ 5004 w 5049"/>
                <a:gd name="T19" fmla="*/ 1225 h 2093"/>
                <a:gd name="T20" fmla="*/ 4953 w 5049"/>
                <a:gd name="T21" fmla="*/ 1113 h 2093"/>
                <a:gd name="T22" fmla="*/ 4879 w 5049"/>
                <a:gd name="T23" fmla="*/ 997 h 2093"/>
                <a:gd name="T24" fmla="*/ 4781 w 5049"/>
                <a:gd name="T25" fmla="*/ 880 h 2093"/>
                <a:gd name="T26" fmla="*/ 4657 w 5049"/>
                <a:gd name="T27" fmla="*/ 761 h 2093"/>
                <a:gd name="T28" fmla="*/ 4502 w 5049"/>
                <a:gd name="T29" fmla="*/ 642 h 2093"/>
                <a:gd name="T30" fmla="*/ 4315 w 5049"/>
                <a:gd name="T31" fmla="*/ 524 h 2093"/>
                <a:gd name="T32" fmla="*/ 4093 w 5049"/>
                <a:gd name="T33" fmla="*/ 406 h 2093"/>
                <a:gd name="T34" fmla="*/ 3833 w 5049"/>
                <a:gd name="T35" fmla="*/ 291 h 2093"/>
                <a:gd name="T36" fmla="*/ 3641 w 5049"/>
                <a:gd name="T37" fmla="*/ 217 h 2093"/>
                <a:gd name="T38" fmla="*/ 3347 w 5049"/>
                <a:gd name="T39" fmla="*/ 126 h 2093"/>
                <a:gd name="T40" fmla="*/ 3055 w 5049"/>
                <a:gd name="T41" fmla="*/ 62 h 2093"/>
                <a:gd name="T42" fmla="*/ 2765 w 5049"/>
                <a:gd name="T43" fmla="*/ 20 h 2093"/>
                <a:gd name="T44" fmla="*/ 2478 w 5049"/>
                <a:gd name="T45" fmla="*/ 2 h 2093"/>
                <a:gd name="T46" fmla="*/ 2199 w 5049"/>
                <a:gd name="T47" fmla="*/ 4 h 2093"/>
                <a:gd name="T48" fmla="*/ 1928 w 5049"/>
                <a:gd name="T49" fmla="*/ 28 h 2093"/>
                <a:gd name="T50" fmla="*/ 1666 w 5049"/>
                <a:gd name="T51" fmla="*/ 70 h 2093"/>
                <a:gd name="T52" fmla="*/ 1417 w 5049"/>
                <a:gd name="T53" fmla="*/ 130 h 2093"/>
                <a:gd name="T54" fmla="*/ 1181 w 5049"/>
                <a:gd name="T55" fmla="*/ 207 h 2093"/>
                <a:gd name="T56" fmla="*/ 961 w 5049"/>
                <a:gd name="T57" fmla="*/ 299 h 2093"/>
                <a:gd name="T58" fmla="*/ 759 w 5049"/>
                <a:gd name="T59" fmla="*/ 403 h 2093"/>
                <a:gd name="T60" fmla="*/ 576 w 5049"/>
                <a:gd name="T61" fmla="*/ 521 h 2093"/>
                <a:gd name="T62" fmla="*/ 415 w 5049"/>
                <a:gd name="T63" fmla="*/ 651 h 2093"/>
                <a:gd name="T64" fmla="*/ 277 w 5049"/>
                <a:gd name="T65" fmla="*/ 790 h 2093"/>
                <a:gd name="T66" fmla="*/ 166 w 5049"/>
                <a:gd name="T67" fmla="*/ 938 h 2093"/>
                <a:gd name="T68" fmla="*/ 80 w 5049"/>
                <a:gd name="T69" fmla="*/ 1093 h 2093"/>
                <a:gd name="T70" fmla="*/ 49 w 5049"/>
                <a:gd name="T71" fmla="*/ 1173 h 2093"/>
                <a:gd name="T72" fmla="*/ 25 w 5049"/>
                <a:gd name="T73" fmla="*/ 1254 h 2093"/>
                <a:gd name="T74" fmla="*/ 9 w 5049"/>
                <a:gd name="T75" fmla="*/ 1337 h 2093"/>
                <a:gd name="T76" fmla="*/ 0 w 5049"/>
                <a:gd name="T77" fmla="*/ 1420 h 2093"/>
                <a:gd name="T78" fmla="*/ 0 w 5049"/>
                <a:gd name="T79" fmla="*/ 1505 h 2093"/>
                <a:gd name="T80" fmla="*/ 9 w 5049"/>
                <a:gd name="T81" fmla="*/ 1590 h 2093"/>
                <a:gd name="T82" fmla="*/ 25 w 5049"/>
                <a:gd name="T83" fmla="*/ 1675 h 2093"/>
                <a:gd name="T84" fmla="*/ 52 w 5049"/>
                <a:gd name="T85" fmla="*/ 1761 h 2093"/>
                <a:gd name="T86" fmla="*/ 87 w 5049"/>
                <a:gd name="T87" fmla="*/ 1848 h 2093"/>
                <a:gd name="T88" fmla="*/ 132 w 5049"/>
                <a:gd name="T89" fmla="*/ 1934 h 2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9" h="2093">
                  <a:moveTo>
                    <a:pt x="2687" y="1973"/>
                  </a:moveTo>
                  <a:lnTo>
                    <a:pt x="4802" y="2093"/>
                  </a:lnTo>
                  <a:lnTo>
                    <a:pt x="4802" y="2093"/>
                  </a:lnTo>
                  <a:lnTo>
                    <a:pt x="4812" y="2081"/>
                  </a:lnTo>
                  <a:lnTo>
                    <a:pt x="4842" y="2046"/>
                  </a:lnTo>
                  <a:lnTo>
                    <a:pt x="4860" y="2022"/>
                  </a:lnTo>
                  <a:lnTo>
                    <a:pt x="4882" y="1991"/>
                  </a:lnTo>
                  <a:lnTo>
                    <a:pt x="4905" y="1958"/>
                  </a:lnTo>
                  <a:lnTo>
                    <a:pt x="4927" y="1918"/>
                  </a:lnTo>
                  <a:lnTo>
                    <a:pt x="4951" y="1875"/>
                  </a:lnTo>
                  <a:lnTo>
                    <a:pt x="4974" y="1828"/>
                  </a:lnTo>
                  <a:lnTo>
                    <a:pt x="4985" y="1803"/>
                  </a:lnTo>
                  <a:lnTo>
                    <a:pt x="4994" y="1777"/>
                  </a:lnTo>
                  <a:lnTo>
                    <a:pt x="5005" y="1750"/>
                  </a:lnTo>
                  <a:lnTo>
                    <a:pt x="5013" y="1722"/>
                  </a:lnTo>
                  <a:lnTo>
                    <a:pt x="5021" y="1694"/>
                  </a:lnTo>
                  <a:lnTo>
                    <a:pt x="5029" y="1665"/>
                  </a:lnTo>
                  <a:lnTo>
                    <a:pt x="5036" y="1635"/>
                  </a:lnTo>
                  <a:lnTo>
                    <a:pt x="5041" y="1604"/>
                  </a:lnTo>
                  <a:lnTo>
                    <a:pt x="5045" y="1572"/>
                  </a:lnTo>
                  <a:lnTo>
                    <a:pt x="5048" y="1540"/>
                  </a:lnTo>
                  <a:lnTo>
                    <a:pt x="5049" y="1508"/>
                  </a:lnTo>
                  <a:lnTo>
                    <a:pt x="5049" y="1475"/>
                  </a:lnTo>
                  <a:lnTo>
                    <a:pt x="5048" y="1440"/>
                  </a:lnTo>
                  <a:lnTo>
                    <a:pt x="5045" y="1406"/>
                  </a:lnTo>
                  <a:lnTo>
                    <a:pt x="5041" y="1370"/>
                  </a:lnTo>
                  <a:lnTo>
                    <a:pt x="5034" y="1335"/>
                  </a:lnTo>
                  <a:lnTo>
                    <a:pt x="5026" y="1299"/>
                  </a:lnTo>
                  <a:lnTo>
                    <a:pt x="5016" y="1263"/>
                  </a:lnTo>
                  <a:lnTo>
                    <a:pt x="5004" y="1225"/>
                  </a:lnTo>
                  <a:lnTo>
                    <a:pt x="4989" y="1188"/>
                  </a:lnTo>
                  <a:lnTo>
                    <a:pt x="4972" y="1150"/>
                  </a:lnTo>
                  <a:lnTo>
                    <a:pt x="4953" y="1113"/>
                  </a:lnTo>
                  <a:lnTo>
                    <a:pt x="4931" y="1074"/>
                  </a:lnTo>
                  <a:lnTo>
                    <a:pt x="4906" y="1035"/>
                  </a:lnTo>
                  <a:lnTo>
                    <a:pt x="4879" y="997"/>
                  </a:lnTo>
                  <a:lnTo>
                    <a:pt x="4850" y="958"/>
                  </a:lnTo>
                  <a:lnTo>
                    <a:pt x="4818" y="919"/>
                  </a:lnTo>
                  <a:lnTo>
                    <a:pt x="4781" y="880"/>
                  </a:lnTo>
                  <a:lnTo>
                    <a:pt x="4744" y="840"/>
                  </a:lnTo>
                  <a:lnTo>
                    <a:pt x="4702" y="801"/>
                  </a:lnTo>
                  <a:lnTo>
                    <a:pt x="4657" y="761"/>
                  </a:lnTo>
                  <a:lnTo>
                    <a:pt x="4609" y="722"/>
                  </a:lnTo>
                  <a:lnTo>
                    <a:pt x="4558" y="682"/>
                  </a:lnTo>
                  <a:lnTo>
                    <a:pt x="4502" y="642"/>
                  </a:lnTo>
                  <a:lnTo>
                    <a:pt x="4444" y="603"/>
                  </a:lnTo>
                  <a:lnTo>
                    <a:pt x="4381" y="563"/>
                  </a:lnTo>
                  <a:lnTo>
                    <a:pt x="4315" y="524"/>
                  </a:lnTo>
                  <a:lnTo>
                    <a:pt x="4246" y="485"/>
                  </a:lnTo>
                  <a:lnTo>
                    <a:pt x="4171" y="445"/>
                  </a:lnTo>
                  <a:lnTo>
                    <a:pt x="4093" y="406"/>
                  </a:lnTo>
                  <a:lnTo>
                    <a:pt x="4011" y="369"/>
                  </a:lnTo>
                  <a:lnTo>
                    <a:pt x="3924" y="330"/>
                  </a:lnTo>
                  <a:lnTo>
                    <a:pt x="3833" y="291"/>
                  </a:lnTo>
                  <a:lnTo>
                    <a:pt x="3738" y="253"/>
                  </a:lnTo>
                  <a:lnTo>
                    <a:pt x="3738" y="253"/>
                  </a:lnTo>
                  <a:lnTo>
                    <a:pt x="3641" y="217"/>
                  </a:lnTo>
                  <a:lnTo>
                    <a:pt x="3543" y="184"/>
                  </a:lnTo>
                  <a:lnTo>
                    <a:pt x="3445" y="154"/>
                  </a:lnTo>
                  <a:lnTo>
                    <a:pt x="3347" y="126"/>
                  </a:lnTo>
                  <a:lnTo>
                    <a:pt x="3250" y="102"/>
                  </a:lnTo>
                  <a:lnTo>
                    <a:pt x="3153" y="81"/>
                  </a:lnTo>
                  <a:lnTo>
                    <a:pt x="3055" y="62"/>
                  </a:lnTo>
                  <a:lnTo>
                    <a:pt x="2958" y="45"/>
                  </a:lnTo>
                  <a:lnTo>
                    <a:pt x="2861" y="31"/>
                  </a:lnTo>
                  <a:lnTo>
                    <a:pt x="2765" y="20"/>
                  </a:lnTo>
                  <a:lnTo>
                    <a:pt x="2668" y="11"/>
                  </a:lnTo>
                  <a:lnTo>
                    <a:pt x="2573" y="6"/>
                  </a:lnTo>
                  <a:lnTo>
                    <a:pt x="2478" y="2"/>
                  </a:lnTo>
                  <a:lnTo>
                    <a:pt x="2385" y="0"/>
                  </a:lnTo>
                  <a:lnTo>
                    <a:pt x="2291" y="2"/>
                  </a:lnTo>
                  <a:lnTo>
                    <a:pt x="2199" y="4"/>
                  </a:lnTo>
                  <a:lnTo>
                    <a:pt x="2107" y="10"/>
                  </a:lnTo>
                  <a:lnTo>
                    <a:pt x="2016" y="18"/>
                  </a:lnTo>
                  <a:lnTo>
                    <a:pt x="1928" y="28"/>
                  </a:lnTo>
                  <a:lnTo>
                    <a:pt x="1840" y="41"/>
                  </a:lnTo>
                  <a:lnTo>
                    <a:pt x="1751" y="54"/>
                  </a:lnTo>
                  <a:lnTo>
                    <a:pt x="1666" y="70"/>
                  </a:lnTo>
                  <a:lnTo>
                    <a:pt x="1581" y="89"/>
                  </a:lnTo>
                  <a:lnTo>
                    <a:pt x="1498" y="109"/>
                  </a:lnTo>
                  <a:lnTo>
                    <a:pt x="1417" y="130"/>
                  </a:lnTo>
                  <a:lnTo>
                    <a:pt x="1336" y="154"/>
                  </a:lnTo>
                  <a:lnTo>
                    <a:pt x="1257" y="180"/>
                  </a:lnTo>
                  <a:lnTo>
                    <a:pt x="1181" y="207"/>
                  </a:lnTo>
                  <a:lnTo>
                    <a:pt x="1106" y="236"/>
                  </a:lnTo>
                  <a:lnTo>
                    <a:pt x="1032" y="267"/>
                  </a:lnTo>
                  <a:lnTo>
                    <a:pt x="961" y="299"/>
                  </a:lnTo>
                  <a:lnTo>
                    <a:pt x="892" y="332"/>
                  </a:lnTo>
                  <a:lnTo>
                    <a:pt x="823" y="367"/>
                  </a:lnTo>
                  <a:lnTo>
                    <a:pt x="759" y="403"/>
                  </a:lnTo>
                  <a:lnTo>
                    <a:pt x="696" y="442"/>
                  </a:lnTo>
                  <a:lnTo>
                    <a:pt x="635" y="481"/>
                  </a:lnTo>
                  <a:lnTo>
                    <a:pt x="576" y="521"/>
                  </a:lnTo>
                  <a:lnTo>
                    <a:pt x="519" y="564"/>
                  </a:lnTo>
                  <a:lnTo>
                    <a:pt x="466" y="607"/>
                  </a:lnTo>
                  <a:lnTo>
                    <a:pt x="415" y="651"/>
                  </a:lnTo>
                  <a:lnTo>
                    <a:pt x="367" y="697"/>
                  </a:lnTo>
                  <a:lnTo>
                    <a:pt x="321" y="742"/>
                  </a:lnTo>
                  <a:lnTo>
                    <a:pt x="277" y="790"/>
                  </a:lnTo>
                  <a:lnTo>
                    <a:pt x="237" y="839"/>
                  </a:lnTo>
                  <a:lnTo>
                    <a:pt x="199" y="888"/>
                  </a:lnTo>
                  <a:lnTo>
                    <a:pt x="166" y="938"/>
                  </a:lnTo>
                  <a:lnTo>
                    <a:pt x="134" y="988"/>
                  </a:lnTo>
                  <a:lnTo>
                    <a:pt x="106" y="1041"/>
                  </a:lnTo>
                  <a:lnTo>
                    <a:pt x="80" y="1093"/>
                  </a:lnTo>
                  <a:lnTo>
                    <a:pt x="70" y="1120"/>
                  </a:lnTo>
                  <a:lnTo>
                    <a:pt x="59" y="1146"/>
                  </a:lnTo>
                  <a:lnTo>
                    <a:pt x="49" y="1173"/>
                  </a:lnTo>
                  <a:lnTo>
                    <a:pt x="40" y="1200"/>
                  </a:lnTo>
                  <a:lnTo>
                    <a:pt x="32" y="1227"/>
                  </a:lnTo>
                  <a:lnTo>
                    <a:pt x="25" y="1254"/>
                  </a:lnTo>
                  <a:lnTo>
                    <a:pt x="19" y="1282"/>
                  </a:lnTo>
                  <a:lnTo>
                    <a:pt x="13" y="1308"/>
                  </a:lnTo>
                  <a:lnTo>
                    <a:pt x="9" y="1337"/>
                  </a:lnTo>
                  <a:lnTo>
                    <a:pt x="5" y="1365"/>
                  </a:lnTo>
                  <a:lnTo>
                    <a:pt x="3" y="1393"/>
                  </a:lnTo>
                  <a:lnTo>
                    <a:pt x="0" y="1420"/>
                  </a:lnTo>
                  <a:lnTo>
                    <a:pt x="0" y="1448"/>
                  </a:lnTo>
                  <a:lnTo>
                    <a:pt x="0" y="1476"/>
                  </a:lnTo>
                  <a:lnTo>
                    <a:pt x="0" y="1505"/>
                  </a:lnTo>
                  <a:lnTo>
                    <a:pt x="3" y="1533"/>
                  </a:lnTo>
                  <a:lnTo>
                    <a:pt x="5" y="1562"/>
                  </a:lnTo>
                  <a:lnTo>
                    <a:pt x="9" y="1590"/>
                  </a:lnTo>
                  <a:lnTo>
                    <a:pt x="13" y="1618"/>
                  </a:lnTo>
                  <a:lnTo>
                    <a:pt x="19" y="1647"/>
                  </a:lnTo>
                  <a:lnTo>
                    <a:pt x="25" y="1675"/>
                  </a:lnTo>
                  <a:lnTo>
                    <a:pt x="33" y="1705"/>
                  </a:lnTo>
                  <a:lnTo>
                    <a:pt x="43" y="1733"/>
                  </a:lnTo>
                  <a:lnTo>
                    <a:pt x="52" y="1761"/>
                  </a:lnTo>
                  <a:lnTo>
                    <a:pt x="63" y="1791"/>
                  </a:lnTo>
                  <a:lnTo>
                    <a:pt x="75" y="1819"/>
                  </a:lnTo>
                  <a:lnTo>
                    <a:pt x="87" y="1848"/>
                  </a:lnTo>
                  <a:lnTo>
                    <a:pt x="102" y="1876"/>
                  </a:lnTo>
                  <a:lnTo>
                    <a:pt x="116" y="1906"/>
                  </a:lnTo>
                  <a:lnTo>
                    <a:pt x="132" y="1934"/>
                  </a:lnTo>
                  <a:lnTo>
                    <a:pt x="2687" y="197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 name="Freeform 644"/>
            <p:cNvSpPr/>
            <p:nvPr/>
          </p:nvSpPr>
          <p:spPr bwMode="auto">
            <a:xfrm>
              <a:off x="2073274" y="4159258"/>
              <a:ext cx="2671761" cy="1108077"/>
            </a:xfrm>
            <a:custGeom>
              <a:avLst/>
              <a:gdLst>
                <a:gd name="T0" fmla="*/ 4802 w 5049"/>
                <a:gd name="T1" fmla="*/ 2093 h 2093"/>
                <a:gd name="T2" fmla="*/ 4860 w 5049"/>
                <a:gd name="T3" fmla="*/ 2022 h 2093"/>
                <a:gd name="T4" fmla="*/ 4927 w 5049"/>
                <a:gd name="T5" fmla="*/ 1918 h 2093"/>
                <a:gd name="T6" fmla="*/ 4985 w 5049"/>
                <a:gd name="T7" fmla="*/ 1803 h 2093"/>
                <a:gd name="T8" fmla="*/ 5013 w 5049"/>
                <a:gd name="T9" fmla="*/ 1722 h 2093"/>
                <a:gd name="T10" fmla="*/ 5036 w 5049"/>
                <a:gd name="T11" fmla="*/ 1635 h 2093"/>
                <a:gd name="T12" fmla="*/ 5048 w 5049"/>
                <a:gd name="T13" fmla="*/ 1540 h 2093"/>
                <a:gd name="T14" fmla="*/ 5048 w 5049"/>
                <a:gd name="T15" fmla="*/ 1440 h 2093"/>
                <a:gd name="T16" fmla="*/ 5034 w 5049"/>
                <a:gd name="T17" fmla="*/ 1335 h 2093"/>
                <a:gd name="T18" fmla="*/ 5004 w 5049"/>
                <a:gd name="T19" fmla="*/ 1225 h 2093"/>
                <a:gd name="T20" fmla="*/ 4953 w 5049"/>
                <a:gd name="T21" fmla="*/ 1113 h 2093"/>
                <a:gd name="T22" fmla="*/ 4879 w 5049"/>
                <a:gd name="T23" fmla="*/ 997 h 2093"/>
                <a:gd name="T24" fmla="*/ 4781 w 5049"/>
                <a:gd name="T25" fmla="*/ 880 h 2093"/>
                <a:gd name="T26" fmla="*/ 4657 w 5049"/>
                <a:gd name="T27" fmla="*/ 761 h 2093"/>
                <a:gd name="T28" fmla="*/ 4502 w 5049"/>
                <a:gd name="T29" fmla="*/ 642 h 2093"/>
                <a:gd name="T30" fmla="*/ 4315 w 5049"/>
                <a:gd name="T31" fmla="*/ 524 h 2093"/>
                <a:gd name="T32" fmla="*/ 4093 w 5049"/>
                <a:gd name="T33" fmla="*/ 406 h 2093"/>
                <a:gd name="T34" fmla="*/ 3833 w 5049"/>
                <a:gd name="T35" fmla="*/ 291 h 2093"/>
                <a:gd name="T36" fmla="*/ 3641 w 5049"/>
                <a:gd name="T37" fmla="*/ 217 h 2093"/>
                <a:gd name="T38" fmla="*/ 3347 w 5049"/>
                <a:gd name="T39" fmla="*/ 126 h 2093"/>
                <a:gd name="T40" fmla="*/ 3055 w 5049"/>
                <a:gd name="T41" fmla="*/ 62 h 2093"/>
                <a:gd name="T42" fmla="*/ 2765 w 5049"/>
                <a:gd name="T43" fmla="*/ 20 h 2093"/>
                <a:gd name="T44" fmla="*/ 2478 w 5049"/>
                <a:gd name="T45" fmla="*/ 2 h 2093"/>
                <a:gd name="T46" fmla="*/ 2199 w 5049"/>
                <a:gd name="T47" fmla="*/ 4 h 2093"/>
                <a:gd name="T48" fmla="*/ 1928 w 5049"/>
                <a:gd name="T49" fmla="*/ 28 h 2093"/>
                <a:gd name="T50" fmla="*/ 1666 w 5049"/>
                <a:gd name="T51" fmla="*/ 70 h 2093"/>
                <a:gd name="T52" fmla="*/ 1417 w 5049"/>
                <a:gd name="T53" fmla="*/ 130 h 2093"/>
                <a:gd name="T54" fmla="*/ 1181 w 5049"/>
                <a:gd name="T55" fmla="*/ 207 h 2093"/>
                <a:gd name="T56" fmla="*/ 961 w 5049"/>
                <a:gd name="T57" fmla="*/ 299 h 2093"/>
                <a:gd name="T58" fmla="*/ 759 w 5049"/>
                <a:gd name="T59" fmla="*/ 403 h 2093"/>
                <a:gd name="T60" fmla="*/ 576 w 5049"/>
                <a:gd name="T61" fmla="*/ 521 h 2093"/>
                <a:gd name="T62" fmla="*/ 415 w 5049"/>
                <a:gd name="T63" fmla="*/ 651 h 2093"/>
                <a:gd name="T64" fmla="*/ 277 w 5049"/>
                <a:gd name="T65" fmla="*/ 790 h 2093"/>
                <a:gd name="T66" fmla="*/ 166 w 5049"/>
                <a:gd name="T67" fmla="*/ 938 h 2093"/>
                <a:gd name="T68" fmla="*/ 80 w 5049"/>
                <a:gd name="T69" fmla="*/ 1093 h 2093"/>
                <a:gd name="T70" fmla="*/ 49 w 5049"/>
                <a:gd name="T71" fmla="*/ 1173 h 2093"/>
                <a:gd name="T72" fmla="*/ 25 w 5049"/>
                <a:gd name="T73" fmla="*/ 1254 h 2093"/>
                <a:gd name="T74" fmla="*/ 9 w 5049"/>
                <a:gd name="T75" fmla="*/ 1337 h 2093"/>
                <a:gd name="T76" fmla="*/ 0 w 5049"/>
                <a:gd name="T77" fmla="*/ 1420 h 2093"/>
                <a:gd name="T78" fmla="*/ 0 w 5049"/>
                <a:gd name="T79" fmla="*/ 1505 h 2093"/>
                <a:gd name="T80" fmla="*/ 9 w 5049"/>
                <a:gd name="T81" fmla="*/ 1590 h 2093"/>
                <a:gd name="T82" fmla="*/ 25 w 5049"/>
                <a:gd name="T83" fmla="*/ 1675 h 2093"/>
                <a:gd name="T84" fmla="*/ 52 w 5049"/>
                <a:gd name="T85" fmla="*/ 1761 h 2093"/>
                <a:gd name="T86" fmla="*/ 87 w 5049"/>
                <a:gd name="T87" fmla="*/ 1848 h 2093"/>
                <a:gd name="T88" fmla="*/ 132 w 5049"/>
                <a:gd name="T89" fmla="*/ 1934 h 2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9" h="2093">
                  <a:moveTo>
                    <a:pt x="2687" y="1973"/>
                  </a:moveTo>
                  <a:lnTo>
                    <a:pt x="4802" y="2093"/>
                  </a:lnTo>
                  <a:lnTo>
                    <a:pt x="4802" y="2093"/>
                  </a:lnTo>
                  <a:lnTo>
                    <a:pt x="4812" y="2081"/>
                  </a:lnTo>
                  <a:lnTo>
                    <a:pt x="4842" y="2046"/>
                  </a:lnTo>
                  <a:lnTo>
                    <a:pt x="4860" y="2022"/>
                  </a:lnTo>
                  <a:lnTo>
                    <a:pt x="4882" y="1991"/>
                  </a:lnTo>
                  <a:lnTo>
                    <a:pt x="4905" y="1958"/>
                  </a:lnTo>
                  <a:lnTo>
                    <a:pt x="4927" y="1918"/>
                  </a:lnTo>
                  <a:lnTo>
                    <a:pt x="4951" y="1875"/>
                  </a:lnTo>
                  <a:lnTo>
                    <a:pt x="4974" y="1828"/>
                  </a:lnTo>
                  <a:lnTo>
                    <a:pt x="4985" y="1803"/>
                  </a:lnTo>
                  <a:lnTo>
                    <a:pt x="4994" y="1777"/>
                  </a:lnTo>
                  <a:lnTo>
                    <a:pt x="5005" y="1750"/>
                  </a:lnTo>
                  <a:lnTo>
                    <a:pt x="5013" y="1722"/>
                  </a:lnTo>
                  <a:lnTo>
                    <a:pt x="5021" y="1694"/>
                  </a:lnTo>
                  <a:lnTo>
                    <a:pt x="5029" y="1665"/>
                  </a:lnTo>
                  <a:lnTo>
                    <a:pt x="5036" y="1635"/>
                  </a:lnTo>
                  <a:lnTo>
                    <a:pt x="5041" y="1604"/>
                  </a:lnTo>
                  <a:lnTo>
                    <a:pt x="5045" y="1572"/>
                  </a:lnTo>
                  <a:lnTo>
                    <a:pt x="5048" y="1540"/>
                  </a:lnTo>
                  <a:lnTo>
                    <a:pt x="5049" y="1508"/>
                  </a:lnTo>
                  <a:lnTo>
                    <a:pt x="5049" y="1475"/>
                  </a:lnTo>
                  <a:lnTo>
                    <a:pt x="5048" y="1440"/>
                  </a:lnTo>
                  <a:lnTo>
                    <a:pt x="5045" y="1406"/>
                  </a:lnTo>
                  <a:lnTo>
                    <a:pt x="5041" y="1370"/>
                  </a:lnTo>
                  <a:lnTo>
                    <a:pt x="5034" y="1335"/>
                  </a:lnTo>
                  <a:lnTo>
                    <a:pt x="5026" y="1299"/>
                  </a:lnTo>
                  <a:lnTo>
                    <a:pt x="5016" y="1263"/>
                  </a:lnTo>
                  <a:lnTo>
                    <a:pt x="5004" y="1225"/>
                  </a:lnTo>
                  <a:lnTo>
                    <a:pt x="4989" y="1188"/>
                  </a:lnTo>
                  <a:lnTo>
                    <a:pt x="4972" y="1150"/>
                  </a:lnTo>
                  <a:lnTo>
                    <a:pt x="4953" y="1113"/>
                  </a:lnTo>
                  <a:lnTo>
                    <a:pt x="4931" y="1074"/>
                  </a:lnTo>
                  <a:lnTo>
                    <a:pt x="4906" y="1035"/>
                  </a:lnTo>
                  <a:lnTo>
                    <a:pt x="4879" y="997"/>
                  </a:lnTo>
                  <a:lnTo>
                    <a:pt x="4850" y="958"/>
                  </a:lnTo>
                  <a:lnTo>
                    <a:pt x="4818" y="919"/>
                  </a:lnTo>
                  <a:lnTo>
                    <a:pt x="4781" y="880"/>
                  </a:lnTo>
                  <a:lnTo>
                    <a:pt x="4744" y="840"/>
                  </a:lnTo>
                  <a:lnTo>
                    <a:pt x="4702" y="801"/>
                  </a:lnTo>
                  <a:lnTo>
                    <a:pt x="4657" y="761"/>
                  </a:lnTo>
                  <a:lnTo>
                    <a:pt x="4609" y="722"/>
                  </a:lnTo>
                  <a:lnTo>
                    <a:pt x="4558" y="682"/>
                  </a:lnTo>
                  <a:lnTo>
                    <a:pt x="4502" y="642"/>
                  </a:lnTo>
                  <a:lnTo>
                    <a:pt x="4444" y="603"/>
                  </a:lnTo>
                  <a:lnTo>
                    <a:pt x="4381" y="563"/>
                  </a:lnTo>
                  <a:lnTo>
                    <a:pt x="4315" y="524"/>
                  </a:lnTo>
                  <a:lnTo>
                    <a:pt x="4246" y="485"/>
                  </a:lnTo>
                  <a:lnTo>
                    <a:pt x="4171" y="445"/>
                  </a:lnTo>
                  <a:lnTo>
                    <a:pt x="4093" y="406"/>
                  </a:lnTo>
                  <a:lnTo>
                    <a:pt x="4011" y="369"/>
                  </a:lnTo>
                  <a:lnTo>
                    <a:pt x="3924" y="330"/>
                  </a:lnTo>
                  <a:lnTo>
                    <a:pt x="3833" y="291"/>
                  </a:lnTo>
                  <a:lnTo>
                    <a:pt x="3738" y="253"/>
                  </a:lnTo>
                  <a:lnTo>
                    <a:pt x="3738" y="253"/>
                  </a:lnTo>
                  <a:lnTo>
                    <a:pt x="3641" y="217"/>
                  </a:lnTo>
                  <a:lnTo>
                    <a:pt x="3543" y="184"/>
                  </a:lnTo>
                  <a:lnTo>
                    <a:pt x="3445" y="154"/>
                  </a:lnTo>
                  <a:lnTo>
                    <a:pt x="3347" y="126"/>
                  </a:lnTo>
                  <a:lnTo>
                    <a:pt x="3250" y="102"/>
                  </a:lnTo>
                  <a:lnTo>
                    <a:pt x="3153" y="81"/>
                  </a:lnTo>
                  <a:lnTo>
                    <a:pt x="3055" y="62"/>
                  </a:lnTo>
                  <a:lnTo>
                    <a:pt x="2958" y="45"/>
                  </a:lnTo>
                  <a:lnTo>
                    <a:pt x="2861" y="31"/>
                  </a:lnTo>
                  <a:lnTo>
                    <a:pt x="2765" y="20"/>
                  </a:lnTo>
                  <a:lnTo>
                    <a:pt x="2668" y="11"/>
                  </a:lnTo>
                  <a:lnTo>
                    <a:pt x="2573" y="6"/>
                  </a:lnTo>
                  <a:lnTo>
                    <a:pt x="2478" y="2"/>
                  </a:lnTo>
                  <a:lnTo>
                    <a:pt x="2385" y="0"/>
                  </a:lnTo>
                  <a:lnTo>
                    <a:pt x="2291" y="2"/>
                  </a:lnTo>
                  <a:lnTo>
                    <a:pt x="2199" y="4"/>
                  </a:lnTo>
                  <a:lnTo>
                    <a:pt x="2107" y="10"/>
                  </a:lnTo>
                  <a:lnTo>
                    <a:pt x="2016" y="18"/>
                  </a:lnTo>
                  <a:lnTo>
                    <a:pt x="1928" y="28"/>
                  </a:lnTo>
                  <a:lnTo>
                    <a:pt x="1840" y="41"/>
                  </a:lnTo>
                  <a:lnTo>
                    <a:pt x="1751" y="54"/>
                  </a:lnTo>
                  <a:lnTo>
                    <a:pt x="1666" y="70"/>
                  </a:lnTo>
                  <a:lnTo>
                    <a:pt x="1581" y="89"/>
                  </a:lnTo>
                  <a:lnTo>
                    <a:pt x="1498" y="109"/>
                  </a:lnTo>
                  <a:lnTo>
                    <a:pt x="1417" y="130"/>
                  </a:lnTo>
                  <a:lnTo>
                    <a:pt x="1336" y="154"/>
                  </a:lnTo>
                  <a:lnTo>
                    <a:pt x="1257" y="180"/>
                  </a:lnTo>
                  <a:lnTo>
                    <a:pt x="1181" y="207"/>
                  </a:lnTo>
                  <a:lnTo>
                    <a:pt x="1106" y="236"/>
                  </a:lnTo>
                  <a:lnTo>
                    <a:pt x="1032" y="267"/>
                  </a:lnTo>
                  <a:lnTo>
                    <a:pt x="961" y="299"/>
                  </a:lnTo>
                  <a:lnTo>
                    <a:pt x="892" y="332"/>
                  </a:lnTo>
                  <a:lnTo>
                    <a:pt x="823" y="367"/>
                  </a:lnTo>
                  <a:lnTo>
                    <a:pt x="759" y="403"/>
                  </a:lnTo>
                  <a:lnTo>
                    <a:pt x="696" y="442"/>
                  </a:lnTo>
                  <a:lnTo>
                    <a:pt x="635" y="481"/>
                  </a:lnTo>
                  <a:lnTo>
                    <a:pt x="576" y="521"/>
                  </a:lnTo>
                  <a:lnTo>
                    <a:pt x="519" y="564"/>
                  </a:lnTo>
                  <a:lnTo>
                    <a:pt x="466" y="607"/>
                  </a:lnTo>
                  <a:lnTo>
                    <a:pt x="415" y="651"/>
                  </a:lnTo>
                  <a:lnTo>
                    <a:pt x="367" y="697"/>
                  </a:lnTo>
                  <a:lnTo>
                    <a:pt x="321" y="742"/>
                  </a:lnTo>
                  <a:lnTo>
                    <a:pt x="277" y="790"/>
                  </a:lnTo>
                  <a:lnTo>
                    <a:pt x="237" y="839"/>
                  </a:lnTo>
                  <a:lnTo>
                    <a:pt x="199" y="888"/>
                  </a:lnTo>
                  <a:lnTo>
                    <a:pt x="166" y="938"/>
                  </a:lnTo>
                  <a:lnTo>
                    <a:pt x="134" y="988"/>
                  </a:lnTo>
                  <a:lnTo>
                    <a:pt x="106" y="1041"/>
                  </a:lnTo>
                  <a:lnTo>
                    <a:pt x="80" y="1093"/>
                  </a:lnTo>
                  <a:lnTo>
                    <a:pt x="70" y="1120"/>
                  </a:lnTo>
                  <a:lnTo>
                    <a:pt x="59" y="1146"/>
                  </a:lnTo>
                  <a:lnTo>
                    <a:pt x="49" y="1173"/>
                  </a:lnTo>
                  <a:lnTo>
                    <a:pt x="40" y="1200"/>
                  </a:lnTo>
                  <a:lnTo>
                    <a:pt x="32" y="1227"/>
                  </a:lnTo>
                  <a:lnTo>
                    <a:pt x="25" y="1254"/>
                  </a:lnTo>
                  <a:lnTo>
                    <a:pt x="19" y="1282"/>
                  </a:lnTo>
                  <a:lnTo>
                    <a:pt x="13" y="1308"/>
                  </a:lnTo>
                  <a:lnTo>
                    <a:pt x="9" y="1337"/>
                  </a:lnTo>
                  <a:lnTo>
                    <a:pt x="5" y="1365"/>
                  </a:lnTo>
                  <a:lnTo>
                    <a:pt x="3" y="1393"/>
                  </a:lnTo>
                  <a:lnTo>
                    <a:pt x="0" y="1420"/>
                  </a:lnTo>
                  <a:lnTo>
                    <a:pt x="0" y="1448"/>
                  </a:lnTo>
                  <a:lnTo>
                    <a:pt x="0" y="1476"/>
                  </a:lnTo>
                  <a:lnTo>
                    <a:pt x="0" y="1505"/>
                  </a:lnTo>
                  <a:lnTo>
                    <a:pt x="3" y="1533"/>
                  </a:lnTo>
                  <a:lnTo>
                    <a:pt x="5" y="1562"/>
                  </a:lnTo>
                  <a:lnTo>
                    <a:pt x="9" y="1590"/>
                  </a:lnTo>
                  <a:lnTo>
                    <a:pt x="13" y="1618"/>
                  </a:lnTo>
                  <a:lnTo>
                    <a:pt x="19" y="1647"/>
                  </a:lnTo>
                  <a:lnTo>
                    <a:pt x="25" y="1675"/>
                  </a:lnTo>
                  <a:lnTo>
                    <a:pt x="33" y="1705"/>
                  </a:lnTo>
                  <a:lnTo>
                    <a:pt x="43" y="1733"/>
                  </a:lnTo>
                  <a:lnTo>
                    <a:pt x="52" y="1761"/>
                  </a:lnTo>
                  <a:lnTo>
                    <a:pt x="63" y="1791"/>
                  </a:lnTo>
                  <a:lnTo>
                    <a:pt x="75" y="1819"/>
                  </a:lnTo>
                  <a:lnTo>
                    <a:pt x="87" y="1848"/>
                  </a:lnTo>
                  <a:lnTo>
                    <a:pt x="102" y="1876"/>
                  </a:lnTo>
                  <a:lnTo>
                    <a:pt x="116" y="1906"/>
                  </a:lnTo>
                  <a:lnTo>
                    <a:pt x="132" y="1934"/>
                  </a:lnTo>
                  <a:lnTo>
                    <a:pt x="2687" y="197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 name="Freeform 645"/>
            <p:cNvSpPr/>
            <p:nvPr/>
          </p:nvSpPr>
          <p:spPr bwMode="auto">
            <a:xfrm>
              <a:off x="2109787" y="5187960"/>
              <a:ext cx="404812" cy="111125"/>
            </a:xfrm>
            <a:custGeom>
              <a:avLst/>
              <a:gdLst>
                <a:gd name="T0" fmla="*/ 767 w 767"/>
                <a:gd name="T1" fmla="*/ 210 h 210"/>
                <a:gd name="T2" fmla="*/ 313 w 767"/>
                <a:gd name="T3" fmla="*/ 149 h 210"/>
                <a:gd name="T4" fmla="*/ 0 w 767"/>
                <a:gd name="T5" fmla="*/ 32 h 210"/>
                <a:gd name="T6" fmla="*/ 534 w 767"/>
                <a:gd name="T7" fmla="*/ 0 h 210"/>
                <a:gd name="T8" fmla="*/ 767 w 767"/>
                <a:gd name="T9" fmla="*/ 210 h 210"/>
              </a:gdLst>
              <a:ahLst/>
              <a:cxnLst>
                <a:cxn ang="0">
                  <a:pos x="T0" y="T1"/>
                </a:cxn>
                <a:cxn ang="0">
                  <a:pos x="T2" y="T3"/>
                </a:cxn>
                <a:cxn ang="0">
                  <a:pos x="T4" y="T5"/>
                </a:cxn>
                <a:cxn ang="0">
                  <a:pos x="T6" y="T7"/>
                </a:cxn>
                <a:cxn ang="0">
                  <a:pos x="T8" y="T9"/>
                </a:cxn>
              </a:cxnLst>
              <a:rect l="0" t="0" r="r" b="b"/>
              <a:pathLst>
                <a:path w="767" h="210">
                  <a:moveTo>
                    <a:pt x="767" y="210"/>
                  </a:moveTo>
                  <a:lnTo>
                    <a:pt x="313" y="149"/>
                  </a:lnTo>
                  <a:lnTo>
                    <a:pt x="0" y="32"/>
                  </a:lnTo>
                  <a:lnTo>
                    <a:pt x="534" y="0"/>
                  </a:lnTo>
                  <a:lnTo>
                    <a:pt x="767" y="210"/>
                  </a:lnTo>
                  <a:close/>
                </a:path>
              </a:pathLst>
            </a:custGeom>
            <a:solidFill>
              <a:srgbClr val="7E851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 name="Freeform 646"/>
            <p:cNvSpPr/>
            <p:nvPr/>
          </p:nvSpPr>
          <p:spPr bwMode="auto">
            <a:xfrm>
              <a:off x="4225923" y="4552959"/>
              <a:ext cx="193675" cy="709615"/>
            </a:xfrm>
            <a:custGeom>
              <a:avLst/>
              <a:gdLst>
                <a:gd name="T0" fmla="*/ 40 w 364"/>
                <a:gd name="T1" fmla="*/ 809 h 1342"/>
                <a:gd name="T2" fmla="*/ 159 w 364"/>
                <a:gd name="T3" fmla="*/ 816 h 1342"/>
                <a:gd name="T4" fmla="*/ 185 w 364"/>
                <a:gd name="T5" fmla="*/ 0 h 1342"/>
                <a:gd name="T6" fmla="*/ 242 w 364"/>
                <a:gd name="T7" fmla="*/ 1 h 1342"/>
                <a:gd name="T8" fmla="*/ 271 w 364"/>
                <a:gd name="T9" fmla="*/ 1205 h 1342"/>
                <a:gd name="T10" fmla="*/ 364 w 364"/>
                <a:gd name="T11" fmla="*/ 1228 h 1342"/>
                <a:gd name="T12" fmla="*/ 364 w 364"/>
                <a:gd name="T13" fmla="*/ 1342 h 1342"/>
                <a:gd name="T14" fmla="*/ 0 w 364"/>
                <a:gd name="T15" fmla="*/ 1316 h 1342"/>
                <a:gd name="T16" fmla="*/ 40 w 364"/>
                <a:gd name="T17" fmla="*/ 809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1342">
                  <a:moveTo>
                    <a:pt x="40" y="809"/>
                  </a:moveTo>
                  <a:lnTo>
                    <a:pt x="159" y="816"/>
                  </a:lnTo>
                  <a:lnTo>
                    <a:pt x="185" y="0"/>
                  </a:lnTo>
                  <a:lnTo>
                    <a:pt x="242" y="1"/>
                  </a:lnTo>
                  <a:lnTo>
                    <a:pt x="271" y="1205"/>
                  </a:lnTo>
                  <a:lnTo>
                    <a:pt x="364" y="1228"/>
                  </a:lnTo>
                  <a:lnTo>
                    <a:pt x="364" y="1342"/>
                  </a:lnTo>
                  <a:lnTo>
                    <a:pt x="0" y="1316"/>
                  </a:lnTo>
                  <a:lnTo>
                    <a:pt x="40" y="809"/>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 name="Freeform 647"/>
            <p:cNvSpPr/>
            <p:nvPr/>
          </p:nvSpPr>
          <p:spPr bwMode="auto">
            <a:xfrm>
              <a:off x="4173536" y="4437071"/>
              <a:ext cx="76200" cy="606426"/>
            </a:xfrm>
            <a:custGeom>
              <a:avLst/>
              <a:gdLst>
                <a:gd name="T0" fmla="*/ 0 w 142"/>
                <a:gd name="T1" fmla="*/ 1059 h 1145"/>
                <a:gd name="T2" fmla="*/ 52 w 142"/>
                <a:gd name="T3" fmla="*/ 0 h 1145"/>
                <a:gd name="T4" fmla="*/ 130 w 142"/>
                <a:gd name="T5" fmla="*/ 1 h 1145"/>
                <a:gd name="T6" fmla="*/ 142 w 142"/>
                <a:gd name="T7" fmla="*/ 1145 h 1145"/>
                <a:gd name="T8" fmla="*/ 0 w 142"/>
                <a:gd name="T9" fmla="*/ 1059 h 1145"/>
              </a:gdLst>
              <a:ahLst/>
              <a:cxnLst>
                <a:cxn ang="0">
                  <a:pos x="T0" y="T1"/>
                </a:cxn>
                <a:cxn ang="0">
                  <a:pos x="T2" y="T3"/>
                </a:cxn>
                <a:cxn ang="0">
                  <a:pos x="T4" y="T5"/>
                </a:cxn>
                <a:cxn ang="0">
                  <a:pos x="T6" y="T7"/>
                </a:cxn>
                <a:cxn ang="0">
                  <a:pos x="T8" y="T9"/>
                </a:cxn>
              </a:cxnLst>
              <a:rect l="0" t="0" r="r" b="b"/>
              <a:pathLst>
                <a:path w="142" h="1145">
                  <a:moveTo>
                    <a:pt x="0" y="1059"/>
                  </a:moveTo>
                  <a:lnTo>
                    <a:pt x="52" y="0"/>
                  </a:lnTo>
                  <a:lnTo>
                    <a:pt x="130" y="1"/>
                  </a:lnTo>
                  <a:lnTo>
                    <a:pt x="142" y="1145"/>
                  </a:lnTo>
                  <a:lnTo>
                    <a:pt x="0" y="1059"/>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 name="Freeform 648"/>
            <p:cNvSpPr/>
            <p:nvPr/>
          </p:nvSpPr>
          <p:spPr bwMode="auto">
            <a:xfrm>
              <a:off x="3465511" y="4119570"/>
              <a:ext cx="101600" cy="784226"/>
            </a:xfrm>
            <a:custGeom>
              <a:avLst/>
              <a:gdLst>
                <a:gd name="T0" fmla="*/ 0 w 194"/>
                <a:gd name="T1" fmla="*/ 1465 h 1481"/>
                <a:gd name="T2" fmla="*/ 51 w 194"/>
                <a:gd name="T3" fmla="*/ 0 h 1481"/>
                <a:gd name="T4" fmla="*/ 131 w 194"/>
                <a:gd name="T5" fmla="*/ 0 h 1481"/>
                <a:gd name="T6" fmla="*/ 194 w 194"/>
                <a:gd name="T7" fmla="*/ 1481 h 1481"/>
                <a:gd name="T8" fmla="*/ 0 w 194"/>
                <a:gd name="T9" fmla="*/ 1465 h 1481"/>
              </a:gdLst>
              <a:ahLst/>
              <a:cxnLst>
                <a:cxn ang="0">
                  <a:pos x="T0" y="T1"/>
                </a:cxn>
                <a:cxn ang="0">
                  <a:pos x="T2" y="T3"/>
                </a:cxn>
                <a:cxn ang="0">
                  <a:pos x="T4" y="T5"/>
                </a:cxn>
                <a:cxn ang="0">
                  <a:pos x="T6" y="T7"/>
                </a:cxn>
                <a:cxn ang="0">
                  <a:pos x="T8" y="T9"/>
                </a:cxn>
              </a:cxnLst>
              <a:rect l="0" t="0" r="r" b="b"/>
              <a:pathLst>
                <a:path w="194" h="1481">
                  <a:moveTo>
                    <a:pt x="0" y="1465"/>
                  </a:moveTo>
                  <a:lnTo>
                    <a:pt x="51" y="0"/>
                  </a:lnTo>
                  <a:lnTo>
                    <a:pt x="131" y="0"/>
                  </a:lnTo>
                  <a:lnTo>
                    <a:pt x="194" y="1481"/>
                  </a:lnTo>
                  <a:lnTo>
                    <a:pt x="0" y="1465"/>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 name="Freeform 649"/>
            <p:cNvSpPr/>
            <p:nvPr/>
          </p:nvSpPr>
          <p:spPr bwMode="auto">
            <a:xfrm>
              <a:off x="3259136" y="4676784"/>
              <a:ext cx="228600" cy="246064"/>
            </a:xfrm>
            <a:custGeom>
              <a:avLst/>
              <a:gdLst>
                <a:gd name="T0" fmla="*/ 432 w 432"/>
                <a:gd name="T1" fmla="*/ 278 h 466"/>
                <a:gd name="T2" fmla="*/ 320 w 432"/>
                <a:gd name="T3" fmla="*/ 268 h 466"/>
                <a:gd name="T4" fmla="*/ 330 w 432"/>
                <a:gd name="T5" fmla="*/ 38 h 466"/>
                <a:gd name="T6" fmla="*/ 28 w 432"/>
                <a:gd name="T7" fmla="*/ 0 h 466"/>
                <a:gd name="T8" fmla="*/ 0 w 432"/>
                <a:gd name="T9" fmla="*/ 466 h 466"/>
                <a:gd name="T10" fmla="*/ 413 w 432"/>
                <a:gd name="T11" fmla="*/ 452 h 466"/>
                <a:gd name="T12" fmla="*/ 432 w 432"/>
                <a:gd name="T13" fmla="*/ 278 h 466"/>
              </a:gdLst>
              <a:ahLst/>
              <a:cxnLst>
                <a:cxn ang="0">
                  <a:pos x="T0" y="T1"/>
                </a:cxn>
                <a:cxn ang="0">
                  <a:pos x="T2" y="T3"/>
                </a:cxn>
                <a:cxn ang="0">
                  <a:pos x="T4" y="T5"/>
                </a:cxn>
                <a:cxn ang="0">
                  <a:pos x="T6" y="T7"/>
                </a:cxn>
                <a:cxn ang="0">
                  <a:pos x="T8" y="T9"/>
                </a:cxn>
                <a:cxn ang="0">
                  <a:pos x="T10" y="T11"/>
                </a:cxn>
                <a:cxn ang="0">
                  <a:pos x="T12" y="T13"/>
                </a:cxn>
              </a:cxnLst>
              <a:rect l="0" t="0" r="r" b="b"/>
              <a:pathLst>
                <a:path w="432" h="466">
                  <a:moveTo>
                    <a:pt x="432" y="278"/>
                  </a:moveTo>
                  <a:lnTo>
                    <a:pt x="320" y="268"/>
                  </a:lnTo>
                  <a:lnTo>
                    <a:pt x="330" y="38"/>
                  </a:lnTo>
                  <a:lnTo>
                    <a:pt x="28" y="0"/>
                  </a:lnTo>
                  <a:lnTo>
                    <a:pt x="0" y="466"/>
                  </a:lnTo>
                  <a:lnTo>
                    <a:pt x="413" y="452"/>
                  </a:lnTo>
                  <a:lnTo>
                    <a:pt x="432" y="278"/>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 name="Freeform 650"/>
            <p:cNvSpPr/>
            <p:nvPr/>
          </p:nvSpPr>
          <p:spPr bwMode="auto">
            <a:xfrm>
              <a:off x="2109787" y="5083184"/>
              <a:ext cx="266700" cy="122238"/>
            </a:xfrm>
            <a:custGeom>
              <a:avLst/>
              <a:gdLst>
                <a:gd name="T0" fmla="*/ 506 w 506"/>
                <a:gd name="T1" fmla="*/ 4 h 231"/>
                <a:gd name="T2" fmla="*/ 338 w 506"/>
                <a:gd name="T3" fmla="*/ 0 h 231"/>
                <a:gd name="T4" fmla="*/ 234 w 506"/>
                <a:gd name="T5" fmla="*/ 113 h 231"/>
                <a:gd name="T6" fmla="*/ 70 w 506"/>
                <a:gd name="T7" fmla="*/ 109 h 231"/>
                <a:gd name="T8" fmla="*/ 0 w 506"/>
                <a:gd name="T9" fmla="*/ 231 h 231"/>
                <a:gd name="T10" fmla="*/ 506 w 506"/>
                <a:gd name="T11" fmla="*/ 219 h 231"/>
                <a:gd name="T12" fmla="*/ 506 w 506"/>
                <a:gd name="T13" fmla="*/ 4 h 231"/>
              </a:gdLst>
              <a:ahLst/>
              <a:cxnLst>
                <a:cxn ang="0">
                  <a:pos x="T0" y="T1"/>
                </a:cxn>
                <a:cxn ang="0">
                  <a:pos x="T2" y="T3"/>
                </a:cxn>
                <a:cxn ang="0">
                  <a:pos x="T4" y="T5"/>
                </a:cxn>
                <a:cxn ang="0">
                  <a:pos x="T6" y="T7"/>
                </a:cxn>
                <a:cxn ang="0">
                  <a:pos x="T8" y="T9"/>
                </a:cxn>
                <a:cxn ang="0">
                  <a:pos x="T10" y="T11"/>
                </a:cxn>
                <a:cxn ang="0">
                  <a:pos x="T12" y="T13"/>
                </a:cxn>
              </a:cxnLst>
              <a:rect l="0" t="0" r="r" b="b"/>
              <a:pathLst>
                <a:path w="506" h="231">
                  <a:moveTo>
                    <a:pt x="506" y="4"/>
                  </a:moveTo>
                  <a:lnTo>
                    <a:pt x="338" y="0"/>
                  </a:lnTo>
                  <a:lnTo>
                    <a:pt x="234" y="113"/>
                  </a:lnTo>
                  <a:lnTo>
                    <a:pt x="70" y="109"/>
                  </a:lnTo>
                  <a:lnTo>
                    <a:pt x="0" y="231"/>
                  </a:lnTo>
                  <a:lnTo>
                    <a:pt x="506" y="219"/>
                  </a:lnTo>
                  <a:lnTo>
                    <a:pt x="506" y="4"/>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 name="Freeform 651"/>
            <p:cNvSpPr/>
            <p:nvPr/>
          </p:nvSpPr>
          <p:spPr bwMode="auto">
            <a:xfrm>
              <a:off x="2181223" y="4872046"/>
              <a:ext cx="123825" cy="301625"/>
            </a:xfrm>
            <a:custGeom>
              <a:avLst/>
              <a:gdLst>
                <a:gd name="T0" fmla="*/ 232 w 236"/>
                <a:gd name="T1" fmla="*/ 549 h 569"/>
                <a:gd name="T2" fmla="*/ 236 w 236"/>
                <a:gd name="T3" fmla="*/ 123 h 569"/>
                <a:gd name="T4" fmla="*/ 236 w 236"/>
                <a:gd name="T5" fmla="*/ 123 h 569"/>
                <a:gd name="T6" fmla="*/ 235 w 236"/>
                <a:gd name="T7" fmla="*/ 118 h 569"/>
                <a:gd name="T8" fmla="*/ 233 w 236"/>
                <a:gd name="T9" fmla="*/ 105 h 569"/>
                <a:gd name="T10" fmla="*/ 228 w 236"/>
                <a:gd name="T11" fmla="*/ 85 h 569"/>
                <a:gd name="T12" fmla="*/ 224 w 236"/>
                <a:gd name="T13" fmla="*/ 74 h 569"/>
                <a:gd name="T14" fmla="*/ 219 w 236"/>
                <a:gd name="T15" fmla="*/ 62 h 569"/>
                <a:gd name="T16" fmla="*/ 212 w 236"/>
                <a:gd name="T17" fmla="*/ 51 h 569"/>
                <a:gd name="T18" fmla="*/ 204 w 236"/>
                <a:gd name="T19" fmla="*/ 40 h 569"/>
                <a:gd name="T20" fmla="*/ 195 w 236"/>
                <a:gd name="T21" fmla="*/ 30 h 569"/>
                <a:gd name="T22" fmla="*/ 184 w 236"/>
                <a:gd name="T23" fmla="*/ 20 h 569"/>
                <a:gd name="T24" fmla="*/ 170 w 236"/>
                <a:gd name="T25" fmla="*/ 12 h 569"/>
                <a:gd name="T26" fmla="*/ 156 w 236"/>
                <a:gd name="T27" fmla="*/ 6 h 569"/>
                <a:gd name="T28" fmla="*/ 138 w 236"/>
                <a:gd name="T29" fmla="*/ 2 h 569"/>
                <a:gd name="T30" fmla="*/ 118 w 236"/>
                <a:gd name="T31" fmla="*/ 0 h 569"/>
                <a:gd name="T32" fmla="*/ 118 w 236"/>
                <a:gd name="T33" fmla="*/ 0 h 569"/>
                <a:gd name="T34" fmla="*/ 99 w 236"/>
                <a:gd name="T35" fmla="*/ 0 h 569"/>
                <a:gd name="T36" fmla="*/ 82 w 236"/>
                <a:gd name="T37" fmla="*/ 3 h 569"/>
                <a:gd name="T38" fmla="*/ 66 w 236"/>
                <a:gd name="T39" fmla="*/ 8 h 569"/>
                <a:gd name="T40" fmla="*/ 54 w 236"/>
                <a:gd name="T41" fmla="*/ 15 h 569"/>
                <a:gd name="T42" fmla="*/ 42 w 236"/>
                <a:gd name="T43" fmla="*/ 24 h 569"/>
                <a:gd name="T44" fmla="*/ 33 w 236"/>
                <a:gd name="T45" fmla="*/ 34 h 569"/>
                <a:gd name="T46" fmla="*/ 25 w 236"/>
                <a:gd name="T47" fmla="*/ 43 h 569"/>
                <a:gd name="T48" fmla="*/ 18 w 236"/>
                <a:gd name="T49" fmla="*/ 54 h 569"/>
                <a:gd name="T50" fmla="*/ 12 w 236"/>
                <a:gd name="T51" fmla="*/ 65 h 569"/>
                <a:gd name="T52" fmla="*/ 8 w 236"/>
                <a:gd name="T53" fmla="*/ 74 h 569"/>
                <a:gd name="T54" fmla="*/ 3 w 236"/>
                <a:gd name="T55" fmla="*/ 91 h 569"/>
                <a:gd name="T56" fmla="*/ 2 w 236"/>
                <a:gd name="T57" fmla="*/ 105 h 569"/>
                <a:gd name="T58" fmla="*/ 0 w 236"/>
                <a:gd name="T59" fmla="*/ 110 h 569"/>
                <a:gd name="T60" fmla="*/ 8 w 236"/>
                <a:gd name="T61" fmla="*/ 544 h 569"/>
                <a:gd name="T62" fmla="*/ 8 w 236"/>
                <a:gd name="T63" fmla="*/ 544 h 569"/>
                <a:gd name="T64" fmla="*/ 12 w 236"/>
                <a:gd name="T65" fmla="*/ 545 h 569"/>
                <a:gd name="T66" fmla="*/ 25 w 236"/>
                <a:gd name="T67" fmla="*/ 551 h 569"/>
                <a:gd name="T68" fmla="*/ 45 w 236"/>
                <a:gd name="T69" fmla="*/ 557 h 569"/>
                <a:gd name="T70" fmla="*/ 70 w 236"/>
                <a:gd name="T71" fmla="*/ 564 h 569"/>
                <a:gd name="T72" fmla="*/ 86 w 236"/>
                <a:gd name="T73" fmla="*/ 567 h 569"/>
                <a:gd name="T74" fmla="*/ 104 w 236"/>
                <a:gd name="T75" fmla="*/ 568 h 569"/>
                <a:gd name="T76" fmla="*/ 121 w 236"/>
                <a:gd name="T77" fmla="*/ 569 h 569"/>
                <a:gd name="T78" fmla="*/ 141 w 236"/>
                <a:gd name="T79" fmla="*/ 568 h 569"/>
                <a:gd name="T80" fmla="*/ 162 w 236"/>
                <a:gd name="T81" fmla="*/ 567 h 569"/>
                <a:gd name="T82" fmla="*/ 184 w 236"/>
                <a:gd name="T83" fmla="*/ 563 h 569"/>
                <a:gd name="T84" fmla="*/ 208 w 236"/>
                <a:gd name="T85" fmla="*/ 557 h 569"/>
                <a:gd name="T86" fmla="*/ 232 w 236"/>
                <a:gd name="T87" fmla="*/ 549 h 569"/>
                <a:gd name="T88" fmla="*/ 232 w 236"/>
                <a:gd name="T89" fmla="*/ 549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6" h="569">
                  <a:moveTo>
                    <a:pt x="232" y="549"/>
                  </a:moveTo>
                  <a:lnTo>
                    <a:pt x="236" y="123"/>
                  </a:lnTo>
                  <a:lnTo>
                    <a:pt x="236" y="123"/>
                  </a:lnTo>
                  <a:lnTo>
                    <a:pt x="235" y="118"/>
                  </a:lnTo>
                  <a:lnTo>
                    <a:pt x="233" y="105"/>
                  </a:lnTo>
                  <a:lnTo>
                    <a:pt x="228" y="85"/>
                  </a:lnTo>
                  <a:lnTo>
                    <a:pt x="224" y="74"/>
                  </a:lnTo>
                  <a:lnTo>
                    <a:pt x="219" y="62"/>
                  </a:lnTo>
                  <a:lnTo>
                    <a:pt x="212" y="51"/>
                  </a:lnTo>
                  <a:lnTo>
                    <a:pt x="204" y="40"/>
                  </a:lnTo>
                  <a:lnTo>
                    <a:pt x="195" y="30"/>
                  </a:lnTo>
                  <a:lnTo>
                    <a:pt x="184" y="20"/>
                  </a:lnTo>
                  <a:lnTo>
                    <a:pt x="170" y="12"/>
                  </a:lnTo>
                  <a:lnTo>
                    <a:pt x="156" y="6"/>
                  </a:lnTo>
                  <a:lnTo>
                    <a:pt x="138" y="2"/>
                  </a:lnTo>
                  <a:lnTo>
                    <a:pt x="118" y="0"/>
                  </a:lnTo>
                  <a:lnTo>
                    <a:pt x="118" y="0"/>
                  </a:lnTo>
                  <a:lnTo>
                    <a:pt x="99" y="0"/>
                  </a:lnTo>
                  <a:lnTo>
                    <a:pt x="82" y="3"/>
                  </a:lnTo>
                  <a:lnTo>
                    <a:pt x="66" y="8"/>
                  </a:lnTo>
                  <a:lnTo>
                    <a:pt x="54" y="15"/>
                  </a:lnTo>
                  <a:lnTo>
                    <a:pt x="42" y="24"/>
                  </a:lnTo>
                  <a:lnTo>
                    <a:pt x="33" y="34"/>
                  </a:lnTo>
                  <a:lnTo>
                    <a:pt x="25" y="43"/>
                  </a:lnTo>
                  <a:lnTo>
                    <a:pt x="18" y="54"/>
                  </a:lnTo>
                  <a:lnTo>
                    <a:pt x="12" y="65"/>
                  </a:lnTo>
                  <a:lnTo>
                    <a:pt x="8" y="74"/>
                  </a:lnTo>
                  <a:lnTo>
                    <a:pt x="3" y="91"/>
                  </a:lnTo>
                  <a:lnTo>
                    <a:pt x="2" y="105"/>
                  </a:lnTo>
                  <a:lnTo>
                    <a:pt x="0" y="110"/>
                  </a:lnTo>
                  <a:lnTo>
                    <a:pt x="8" y="544"/>
                  </a:lnTo>
                  <a:lnTo>
                    <a:pt x="8" y="544"/>
                  </a:lnTo>
                  <a:lnTo>
                    <a:pt x="12" y="545"/>
                  </a:lnTo>
                  <a:lnTo>
                    <a:pt x="25" y="551"/>
                  </a:lnTo>
                  <a:lnTo>
                    <a:pt x="45" y="557"/>
                  </a:lnTo>
                  <a:lnTo>
                    <a:pt x="70" y="564"/>
                  </a:lnTo>
                  <a:lnTo>
                    <a:pt x="86" y="567"/>
                  </a:lnTo>
                  <a:lnTo>
                    <a:pt x="104" y="568"/>
                  </a:lnTo>
                  <a:lnTo>
                    <a:pt x="121" y="569"/>
                  </a:lnTo>
                  <a:lnTo>
                    <a:pt x="141" y="568"/>
                  </a:lnTo>
                  <a:lnTo>
                    <a:pt x="162" y="567"/>
                  </a:lnTo>
                  <a:lnTo>
                    <a:pt x="184" y="563"/>
                  </a:lnTo>
                  <a:lnTo>
                    <a:pt x="208" y="557"/>
                  </a:lnTo>
                  <a:lnTo>
                    <a:pt x="232" y="549"/>
                  </a:lnTo>
                  <a:lnTo>
                    <a:pt x="232" y="549"/>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3" name="Freeform 652"/>
            <p:cNvSpPr/>
            <p:nvPr/>
          </p:nvSpPr>
          <p:spPr bwMode="auto">
            <a:xfrm>
              <a:off x="4087810" y="4805371"/>
              <a:ext cx="128588" cy="209551"/>
            </a:xfrm>
            <a:custGeom>
              <a:avLst/>
              <a:gdLst>
                <a:gd name="T0" fmla="*/ 242 w 242"/>
                <a:gd name="T1" fmla="*/ 396 h 396"/>
                <a:gd name="T2" fmla="*/ 242 w 242"/>
                <a:gd name="T3" fmla="*/ 242 h 396"/>
                <a:gd name="T4" fmla="*/ 119 w 242"/>
                <a:gd name="T5" fmla="*/ 200 h 396"/>
                <a:gd name="T6" fmla="*/ 119 w 242"/>
                <a:gd name="T7" fmla="*/ 63 h 396"/>
                <a:gd name="T8" fmla="*/ 16 w 242"/>
                <a:gd name="T9" fmla="*/ 0 h 396"/>
                <a:gd name="T10" fmla="*/ 0 w 242"/>
                <a:gd name="T11" fmla="*/ 280 h 396"/>
                <a:gd name="T12" fmla="*/ 242 w 242"/>
                <a:gd name="T13" fmla="*/ 396 h 396"/>
              </a:gdLst>
              <a:ahLst/>
              <a:cxnLst>
                <a:cxn ang="0">
                  <a:pos x="T0" y="T1"/>
                </a:cxn>
                <a:cxn ang="0">
                  <a:pos x="T2" y="T3"/>
                </a:cxn>
                <a:cxn ang="0">
                  <a:pos x="T4" y="T5"/>
                </a:cxn>
                <a:cxn ang="0">
                  <a:pos x="T6" y="T7"/>
                </a:cxn>
                <a:cxn ang="0">
                  <a:pos x="T8" y="T9"/>
                </a:cxn>
                <a:cxn ang="0">
                  <a:pos x="T10" y="T11"/>
                </a:cxn>
                <a:cxn ang="0">
                  <a:pos x="T12" y="T13"/>
                </a:cxn>
              </a:cxnLst>
              <a:rect l="0" t="0" r="r" b="b"/>
              <a:pathLst>
                <a:path w="242" h="396">
                  <a:moveTo>
                    <a:pt x="242" y="396"/>
                  </a:moveTo>
                  <a:lnTo>
                    <a:pt x="242" y="242"/>
                  </a:lnTo>
                  <a:lnTo>
                    <a:pt x="119" y="200"/>
                  </a:lnTo>
                  <a:lnTo>
                    <a:pt x="119" y="63"/>
                  </a:lnTo>
                  <a:lnTo>
                    <a:pt x="16" y="0"/>
                  </a:lnTo>
                  <a:lnTo>
                    <a:pt x="0" y="280"/>
                  </a:lnTo>
                  <a:lnTo>
                    <a:pt x="242" y="396"/>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4" name="Freeform 653"/>
            <p:cNvSpPr/>
            <p:nvPr/>
          </p:nvSpPr>
          <p:spPr bwMode="auto">
            <a:xfrm>
              <a:off x="4238622" y="5102234"/>
              <a:ext cx="233363" cy="28575"/>
            </a:xfrm>
            <a:custGeom>
              <a:avLst/>
              <a:gdLst>
                <a:gd name="T0" fmla="*/ 1 w 442"/>
                <a:gd name="T1" fmla="*/ 53 h 53"/>
                <a:gd name="T2" fmla="*/ 442 w 442"/>
                <a:gd name="T3" fmla="*/ 11 h 53"/>
                <a:gd name="T4" fmla="*/ 440 w 442"/>
                <a:gd name="T5" fmla="*/ 0 h 53"/>
                <a:gd name="T6" fmla="*/ 0 w 442"/>
                <a:gd name="T7" fmla="*/ 43 h 53"/>
                <a:gd name="T8" fmla="*/ 1 w 442"/>
                <a:gd name="T9" fmla="*/ 53 h 53"/>
              </a:gdLst>
              <a:ahLst/>
              <a:cxnLst>
                <a:cxn ang="0">
                  <a:pos x="T0" y="T1"/>
                </a:cxn>
                <a:cxn ang="0">
                  <a:pos x="T2" y="T3"/>
                </a:cxn>
                <a:cxn ang="0">
                  <a:pos x="T4" y="T5"/>
                </a:cxn>
                <a:cxn ang="0">
                  <a:pos x="T6" y="T7"/>
                </a:cxn>
                <a:cxn ang="0">
                  <a:pos x="T8" y="T9"/>
                </a:cxn>
              </a:cxnLst>
              <a:rect l="0" t="0" r="r" b="b"/>
              <a:pathLst>
                <a:path w="442" h="53">
                  <a:moveTo>
                    <a:pt x="1" y="53"/>
                  </a:moveTo>
                  <a:lnTo>
                    <a:pt x="442" y="11"/>
                  </a:lnTo>
                  <a:lnTo>
                    <a:pt x="440" y="0"/>
                  </a:lnTo>
                  <a:lnTo>
                    <a:pt x="0" y="43"/>
                  </a:lnTo>
                  <a:lnTo>
                    <a:pt x="1" y="53"/>
                  </a:lnTo>
                  <a:close/>
                </a:path>
              </a:pathLst>
            </a:custGeom>
            <a:solidFill>
              <a:srgbClr val="65ADA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5" name="Freeform 654"/>
            <p:cNvSpPr/>
            <p:nvPr/>
          </p:nvSpPr>
          <p:spPr bwMode="auto">
            <a:xfrm>
              <a:off x="4229097" y="5076834"/>
              <a:ext cx="239713" cy="19050"/>
            </a:xfrm>
            <a:custGeom>
              <a:avLst/>
              <a:gdLst>
                <a:gd name="T0" fmla="*/ 0 w 452"/>
                <a:gd name="T1" fmla="*/ 38 h 38"/>
                <a:gd name="T2" fmla="*/ 452 w 452"/>
                <a:gd name="T3" fmla="*/ 9 h 38"/>
                <a:gd name="T4" fmla="*/ 450 w 452"/>
                <a:gd name="T5" fmla="*/ 0 h 38"/>
                <a:gd name="T6" fmla="*/ 0 w 452"/>
                <a:gd name="T7" fmla="*/ 28 h 38"/>
                <a:gd name="T8" fmla="*/ 0 w 452"/>
                <a:gd name="T9" fmla="*/ 38 h 38"/>
              </a:gdLst>
              <a:ahLst/>
              <a:cxnLst>
                <a:cxn ang="0">
                  <a:pos x="T0" y="T1"/>
                </a:cxn>
                <a:cxn ang="0">
                  <a:pos x="T2" y="T3"/>
                </a:cxn>
                <a:cxn ang="0">
                  <a:pos x="T4" y="T5"/>
                </a:cxn>
                <a:cxn ang="0">
                  <a:pos x="T6" y="T7"/>
                </a:cxn>
                <a:cxn ang="0">
                  <a:pos x="T8" y="T9"/>
                </a:cxn>
              </a:cxnLst>
              <a:rect l="0" t="0" r="r" b="b"/>
              <a:pathLst>
                <a:path w="452" h="38">
                  <a:moveTo>
                    <a:pt x="0" y="38"/>
                  </a:moveTo>
                  <a:lnTo>
                    <a:pt x="452" y="9"/>
                  </a:lnTo>
                  <a:lnTo>
                    <a:pt x="450" y="0"/>
                  </a:lnTo>
                  <a:lnTo>
                    <a:pt x="0" y="28"/>
                  </a:lnTo>
                  <a:lnTo>
                    <a:pt x="0" y="38"/>
                  </a:lnTo>
                  <a:close/>
                </a:path>
              </a:pathLst>
            </a:custGeom>
            <a:solidFill>
              <a:srgbClr val="65ADA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6" name="Freeform 655"/>
            <p:cNvSpPr/>
            <p:nvPr/>
          </p:nvSpPr>
          <p:spPr bwMode="auto">
            <a:xfrm>
              <a:off x="4437060" y="5080009"/>
              <a:ext cx="11113" cy="30163"/>
            </a:xfrm>
            <a:custGeom>
              <a:avLst/>
              <a:gdLst>
                <a:gd name="T0" fmla="*/ 11 w 19"/>
                <a:gd name="T1" fmla="*/ 57 h 57"/>
                <a:gd name="T2" fmla="*/ 19 w 19"/>
                <a:gd name="T3" fmla="*/ 2 h 57"/>
                <a:gd name="T4" fmla="*/ 9 w 19"/>
                <a:gd name="T5" fmla="*/ 0 h 57"/>
                <a:gd name="T6" fmla="*/ 0 w 19"/>
                <a:gd name="T7" fmla="*/ 54 h 57"/>
                <a:gd name="T8" fmla="*/ 11 w 19"/>
                <a:gd name="T9" fmla="*/ 57 h 57"/>
              </a:gdLst>
              <a:ahLst/>
              <a:cxnLst>
                <a:cxn ang="0">
                  <a:pos x="T0" y="T1"/>
                </a:cxn>
                <a:cxn ang="0">
                  <a:pos x="T2" y="T3"/>
                </a:cxn>
                <a:cxn ang="0">
                  <a:pos x="T4" y="T5"/>
                </a:cxn>
                <a:cxn ang="0">
                  <a:pos x="T6" y="T7"/>
                </a:cxn>
                <a:cxn ang="0">
                  <a:pos x="T8" y="T9"/>
                </a:cxn>
              </a:cxnLst>
              <a:rect l="0" t="0" r="r" b="b"/>
              <a:pathLst>
                <a:path w="19" h="57">
                  <a:moveTo>
                    <a:pt x="11" y="57"/>
                  </a:moveTo>
                  <a:lnTo>
                    <a:pt x="19" y="2"/>
                  </a:lnTo>
                  <a:lnTo>
                    <a:pt x="9" y="0"/>
                  </a:lnTo>
                  <a:lnTo>
                    <a:pt x="0" y="54"/>
                  </a:lnTo>
                  <a:lnTo>
                    <a:pt x="11" y="57"/>
                  </a:lnTo>
                  <a:close/>
                </a:path>
              </a:pathLst>
            </a:custGeom>
            <a:solidFill>
              <a:srgbClr val="65ADA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7" name="Freeform 656"/>
            <p:cNvSpPr/>
            <p:nvPr/>
          </p:nvSpPr>
          <p:spPr bwMode="auto">
            <a:xfrm>
              <a:off x="4403722" y="5083184"/>
              <a:ext cx="6350" cy="30163"/>
            </a:xfrm>
            <a:custGeom>
              <a:avLst/>
              <a:gdLst>
                <a:gd name="T0" fmla="*/ 11 w 13"/>
                <a:gd name="T1" fmla="*/ 59 h 59"/>
                <a:gd name="T2" fmla="*/ 13 w 13"/>
                <a:gd name="T3" fmla="*/ 0 h 59"/>
                <a:gd name="T4" fmla="*/ 3 w 13"/>
                <a:gd name="T5" fmla="*/ 0 h 59"/>
                <a:gd name="T6" fmla="*/ 0 w 13"/>
                <a:gd name="T7" fmla="*/ 57 h 59"/>
                <a:gd name="T8" fmla="*/ 11 w 13"/>
                <a:gd name="T9" fmla="*/ 59 h 59"/>
              </a:gdLst>
              <a:ahLst/>
              <a:cxnLst>
                <a:cxn ang="0">
                  <a:pos x="T0" y="T1"/>
                </a:cxn>
                <a:cxn ang="0">
                  <a:pos x="T2" y="T3"/>
                </a:cxn>
                <a:cxn ang="0">
                  <a:pos x="T4" y="T5"/>
                </a:cxn>
                <a:cxn ang="0">
                  <a:pos x="T6" y="T7"/>
                </a:cxn>
                <a:cxn ang="0">
                  <a:pos x="T8" y="T9"/>
                </a:cxn>
              </a:cxnLst>
              <a:rect l="0" t="0" r="r" b="b"/>
              <a:pathLst>
                <a:path w="13" h="59">
                  <a:moveTo>
                    <a:pt x="11" y="59"/>
                  </a:moveTo>
                  <a:lnTo>
                    <a:pt x="13" y="0"/>
                  </a:lnTo>
                  <a:lnTo>
                    <a:pt x="3" y="0"/>
                  </a:lnTo>
                  <a:lnTo>
                    <a:pt x="0" y="57"/>
                  </a:lnTo>
                  <a:lnTo>
                    <a:pt x="11" y="59"/>
                  </a:lnTo>
                  <a:close/>
                </a:path>
              </a:pathLst>
            </a:custGeom>
            <a:solidFill>
              <a:srgbClr val="65ADA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8" name="Rectangle 657"/>
            <p:cNvSpPr>
              <a:spLocks noChangeArrowheads="1"/>
            </p:cNvSpPr>
            <p:nvPr/>
          </p:nvSpPr>
          <p:spPr bwMode="auto">
            <a:xfrm>
              <a:off x="4373560" y="5084771"/>
              <a:ext cx="6350" cy="30163"/>
            </a:xfrm>
            <a:prstGeom prst="rect">
              <a:avLst/>
            </a:prstGeom>
            <a:solidFill>
              <a:srgbClr val="65A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29" name="Freeform 658"/>
            <p:cNvSpPr/>
            <p:nvPr/>
          </p:nvSpPr>
          <p:spPr bwMode="auto">
            <a:xfrm>
              <a:off x="4337047" y="5084771"/>
              <a:ext cx="6350" cy="31750"/>
            </a:xfrm>
            <a:custGeom>
              <a:avLst/>
              <a:gdLst>
                <a:gd name="T0" fmla="*/ 9 w 12"/>
                <a:gd name="T1" fmla="*/ 60 h 60"/>
                <a:gd name="T2" fmla="*/ 12 w 12"/>
                <a:gd name="T3" fmla="*/ 1 h 60"/>
                <a:gd name="T4" fmla="*/ 3 w 12"/>
                <a:gd name="T5" fmla="*/ 0 h 60"/>
                <a:gd name="T6" fmla="*/ 0 w 12"/>
                <a:gd name="T7" fmla="*/ 59 h 60"/>
                <a:gd name="T8" fmla="*/ 9 w 12"/>
                <a:gd name="T9" fmla="*/ 60 h 60"/>
              </a:gdLst>
              <a:ahLst/>
              <a:cxnLst>
                <a:cxn ang="0">
                  <a:pos x="T0" y="T1"/>
                </a:cxn>
                <a:cxn ang="0">
                  <a:pos x="T2" y="T3"/>
                </a:cxn>
                <a:cxn ang="0">
                  <a:pos x="T4" y="T5"/>
                </a:cxn>
                <a:cxn ang="0">
                  <a:pos x="T6" y="T7"/>
                </a:cxn>
                <a:cxn ang="0">
                  <a:pos x="T8" y="T9"/>
                </a:cxn>
              </a:cxnLst>
              <a:rect l="0" t="0" r="r" b="b"/>
              <a:pathLst>
                <a:path w="12" h="60">
                  <a:moveTo>
                    <a:pt x="9" y="60"/>
                  </a:moveTo>
                  <a:lnTo>
                    <a:pt x="12" y="1"/>
                  </a:lnTo>
                  <a:lnTo>
                    <a:pt x="3" y="0"/>
                  </a:lnTo>
                  <a:lnTo>
                    <a:pt x="0" y="59"/>
                  </a:lnTo>
                  <a:lnTo>
                    <a:pt x="9" y="60"/>
                  </a:lnTo>
                  <a:close/>
                </a:path>
              </a:pathLst>
            </a:custGeom>
            <a:solidFill>
              <a:srgbClr val="65ADA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0" name="Freeform 659"/>
            <p:cNvSpPr/>
            <p:nvPr/>
          </p:nvSpPr>
          <p:spPr bwMode="auto">
            <a:xfrm>
              <a:off x="4305297" y="5089534"/>
              <a:ext cx="6350" cy="31750"/>
            </a:xfrm>
            <a:custGeom>
              <a:avLst/>
              <a:gdLst>
                <a:gd name="T0" fmla="*/ 2 w 13"/>
                <a:gd name="T1" fmla="*/ 60 h 60"/>
                <a:gd name="T2" fmla="*/ 13 w 13"/>
                <a:gd name="T3" fmla="*/ 60 h 60"/>
                <a:gd name="T4" fmla="*/ 10 w 13"/>
                <a:gd name="T5" fmla="*/ 0 h 60"/>
                <a:gd name="T6" fmla="*/ 0 w 13"/>
                <a:gd name="T7" fmla="*/ 0 h 60"/>
                <a:gd name="T8" fmla="*/ 2 w 13"/>
                <a:gd name="T9" fmla="*/ 60 h 60"/>
              </a:gdLst>
              <a:ahLst/>
              <a:cxnLst>
                <a:cxn ang="0">
                  <a:pos x="T0" y="T1"/>
                </a:cxn>
                <a:cxn ang="0">
                  <a:pos x="T2" y="T3"/>
                </a:cxn>
                <a:cxn ang="0">
                  <a:pos x="T4" y="T5"/>
                </a:cxn>
                <a:cxn ang="0">
                  <a:pos x="T6" y="T7"/>
                </a:cxn>
                <a:cxn ang="0">
                  <a:pos x="T8" y="T9"/>
                </a:cxn>
              </a:cxnLst>
              <a:rect l="0" t="0" r="r" b="b"/>
              <a:pathLst>
                <a:path w="13" h="60">
                  <a:moveTo>
                    <a:pt x="2" y="60"/>
                  </a:moveTo>
                  <a:lnTo>
                    <a:pt x="13" y="60"/>
                  </a:lnTo>
                  <a:lnTo>
                    <a:pt x="10" y="0"/>
                  </a:lnTo>
                  <a:lnTo>
                    <a:pt x="0" y="0"/>
                  </a:lnTo>
                  <a:lnTo>
                    <a:pt x="2" y="60"/>
                  </a:lnTo>
                  <a:close/>
                </a:path>
              </a:pathLst>
            </a:custGeom>
            <a:solidFill>
              <a:srgbClr val="65ADA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1" name="Freeform 660"/>
            <p:cNvSpPr/>
            <p:nvPr/>
          </p:nvSpPr>
          <p:spPr bwMode="auto">
            <a:xfrm>
              <a:off x="4268785" y="5091121"/>
              <a:ext cx="6350" cy="31750"/>
            </a:xfrm>
            <a:custGeom>
              <a:avLst/>
              <a:gdLst>
                <a:gd name="T0" fmla="*/ 3 w 12"/>
                <a:gd name="T1" fmla="*/ 61 h 61"/>
                <a:gd name="T2" fmla="*/ 12 w 12"/>
                <a:gd name="T3" fmla="*/ 61 h 61"/>
                <a:gd name="T4" fmla="*/ 10 w 12"/>
                <a:gd name="T5" fmla="*/ 0 h 61"/>
                <a:gd name="T6" fmla="*/ 0 w 12"/>
                <a:gd name="T7" fmla="*/ 0 h 61"/>
                <a:gd name="T8" fmla="*/ 3 w 12"/>
                <a:gd name="T9" fmla="*/ 61 h 61"/>
              </a:gdLst>
              <a:ahLst/>
              <a:cxnLst>
                <a:cxn ang="0">
                  <a:pos x="T0" y="T1"/>
                </a:cxn>
                <a:cxn ang="0">
                  <a:pos x="T2" y="T3"/>
                </a:cxn>
                <a:cxn ang="0">
                  <a:pos x="T4" y="T5"/>
                </a:cxn>
                <a:cxn ang="0">
                  <a:pos x="T6" y="T7"/>
                </a:cxn>
                <a:cxn ang="0">
                  <a:pos x="T8" y="T9"/>
                </a:cxn>
              </a:cxnLst>
              <a:rect l="0" t="0" r="r" b="b"/>
              <a:pathLst>
                <a:path w="12" h="61">
                  <a:moveTo>
                    <a:pt x="3" y="61"/>
                  </a:moveTo>
                  <a:lnTo>
                    <a:pt x="12" y="61"/>
                  </a:lnTo>
                  <a:lnTo>
                    <a:pt x="10" y="0"/>
                  </a:lnTo>
                  <a:lnTo>
                    <a:pt x="0" y="0"/>
                  </a:lnTo>
                  <a:lnTo>
                    <a:pt x="3" y="61"/>
                  </a:lnTo>
                  <a:close/>
                </a:path>
              </a:pathLst>
            </a:custGeom>
            <a:solidFill>
              <a:srgbClr val="65ADA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2" name="Freeform 661"/>
            <p:cNvSpPr/>
            <p:nvPr/>
          </p:nvSpPr>
          <p:spPr bwMode="auto">
            <a:xfrm>
              <a:off x="4071935" y="5200660"/>
              <a:ext cx="639762" cy="107950"/>
            </a:xfrm>
            <a:custGeom>
              <a:avLst/>
              <a:gdLst>
                <a:gd name="T0" fmla="*/ 0 w 1209"/>
                <a:gd name="T1" fmla="*/ 115 h 206"/>
                <a:gd name="T2" fmla="*/ 1011 w 1209"/>
                <a:gd name="T3" fmla="*/ 206 h 206"/>
                <a:gd name="T4" fmla="*/ 1209 w 1209"/>
                <a:gd name="T5" fmla="*/ 150 h 206"/>
                <a:gd name="T6" fmla="*/ 0 w 1209"/>
                <a:gd name="T7" fmla="*/ 0 h 206"/>
                <a:gd name="T8" fmla="*/ 0 w 1209"/>
                <a:gd name="T9" fmla="*/ 115 h 206"/>
              </a:gdLst>
              <a:ahLst/>
              <a:cxnLst>
                <a:cxn ang="0">
                  <a:pos x="T0" y="T1"/>
                </a:cxn>
                <a:cxn ang="0">
                  <a:pos x="T2" y="T3"/>
                </a:cxn>
                <a:cxn ang="0">
                  <a:pos x="T4" y="T5"/>
                </a:cxn>
                <a:cxn ang="0">
                  <a:pos x="T6" y="T7"/>
                </a:cxn>
                <a:cxn ang="0">
                  <a:pos x="T8" y="T9"/>
                </a:cxn>
              </a:cxnLst>
              <a:rect l="0" t="0" r="r" b="b"/>
              <a:pathLst>
                <a:path w="1209" h="206">
                  <a:moveTo>
                    <a:pt x="0" y="115"/>
                  </a:moveTo>
                  <a:lnTo>
                    <a:pt x="1011" y="206"/>
                  </a:lnTo>
                  <a:lnTo>
                    <a:pt x="1209" y="150"/>
                  </a:lnTo>
                  <a:lnTo>
                    <a:pt x="0" y="0"/>
                  </a:lnTo>
                  <a:lnTo>
                    <a:pt x="0" y="115"/>
                  </a:lnTo>
                  <a:close/>
                </a:path>
              </a:pathLst>
            </a:custGeom>
            <a:solidFill>
              <a:srgbClr val="7E851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3" name="Freeform 662"/>
            <p:cNvSpPr/>
            <p:nvPr/>
          </p:nvSpPr>
          <p:spPr bwMode="auto">
            <a:xfrm>
              <a:off x="4057647" y="4914909"/>
              <a:ext cx="234950" cy="344489"/>
            </a:xfrm>
            <a:custGeom>
              <a:avLst/>
              <a:gdLst>
                <a:gd name="T0" fmla="*/ 88 w 446"/>
                <a:gd name="T1" fmla="*/ 0 h 651"/>
                <a:gd name="T2" fmla="*/ 446 w 446"/>
                <a:gd name="T3" fmla="*/ 271 h 651"/>
                <a:gd name="T4" fmla="*/ 378 w 446"/>
                <a:gd name="T5" fmla="*/ 294 h 651"/>
                <a:gd name="T6" fmla="*/ 371 w 446"/>
                <a:gd name="T7" fmla="*/ 651 h 651"/>
                <a:gd name="T8" fmla="*/ 0 w 446"/>
                <a:gd name="T9" fmla="*/ 627 h 651"/>
                <a:gd name="T10" fmla="*/ 88 w 446"/>
                <a:gd name="T11" fmla="*/ 0 h 651"/>
              </a:gdLst>
              <a:ahLst/>
              <a:cxnLst>
                <a:cxn ang="0">
                  <a:pos x="T0" y="T1"/>
                </a:cxn>
                <a:cxn ang="0">
                  <a:pos x="T2" y="T3"/>
                </a:cxn>
                <a:cxn ang="0">
                  <a:pos x="T4" y="T5"/>
                </a:cxn>
                <a:cxn ang="0">
                  <a:pos x="T6" y="T7"/>
                </a:cxn>
                <a:cxn ang="0">
                  <a:pos x="T8" y="T9"/>
                </a:cxn>
                <a:cxn ang="0">
                  <a:pos x="T10" y="T11"/>
                </a:cxn>
              </a:cxnLst>
              <a:rect l="0" t="0" r="r" b="b"/>
              <a:pathLst>
                <a:path w="446" h="651">
                  <a:moveTo>
                    <a:pt x="88" y="0"/>
                  </a:moveTo>
                  <a:lnTo>
                    <a:pt x="446" y="271"/>
                  </a:lnTo>
                  <a:lnTo>
                    <a:pt x="378" y="294"/>
                  </a:lnTo>
                  <a:lnTo>
                    <a:pt x="371" y="651"/>
                  </a:lnTo>
                  <a:lnTo>
                    <a:pt x="0" y="627"/>
                  </a:lnTo>
                  <a:lnTo>
                    <a:pt x="88" y="0"/>
                  </a:lnTo>
                  <a:close/>
                </a:path>
              </a:pathLst>
            </a:custGeom>
            <a:solidFill>
              <a:srgbClr val="BA4B4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4" name="Freeform 663"/>
            <p:cNvSpPr/>
            <p:nvPr/>
          </p:nvSpPr>
          <p:spPr bwMode="auto">
            <a:xfrm>
              <a:off x="3775072" y="4643446"/>
              <a:ext cx="344487" cy="615951"/>
            </a:xfrm>
            <a:custGeom>
              <a:avLst/>
              <a:gdLst>
                <a:gd name="T0" fmla="*/ 9 w 651"/>
                <a:gd name="T1" fmla="*/ 1158 h 1162"/>
                <a:gd name="T2" fmla="*/ 0 w 651"/>
                <a:gd name="T3" fmla="*/ 206 h 1162"/>
                <a:gd name="T4" fmla="*/ 332 w 651"/>
                <a:gd name="T5" fmla="*/ 0 h 1162"/>
                <a:gd name="T6" fmla="*/ 651 w 651"/>
                <a:gd name="T7" fmla="*/ 210 h 1162"/>
                <a:gd name="T8" fmla="*/ 588 w 651"/>
                <a:gd name="T9" fmla="*/ 1162 h 1162"/>
                <a:gd name="T10" fmla="*/ 9 w 651"/>
                <a:gd name="T11" fmla="*/ 1158 h 1162"/>
              </a:gdLst>
              <a:ahLst/>
              <a:cxnLst>
                <a:cxn ang="0">
                  <a:pos x="T0" y="T1"/>
                </a:cxn>
                <a:cxn ang="0">
                  <a:pos x="T2" y="T3"/>
                </a:cxn>
                <a:cxn ang="0">
                  <a:pos x="T4" y="T5"/>
                </a:cxn>
                <a:cxn ang="0">
                  <a:pos x="T6" y="T7"/>
                </a:cxn>
                <a:cxn ang="0">
                  <a:pos x="T8" y="T9"/>
                </a:cxn>
                <a:cxn ang="0">
                  <a:pos x="T10" y="T11"/>
                </a:cxn>
              </a:cxnLst>
              <a:rect l="0" t="0" r="r" b="b"/>
              <a:pathLst>
                <a:path w="651" h="1162">
                  <a:moveTo>
                    <a:pt x="9" y="1158"/>
                  </a:moveTo>
                  <a:lnTo>
                    <a:pt x="0" y="206"/>
                  </a:lnTo>
                  <a:lnTo>
                    <a:pt x="332" y="0"/>
                  </a:lnTo>
                  <a:lnTo>
                    <a:pt x="651" y="210"/>
                  </a:lnTo>
                  <a:lnTo>
                    <a:pt x="588" y="1162"/>
                  </a:lnTo>
                  <a:lnTo>
                    <a:pt x="9" y="1158"/>
                  </a:lnTo>
                  <a:close/>
                </a:path>
              </a:pathLst>
            </a:custGeom>
            <a:solidFill>
              <a:srgbClr val="DE6A6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5" name="Freeform 664"/>
            <p:cNvSpPr/>
            <p:nvPr/>
          </p:nvSpPr>
          <p:spPr bwMode="auto">
            <a:xfrm>
              <a:off x="3775072" y="4643446"/>
              <a:ext cx="344487" cy="615951"/>
            </a:xfrm>
            <a:custGeom>
              <a:avLst/>
              <a:gdLst>
                <a:gd name="T0" fmla="*/ 9 w 651"/>
                <a:gd name="T1" fmla="*/ 1158 h 1162"/>
                <a:gd name="T2" fmla="*/ 0 w 651"/>
                <a:gd name="T3" fmla="*/ 206 h 1162"/>
                <a:gd name="T4" fmla="*/ 332 w 651"/>
                <a:gd name="T5" fmla="*/ 0 h 1162"/>
                <a:gd name="T6" fmla="*/ 651 w 651"/>
                <a:gd name="T7" fmla="*/ 210 h 1162"/>
                <a:gd name="T8" fmla="*/ 588 w 651"/>
                <a:gd name="T9" fmla="*/ 1162 h 1162"/>
                <a:gd name="T10" fmla="*/ 9 w 651"/>
                <a:gd name="T11" fmla="*/ 1158 h 1162"/>
              </a:gdLst>
              <a:ahLst/>
              <a:cxnLst>
                <a:cxn ang="0">
                  <a:pos x="T0" y="T1"/>
                </a:cxn>
                <a:cxn ang="0">
                  <a:pos x="T2" y="T3"/>
                </a:cxn>
                <a:cxn ang="0">
                  <a:pos x="T4" y="T5"/>
                </a:cxn>
                <a:cxn ang="0">
                  <a:pos x="T6" y="T7"/>
                </a:cxn>
                <a:cxn ang="0">
                  <a:pos x="T8" y="T9"/>
                </a:cxn>
                <a:cxn ang="0">
                  <a:pos x="T10" y="T11"/>
                </a:cxn>
              </a:cxnLst>
              <a:rect l="0" t="0" r="r" b="b"/>
              <a:pathLst>
                <a:path w="651" h="1162">
                  <a:moveTo>
                    <a:pt x="9" y="1158"/>
                  </a:moveTo>
                  <a:lnTo>
                    <a:pt x="0" y="206"/>
                  </a:lnTo>
                  <a:lnTo>
                    <a:pt x="332" y="0"/>
                  </a:lnTo>
                  <a:lnTo>
                    <a:pt x="651" y="210"/>
                  </a:lnTo>
                  <a:lnTo>
                    <a:pt x="588" y="1162"/>
                  </a:lnTo>
                  <a:lnTo>
                    <a:pt x="9" y="11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6" name="Freeform 665"/>
            <p:cNvSpPr/>
            <p:nvPr/>
          </p:nvSpPr>
          <p:spPr bwMode="auto">
            <a:xfrm>
              <a:off x="3557586" y="4752983"/>
              <a:ext cx="222250" cy="503239"/>
            </a:xfrm>
            <a:custGeom>
              <a:avLst/>
              <a:gdLst>
                <a:gd name="T0" fmla="*/ 10 w 420"/>
                <a:gd name="T1" fmla="*/ 246 h 952"/>
                <a:gd name="T2" fmla="*/ 0 w 420"/>
                <a:gd name="T3" fmla="*/ 5 h 952"/>
                <a:gd name="T4" fmla="*/ 411 w 420"/>
                <a:gd name="T5" fmla="*/ 0 h 952"/>
                <a:gd name="T6" fmla="*/ 420 w 420"/>
                <a:gd name="T7" fmla="*/ 952 h 952"/>
                <a:gd name="T8" fmla="*/ 63 w 420"/>
                <a:gd name="T9" fmla="*/ 908 h 952"/>
                <a:gd name="T10" fmla="*/ 10 w 420"/>
                <a:gd name="T11" fmla="*/ 246 h 952"/>
              </a:gdLst>
              <a:ahLst/>
              <a:cxnLst>
                <a:cxn ang="0">
                  <a:pos x="T0" y="T1"/>
                </a:cxn>
                <a:cxn ang="0">
                  <a:pos x="T2" y="T3"/>
                </a:cxn>
                <a:cxn ang="0">
                  <a:pos x="T4" y="T5"/>
                </a:cxn>
                <a:cxn ang="0">
                  <a:pos x="T6" y="T7"/>
                </a:cxn>
                <a:cxn ang="0">
                  <a:pos x="T8" y="T9"/>
                </a:cxn>
                <a:cxn ang="0">
                  <a:pos x="T10" y="T11"/>
                </a:cxn>
              </a:cxnLst>
              <a:rect l="0" t="0" r="r" b="b"/>
              <a:pathLst>
                <a:path w="420" h="952">
                  <a:moveTo>
                    <a:pt x="10" y="246"/>
                  </a:moveTo>
                  <a:lnTo>
                    <a:pt x="0" y="5"/>
                  </a:lnTo>
                  <a:lnTo>
                    <a:pt x="411" y="0"/>
                  </a:lnTo>
                  <a:lnTo>
                    <a:pt x="420" y="952"/>
                  </a:lnTo>
                  <a:lnTo>
                    <a:pt x="63" y="908"/>
                  </a:lnTo>
                  <a:lnTo>
                    <a:pt x="10" y="246"/>
                  </a:lnTo>
                  <a:close/>
                </a:path>
              </a:pathLst>
            </a:custGeom>
            <a:solidFill>
              <a:srgbClr val="85282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 name="Freeform 666"/>
            <p:cNvSpPr/>
            <p:nvPr/>
          </p:nvSpPr>
          <p:spPr bwMode="auto">
            <a:xfrm>
              <a:off x="3557586" y="4752983"/>
              <a:ext cx="222250" cy="503239"/>
            </a:xfrm>
            <a:custGeom>
              <a:avLst/>
              <a:gdLst>
                <a:gd name="T0" fmla="*/ 10 w 420"/>
                <a:gd name="T1" fmla="*/ 246 h 952"/>
                <a:gd name="T2" fmla="*/ 0 w 420"/>
                <a:gd name="T3" fmla="*/ 5 h 952"/>
                <a:gd name="T4" fmla="*/ 411 w 420"/>
                <a:gd name="T5" fmla="*/ 0 h 952"/>
                <a:gd name="T6" fmla="*/ 420 w 420"/>
                <a:gd name="T7" fmla="*/ 952 h 952"/>
                <a:gd name="T8" fmla="*/ 63 w 420"/>
                <a:gd name="T9" fmla="*/ 908 h 952"/>
                <a:gd name="T10" fmla="*/ 10 w 420"/>
                <a:gd name="T11" fmla="*/ 246 h 952"/>
              </a:gdLst>
              <a:ahLst/>
              <a:cxnLst>
                <a:cxn ang="0">
                  <a:pos x="T0" y="T1"/>
                </a:cxn>
                <a:cxn ang="0">
                  <a:pos x="T2" y="T3"/>
                </a:cxn>
                <a:cxn ang="0">
                  <a:pos x="T4" y="T5"/>
                </a:cxn>
                <a:cxn ang="0">
                  <a:pos x="T6" y="T7"/>
                </a:cxn>
                <a:cxn ang="0">
                  <a:pos x="T8" y="T9"/>
                </a:cxn>
                <a:cxn ang="0">
                  <a:pos x="T10" y="T11"/>
                </a:cxn>
              </a:cxnLst>
              <a:rect l="0" t="0" r="r" b="b"/>
              <a:pathLst>
                <a:path w="420" h="952">
                  <a:moveTo>
                    <a:pt x="10" y="246"/>
                  </a:moveTo>
                  <a:lnTo>
                    <a:pt x="0" y="5"/>
                  </a:lnTo>
                  <a:lnTo>
                    <a:pt x="411" y="0"/>
                  </a:lnTo>
                  <a:lnTo>
                    <a:pt x="420" y="952"/>
                  </a:lnTo>
                  <a:lnTo>
                    <a:pt x="63" y="908"/>
                  </a:lnTo>
                  <a:lnTo>
                    <a:pt x="10"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8" name="Freeform 667"/>
            <p:cNvSpPr/>
            <p:nvPr/>
          </p:nvSpPr>
          <p:spPr bwMode="auto">
            <a:xfrm>
              <a:off x="3617911" y="4792671"/>
              <a:ext cx="50800" cy="92075"/>
            </a:xfrm>
            <a:custGeom>
              <a:avLst/>
              <a:gdLst>
                <a:gd name="T0" fmla="*/ 95 w 95"/>
                <a:gd name="T1" fmla="*/ 172 h 172"/>
                <a:gd name="T2" fmla="*/ 95 w 95"/>
                <a:gd name="T3" fmla="*/ 4 h 172"/>
                <a:gd name="T4" fmla="*/ 0 w 95"/>
                <a:gd name="T5" fmla="*/ 0 h 172"/>
                <a:gd name="T6" fmla="*/ 13 w 95"/>
                <a:gd name="T7" fmla="*/ 170 h 172"/>
                <a:gd name="T8" fmla="*/ 95 w 95"/>
                <a:gd name="T9" fmla="*/ 172 h 172"/>
              </a:gdLst>
              <a:ahLst/>
              <a:cxnLst>
                <a:cxn ang="0">
                  <a:pos x="T0" y="T1"/>
                </a:cxn>
                <a:cxn ang="0">
                  <a:pos x="T2" y="T3"/>
                </a:cxn>
                <a:cxn ang="0">
                  <a:pos x="T4" y="T5"/>
                </a:cxn>
                <a:cxn ang="0">
                  <a:pos x="T6" y="T7"/>
                </a:cxn>
                <a:cxn ang="0">
                  <a:pos x="T8" y="T9"/>
                </a:cxn>
              </a:cxnLst>
              <a:rect l="0" t="0" r="r" b="b"/>
              <a:pathLst>
                <a:path w="95" h="172">
                  <a:moveTo>
                    <a:pt x="95" y="172"/>
                  </a:moveTo>
                  <a:lnTo>
                    <a:pt x="95" y="4"/>
                  </a:lnTo>
                  <a:lnTo>
                    <a:pt x="0" y="0"/>
                  </a:lnTo>
                  <a:lnTo>
                    <a:pt x="13" y="170"/>
                  </a:lnTo>
                  <a:lnTo>
                    <a:pt x="95" y="172"/>
                  </a:lnTo>
                  <a:close/>
                </a:path>
              </a:pathLst>
            </a:custGeom>
            <a:solidFill>
              <a:srgbClr val="5F1B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 name="Freeform 668"/>
            <p:cNvSpPr/>
            <p:nvPr/>
          </p:nvSpPr>
          <p:spPr bwMode="auto">
            <a:xfrm>
              <a:off x="3694110" y="4854584"/>
              <a:ext cx="6350" cy="46038"/>
            </a:xfrm>
            <a:custGeom>
              <a:avLst/>
              <a:gdLst>
                <a:gd name="T0" fmla="*/ 11 w 11"/>
                <a:gd name="T1" fmla="*/ 0 h 87"/>
                <a:gd name="T2" fmla="*/ 11 w 11"/>
                <a:gd name="T3" fmla="*/ 83 h 87"/>
                <a:gd name="T4" fmla="*/ 0 w 11"/>
                <a:gd name="T5" fmla="*/ 87 h 87"/>
                <a:gd name="T6" fmla="*/ 0 w 11"/>
                <a:gd name="T7" fmla="*/ 0 h 87"/>
                <a:gd name="T8" fmla="*/ 11 w 11"/>
                <a:gd name="T9" fmla="*/ 0 h 87"/>
              </a:gdLst>
              <a:ahLst/>
              <a:cxnLst>
                <a:cxn ang="0">
                  <a:pos x="T0" y="T1"/>
                </a:cxn>
                <a:cxn ang="0">
                  <a:pos x="T2" y="T3"/>
                </a:cxn>
                <a:cxn ang="0">
                  <a:pos x="T4" y="T5"/>
                </a:cxn>
                <a:cxn ang="0">
                  <a:pos x="T6" y="T7"/>
                </a:cxn>
                <a:cxn ang="0">
                  <a:pos x="T8" y="T9"/>
                </a:cxn>
              </a:cxnLst>
              <a:rect l="0" t="0" r="r" b="b"/>
              <a:pathLst>
                <a:path w="11" h="87">
                  <a:moveTo>
                    <a:pt x="11" y="0"/>
                  </a:moveTo>
                  <a:lnTo>
                    <a:pt x="11" y="83"/>
                  </a:lnTo>
                  <a:lnTo>
                    <a:pt x="0" y="87"/>
                  </a:lnTo>
                  <a:lnTo>
                    <a:pt x="0" y="0"/>
                  </a:lnTo>
                  <a:lnTo>
                    <a:pt x="11" y="0"/>
                  </a:lnTo>
                  <a:close/>
                </a:path>
              </a:pathLst>
            </a:custGeom>
            <a:solidFill>
              <a:srgbClr val="3263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0" name="Freeform 669"/>
            <p:cNvSpPr/>
            <p:nvPr/>
          </p:nvSpPr>
          <p:spPr bwMode="auto">
            <a:xfrm>
              <a:off x="3652835" y="4852996"/>
              <a:ext cx="6350" cy="46038"/>
            </a:xfrm>
            <a:custGeom>
              <a:avLst/>
              <a:gdLst>
                <a:gd name="T0" fmla="*/ 11 w 11"/>
                <a:gd name="T1" fmla="*/ 0 h 87"/>
                <a:gd name="T2" fmla="*/ 11 w 11"/>
                <a:gd name="T3" fmla="*/ 83 h 87"/>
                <a:gd name="T4" fmla="*/ 0 w 11"/>
                <a:gd name="T5" fmla="*/ 87 h 87"/>
                <a:gd name="T6" fmla="*/ 0 w 11"/>
                <a:gd name="T7" fmla="*/ 0 h 87"/>
                <a:gd name="T8" fmla="*/ 11 w 11"/>
                <a:gd name="T9" fmla="*/ 0 h 87"/>
              </a:gdLst>
              <a:ahLst/>
              <a:cxnLst>
                <a:cxn ang="0">
                  <a:pos x="T0" y="T1"/>
                </a:cxn>
                <a:cxn ang="0">
                  <a:pos x="T2" y="T3"/>
                </a:cxn>
                <a:cxn ang="0">
                  <a:pos x="T4" y="T5"/>
                </a:cxn>
                <a:cxn ang="0">
                  <a:pos x="T6" y="T7"/>
                </a:cxn>
                <a:cxn ang="0">
                  <a:pos x="T8" y="T9"/>
                </a:cxn>
              </a:cxnLst>
              <a:rect l="0" t="0" r="r" b="b"/>
              <a:pathLst>
                <a:path w="11" h="87">
                  <a:moveTo>
                    <a:pt x="11" y="0"/>
                  </a:moveTo>
                  <a:lnTo>
                    <a:pt x="11" y="83"/>
                  </a:lnTo>
                  <a:lnTo>
                    <a:pt x="0" y="87"/>
                  </a:lnTo>
                  <a:lnTo>
                    <a:pt x="0" y="0"/>
                  </a:lnTo>
                  <a:lnTo>
                    <a:pt x="11" y="0"/>
                  </a:lnTo>
                  <a:close/>
                </a:path>
              </a:pathLst>
            </a:custGeom>
            <a:solidFill>
              <a:srgbClr val="3263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1" name="Freeform 670"/>
            <p:cNvSpPr/>
            <p:nvPr/>
          </p:nvSpPr>
          <p:spPr bwMode="auto">
            <a:xfrm>
              <a:off x="3611560" y="4851409"/>
              <a:ext cx="6350" cy="47625"/>
            </a:xfrm>
            <a:custGeom>
              <a:avLst/>
              <a:gdLst>
                <a:gd name="T0" fmla="*/ 11 w 11"/>
                <a:gd name="T1" fmla="*/ 0 h 88"/>
                <a:gd name="T2" fmla="*/ 11 w 11"/>
                <a:gd name="T3" fmla="*/ 84 h 88"/>
                <a:gd name="T4" fmla="*/ 0 w 11"/>
                <a:gd name="T5" fmla="*/ 88 h 88"/>
                <a:gd name="T6" fmla="*/ 0 w 11"/>
                <a:gd name="T7" fmla="*/ 0 h 88"/>
                <a:gd name="T8" fmla="*/ 11 w 11"/>
                <a:gd name="T9" fmla="*/ 0 h 88"/>
              </a:gdLst>
              <a:ahLst/>
              <a:cxnLst>
                <a:cxn ang="0">
                  <a:pos x="T0" y="T1"/>
                </a:cxn>
                <a:cxn ang="0">
                  <a:pos x="T2" y="T3"/>
                </a:cxn>
                <a:cxn ang="0">
                  <a:pos x="T4" y="T5"/>
                </a:cxn>
                <a:cxn ang="0">
                  <a:pos x="T6" y="T7"/>
                </a:cxn>
                <a:cxn ang="0">
                  <a:pos x="T8" y="T9"/>
                </a:cxn>
              </a:cxnLst>
              <a:rect l="0" t="0" r="r" b="b"/>
              <a:pathLst>
                <a:path w="11" h="88">
                  <a:moveTo>
                    <a:pt x="11" y="0"/>
                  </a:moveTo>
                  <a:lnTo>
                    <a:pt x="11" y="84"/>
                  </a:lnTo>
                  <a:lnTo>
                    <a:pt x="0" y="88"/>
                  </a:lnTo>
                  <a:lnTo>
                    <a:pt x="0" y="0"/>
                  </a:lnTo>
                  <a:lnTo>
                    <a:pt x="11" y="0"/>
                  </a:lnTo>
                  <a:close/>
                </a:path>
              </a:pathLst>
            </a:custGeom>
            <a:solidFill>
              <a:srgbClr val="3263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 name="Freeform 671"/>
            <p:cNvSpPr/>
            <p:nvPr/>
          </p:nvSpPr>
          <p:spPr bwMode="auto">
            <a:xfrm>
              <a:off x="3570285" y="4851409"/>
              <a:ext cx="6350" cy="46038"/>
            </a:xfrm>
            <a:custGeom>
              <a:avLst/>
              <a:gdLst>
                <a:gd name="T0" fmla="*/ 11 w 11"/>
                <a:gd name="T1" fmla="*/ 1 h 87"/>
                <a:gd name="T2" fmla="*/ 11 w 11"/>
                <a:gd name="T3" fmla="*/ 83 h 87"/>
                <a:gd name="T4" fmla="*/ 0 w 11"/>
                <a:gd name="T5" fmla="*/ 87 h 87"/>
                <a:gd name="T6" fmla="*/ 0 w 11"/>
                <a:gd name="T7" fmla="*/ 0 h 87"/>
                <a:gd name="T8" fmla="*/ 11 w 11"/>
                <a:gd name="T9" fmla="*/ 1 h 87"/>
              </a:gdLst>
              <a:ahLst/>
              <a:cxnLst>
                <a:cxn ang="0">
                  <a:pos x="T0" y="T1"/>
                </a:cxn>
                <a:cxn ang="0">
                  <a:pos x="T2" y="T3"/>
                </a:cxn>
                <a:cxn ang="0">
                  <a:pos x="T4" y="T5"/>
                </a:cxn>
                <a:cxn ang="0">
                  <a:pos x="T6" y="T7"/>
                </a:cxn>
                <a:cxn ang="0">
                  <a:pos x="T8" y="T9"/>
                </a:cxn>
              </a:cxnLst>
              <a:rect l="0" t="0" r="r" b="b"/>
              <a:pathLst>
                <a:path w="11" h="87">
                  <a:moveTo>
                    <a:pt x="11" y="1"/>
                  </a:moveTo>
                  <a:lnTo>
                    <a:pt x="11" y="83"/>
                  </a:lnTo>
                  <a:lnTo>
                    <a:pt x="0" y="87"/>
                  </a:lnTo>
                  <a:lnTo>
                    <a:pt x="0" y="0"/>
                  </a:lnTo>
                  <a:lnTo>
                    <a:pt x="11" y="1"/>
                  </a:lnTo>
                  <a:close/>
                </a:path>
              </a:pathLst>
            </a:custGeom>
            <a:solidFill>
              <a:srgbClr val="3263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 name="Freeform 672"/>
            <p:cNvSpPr/>
            <p:nvPr/>
          </p:nvSpPr>
          <p:spPr bwMode="auto">
            <a:xfrm>
              <a:off x="3529010" y="4849821"/>
              <a:ext cx="6350" cy="46038"/>
            </a:xfrm>
            <a:custGeom>
              <a:avLst/>
              <a:gdLst>
                <a:gd name="T0" fmla="*/ 10 w 10"/>
                <a:gd name="T1" fmla="*/ 0 h 88"/>
                <a:gd name="T2" fmla="*/ 10 w 10"/>
                <a:gd name="T3" fmla="*/ 83 h 88"/>
                <a:gd name="T4" fmla="*/ 0 w 10"/>
                <a:gd name="T5" fmla="*/ 88 h 88"/>
                <a:gd name="T6" fmla="*/ 0 w 10"/>
                <a:gd name="T7" fmla="*/ 0 h 88"/>
                <a:gd name="T8" fmla="*/ 10 w 10"/>
                <a:gd name="T9" fmla="*/ 0 h 88"/>
              </a:gdLst>
              <a:ahLst/>
              <a:cxnLst>
                <a:cxn ang="0">
                  <a:pos x="T0" y="T1"/>
                </a:cxn>
                <a:cxn ang="0">
                  <a:pos x="T2" y="T3"/>
                </a:cxn>
                <a:cxn ang="0">
                  <a:pos x="T4" y="T5"/>
                </a:cxn>
                <a:cxn ang="0">
                  <a:pos x="T6" y="T7"/>
                </a:cxn>
                <a:cxn ang="0">
                  <a:pos x="T8" y="T9"/>
                </a:cxn>
              </a:cxnLst>
              <a:rect l="0" t="0" r="r" b="b"/>
              <a:pathLst>
                <a:path w="10" h="88">
                  <a:moveTo>
                    <a:pt x="10" y="0"/>
                  </a:moveTo>
                  <a:lnTo>
                    <a:pt x="10" y="83"/>
                  </a:lnTo>
                  <a:lnTo>
                    <a:pt x="0" y="88"/>
                  </a:lnTo>
                  <a:lnTo>
                    <a:pt x="0" y="0"/>
                  </a:lnTo>
                  <a:lnTo>
                    <a:pt x="10" y="0"/>
                  </a:lnTo>
                  <a:close/>
                </a:path>
              </a:pathLst>
            </a:custGeom>
            <a:solidFill>
              <a:srgbClr val="3263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4" name="Freeform 673"/>
            <p:cNvSpPr/>
            <p:nvPr/>
          </p:nvSpPr>
          <p:spPr bwMode="auto">
            <a:xfrm>
              <a:off x="3487736" y="4849821"/>
              <a:ext cx="4763" cy="46038"/>
            </a:xfrm>
            <a:custGeom>
              <a:avLst/>
              <a:gdLst>
                <a:gd name="T0" fmla="*/ 10 w 10"/>
                <a:gd name="T1" fmla="*/ 0 h 87"/>
                <a:gd name="T2" fmla="*/ 10 w 10"/>
                <a:gd name="T3" fmla="*/ 83 h 87"/>
                <a:gd name="T4" fmla="*/ 0 w 10"/>
                <a:gd name="T5" fmla="*/ 87 h 87"/>
                <a:gd name="T6" fmla="*/ 0 w 10"/>
                <a:gd name="T7" fmla="*/ 0 h 87"/>
                <a:gd name="T8" fmla="*/ 10 w 10"/>
                <a:gd name="T9" fmla="*/ 0 h 87"/>
              </a:gdLst>
              <a:ahLst/>
              <a:cxnLst>
                <a:cxn ang="0">
                  <a:pos x="T0" y="T1"/>
                </a:cxn>
                <a:cxn ang="0">
                  <a:pos x="T2" y="T3"/>
                </a:cxn>
                <a:cxn ang="0">
                  <a:pos x="T4" y="T5"/>
                </a:cxn>
                <a:cxn ang="0">
                  <a:pos x="T6" y="T7"/>
                </a:cxn>
                <a:cxn ang="0">
                  <a:pos x="T8" y="T9"/>
                </a:cxn>
              </a:cxnLst>
              <a:rect l="0" t="0" r="r" b="b"/>
              <a:pathLst>
                <a:path w="10" h="87">
                  <a:moveTo>
                    <a:pt x="10" y="0"/>
                  </a:moveTo>
                  <a:lnTo>
                    <a:pt x="10" y="83"/>
                  </a:lnTo>
                  <a:lnTo>
                    <a:pt x="0" y="87"/>
                  </a:lnTo>
                  <a:lnTo>
                    <a:pt x="0" y="0"/>
                  </a:lnTo>
                  <a:lnTo>
                    <a:pt x="10" y="0"/>
                  </a:lnTo>
                  <a:close/>
                </a:path>
              </a:pathLst>
            </a:custGeom>
            <a:solidFill>
              <a:srgbClr val="3263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 name="Freeform 674"/>
            <p:cNvSpPr/>
            <p:nvPr/>
          </p:nvSpPr>
          <p:spPr bwMode="auto">
            <a:xfrm>
              <a:off x="3446461" y="4848234"/>
              <a:ext cx="6350" cy="46038"/>
            </a:xfrm>
            <a:custGeom>
              <a:avLst/>
              <a:gdLst>
                <a:gd name="T0" fmla="*/ 11 w 11"/>
                <a:gd name="T1" fmla="*/ 0 h 87"/>
                <a:gd name="T2" fmla="*/ 11 w 11"/>
                <a:gd name="T3" fmla="*/ 83 h 87"/>
                <a:gd name="T4" fmla="*/ 0 w 11"/>
                <a:gd name="T5" fmla="*/ 87 h 87"/>
                <a:gd name="T6" fmla="*/ 0 w 11"/>
                <a:gd name="T7" fmla="*/ 0 h 87"/>
                <a:gd name="T8" fmla="*/ 11 w 11"/>
                <a:gd name="T9" fmla="*/ 0 h 87"/>
              </a:gdLst>
              <a:ahLst/>
              <a:cxnLst>
                <a:cxn ang="0">
                  <a:pos x="T0" y="T1"/>
                </a:cxn>
                <a:cxn ang="0">
                  <a:pos x="T2" y="T3"/>
                </a:cxn>
                <a:cxn ang="0">
                  <a:pos x="T4" y="T5"/>
                </a:cxn>
                <a:cxn ang="0">
                  <a:pos x="T6" y="T7"/>
                </a:cxn>
                <a:cxn ang="0">
                  <a:pos x="T8" y="T9"/>
                </a:cxn>
              </a:cxnLst>
              <a:rect l="0" t="0" r="r" b="b"/>
              <a:pathLst>
                <a:path w="11" h="87">
                  <a:moveTo>
                    <a:pt x="11" y="0"/>
                  </a:moveTo>
                  <a:lnTo>
                    <a:pt x="11" y="83"/>
                  </a:lnTo>
                  <a:lnTo>
                    <a:pt x="0" y="87"/>
                  </a:lnTo>
                  <a:lnTo>
                    <a:pt x="0" y="0"/>
                  </a:lnTo>
                  <a:lnTo>
                    <a:pt x="11" y="0"/>
                  </a:lnTo>
                  <a:close/>
                </a:path>
              </a:pathLst>
            </a:custGeom>
            <a:solidFill>
              <a:srgbClr val="3263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7" name="Freeform 675"/>
            <p:cNvSpPr/>
            <p:nvPr/>
          </p:nvSpPr>
          <p:spPr bwMode="auto">
            <a:xfrm>
              <a:off x="3405186" y="4846646"/>
              <a:ext cx="4763" cy="46038"/>
            </a:xfrm>
            <a:custGeom>
              <a:avLst/>
              <a:gdLst>
                <a:gd name="T0" fmla="*/ 11 w 11"/>
                <a:gd name="T1" fmla="*/ 0 h 87"/>
                <a:gd name="T2" fmla="*/ 11 w 11"/>
                <a:gd name="T3" fmla="*/ 83 h 87"/>
                <a:gd name="T4" fmla="*/ 0 w 11"/>
                <a:gd name="T5" fmla="*/ 87 h 87"/>
                <a:gd name="T6" fmla="*/ 0 w 11"/>
                <a:gd name="T7" fmla="*/ 0 h 87"/>
                <a:gd name="T8" fmla="*/ 11 w 11"/>
                <a:gd name="T9" fmla="*/ 0 h 87"/>
              </a:gdLst>
              <a:ahLst/>
              <a:cxnLst>
                <a:cxn ang="0">
                  <a:pos x="T0" y="T1"/>
                </a:cxn>
                <a:cxn ang="0">
                  <a:pos x="T2" y="T3"/>
                </a:cxn>
                <a:cxn ang="0">
                  <a:pos x="T4" y="T5"/>
                </a:cxn>
                <a:cxn ang="0">
                  <a:pos x="T6" y="T7"/>
                </a:cxn>
                <a:cxn ang="0">
                  <a:pos x="T8" y="T9"/>
                </a:cxn>
              </a:cxnLst>
              <a:rect l="0" t="0" r="r" b="b"/>
              <a:pathLst>
                <a:path w="11" h="87">
                  <a:moveTo>
                    <a:pt x="11" y="0"/>
                  </a:moveTo>
                  <a:lnTo>
                    <a:pt x="11" y="83"/>
                  </a:lnTo>
                  <a:lnTo>
                    <a:pt x="0" y="87"/>
                  </a:lnTo>
                  <a:lnTo>
                    <a:pt x="0" y="0"/>
                  </a:lnTo>
                  <a:lnTo>
                    <a:pt x="11" y="0"/>
                  </a:lnTo>
                  <a:close/>
                </a:path>
              </a:pathLst>
            </a:custGeom>
            <a:solidFill>
              <a:srgbClr val="3263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 name="Freeform 676"/>
            <p:cNvSpPr/>
            <p:nvPr/>
          </p:nvSpPr>
          <p:spPr bwMode="auto">
            <a:xfrm>
              <a:off x="3363911" y="4845059"/>
              <a:ext cx="4763" cy="46038"/>
            </a:xfrm>
            <a:custGeom>
              <a:avLst/>
              <a:gdLst>
                <a:gd name="T0" fmla="*/ 11 w 11"/>
                <a:gd name="T1" fmla="*/ 0 h 87"/>
                <a:gd name="T2" fmla="*/ 11 w 11"/>
                <a:gd name="T3" fmla="*/ 83 h 87"/>
                <a:gd name="T4" fmla="*/ 0 w 11"/>
                <a:gd name="T5" fmla="*/ 87 h 87"/>
                <a:gd name="T6" fmla="*/ 0 w 11"/>
                <a:gd name="T7" fmla="*/ 0 h 87"/>
                <a:gd name="T8" fmla="*/ 11 w 11"/>
                <a:gd name="T9" fmla="*/ 0 h 87"/>
              </a:gdLst>
              <a:ahLst/>
              <a:cxnLst>
                <a:cxn ang="0">
                  <a:pos x="T0" y="T1"/>
                </a:cxn>
                <a:cxn ang="0">
                  <a:pos x="T2" y="T3"/>
                </a:cxn>
                <a:cxn ang="0">
                  <a:pos x="T4" y="T5"/>
                </a:cxn>
                <a:cxn ang="0">
                  <a:pos x="T6" y="T7"/>
                </a:cxn>
                <a:cxn ang="0">
                  <a:pos x="T8" y="T9"/>
                </a:cxn>
              </a:cxnLst>
              <a:rect l="0" t="0" r="r" b="b"/>
              <a:pathLst>
                <a:path w="11" h="87">
                  <a:moveTo>
                    <a:pt x="11" y="0"/>
                  </a:moveTo>
                  <a:lnTo>
                    <a:pt x="11" y="83"/>
                  </a:lnTo>
                  <a:lnTo>
                    <a:pt x="0" y="87"/>
                  </a:lnTo>
                  <a:lnTo>
                    <a:pt x="0" y="0"/>
                  </a:lnTo>
                  <a:lnTo>
                    <a:pt x="11" y="0"/>
                  </a:lnTo>
                  <a:close/>
                </a:path>
              </a:pathLst>
            </a:custGeom>
            <a:solidFill>
              <a:srgbClr val="3263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9" name="Freeform 677"/>
            <p:cNvSpPr/>
            <p:nvPr/>
          </p:nvSpPr>
          <p:spPr bwMode="auto">
            <a:xfrm>
              <a:off x="3321047" y="4845059"/>
              <a:ext cx="6350" cy="46038"/>
            </a:xfrm>
            <a:custGeom>
              <a:avLst/>
              <a:gdLst>
                <a:gd name="T0" fmla="*/ 11 w 11"/>
                <a:gd name="T1" fmla="*/ 0 h 87"/>
                <a:gd name="T2" fmla="*/ 11 w 11"/>
                <a:gd name="T3" fmla="*/ 83 h 87"/>
                <a:gd name="T4" fmla="*/ 0 w 11"/>
                <a:gd name="T5" fmla="*/ 87 h 87"/>
                <a:gd name="T6" fmla="*/ 0 w 11"/>
                <a:gd name="T7" fmla="*/ 0 h 87"/>
                <a:gd name="T8" fmla="*/ 11 w 11"/>
                <a:gd name="T9" fmla="*/ 0 h 87"/>
              </a:gdLst>
              <a:ahLst/>
              <a:cxnLst>
                <a:cxn ang="0">
                  <a:pos x="T0" y="T1"/>
                </a:cxn>
                <a:cxn ang="0">
                  <a:pos x="T2" y="T3"/>
                </a:cxn>
                <a:cxn ang="0">
                  <a:pos x="T4" y="T5"/>
                </a:cxn>
                <a:cxn ang="0">
                  <a:pos x="T6" y="T7"/>
                </a:cxn>
                <a:cxn ang="0">
                  <a:pos x="T8" y="T9"/>
                </a:cxn>
              </a:cxnLst>
              <a:rect l="0" t="0" r="r" b="b"/>
              <a:pathLst>
                <a:path w="11" h="87">
                  <a:moveTo>
                    <a:pt x="11" y="0"/>
                  </a:moveTo>
                  <a:lnTo>
                    <a:pt x="11" y="83"/>
                  </a:lnTo>
                  <a:lnTo>
                    <a:pt x="0" y="87"/>
                  </a:lnTo>
                  <a:lnTo>
                    <a:pt x="0" y="0"/>
                  </a:lnTo>
                  <a:lnTo>
                    <a:pt x="11" y="0"/>
                  </a:lnTo>
                  <a:close/>
                </a:path>
              </a:pathLst>
            </a:custGeom>
            <a:solidFill>
              <a:srgbClr val="3263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 name="Freeform 678"/>
            <p:cNvSpPr/>
            <p:nvPr/>
          </p:nvSpPr>
          <p:spPr bwMode="auto">
            <a:xfrm>
              <a:off x="3255961" y="4935546"/>
              <a:ext cx="469900" cy="309563"/>
            </a:xfrm>
            <a:custGeom>
              <a:avLst/>
              <a:gdLst>
                <a:gd name="T0" fmla="*/ 27 w 888"/>
                <a:gd name="T1" fmla="*/ 0 h 586"/>
                <a:gd name="T2" fmla="*/ 878 w 888"/>
                <a:gd name="T3" fmla="*/ 21 h 586"/>
                <a:gd name="T4" fmla="*/ 888 w 888"/>
                <a:gd name="T5" fmla="*/ 583 h 586"/>
                <a:gd name="T6" fmla="*/ 0 w 888"/>
                <a:gd name="T7" fmla="*/ 586 h 586"/>
                <a:gd name="T8" fmla="*/ 27 w 888"/>
                <a:gd name="T9" fmla="*/ 0 h 586"/>
              </a:gdLst>
              <a:ahLst/>
              <a:cxnLst>
                <a:cxn ang="0">
                  <a:pos x="T0" y="T1"/>
                </a:cxn>
                <a:cxn ang="0">
                  <a:pos x="T2" y="T3"/>
                </a:cxn>
                <a:cxn ang="0">
                  <a:pos x="T4" y="T5"/>
                </a:cxn>
                <a:cxn ang="0">
                  <a:pos x="T6" y="T7"/>
                </a:cxn>
                <a:cxn ang="0">
                  <a:pos x="T8" y="T9"/>
                </a:cxn>
              </a:cxnLst>
              <a:rect l="0" t="0" r="r" b="b"/>
              <a:pathLst>
                <a:path w="888" h="586">
                  <a:moveTo>
                    <a:pt x="27" y="0"/>
                  </a:moveTo>
                  <a:lnTo>
                    <a:pt x="878" y="21"/>
                  </a:lnTo>
                  <a:lnTo>
                    <a:pt x="888" y="583"/>
                  </a:lnTo>
                  <a:lnTo>
                    <a:pt x="0" y="586"/>
                  </a:lnTo>
                  <a:lnTo>
                    <a:pt x="27" y="0"/>
                  </a:lnTo>
                  <a:close/>
                </a:path>
              </a:pathLst>
            </a:custGeom>
            <a:solidFill>
              <a:srgbClr val="BA4B4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1" name="Freeform 679"/>
            <p:cNvSpPr/>
            <p:nvPr/>
          </p:nvSpPr>
          <p:spPr bwMode="auto">
            <a:xfrm>
              <a:off x="3255961" y="4935546"/>
              <a:ext cx="469900" cy="309563"/>
            </a:xfrm>
            <a:custGeom>
              <a:avLst/>
              <a:gdLst>
                <a:gd name="T0" fmla="*/ 27 w 888"/>
                <a:gd name="T1" fmla="*/ 0 h 586"/>
                <a:gd name="T2" fmla="*/ 878 w 888"/>
                <a:gd name="T3" fmla="*/ 21 h 586"/>
                <a:gd name="T4" fmla="*/ 888 w 888"/>
                <a:gd name="T5" fmla="*/ 583 h 586"/>
                <a:gd name="T6" fmla="*/ 0 w 888"/>
                <a:gd name="T7" fmla="*/ 586 h 586"/>
                <a:gd name="T8" fmla="*/ 27 w 888"/>
                <a:gd name="T9" fmla="*/ 0 h 586"/>
              </a:gdLst>
              <a:ahLst/>
              <a:cxnLst>
                <a:cxn ang="0">
                  <a:pos x="T0" y="T1"/>
                </a:cxn>
                <a:cxn ang="0">
                  <a:pos x="T2" y="T3"/>
                </a:cxn>
                <a:cxn ang="0">
                  <a:pos x="T4" y="T5"/>
                </a:cxn>
                <a:cxn ang="0">
                  <a:pos x="T6" y="T7"/>
                </a:cxn>
                <a:cxn ang="0">
                  <a:pos x="T8" y="T9"/>
                </a:cxn>
              </a:cxnLst>
              <a:rect l="0" t="0" r="r" b="b"/>
              <a:pathLst>
                <a:path w="888" h="586">
                  <a:moveTo>
                    <a:pt x="27" y="0"/>
                  </a:moveTo>
                  <a:lnTo>
                    <a:pt x="878" y="21"/>
                  </a:lnTo>
                  <a:lnTo>
                    <a:pt x="888" y="583"/>
                  </a:lnTo>
                  <a:lnTo>
                    <a:pt x="0" y="586"/>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2" name="Freeform 680"/>
            <p:cNvSpPr/>
            <p:nvPr/>
          </p:nvSpPr>
          <p:spPr bwMode="auto">
            <a:xfrm>
              <a:off x="3268660" y="4875221"/>
              <a:ext cx="515937" cy="71438"/>
            </a:xfrm>
            <a:custGeom>
              <a:avLst/>
              <a:gdLst>
                <a:gd name="T0" fmla="*/ 4 w 976"/>
                <a:gd name="T1" fmla="*/ 115 h 136"/>
                <a:gd name="T2" fmla="*/ 0 w 976"/>
                <a:gd name="T3" fmla="*/ 0 h 136"/>
                <a:gd name="T4" fmla="*/ 833 w 976"/>
                <a:gd name="T5" fmla="*/ 27 h 136"/>
                <a:gd name="T6" fmla="*/ 976 w 976"/>
                <a:gd name="T7" fmla="*/ 136 h 136"/>
                <a:gd name="T8" fmla="*/ 4 w 976"/>
                <a:gd name="T9" fmla="*/ 115 h 136"/>
              </a:gdLst>
              <a:ahLst/>
              <a:cxnLst>
                <a:cxn ang="0">
                  <a:pos x="T0" y="T1"/>
                </a:cxn>
                <a:cxn ang="0">
                  <a:pos x="T2" y="T3"/>
                </a:cxn>
                <a:cxn ang="0">
                  <a:pos x="T4" y="T5"/>
                </a:cxn>
                <a:cxn ang="0">
                  <a:pos x="T6" y="T7"/>
                </a:cxn>
                <a:cxn ang="0">
                  <a:pos x="T8" y="T9"/>
                </a:cxn>
              </a:cxnLst>
              <a:rect l="0" t="0" r="r" b="b"/>
              <a:pathLst>
                <a:path w="976" h="136">
                  <a:moveTo>
                    <a:pt x="4" y="115"/>
                  </a:moveTo>
                  <a:lnTo>
                    <a:pt x="0" y="0"/>
                  </a:lnTo>
                  <a:lnTo>
                    <a:pt x="833" y="27"/>
                  </a:lnTo>
                  <a:lnTo>
                    <a:pt x="976" y="136"/>
                  </a:lnTo>
                  <a:lnTo>
                    <a:pt x="4" y="115"/>
                  </a:lnTo>
                  <a:close/>
                </a:path>
              </a:pathLst>
            </a:custGeom>
            <a:solidFill>
              <a:srgbClr val="F6D1B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3" name="Freeform 681"/>
            <p:cNvSpPr/>
            <p:nvPr/>
          </p:nvSpPr>
          <p:spPr bwMode="auto">
            <a:xfrm>
              <a:off x="3268660" y="4875221"/>
              <a:ext cx="515937" cy="71438"/>
            </a:xfrm>
            <a:custGeom>
              <a:avLst/>
              <a:gdLst>
                <a:gd name="T0" fmla="*/ 4 w 976"/>
                <a:gd name="T1" fmla="*/ 115 h 136"/>
                <a:gd name="T2" fmla="*/ 0 w 976"/>
                <a:gd name="T3" fmla="*/ 0 h 136"/>
                <a:gd name="T4" fmla="*/ 833 w 976"/>
                <a:gd name="T5" fmla="*/ 27 h 136"/>
                <a:gd name="T6" fmla="*/ 976 w 976"/>
                <a:gd name="T7" fmla="*/ 136 h 136"/>
                <a:gd name="T8" fmla="*/ 4 w 976"/>
                <a:gd name="T9" fmla="*/ 115 h 136"/>
              </a:gdLst>
              <a:ahLst/>
              <a:cxnLst>
                <a:cxn ang="0">
                  <a:pos x="T0" y="T1"/>
                </a:cxn>
                <a:cxn ang="0">
                  <a:pos x="T2" y="T3"/>
                </a:cxn>
                <a:cxn ang="0">
                  <a:pos x="T4" y="T5"/>
                </a:cxn>
                <a:cxn ang="0">
                  <a:pos x="T6" y="T7"/>
                </a:cxn>
                <a:cxn ang="0">
                  <a:pos x="T8" y="T9"/>
                </a:cxn>
              </a:cxnLst>
              <a:rect l="0" t="0" r="r" b="b"/>
              <a:pathLst>
                <a:path w="976" h="136">
                  <a:moveTo>
                    <a:pt x="4" y="115"/>
                  </a:moveTo>
                  <a:lnTo>
                    <a:pt x="0" y="0"/>
                  </a:lnTo>
                  <a:lnTo>
                    <a:pt x="833" y="27"/>
                  </a:lnTo>
                  <a:lnTo>
                    <a:pt x="976" y="136"/>
                  </a:lnTo>
                  <a:lnTo>
                    <a:pt x="4" y="1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 name="Freeform 682"/>
            <p:cNvSpPr/>
            <p:nvPr/>
          </p:nvSpPr>
          <p:spPr bwMode="auto">
            <a:xfrm>
              <a:off x="3524247" y="4621221"/>
              <a:ext cx="627062" cy="158750"/>
            </a:xfrm>
            <a:custGeom>
              <a:avLst/>
              <a:gdLst>
                <a:gd name="T0" fmla="*/ 1122 w 1186"/>
                <a:gd name="T1" fmla="*/ 301 h 301"/>
                <a:gd name="T2" fmla="*/ 1186 w 1186"/>
                <a:gd name="T3" fmla="*/ 269 h 301"/>
                <a:gd name="T4" fmla="*/ 803 w 1186"/>
                <a:gd name="T5" fmla="*/ 0 h 301"/>
                <a:gd name="T6" fmla="*/ 187 w 1186"/>
                <a:gd name="T7" fmla="*/ 68 h 301"/>
                <a:gd name="T8" fmla="*/ 0 w 1186"/>
                <a:gd name="T9" fmla="*/ 254 h 301"/>
                <a:gd name="T10" fmla="*/ 474 w 1186"/>
                <a:gd name="T11" fmla="*/ 250 h 301"/>
                <a:gd name="T12" fmla="*/ 806 w 1186"/>
                <a:gd name="T13" fmla="*/ 44 h 301"/>
                <a:gd name="T14" fmla="*/ 1125 w 1186"/>
                <a:gd name="T15" fmla="*/ 254 h 301"/>
                <a:gd name="T16" fmla="*/ 1122 w 1186"/>
                <a:gd name="T17"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6" h="301">
                  <a:moveTo>
                    <a:pt x="1122" y="301"/>
                  </a:moveTo>
                  <a:lnTo>
                    <a:pt x="1186" y="269"/>
                  </a:lnTo>
                  <a:lnTo>
                    <a:pt x="803" y="0"/>
                  </a:lnTo>
                  <a:lnTo>
                    <a:pt x="187" y="68"/>
                  </a:lnTo>
                  <a:lnTo>
                    <a:pt x="0" y="254"/>
                  </a:lnTo>
                  <a:lnTo>
                    <a:pt x="474" y="250"/>
                  </a:lnTo>
                  <a:lnTo>
                    <a:pt x="806" y="44"/>
                  </a:lnTo>
                  <a:lnTo>
                    <a:pt x="1125" y="254"/>
                  </a:lnTo>
                  <a:lnTo>
                    <a:pt x="1122" y="301"/>
                  </a:lnTo>
                  <a:close/>
                </a:path>
              </a:pathLst>
            </a:custGeom>
            <a:solidFill>
              <a:srgbClr val="F6D1B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 name="Freeform 683"/>
            <p:cNvSpPr/>
            <p:nvPr/>
          </p:nvSpPr>
          <p:spPr bwMode="auto">
            <a:xfrm>
              <a:off x="2562223" y="4768859"/>
              <a:ext cx="177800" cy="31750"/>
            </a:xfrm>
            <a:custGeom>
              <a:avLst/>
              <a:gdLst>
                <a:gd name="T0" fmla="*/ 1 w 334"/>
                <a:gd name="T1" fmla="*/ 59 h 59"/>
                <a:gd name="T2" fmla="*/ 334 w 334"/>
                <a:gd name="T3" fmla="*/ 11 h 59"/>
                <a:gd name="T4" fmla="*/ 332 w 334"/>
                <a:gd name="T5" fmla="*/ 0 h 59"/>
                <a:gd name="T6" fmla="*/ 0 w 334"/>
                <a:gd name="T7" fmla="*/ 49 h 59"/>
                <a:gd name="T8" fmla="*/ 1 w 334"/>
                <a:gd name="T9" fmla="*/ 59 h 59"/>
              </a:gdLst>
              <a:ahLst/>
              <a:cxnLst>
                <a:cxn ang="0">
                  <a:pos x="T0" y="T1"/>
                </a:cxn>
                <a:cxn ang="0">
                  <a:pos x="T2" y="T3"/>
                </a:cxn>
                <a:cxn ang="0">
                  <a:pos x="T4" y="T5"/>
                </a:cxn>
                <a:cxn ang="0">
                  <a:pos x="T6" y="T7"/>
                </a:cxn>
                <a:cxn ang="0">
                  <a:pos x="T8" y="T9"/>
                </a:cxn>
              </a:cxnLst>
              <a:rect l="0" t="0" r="r" b="b"/>
              <a:pathLst>
                <a:path w="334" h="59">
                  <a:moveTo>
                    <a:pt x="1" y="59"/>
                  </a:moveTo>
                  <a:lnTo>
                    <a:pt x="334" y="11"/>
                  </a:lnTo>
                  <a:lnTo>
                    <a:pt x="332" y="0"/>
                  </a:lnTo>
                  <a:lnTo>
                    <a:pt x="0" y="49"/>
                  </a:lnTo>
                  <a:lnTo>
                    <a:pt x="1" y="59"/>
                  </a:lnTo>
                  <a:close/>
                </a:path>
              </a:pathLst>
            </a:custGeom>
            <a:solidFill>
              <a:srgbClr val="65ADA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6" name="Freeform 684"/>
            <p:cNvSpPr/>
            <p:nvPr/>
          </p:nvSpPr>
          <p:spPr bwMode="auto">
            <a:xfrm>
              <a:off x="2549523" y="4743458"/>
              <a:ext cx="184150" cy="26988"/>
            </a:xfrm>
            <a:custGeom>
              <a:avLst/>
              <a:gdLst>
                <a:gd name="T0" fmla="*/ 1 w 348"/>
                <a:gd name="T1" fmla="*/ 49 h 49"/>
                <a:gd name="T2" fmla="*/ 348 w 348"/>
                <a:gd name="T3" fmla="*/ 9 h 49"/>
                <a:gd name="T4" fmla="*/ 345 w 348"/>
                <a:gd name="T5" fmla="*/ 0 h 49"/>
                <a:gd name="T6" fmla="*/ 0 w 348"/>
                <a:gd name="T7" fmla="*/ 40 h 49"/>
                <a:gd name="T8" fmla="*/ 1 w 348"/>
                <a:gd name="T9" fmla="*/ 49 h 49"/>
              </a:gdLst>
              <a:ahLst/>
              <a:cxnLst>
                <a:cxn ang="0">
                  <a:pos x="T0" y="T1"/>
                </a:cxn>
                <a:cxn ang="0">
                  <a:pos x="T2" y="T3"/>
                </a:cxn>
                <a:cxn ang="0">
                  <a:pos x="T4" y="T5"/>
                </a:cxn>
                <a:cxn ang="0">
                  <a:pos x="T6" y="T7"/>
                </a:cxn>
                <a:cxn ang="0">
                  <a:pos x="T8" y="T9"/>
                </a:cxn>
              </a:cxnLst>
              <a:rect l="0" t="0" r="r" b="b"/>
              <a:pathLst>
                <a:path w="348" h="49">
                  <a:moveTo>
                    <a:pt x="1" y="49"/>
                  </a:moveTo>
                  <a:lnTo>
                    <a:pt x="348" y="9"/>
                  </a:lnTo>
                  <a:lnTo>
                    <a:pt x="345" y="0"/>
                  </a:lnTo>
                  <a:lnTo>
                    <a:pt x="0" y="40"/>
                  </a:lnTo>
                  <a:lnTo>
                    <a:pt x="1" y="49"/>
                  </a:lnTo>
                  <a:close/>
                </a:path>
              </a:pathLst>
            </a:custGeom>
            <a:solidFill>
              <a:srgbClr val="65ADA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 name="Freeform 685"/>
            <p:cNvSpPr/>
            <p:nvPr/>
          </p:nvSpPr>
          <p:spPr bwMode="auto">
            <a:xfrm>
              <a:off x="2706686" y="4748221"/>
              <a:ext cx="7938" cy="28575"/>
            </a:xfrm>
            <a:custGeom>
              <a:avLst/>
              <a:gdLst>
                <a:gd name="T0" fmla="*/ 11 w 15"/>
                <a:gd name="T1" fmla="*/ 52 h 52"/>
                <a:gd name="T2" fmla="*/ 15 w 15"/>
                <a:gd name="T3" fmla="*/ 1 h 52"/>
                <a:gd name="T4" fmla="*/ 5 w 15"/>
                <a:gd name="T5" fmla="*/ 0 h 52"/>
                <a:gd name="T6" fmla="*/ 0 w 15"/>
                <a:gd name="T7" fmla="*/ 51 h 52"/>
                <a:gd name="T8" fmla="*/ 11 w 15"/>
                <a:gd name="T9" fmla="*/ 52 h 52"/>
              </a:gdLst>
              <a:ahLst/>
              <a:cxnLst>
                <a:cxn ang="0">
                  <a:pos x="T0" y="T1"/>
                </a:cxn>
                <a:cxn ang="0">
                  <a:pos x="T2" y="T3"/>
                </a:cxn>
                <a:cxn ang="0">
                  <a:pos x="T4" y="T5"/>
                </a:cxn>
                <a:cxn ang="0">
                  <a:pos x="T6" y="T7"/>
                </a:cxn>
                <a:cxn ang="0">
                  <a:pos x="T8" y="T9"/>
                </a:cxn>
              </a:cxnLst>
              <a:rect l="0" t="0" r="r" b="b"/>
              <a:pathLst>
                <a:path w="15" h="52">
                  <a:moveTo>
                    <a:pt x="11" y="52"/>
                  </a:moveTo>
                  <a:lnTo>
                    <a:pt x="15" y="1"/>
                  </a:lnTo>
                  <a:lnTo>
                    <a:pt x="5" y="0"/>
                  </a:lnTo>
                  <a:lnTo>
                    <a:pt x="0" y="51"/>
                  </a:lnTo>
                  <a:lnTo>
                    <a:pt x="11" y="52"/>
                  </a:lnTo>
                  <a:close/>
                </a:path>
              </a:pathLst>
            </a:custGeom>
            <a:solidFill>
              <a:srgbClr val="65ADA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 name="Rectangle 686"/>
            <p:cNvSpPr>
              <a:spLocks noChangeArrowheads="1"/>
            </p:cNvSpPr>
            <p:nvPr/>
          </p:nvSpPr>
          <p:spPr bwMode="auto">
            <a:xfrm>
              <a:off x="2674936" y="4752983"/>
              <a:ext cx="4763" cy="30163"/>
            </a:xfrm>
            <a:prstGeom prst="rect">
              <a:avLst/>
            </a:prstGeom>
            <a:solidFill>
              <a:srgbClr val="65A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59" name="Freeform 687"/>
            <p:cNvSpPr/>
            <p:nvPr/>
          </p:nvSpPr>
          <p:spPr bwMode="auto">
            <a:xfrm>
              <a:off x="2644773" y="4756159"/>
              <a:ext cx="7938" cy="30163"/>
            </a:xfrm>
            <a:custGeom>
              <a:avLst/>
              <a:gdLst>
                <a:gd name="T0" fmla="*/ 3 w 14"/>
                <a:gd name="T1" fmla="*/ 55 h 55"/>
                <a:gd name="T2" fmla="*/ 14 w 14"/>
                <a:gd name="T3" fmla="*/ 53 h 55"/>
                <a:gd name="T4" fmla="*/ 10 w 14"/>
                <a:gd name="T5" fmla="*/ 0 h 55"/>
                <a:gd name="T6" fmla="*/ 0 w 14"/>
                <a:gd name="T7" fmla="*/ 0 h 55"/>
                <a:gd name="T8" fmla="*/ 3 w 14"/>
                <a:gd name="T9" fmla="*/ 55 h 55"/>
              </a:gdLst>
              <a:ahLst/>
              <a:cxnLst>
                <a:cxn ang="0">
                  <a:pos x="T0" y="T1"/>
                </a:cxn>
                <a:cxn ang="0">
                  <a:pos x="T2" y="T3"/>
                </a:cxn>
                <a:cxn ang="0">
                  <a:pos x="T4" y="T5"/>
                </a:cxn>
                <a:cxn ang="0">
                  <a:pos x="T6" y="T7"/>
                </a:cxn>
                <a:cxn ang="0">
                  <a:pos x="T8" y="T9"/>
                </a:cxn>
              </a:cxnLst>
              <a:rect l="0" t="0" r="r" b="b"/>
              <a:pathLst>
                <a:path w="14" h="55">
                  <a:moveTo>
                    <a:pt x="3" y="55"/>
                  </a:moveTo>
                  <a:lnTo>
                    <a:pt x="14" y="53"/>
                  </a:lnTo>
                  <a:lnTo>
                    <a:pt x="10" y="0"/>
                  </a:lnTo>
                  <a:lnTo>
                    <a:pt x="0" y="0"/>
                  </a:lnTo>
                  <a:lnTo>
                    <a:pt x="3" y="55"/>
                  </a:lnTo>
                  <a:close/>
                </a:path>
              </a:pathLst>
            </a:custGeom>
            <a:solidFill>
              <a:srgbClr val="65ADA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 name="Freeform 688"/>
            <p:cNvSpPr/>
            <p:nvPr/>
          </p:nvSpPr>
          <p:spPr bwMode="auto">
            <a:xfrm>
              <a:off x="2616198" y="4759334"/>
              <a:ext cx="4763" cy="30163"/>
            </a:xfrm>
            <a:custGeom>
              <a:avLst/>
              <a:gdLst>
                <a:gd name="T0" fmla="*/ 0 w 10"/>
                <a:gd name="T1" fmla="*/ 57 h 57"/>
                <a:gd name="T2" fmla="*/ 10 w 10"/>
                <a:gd name="T3" fmla="*/ 57 h 57"/>
                <a:gd name="T4" fmla="*/ 10 w 10"/>
                <a:gd name="T5" fmla="*/ 1 h 57"/>
                <a:gd name="T6" fmla="*/ 0 w 10"/>
                <a:gd name="T7" fmla="*/ 0 h 57"/>
                <a:gd name="T8" fmla="*/ 0 w 10"/>
                <a:gd name="T9" fmla="*/ 57 h 57"/>
              </a:gdLst>
              <a:ahLst/>
              <a:cxnLst>
                <a:cxn ang="0">
                  <a:pos x="T0" y="T1"/>
                </a:cxn>
                <a:cxn ang="0">
                  <a:pos x="T2" y="T3"/>
                </a:cxn>
                <a:cxn ang="0">
                  <a:pos x="T4" y="T5"/>
                </a:cxn>
                <a:cxn ang="0">
                  <a:pos x="T6" y="T7"/>
                </a:cxn>
                <a:cxn ang="0">
                  <a:pos x="T8" y="T9"/>
                </a:cxn>
              </a:cxnLst>
              <a:rect l="0" t="0" r="r" b="b"/>
              <a:pathLst>
                <a:path w="10" h="57">
                  <a:moveTo>
                    <a:pt x="0" y="57"/>
                  </a:moveTo>
                  <a:lnTo>
                    <a:pt x="10" y="57"/>
                  </a:lnTo>
                  <a:lnTo>
                    <a:pt x="10" y="1"/>
                  </a:lnTo>
                  <a:lnTo>
                    <a:pt x="0" y="0"/>
                  </a:lnTo>
                  <a:lnTo>
                    <a:pt x="0" y="57"/>
                  </a:lnTo>
                  <a:close/>
                </a:path>
              </a:pathLst>
            </a:custGeom>
            <a:solidFill>
              <a:srgbClr val="65ADA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 name="Freeform 689"/>
            <p:cNvSpPr/>
            <p:nvPr/>
          </p:nvSpPr>
          <p:spPr bwMode="auto">
            <a:xfrm>
              <a:off x="2586036" y="4762508"/>
              <a:ext cx="7938" cy="30163"/>
            </a:xfrm>
            <a:custGeom>
              <a:avLst/>
              <a:gdLst>
                <a:gd name="T0" fmla="*/ 6 w 16"/>
                <a:gd name="T1" fmla="*/ 59 h 59"/>
                <a:gd name="T2" fmla="*/ 16 w 16"/>
                <a:gd name="T3" fmla="*/ 58 h 59"/>
                <a:gd name="T4" fmla="*/ 11 w 16"/>
                <a:gd name="T5" fmla="*/ 0 h 59"/>
                <a:gd name="T6" fmla="*/ 0 w 16"/>
                <a:gd name="T7" fmla="*/ 2 h 59"/>
                <a:gd name="T8" fmla="*/ 6 w 16"/>
                <a:gd name="T9" fmla="*/ 59 h 59"/>
              </a:gdLst>
              <a:ahLst/>
              <a:cxnLst>
                <a:cxn ang="0">
                  <a:pos x="T0" y="T1"/>
                </a:cxn>
                <a:cxn ang="0">
                  <a:pos x="T2" y="T3"/>
                </a:cxn>
                <a:cxn ang="0">
                  <a:pos x="T4" y="T5"/>
                </a:cxn>
                <a:cxn ang="0">
                  <a:pos x="T6" y="T7"/>
                </a:cxn>
                <a:cxn ang="0">
                  <a:pos x="T8" y="T9"/>
                </a:cxn>
              </a:cxnLst>
              <a:rect l="0" t="0" r="r" b="b"/>
              <a:pathLst>
                <a:path w="16" h="59">
                  <a:moveTo>
                    <a:pt x="6" y="59"/>
                  </a:moveTo>
                  <a:lnTo>
                    <a:pt x="16" y="58"/>
                  </a:lnTo>
                  <a:lnTo>
                    <a:pt x="11" y="0"/>
                  </a:lnTo>
                  <a:lnTo>
                    <a:pt x="0" y="2"/>
                  </a:lnTo>
                  <a:lnTo>
                    <a:pt x="6" y="59"/>
                  </a:lnTo>
                  <a:close/>
                </a:path>
              </a:pathLst>
            </a:custGeom>
            <a:solidFill>
              <a:srgbClr val="65ADA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2" name="Freeform 690"/>
            <p:cNvSpPr/>
            <p:nvPr/>
          </p:nvSpPr>
          <p:spPr bwMode="auto">
            <a:xfrm>
              <a:off x="2354261" y="4672021"/>
              <a:ext cx="214313" cy="566739"/>
            </a:xfrm>
            <a:custGeom>
              <a:avLst/>
              <a:gdLst>
                <a:gd name="T0" fmla="*/ 407 w 407"/>
                <a:gd name="T1" fmla="*/ 99 h 1071"/>
                <a:gd name="T2" fmla="*/ 196 w 407"/>
                <a:gd name="T3" fmla="*/ 0 h 1071"/>
                <a:gd name="T4" fmla="*/ 0 w 407"/>
                <a:gd name="T5" fmla="*/ 99 h 1071"/>
                <a:gd name="T6" fmla="*/ 18 w 407"/>
                <a:gd name="T7" fmla="*/ 1071 h 1071"/>
                <a:gd name="T8" fmla="*/ 398 w 407"/>
                <a:gd name="T9" fmla="*/ 1067 h 1071"/>
                <a:gd name="T10" fmla="*/ 407 w 407"/>
                <a:gd name="T11" fmla="*/ 99 h 1071"/>
              </a:gdLst>
              <a:ahLst/>
              <a:cxnLst>
                <a:cxn ang="0">
                  <a:pos x="T0" y="T1"/>
                </a:cxn>
                <a:cxn ang="0">
                  <a:pos x="T2" y="T3"/>
                </a:cxn>
                <a:cxn ang="0">
                  <a:pos x="T4" y="T5"/>
                </a:cxn>
                <a:cxn ang="0">
                  <a:pos x="T6" y="T7"/>
                </a:cxn>
                <a:cxn ang="0">
                  <a:pos x="T8" y="T9"/>
                </a:cxn>
                <a:cxn ang="0">
                  <a:pos x="T10" y="T11"/>
                </a:cxn>
              </a:cxnLst>
              <a:rect l="0" t="0" r="r" b="b"/>
              <a:pathLst>
                <a:path w="407" h="1071">
                  <a:moveTo>
                    <a:pt x="407" y="99"/>
                  </a:moveTo>
                  <a:lnTo>
                    <a:pt x="196" y="0"/>
                  </a:lnTo>
                  <a:lnTo>
                    <a:pt x="0" y="99"/>
                  </a:lnTo>
                  <a:lnTo>
                    <a:pt x="18" y="1071"/>
                  </a:lnTo>
                  <a:lnTo>
                    <a:pt x="398" y="1067"/>
                  </a:lnTo>
                  <a:lnTo>
                    <a:pt x="407" y="99"/>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3" name="Freeform 691"/>
            <p:cNvSpPr/>
            <p:nvPr/>
          </p:nvSpPr>
          <p:spPr bwMode="auto">
            <a:xfrm>
              <a:off x="3030536" y="5268922"/>
              <a:ext cx="866774" cy="100013"/>
            </a:xfrm>
            <a:custGeom>
              <a:avLst/>
              <a:gdLst>
                <a:gd name="T0" fmla="*/ 1638 w 1638"/>
                <a:gd name="T1" fmla="*/ 118 h 189"/>
                <a:gd name="T2" fmla="*/ 330 w 1638"/>
                <a:gd name="T3" fmla="*/ 189 h 189"/>
                <a:gd name="T4" fmla="*/ 0 w 1638"/>
                <a:gd name="T5" fmla="*/ 55 h 189"/>
                <a:gd name="T6" fmla="*/ 1181 w 1638"/>
                <a:gd name="T7" fmla="*/ 0 h 189"/>
                <a:gd name="T8" fmla="*/ 1638 w 1638"/>
                <a:gd name="T9" fmla="*/ 118 h 189"/>
              </a:gdLst>
              <a:ahLst/>
              <a:cxnLst>
                <a:cxn ang="0">
                  <a:pos x="T0" y="T1"/>
                </a:cxn>
                <a:cxn ang="0">
                  <a:pos x="T2" y="T3"/>
                </a:cxn>
                <a:cxn ang="0">
                  <a:pos x="T4" y="T5"/>
                </a:cxn>
                <a:cxn ang="0">
                  <a:pos x="T6" y="T7"/>
                </a:cxn>
                <a:cxn ang="0">
                  <a:pos x="T8" y="T9"/>
                </a:cxn>
              </a:cxnLst>
              <a:rect l="0" t="0" r="r" b="b"/>
              <a:pathLst>
                <a:path w="1638" h="189">
                  <a:moveTo>
                    <a:pt x="1638" y="118"/>
                  </a:moveTo>
                  <a:lnTo>
                    <a:pt x="330" y="189"/>
                  </a:lnTo>
                  <a:lnTo>
                    <a:pt x="0" y="55"/>
                  </a:lnTo>
                  <a:lnTo>
                    <a:pt x="1181" y="0"/>
                  </a:lnTo>
                  <a:lnTo>
                    <a:pt x="1638" y="118"/>
                  </a:lnTo>
                  <a:close/>
                </a:path>
              </a:pathLst>
            </a:custGeom>
            <a:solidFill>
              <a:srgbClr val="7E851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4" name="Freeform 692"/>
            <p:cNvSpPr/>
            <p:nvPr/>
          </p:nvSpPr>
          <p:spPr bwMode="auto">
            <a:xfrm>
              <a:off x="2922586" y="4475170"/>
              <a:ext cx="365125" cy="792164"/>
            </a:xfrm>
            <a:custGeom>
              <a:avLst/>
              <a:gdLst>
                <a:gd name="T0" fmla="*/ 0 w 690"/>
                <a:gd name="T1" fmla="*/ 1497 h 1497"/>
                <a:gd name="T2" fmla="*/ 0 w 690"/>
                <a:gd name="T3" fmla="*/ 205 h 1497"/>
                <a:gd name="T4" fmla="*/ 353 w 690"/>
                <a:gd name="T5" fmla="*/ 0 h 1497"/>
                <a:gd name="T6" fmla="*/ 690 w 690"/>
                <a:gd name="T7" fmla="*/ 189 h 1497"/>
                <a:gd name="T8" fmla="*/ 667 w 690"/>
                <a:gd name="T9" fmla="*/ 1476 h 1497"/>
                <a:gd name="T10" fmla="*/ 0 w 690"/>
                <a:gd name="T11" fmla="*/ 1497 h 1497"/>
              </a:gdLst>
              <a:ahLst/>
              <a:cxnLst>
                <a:cxn ang="0">
                  <a:pos x="T0" y="T1"/>
                </a:cxn>
                <a:cxn ang="0">
                  <a:pos x="T2" y="T3"/>
                </a:cxn>
                <a:cxn ang="0">
                  <a:pos x="T4" y="T5"/>
                </a:cxn>
                <a:cxn ang="0">
                  <a:pos x="T6" y="T7"/>
                </a:cxn>
                <a:cxn ang="0">
                  <a:pos x="T8" y="T9"/>
                </a:cxn>
                <a:cxn ang="0">
                  <a:pos x="T10" y="T11"/>
                </a:cxn>
              </a:cxnLst>
              <a:rect l="0" t="0" r="r" b="b"/>
              <a:pathLst>
                <a:path w="690" h="1497">
                  <a:moveTo>
                    <a:pt x="0" y="1497"/>
                  </a:moveTo>
                  <a:lnTo>
                    <a:pt x="0" y="205"/>
                  </a:lnTo>
                  <a:lnTo>
                    <a:pt x="353" y="0"/>
                  </a:lnTo>
                  <a:lnTo>
                    <a:pt x="690" y="189"/>
                  </a:lnTo>
                  <a:lnTo>
                    <a:pt x="667" y="1476"/>
                  </a:lnTo>
                  <a:lnTo>
                    <a:pt x="0" y="1497"/>
                  </a:lnTo>
                  <a:close/>
                </a:path>
              </a:pathLst>
            </a:custGeom>
            <a:solidFill>
              <a:srgbClr val="DE6A6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5" name="Freeform 693"/>
            <p:cNvSpPr/>
            <p:nvPr/>
          </p:nvSpPr>
          <p:spPr bwMode="auto">
            <a:xfrm>
              <a:off x="2922586" y="4475170"/>
              <a:ext cx="365125" cy="792164"/>
            </a:xfrm>
            <a:custGeom>
              <a:avLst/>
              <a:gdLst>
                <a:gd name="T0" fmla="*/ 0 w 690"/>
                <a:gd name="T1" fmla="*/ 1497 h 1497"/>
                <a:gd name="T2" fmla="*/ 0 w 690"/>
                <a:gd name="T3" fmla="*/ 205 h 1497"/>
                <a:gd name="T4" fmla="*/ 353 w 690"/>
                <a:gd name="T5" fmla="*/ 0 h 1497"/>
                <a:gd name="T6" fmla="*/ 690 w 690"/>
                <a:gd name="T7" fmla="*/ 189 h 1497"/>
                <a:gd name="T8" fmla="*/ 667 w 690"/>
                <a:gd name="T9" fmla="*/ 1476 h 1497"/>
                <a:gd name="T10" fmla="*/ 0 w 690"/>
                <a:gd name="T11" fmla="*/ 1497 h 1497"/>
              </a:gdLst>
              <a:ahLst/>
              <a:cxnLst>
                <a:cxn ang="0">
                  <a:pos x="T0" y="T1"/>
                </a:cxn>
                <a:cxn ang="0">
                  <a:pos x="T2" y="T3"/>
                </a:cxn>
                <a:cxn ang="0">
                  <a:pos x="T4" y="T5"/>
                </a:cxn>
                <a:cxn ang="0">
                  <a:pos x="T6" y="T7"/>
                </a:cxn>
                <a:cxn ang="0">
                  <a:pos x="T8" y="T9"/>
                </a:cxn>
                <a:cxn ang="0">
                  <a:pos x="T10" y="T11"/>
                </a:cxn>
              </a:cxnLst>
              <a:rect l="0" t="0" r="r" b="b"/>
              <a:pathLst>
                <a:path w="690" h="1497">
                  <a:moveTo>
                    <a:pt x="0" y="1497"/>
                  </a:moveTo>
                  <a:lnTo>
                    <a:pt x="0" y="205"/>
                  </a:lnTo>
                  <a:lnTo>
                    <a:pt x="353" y="0"/>
                  </a:lnTo>
                  <a:lnTo>
                    <a:pt x="690" y="189"/>
                  </a:lnTo>
                  <a:lnTo>
                    <a:pt x="667" y="1476"/>
                  </a:lnTo>
                  <a:lnTo>
                    <a:pt x="0" y="14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694"/>
            <p:cNvSpPr/>
            <p:nvPr/>
          </p:nvSpPr>
          <p:spPr bwMode="auto">
            <a:xfrm>
              <a:off x="2719386" y="4583121"/>
              <a:ext cx="203200" cy="684214"/>
            </a:xfrm>
            <a:custGeom>
              <a:avLst/>
              <a:gdLst>
                <a:gd name="T0" fmla="*/ 383 w 383"/>
                <a:gd name="T1" fmla="*/ 1292 h 1292"/>
                <a:gd name="T2" fmla="*/ 383 w 383"/>
                <a:gd name="T3" fmla="*/ 0 h 1292"/>
                <a:gd name="T4" fmla="*/ 0 w 383"/>
                <a:gd name="T5" fmla="*/ 27 h 1292"/>
                <a:gd name="T6" fmla="*/ 28 w 383"/>
                <a:gd name="T7" fmla="*/ 1275 h 1292"/>
                <a:gd name="T8" fmla="*/ 383 w 383"/>
                <a:gd name="T9" fmla="*/ 1292 h 1292"/>
              </a:gdLst>
              <a:ahLst/>
              <a:cxnLst>
                <a:cxn ang="0">
                  <a:pos x="T0" y="T1"/>
                </a:cxn>
                <a:cxn ang="0">
                  <a:pos x="T2" y="T3"/>
                </a:cxn>
                <a:cxn ang="0">
                  <a:pos x="T4" y="T5"/>
                </a:cxn>
                <a:cxn ang="0">
                  <a:pos x="T6" y="T7"/>
                </a:cxn>
                <a:cxn ang="0">
                  <a:pos x="T8" y="T9"/>
                </a:cxn>
              </a:cxnLst>
              <a:rect l="0" t="0" r="r" b="b"/>
              <a:pathLst>
                <a:path w="383" h="1292">
                  <a:moveTo>
                    <a:pt x="383" y="1292"/>
                  </a:moveTo>
                  <a:lnTo>
                    <a:pt x="383" y="0"/>
                  </a:lnTo>
                  <a:lnTo>
                    <a:pt x="0" y="27"/>
                  </a:lnTo>
                  <a:lnTo>
                    <a:pt x="28" y="1275"/>
                  </a:lnTo>
                  <a:lnTo>
                    <a:pt x="383" y="1292"/>
                  </a:lnTo>
                  <a:close/>
                </a:path>
              </a:pathLst>
            </a:custGeom>
            <a:solidFill>
              <a:srgbClr val="85282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695"/>
            <p:cNvSpPr/>
            <p:nvPr/>
          </p:nvSpPr>
          <p:spPr bwMode="auto">
            <a:xfrm>
              <a:off x="2922586" y="5219710"/>
              <a:ext cx="358775" cy="47625"/>
            </a:xfrm>
            <a:custGeom>
              <a:avLst/>
              <a:gdLst>
                <a:gd name="T0" fmla="*/ 0 w 678"/>
                <a:gd name="T1" fmla="*/ 18 h 90"/>
                <a:gd name="T2" fmla="*/ 678 w 678"/>
                <a:gd name="T3" fmla="*/ 0 h 90"/>
                <a:gd name="T4" fmla="*/ 671 w 678"/>
                <a:gd name="T5" fmla="*/ 66 h 90"/>
                <a:gd name="T6" fmla="*/ 0 w 678"/>
                <a:gd name="T7" fmla="*/ 90 h 90"/>
                <a:gd name="T8" fmla="*/ 0 w 678"/>
                <a:gd name="T9" fmla="*/ 18 h 90"/>
              </a:gdLst>
              <a:ahLst/>
              <a:cxnLst>
                <a:cxn ang="0">
                  <a:pos x="T0" y="T1"/>
                </a:cxn>
                <a:cxn ang="0">
                  <a:pos x="T2" y="T3"/>
                </a:cxn>
                <a:cxn ang="0">
                  <a:pos x="T4" y="T5"/>
                </a:cxn>
                <a:cxn ang="0">
                  <a:pos x="T6" y="T7"/>
                </a:cxn>
                <a:cxn ang="0">
                  <a:pos x="T8" y="T9"/>
                </a:cxn>
              </a:cxnLst>
              <a:rect l="0" t="0" r="r" b="b"/>
              <a:pathLst>
                <a:path w="678" h="90">
                  <a:moveTo>
                    <a:pt x="0" y="18"/>
                  </a:moveTo>
                  <a:lnTo>
                    <a:pt x="678" y="0"/>
                  </a:lnTo>
                  <a:lnTo>
                    <a:pt x="671" y="66"/>
                  </a:lnTo>
                  <a:lnTo>
                    <a:pt x="0" y="90"/>
                  </a:lnTo>
                  <a:lnTo>
                    <a:pt x="0" y="18"/>
                  </a:lnTo>
                  <a:close/>
                </a:path>
              </a:pathLst>
            </a:custGeom>
            <a:solidFill>
              <a:srgbClr val="F6D1B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8" name="Freeform 696"/>
            <p:cNvSpPr/>
            <p:nvPr/>
          </p:nvSpPr>
          <p:spPr bwMode="auto">
            <a:xfrm>
              <a:off x="3778247" y="5218121"/>
              <a:ext cx="309563" cy="41275"/>
            </a:xfrm>
            <a:custGeom>
              <a:avLst/>
              <a:gdLst>
                <a:gd name="T0" fmla="*/ 585 w 585"/>
                <a:gd name="T1" fmla="*/ 1 h 76"/>
                <a:gd name="T2" fmla="*/ 0 w 585"/>
                <a:gd name="T3" fmla="*/ 0 h 76"/>
                <a:gd name="T4" fmla="*/ 1 w 585"/>
                <a:gd name="T5" fmla="*/ 72 h 76"/>
                <a:gd name="T6" fmla="*/ 580 w 585"/>
                <a:gd name="T7" fmla="*/ 76 h 76"/>
                <a:gd name="T8" fmla="*/ 585 w 585"/>
                <a:gd name="T9" fmla="*/ 1 h 76"/>
              </a:gdLst>
              <a:ahLst/>
              <a:cxnLst>
                <a:cxn ang="0">
                  <a:pos x="T0" y="T1"/>
                </a:cxn>
                <a:cxn ang="0">
                  <a:pos x="T2" y="T3"/>
                </a:cxn>
                <a:cxn ang="0">
                  <a:pos x="T4" y="T5"/>
                </a:cxn>
                <a:cxn ang="0">
                  <a:pos x="T6" y="T7"/>
                </a:cxn>
                <a:cxn ang="0">
                  <a:pos x="T8" y="T9"/>
                </a:cxn>
              </a:cxnLst>
              <a:rect l="0" t="0" r="r" b="b"/>
              <a:pathLst>
                <a:path w="585" h="76">
                  <a:moveTo>
                    <a:pt x="585" y="1"/>
                  </a:moveTo>
                  <a:lnTo>
                    <a:pt x="0" y="0"/>
                  </a:lnTo>
                  <a:lnTo>
                    <a:pt x="1" y="72"/>
                  </a:lnTo>
                  <a:lnTo>
                    <a:pt x="580" y="76"/>
                  </a:lnTo>
                  <a:lnTo>
                    <a:pt x="585" y="1"/>
                  </a:lnTo>
                  <a:close/>
                </a:path>
              </a:pathLst>
            </a:custGeom>
            <a:solidFill>
              <a:srgbClr val="F6D1B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9" name="Freeform 697"/>
            <p:cNvSpPr/>
            <p:nvPr/>
          </p:nvSpPr>
          <p:spPr bwMode="auto">
            <a:xfrm>
              <a:off x="2700336" y="4475170"/>
              <a:ext cx="609599" cy="128588"/>
            </a:xfrm>
            <a:custGeom>
              <a:avLst/>
              <a:gdLst>
                <a:gd name="T0" fmla="*/ 0 w 1151"/>
                <a:gd name="T1" fmla="*/ 234 h 244"/>
                <a:gd name="T2" fmla="*/ 254 w 1151"/>
                <a:gd name="T3" fmla="*/ 98 h 244"/>
                <a:gd name="T4" fmla="*/ 732 w 1151"/>
                <a:gd name="T5" fmla="*/ 8 h 244"/>
                <a:gd name="T6" fmla="*/ 772 w 1151"/>
                <a:gd name="T7" fmla="*/ 0 h 244"/>
                <a:gd name="T8" fmla="*/ 1151 w 1151"/>
                <a:gd name="T9" fmla="*/ 208 h 244"/>
                <a:gd name="T10" fmla="*/ 1145 w 1151"/>
                <a:gd name="T11" fmla="*/ 236 h 244"/>
                <a:gd name="T12" fmla="*/ 1107 w 1151"/>
                <a:gd name="T13" fmla="*/ 244 h 244"/>
                <a:gd name="T14" fmla="*/ 1109 w 1151"/>
                <a:gd name="T15" fmla="*/ 214 h 244"/>
                <a:gd name="T16" fmla="*/ 756 w 1151"/>
                <a:gd name="T17" fmla="*/ 23 h 244"/>
                <a:gd name="T18" fmla="*/ 419 w 1151"/>
                <a:gd name="T19" fmla="*/ 205 h 244"/>
                <a:gd name="T20" fmla="*/ 0 w 1151"/>
                <a:gd name="T21" fmla="*/ 23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1" h="244">
                  <a:moveTo>
                    <a:pt x="0" y="234"/>
                  </a:moveTo>
                  <a:lnTo>
                    <a:pt x="254" y="98"/>
                  </a:lnTo>
                  <a:lnTo>
                    <a:pt x="732" y="8"/>
                  </a:lnTo>
                  <a:lnTo>
                    <a:pt x="772" y="0"/>
                  </a:lnTo>
                  <a:lnTo>
                    <a:pt x="1151" y="208"/>
                  </a:lnTo>
                  <a:lnTo>
                    <a:pt x="1145" y="236"/>
                  </a:lnTo>
                  <a:lnTo>
                    <a:pt x="1107" y="244"/>
                  </a:lnTo>
                  <a:lnTo>
                    <a:pt x="1109" y="214"/>
                  </a:lnTo>
                  <a:lnTo>
                    <a:pt x="756" y="23"/>
                  </a:lnTo>
                  <a:lnTo>
                    <a:pt x="419" y="205"/>
                  </a:lnTo>
                  <a:lnTo>
                    <a:pt x="0" y="234"/>
                  </a:lnTo>
                  <a:close/>
                </a:path>
              </a:pathLst>
            </a:custGeom>
            <a:solidFill>
              <a:srgbClr val="F6D1B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 name="Freeform 698"/>
            <p:cNvSpPr/>
            <p:nvPr/>
          </p:nvSpPr>
          <p:spPr bwMode="auto">
            <a:xfrm>
              <a:off x="2605086" y="4776796"/>
              <a:ext cx="292100" cy="511176"/>
            </a:xfrm>
            <a:custGeom>
              <a:avLst/>
              <a:gdLst>
                <a:gd name="T0" fmla="*/ 552 w 552"/>
                <a:gd name="T1" fmla="*/ 923 h 965"/>
                <a:gd name="T2" fmla="*/ 545 w 552"/>
                <a:gd name="T3" fmla="*/ 0 h 965"/>
                <a:gd name="T4" fmla="*/ 14 w 552"/>
                <a:gd name="T5" fmla="*/ 573 h 965"/>
                <a:gd name="T6" fmla="*/ 0 w 552"/>
                <a:gd name="T7" fmla="*/ 965 h 965"/>
                <a:gd name="T8" fmla="*/ 552 w 552"/>
                <a:gd name="T9" fmla="*/ 923 h 965"/>
              </a:gdLst>
              <a:ahLst/>
              <a:cxnLst>
                <a:cxn ang="0">
                  <a:pos x="T0" y="T1"/>
                </a:cxn>
                <a:cxn ang="0">
                  <a:pos x="T2" y="T3"/>
                </a:cxn>
                <a:cxn ang="0">
                  <a:pos x="T4" y="T5"/>
                </a:cxn>
                <a:cxn ang="0">
                  <a:pos x="T6" y="T7"/>
                </a:cxn>
                <a:cxn ang="0">
                  <a:pos x="T8" y="T9"/>
                </a:cxn>
              </a:cxnLst>
              <a:rect l="0" t="0" r="r" b="b"/>
              <a:pathLst>
                <a:path w="552" h="965">
                  <a:moveTo>
                    <a:pt x="552" y="923"/>
                  </a:moveTo>
                  <a:lnTo>
                    <a:pt x="545" y="0"/>
                  </a:lnTo>
                  <a:lnTo>
                    <a:pt x="14" y="573"/>
                  </a:lnTo>
                  <a:lnTo>
                    <a:pt x="0" y="965"/>
                  </a:lnTo>
                  <a:lnTo>
                    <a:pt x="552" y="923"/>
                  </a:lnTo>
                  <a:close/>
                </a:path>
              </a:pathLst>
            </a:custGeom>
            <a:solidFill>
              <a:srgbClr val="DE6A6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699"/>
            <p:cNvSpPr/>
            <p:nvPr/>
          </p:nvSpPr>
          <p:spPr bwMode="auto">
            <a:xfrm>
              <a:off x="2449511" y="5056196"/>
              <a:ext cx="161925" cy="228601"/>
            </a:xfrm>
            <a:custGeom>
              <a:avLst/>
              <a:gdLst>
                <a:gd name="T0" fmla="*/ 297 w 308"/>
                <a:gd name="T1" fmla="*/ 432 h 432"/>
                <a:gd name="T2" fmla="*/ 308 w 308"/>
                <a:gd name="T3" fmla="*/ 45 h 432"/>
                <a:gd name="T4" fmla="*/ 0 w 308"/>
                <a:gd name="T5" fmla="*/ 0 h 432"/>
                <a:gd name="T6" fmla="*/ 17 w 308"/>
                <a:gd name="T7" fmla="*/ 387 h 432"/>
                <a:gd name="T8" fmla="*/ 297 w 308"/>
                <a:gd name="T9" fmla="*/ 432 h 432"/>
              </a:gdLst>
              <a:ahLst/>
              <a:cxnLst>
                <a:cxn ang="0">
                  <a:pos x="T0" y="T1"/>
                </a:cxn>
                <a:cxn ang="0">
                  <a:pos x="T2" y="T3"/>
                </a:cxn>
                <a:cxn ang="0">
                  <a:pos x="T4" y="T5"/>
                </a:cxn>
                <a:cxn ang="0">
                  <a:pos x="T6" y="T7"/>
                </a:cxn>
                <a:cxn ang="0">
                  <a:pos x="T8" y="T9"/>
                </a:cxn>
              </a:cxnLst>
              <a:rect l="0" t="0" r="r" b="b"/>
              <a:pathLst>
                <a:path w="308" h="432">
                  <a:moveTo>
                    <a:pt x="297" y="432"/>
                  </a:moveTo>
                  <a:lnTo>
                    <a:pt x="308" y="45"/>
                  </a:lnTo>
                  <a:lnTo>
                    <a:pt x="0" y="0"/>
                  </a:lnTo>
                  <a:lnTo>
                    <a:pt x="17" y="387"/>
                  </a:lnTo>
                  <a:lnTo>
                    <a:pt x="297" y="432"/>
                  </a:lnTo>
                  <a:close/>
                </a:path>
              </a:pathLst>
            </a:custGeom>
            <a:solidFill>
              <a:srgbClr val="85282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2" name="Freeform 700"/>
            <p:cNvSpPr/>
            <p:nvPr/>
          </p:nvSpPr>
          <p:spPr bwMode="auto">
            <a:xfrm>
              <a:off x="2730498" y="4522795"/>
              <a:ext cx="252413" cy="74613"/>
            </a:xfrm>
            <a:custGeom>
              <a:avLst/>
              <a:gdLst>
                <a:gd name="T0" fmla="*/ 343 w 478"/>
                <a:gd name="T1" fmla="*/ 90 h 141"/>
                <a:gd name="T2" fmla="*/ 155 w 478"/>
                <a:gd name="T3" fmla="*/ 130 h 141"/>
                <a:gd name="T4" fmla="*/ 0 w 478"/>
                <a:gd name="T5" fmla="*/ 141 h 141"/>
                <a:gd name="T6" fmla="*/ 478 w 478"/>
                <a:gd name="T7" fmla="*/ 0 h 141"/>
                <a:gd name="T8" fmla="*/ 343 w 478"/>
                <a:gd name="T9" fmla="*/ 90 h 141"/>
              </a:gdLst>
              <a:ahLst/>
              <a:cxnLst>
                <a:cxn ang="0">
                  <a:pos x="T0" y="T1"/>
                </a:cxn>
                <a:cxn ang="0">
                  <a:pos x="T2" y="T3"/>
                </a:cxn>
                <a:cxn ang="0">
                  <a:pos x="T4" y="T5"/>
                </a:cxn>
                <a:cxn ang="0">
                  <a:pos x="T6" y="T7"/>
                </a:cxn>
                <a:cxn ang="0">
                  <a:pos x="T8" y="T9"/>
                </a:cxn>
              </a:cxnLst>
              <a:rect l="0" t="0" r="r" b="b"/>
              <a:pathLst>
                <a:path w="478" h="141">
                  <a:moveTo>
                    <a:pt x="343" y="90"/>
                  </a:moveTo>
                  <a:lnTo>
                    <a:pt x="155" y="130"/>
                  </a:lnTo>
                  <a:lnTo>
                    <a:pt x="0" y="141"/>
                  </a:lnTo>
                  <a:lnTo>
                    <a:pt x="478" y="0"/>
                  </a:lnTo>
                  <a:lnTo>
                    <a:pt x="343" y="90"/>
                  </a:lnTo>
                  <a:close/>
                </a:path>
              </a:pathLst>
            </a:custGeom>
            <a:solidFill>
              <a:srgbClr val="BA907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3" name="Freeform 701"/>
            <p:cNvSpPr/>
            <p:nvPr/>
          </p:nvSpPr>
          <p:spPr bwMode="auto">
            <a:xfrm>
              <a:off x="2438399" y="4768859"/>
              <a:ext cx="461963" cy="320675"/>
            </a:xfrm>
            <a:custGeom>
              <a:avLst/>
              <a:gdLst>
                <a:gd name="T0" fmla="*/ 871 w 871"/>
                <a:gd name="T1" fmla="*/ 0 h 606"/>
                <a:gd name="T2" fmla="*/ 573 w 871"/>
                <a:gd name="T3" fmla="*/ 15 h 606"/>
                <a:gd name="T4" fmla="*/ 0 w 871"/>
                <a:gd name="T5" fmla="*/ 561 h 606"/>
                <a:gd name="T6" fmla="*/ 309 w 871"/>
                <a:gd name="T7" fmla="*/ 606 h 606"/>
                <a:gd name="T8" fmla="*/ 871 w 871"/>
                <a:gd name="T9" fmla="*/ 0 h 606"/>
              </a:gdLst>
              <a:ahLst/>
              <a:cxnLst>
                <a:cxn ang="0">
                  <a:pos x="T0" y="T1"/>
                </a:cxn>
                <a:cxn ang="0">
                  <a:pos x="T2" y="T3"/>
                </a:cxn>
                <a:cxn ang="0">
                  <a:pos x="T4" y="T5"/>
                </a:cxn>
                <a:cxn ang="0">
                  <a:pos x="T6" y="T7"/>
                </a:cxn>
                <a:cxn ang="0">
                  <a:pos x="T8" y="T9"/>
                </a:cxn>
              </a:cxnLst>
              <a:rect l="0" t="0" r="r" b="b"/>
              <a:pathLst>
                <a:path w="871" h="606">
                  <a:moveTo>
                    <a:pt x="871" y="0"/>
                  </a:moveTo>
                  <a:lnTo>
                    <a:pt x="573" y="15"/>
                  </a:lnTo>
                  <a:lnTo>
                    <a:pt x="0" y="561"/>
                  </a:lnTo>
                  <a:lnTo>
                    <a:pt x="309" y="606"/>
                  </a:lnTo>
                  <a:lnTo>
                    <a:pt x="871" y="0"/>
                  </a:lnTo>
                  <a:close/>
                </a:path>
              </a:pathLst>
            </a:custGeom>
            <a:solidFill>
              <a:srgbClr val="F6D1B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4" name="Freeform 702"/>
            <p:cNvSpPr/>
            <p:nvPr/>
          </p:nvSpPr>
          <p:spPr bwMode="auto">
            <a:xfrm>
              <a:off x="2514598" y="5203835"/>
              <a:ext cx="96838" cy="95250"/>
            </a:xfrm>
            <a:custGeom>
              <a:avLst/>
              <a:gdLst>
                <a:gd name="T0" fmla="*/ 183 w 183"/>
                <a:gd name="T1" fmla="*/ 0 h 179"/>
                <a:gd name="T2" fmla="*/ 6 w 183"/>
                <a:gd name="T3" fmla="*/ 28 h 179"/>
                <a:gd name="T4" fmla="*/ 0 w 183"/>
                <a:gd name="T5" fmla="*/ 179 h 179"/>
                <a:gd name="T6" fmla="*/ 176 w 183"/>
                <a:gd name="T7" fmla="*/ 158 h 179"/>
                <a:gd name="T8" fmla="*/ 183 w 183"/>
                <a:gd name="T9" fmla="*/ 0 h 179"/>
              </a:gdLst>
              <a:ahLst/>
              <a:cxnLst>
                <a:cxn ang="0">
                  <a:pos x="T0" y="T1"/>
                </a:cxn>
                <a:cxn ang="0">
                  <a:pos x="T2" y="T3"/>
                </a:cxn>
                <a:cxn ang="0">
                  <a:pos x="T4" y="T5"/>
                </a:cxn>
                <a:cxn ang="0">
                  <a:pos x="T6" y="T7"/>
                </a:cxn>
                <a:cxn ang="0">
                  <a:pos x="T8" y="T9"/>
                </a:cxn>
              </a:cxnLst>
              <a:rect l="0" t="0" r="r" b="b"/>
              <a:pathLst>
                <a:path w="183" h="179">
                  <a:moveTo>
                    <a:pt x="183" y="0"/>
                  </a:moveTo>
                  <a:lnTo>
                    <a:pt x="6" y="28"/>
                  </a:lnTo>
                  <a:lnTo>
                    <a:pt x="0" y="179"/>
                  </a:lnTo>
                  <a:lnTo>
                    <a:pt x="176" y="158"/>
                  </a:lnTo>
                  <a:lnTo>
                    <a:pt x="183" y="0"/>
                  </a:lnTo>
                  <a:close/>
                </a:path>
              </a:pathLst>
            </a:custGeom>
            <a:solidFill>
              <a:srgbClr val="DE6A6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5" name="Freeform 703"/>
            <p:cNvSpPr/>
            <p:nvPr/>
          </p:nvSpPr>
          <p:spPr bwMode="auto">
            <a:xfrm>
              <a:off x="2381248" y="5175259"/>
              <a:ext cx="230188" cy="44450"/>
            </a:xfrm>
            <a:custGeom>
              <a:avLst/>
              <a:gdLst>
                <a:gd name="T0" fmla="*/ 436 w 436"/>
                <a:gd name="T1" fmla="*/ 54 h 82"/>
                <a:gd name="T2" fmla="*/ 137 w 436"/>
                <a:gd name="T3" fmla="*/ 0 h 82"/>
                <a:gd name="T4" fmla="*/ 0 w 436"/>
                <a:gd name="T5" fmla="*/ 27 h 82"/>
                <a:gd name="T6" fmla="*/ 259 w 436"/>
                <a:gd name="T7" fmla="*/ 82 h 82"/>
                <a:gd name="T8" fmla="*/ 436 w 436"/>
                <a:gd name="T9" fmla="*/ 54 h 82"/>
              </a:gdLst>
              <a:ahLst/>
              <a:cxnLst>
                <a:cxn ang="0">
                  <a:pos x="T0" y="T1"/>
                </a:cxn>
                <a:cxn ang="0">
                  <a:pos x="T2" y="T3"/>
                </a:cxn>
                <a:cxn ang="0">
                  <a:pos x="T4" y="T5"/>
                </a:cxn>
                <a:cxn ang="0">
                  <a:pos x="T6" y="T7"/>
                </a:cxn>
                <a:cxn ang="0">
                  <a:pos x="T8" y="T9"/>
                </a:cxn>
              </a:cxnLst>
              <a:rect l="0" t="0" r="r" b="b"/>
              <a:pathLst>
                <a:path w="436" h="82">
                  <a:moveTo>
                    <a:pt x="436" y="54"/>
                  </a:moveTo>
                  <a:lnTo>
                    <a:pt x="137" y="0"/>
                  </a:lnTo>
                  <a:lnTo>
                    <a:pt x="0" y="27"/>
                  </a:lnTo>
                  <a:lnTo>
                    <a:pt x="259" y="82"/>
                  </a:lnTo>
                  <a:lnTo>
                    <a:pt x="436" y="54"/>
                  </a:lnTo>
                  <a:close/>
                </a:path>
              </a:pathLst>
            </a:custGeom>
            <a:solidFill>
              <a:srgbClr val="F6D1B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6" name="Freeform 704"/>
            <p:cNvSpPr/>
            <p:nvPr/>
          </p:nvSpPr>
          <p:spPr bwMode="auto">
            <a:xfrm>
              <a:off x="2381248" y="5189546"/>
              <a:ext cx="136525" cy="109538"/>
            </a:xfrm>
            <a:custGeom>
              <a:avLst/>
              <a:gdLst>
                <a:gd name="T0" fmla="*/ 259 w 259"/>
                <a:gd name="T1" fmla="*/ 55 h 206"/>
                <a:gd name="T2" fmla="*/ 0 w 259"/>
                <a:gd name="T3" fmla="*/ 0 h 206"/>
                <a:gd name="T4" fmla="*/ 6 w 259"/>
                <a:gd name="T5" fmla="*/ 139 h 206"/>
                <a:gd name="T6" fmla="*/ 253 w 259"/>
                <a:gd name="T7" fmla="*/ 206 h 206"/>
                <a:gd name="T8" fmla="*/ 259 w 259"/>
                <a:gd name="T9" fmla="*/ 55 h 206"/>
              </a:gdLst>
              <a:ahLst/>
              <a:cxnLst>
                <a:cxn ang="0">
                  <a:pos x="T0" y="T1"/>
                </a:cxn>
                <a:cxn ang="0">
                  <a:pos x="T2" y="T3"/>
                </a:cxn>
                <a:cxn ang="0">
                  <a:pos x="T4" y="T5"/>
                </a:cxn>
                <a:cxn ang="0">
                  <a:pos x="T6" y="T7"/>
                </a:cxn>
                <a:cxn ang="0">
                  <a:pos x="T8" y="T9"/>
                </a:cxn>
              </a:cxnLst>
              <a:rect l="0" t="0" r="r" b="b"/>
              <a:pathLst>
                <a:path w="259" h="206">
                  <a:moveTo>
                    <a:pt x="259" y="55"/>
                  </a:moveTo>
                  <a:lnTo>
                    <a:pt x="0" y="0"/>
                  </a:lnTo>
                  <a:lnTo>
                    <a:pt x="6" y="139"/>
                  </a:lnTo>
                  <a:lnTo>
                    <a:pt x="253" y="206"/>
                  </a:lnTo>
                  <a:lnTo>
                    <a:pt x="259" y="55"/>
                  </a:lnTo>
                  <a:close/>
                </a:path>
              </a:pathLst>
            </a:custGeom>
            <a:solidFill>
              <a:srgbClr val="85282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7" name="Freeform 705"/>
            <p:cNvSpPr/>
            <p:nvPr/>
          </p:nvSpPr>
          <p:spPr bwMode="auto">
            <a:xfrm>
              <a:off x="2903536" y="4167194"/>
              <a:ext cx="87313" cy="403226"/>
            </a:xfrm>
            <a:custGeom>
              <a:avLst/>
              <a:gdLst>
                <a:gd name="T0" fmla="*/ 150 w 165"/>
                <a:gd name="T1" fmla="*/ 679 h 763"/>
                <a:gd name="T2" fmla="*/ 15 w 165"/>
                <a:gd name="T3" fmla="*/ 763 h 763"/>
                <a:gd name="T4" fmla="*/ 27 w 165"/>
                <a:gd name="T5" fmla="*/ 61 h 763"/>
                <a:gd name="T6" fmla="*/ 0 w 165"/>
                <a:gd name="T7" fmla="*/ 23 h 763"/>
                <a:gd name="T8" fmla="*/ 0 w 165"/>
                <a:gd name="T9" fmla="*/ 23 h 763"/>
                <a:gd name="T10" fmla="*/ 6 w 165"/>
                <a:gd name="T11" fmla="*/ 20 h 763"/>
                <a:gd name="T12" fmla="*/ 14 w 165"/>
                <a:gd name="T13" fmla="*/ 16 h 763"/>
                <a:gd name="T14" fmla="*/ 23 w 165"/>
                <a:gd name="T15" fmla="*/ 10 h 763"/>
                <a:gd name="T16" fmla="*/ 35 w 165"/>
                <a:gd name="T17" fmla="*/ 6 h 763"/>
                <a:gd name="T18" fmla="*/ 50 w 165"/>
                <a:gd name="T19" fmla="*/ 2 h 763"/>
                <a:gd name="T20" fmla="*/ 67 w 165"/>
                <a:gd name="T21" fmla="*/ 0 h 763"/>
                <a:gd name="T22" fmla="*/ 86 w 165"/>
                <a:gd name="T23" fmla="*/ 0 h 763"/>
                <a:gd name="T24" fmla="*/ 86 w 165"/>
                <a:gd name="T25" fmla="*/ 0 h 763"/>
                <a:gd name="T26" fmla="*/ 105 w 165"/>
                <a:gd name="T27" fmla="*/ 1 h 763"/>
                <a:gd name="T28" fmla="*/ 121 w 165"/>
                <a:gd name="T29" fmla="*/ 4 h 763"/>
                <a:gd name="T30" fmla="*/ 134 w 165"/>
                <a:gd name="T31" fmla="*/ 8 h 763"/>
                <a:gd name="T32" fmla="*/ 145 w 165"/>
                <a:gd name="T33" fmla="*/ 13 h 763"/>
                <a:gd name="T34" fmla="*/ 154 w 165"/>
                <a:gd name="T35" fmla="*/ 18 h 763"/>
                <a:gd name="T36" fmla="*/ 160 w 165"/>
                <a:gd name="T37" fmla="*/ 23 h 763"/>
                <a:gd name="T38" fmla="*/ 165 w 165"/>
                <a:gd name="T39" fmla="*/ 27 h 763"/>
                <a:gd name="T40" fmla="*/ 134 w 165"/>
                <a:gd name="T41" fmla="*/ 55 h 763"/>
                <a:gd name="T42" fmla="*/ 150 w 165"/>
                <a:gd name="T43" fmla="*/ 679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5" h="763">
                  <a:moveTo>
                    <a:pt x="150" y="679"/>
                  </a:moveTo>
                  <a:lnTo>
                    <a:pt x="15" y="763"/>
                  </a:lnTo>
                  <a:lnTo>
                    <a:pt x="27" y="61"/>
                  </a:lnTo>
                  <a:lnTo>
                    <a:pt x="0" y="23"/>
                  </a:lnTo>
                  <a:lnTo>
                    <a:pt x="0" y="23"/>
                  </a:lnTo>
                  <a:lnTo>
                    <a:pt x="6" y="20"/>
                  </a:lnTo>
                  <a:lnTo>
                    <a:pt x="14" y="16"/>
                  </a:lnTo>
                  <a:lnTo>
                    <a:pt x="23" y="10"/>
                  </a:lnTo>
                  <a:lnTo>
                    <a:pt x="35" y="6"/>
                  </a:lnTo>
                  <a:lnTo>
                    <a:pt x="50" y="2"/>
                  </a:lnTo>
                  <a:lnTo>
                    <a:pt x="67" y="0"/>
                  </a:lnTo>
                  <a:lnTo>
                    <a:pt x="86" y="0"/>
                  </a:lnTo>
                  <a:lnTo>
                    <a:pt x="86" y="0"/>
                  </a:lnTo>
                  <a:lnTo>
                    <a:pt x="105" y="1"/>
                  </a:lnTo>
                  <a:lnTo>
                    <a:pt x="121" y="4"/>
                  </a:lnTo>
                  <a:lnTo>
                    <a:pt x="134" y="8"/>
                  </a:lnTo>
                  <a:lnTo>
                    <a:pt x="145" y="13"/>
                  </a:lnTo>
                  <a:lnTo>
                    <a:pt x="154" y="18"/>
                  </a:lnTo>
                  <a:lnTo>
                    <a:pt x="160" y="23"/>
                  </a:lnTo>
                  <a:lnTo>
                    <a:pt x="165" y="27"/>
                  </a:lnTo>
                  <a:lnTo>
                    <a:pt x="134" y="55"/>
                  </a:lnTo>
                  <a:lnTo>
                    <a:pt x="150" y="679"/>
                  </a:lnTo>
                  <a:close/>
                </a:path>
              </a:pathLst>
            </a:custGeom>
            <a:solidFill>
              <a:srgbClr val="569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8" name="Freeform 706"/>
            <p:cNvSpPr/>
            <p:nvPr/>
          </p:nvSpPr>
          <p:spPr bwMode="auto">
            <a:xfrm>
              <a:off x="3203573" y="4192595"/>
              <a:ext cx="84138" cy="374651"/>
            </a:xfrm>
            <a:custGeom>
              <a:avLst/>
              <a:gdLst>
                <a:gd name="T0" fmla="*/ 0 w 158"/>
                <a:gd name="T1" fmla="*/ 636 h 707"/>
                <a:gd name="T2" fmla="*/ 41 w 158"/>
                <a:gd name="T3" fmla="*/ 58 h 707"/>
                <a:gd name="T4" fmla="*/ 9 w 158"/>
                <a:gd name="T5" fmla="*/ 17 h 707"/>
                <a:gd name="T6" fmla="*/ 9 w 158"/>
                <a:gd name="T7" fmla="*/ 17 h 707"/>
                <a:gd name="T8" fmla="*/ 12 w 158"/>
                <a:gd name="T9" fmla="*/ 16 h 707"/>
                <a:gd name="T10" fmla="*/ 21 w 158"/>
                <a:gd name="T11" fmla="*/ 12 h 707"/>
                <a:gd name="T12" fmla="*/ 35 w 158"/>
                <a:gd name="T13" fmla="*/ 7 h 707"/>
                <a:gd name="T14" fmla="*/ 52 w 158"/>
                <a:gd name="T15" fmla="*/ 1 h 707"/>
                <a:gd name="T16" fmla="*/ 63 w 158"/>
                <a:gd name="T17" fmla="*/ 0 h 707"/>
                <a:gd name="T18" fmla="*/ 74 w 158"/>
                <a:gd name="T19" fmla="*/ 0 h 707"/>
                <a:gd name="T20" fmla="*/ 86 w 158"/>
                <a:gd name="T21" fmla="*/ 0 h 707"/>
                <a:gd name="T22" fmla="*/ 99 w 158"/>
                <a:gd name="T23" fmla="*/ 1 h 707"/>
                <a:gd name="T24" fmla="*/ 112 w 158"/>
                <a:gd name="T25" fmla="*/ 5 h 707"/>
                <a:gd name="T26" fmla="*/ 127 w 158"/>
                <a:gd name="T27" fmla="*/ 9 h 707"/>
                <a:gd name="T28" fmla="*/ 142 w 158"/>
                <a:gd name="T29" fmla="*/ 16 h 707"/>
                <a:gd name="T30" fmla="*/ 158 w 158"/>
                <a:gd name="T31" fmla="*/ 24 h 707"/>
                <a:gd name="T32" fmla="*/ 126 w 158"/>
                <a:gd name="T33" fmla="*/ 59 h 707"/>
                <a:gd name="T34" fmla="*/ 128 w 158"/>
                <a:gd name="T35" fmla="*/ 707 h 707"/>
                <a:gd name="T36" fmla="*/ 0 w 158"/>
                <a:gd name="T37" fmla="*/ 636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8" h="707">
                  <a:moveTo>
                    <a:pt x="0" y="636"/>
                  </a:moveTo>
                  <a:lnTo>
                    <a:pt x="41" y="58"/>
                  </a:lnTo>
                  <a:lnTo>
                    <a:pt x="9" y="17"/>
                  </a:lnTo>
                  <a:lnTo>
                    <a:pt x="9" y="17"/>
                  </a:lnTo>
                  <a:lnTo>
                    <a:pt x="12" y="16"/>
                  </a:lnTo>
                  <a:lnTo>
                    <a:pt x="21" y="12"/>
                  </a:lnTo>
                  <a:lnTo>
                    <a:pt x="35" y="7"/>
                  </a:lnTo>
                  <a:lnTo>
                    <a:pt x="52" y="1"/>
                  </a:lnTo>
                  <a:lnTo>
                    <a:pt x="63" y="0"/>
                  </a:lnTo>
                  <a:lnTo>
                    <a:pt x="74" y="0"/>
                  </a:lnTo>
                  <a:lnTo>
                    <a:pt x="86" y="0"/>
                  </a:lnTo>
                  <a:lnTo>
                    <a:pt x="99" y="1"/>
                  </a:lnTo>
                  <a:lnTo>
                    <a:pt x="112" y="5"/>
                  </a:lnTo>
                  <a:lnTo>
                    <a:pt x="127" y="9"/>
                  </a:lnTo>
                  <a:lnTo>
                    <a:pt x="142" y="16"/>
                  </a:lnTo>
                  <a:lnTo>
                    <a:pt x="158" y="24"/>
                  </a:lnTo>
                  <a:lnTo>
                    <a:pt x="126" y="59"/>
                  </a:lnTo>
                  <a:lnTo>
                    <a:pt x="128" y="707"/>
                  </a:lnTo>
                  <a:lnTo>
                    <a:pt x="0" y="636"/>
                  </a:lnTo>
                  <a:close/>
                </a:path>
              </a:pathLst>
            </a:custGeom>
            <a:solidFill>
              <a:srgbClr val="569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9" name="Freeform 707"/>
            <p:cNvSpPr/>
            <p:nvPr/>
          </p:nvSpPr>
          <p:spPr bwMode="auto">
            <a:xfrm>
              <a:off x="3205161" y="5089534"/>
              <a:ext cx="49213" cy="168275"/>
            </a:xfrm>
            <a:custGeom>
              <a:avLst/>
              <a:gdLst>
                <a:gd name="T0" fmla="*/ 93 w 93"/>
                <a:gd name="T1" fmla="*/ 0 h 318"/>
                <a:gd name="T2" fmla="*/ 82 w 93"/>
                <a:gd name="T3" fmla="*/ 315 h 318"/>
                <a:gd name="T4" fmla="*/ 0 w 93"/>
                <a:gd name="T5" fmla="*/ 318 h 318"/>
                <a:gd name="T6" fmla="*/ 2 w 93"/>
                <a:gd name="T7" fmla="*/ 2 h 318"/>
                <a:gd name="T8" fmla="*/ 93 w 93"/>
                <a:gd name="T9" fmla="*/ 0 h 318"/>
              </a:gdLst>
              <a:ahLst/>
              <a:cxnLst>
                <a:cxn ang="0">
                  <a:pos x="T0" y="T1"/>
                </a:cxn>
                <a:cxn ang="0">
                  <a:pos x="T2" y="T3"/>
                </a:cxn>
                <a:cxn ang="0">
                  <a:pos x="T4" y="T5"/>
                </a:cxn>
                <a:cxn ang="0">
                  <a:pos x="T6" y="T7"/>
                </a:cxn>
                <a:cxn ang="0">
                  <a:pos x="T8" y="T9"/>
                </a:cxn>
              </a:cxnLst>
              <a:rect l="0" t="0" r="r" b="b"/>
              <a:pathLst>
                <a:path w="93" h="318">
                  <a:moveTo>
                    <a:pt x="93" y="0"/>
                  </a:moveTo>
                  <a:lnTo>
                    <a:pt x="82" y="315"/>
                  </a:lnTo>
                  <a:lnTo>
                    <a:pt x="0" y="318"/>
                  </a:lnTo>
                  <a:lnTo>
                    <a:pt x="2" y="2"/>
                  </a:lnTo>
                  <a:lnTo>
                    <a:pt x="93" y="0"/>
                  </a:lnTo>
                  <a:close/>
                </a:path>
              </a:pathLst>
            </a:custGeom>
            <a:solidFill>
              <a:srgbClr val="AD46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0" name="Freeform 708"/>
            <p:cNvSpPr/>
            <p:nvPr/>
          </p:nvSpPr>
          <p:spPr bwMode="auto">
            <a:xfrm>
              <a:off x="3114673" y="5091121"/>
              <a:ext cx="66675" cy="169864"/>
            </a:xfrm>
            <a:custGeom>
              <a:avLst/>
              <a:gdLst>
                <a:gd name="T0" fmla="*/ 4 w 126"/>
                <a:gd name="T1" fmla="*/ 3 h 321"/>
                <a:gd name="T2" fmla="*/ 126 w 126"/>
                <a:gd name="T3" fmla="*/ 0 h 321"/>
                <a:gd name="T4" fmla="*/ 123 w 126"/>
                <a:gd name="T5" fmla="*/ 317 h 321"/>
                <a:gd name="T6" fmla="*/ 0 w 126"/>
                <a:gd name="T7" fmla="*/ 321 h 321"/>
                <a:gd name="T8" fmla="*/ 4 w 126"/>
                <a:gd name="T9" fmla="*/ 3 h 321"/>
              </a:gdLst>
              <a:ahLst/>
              <a:cxnLst>
                <a:cxn ang="0">
                  <a:pos x="T0" y="T1"/>
                </a:cxn>
                <a:cxn ang="0">
                  <a:pos x="T2" y="T3"/>
                </a:cxn>
                <a:cxn ang="0">
                  <a:pos x="T4" y="T5"/>
                </a:cxn>
                <a:cxn ang="0">
                  <a:pos x="T6" y="T7"/>
                </a:cxn>
                <a:cxn ang="0">
                  <a:pos x="T8" y="T9"/>
                </a:cxn>
              </a:cxnLst>
              <a:rect l="0" t="0" r="r" b="b"/>
              <a:pathLst>
                <a:path w="126" h="321">
                  <a:moveTo>
                    <a:pt x="4" y="3"/>
                  </a:moveTo>
                  <a:lnTo>
                    <a:pt x="126" y="0"/>
                  </a:lnTo>
                  <a:lnTo>
                    <a:pt x="123" y="317"/>
                  </a:lnTo>
                  <a:lnTo>
                    <a:pt x="0" y="321"/>
                  </a:lnTo>
                  <a:lnTo>
                    <a:pt x="4" y="3"/>
                  </a:lnTo>
                  <a:close/>
                </a:path>
              </a:pathLst>
            </a:custGeom>
            <a:solidFill>
              <a:srgbClr val="AD46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1" name="Freeform 709"/>
            <p:cNvSpPr/>
            <p:nvPr/>
          </p:nvSpPr>
          <p:spPr bwMode="auto">
            <a:xfrm>
              <a:off x="3038473" y="5092709"/>
              <a:ext cx="57150" cy="171451"/>
            </a:xfrm>
            <a:custGeom>
              <a:avLst/>
              <a:gdLst>
                <a:gd name="T0" fmla="*/ 0 w 107"/>
                <a:gd name="T1" fmla="*/ 1 h 322"/>
                <a:gd name="T2" fmla="*/ 107 w 107"/>
                <a:gd name="T3" fmla="*/ 0 h 322"/>
                <a:gd name="T4" fmla="*/ 106 w 107"/>
                <a:gd name="T5" fmla="*/ 318 h 322"/>
                <a:gd name="T6" fmla="*/ 5 w 107"/>
                <a:gd name="T7" fmla="*/ 322 h 322"/>
                <a:gd name="T8" fmla="*/ 0 w 107"/>
                <a:gd name="T9" fmla="*/ 1 h 322"/>
              </a:gdLst>
              <a:ahLst/>
              <a:cxnLst>
                <a:cxn ang="0">
                  <a:pos x="T0" y="T1"/>
                </a:cxn>
                <a:cxn ang="0">
                  <a:pos x="T2" y="T3"/>
                </a:cxn>
                <a:cxn ang="0">
                  <a:pos x="T4" y="T5"/>
                </a:cxn>
                <a:cxn ang="0">
                  <a:pos x="T6" y="T7"/>
                </a:cxn>
                <a:cxn ang="0">
                  <a:pos x="T8" y="T9"/>
                </a:cxn>
              </a:cxnLst>
              <a:rect l="0" t="0" r="r" b="b"/>
              <a:pathLst>
                <a:path w="107" h="322">
                  <a:moveTo>
                    <a:pt x="0" y="1"/>
                  </a:moveTo>
                  <a:lnTo>
                    <a:pt x="107" y="0"/>
                  </a:lnTo>
                  <a:lnTo>
                    <a:pt x="106" y="318"/>
                  </a:lnTo>
                  <a:lnTo>
                    <a:pt x="5" y="322"/>
                  </a:lnTo>
                  <a:lnTo>
                    <a:pt x="0" y="1"/>
                  </a:lnTo>
                  <a:close/>
                </a:path>
              </a:pathLst>
            </a:custGeom>
            <a:solidFill>
              <a:srgbClr val="C65E5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2" name="Freeform 710"/>
            <p:cNvSpPr/>
            <p:nvPr/>
          </p:nvSpPr>
          <p:spPr bwMode="auto">
            <a:xfrm>
              <a:off x="3844922" y="5003809"/>
              <a:ext cx="206375" cy="252413"/>
            </a:xfrm>
            <a:custGeom>
              <a:avLst/>
              <a:gdLst>
                <a:gd name="T0" fmla="*/ 6 w 391"/>
                <a:gd name="T1" fmla="*/ 0 h 479"/>
                <a:gd name="T2" fmla="*/ 200 w 391"/>
                <a:gd name="T3" fmla="*/ 8 h 479"/>
                <a:gd name="T4" fmla="*/ 391 w 391"/>
                <a:gd name="T5" fmla="*/ 21 h 479"/>
                <a:gd name="T6" fmla="*/ 375 w 391"/>
                <a:gd name="T7" fmla="*/ 479 h 479"/>
                <a:gd name="T8" fmla="*/ 193 w 391"/>
                <a:gd name="T9" fmla="*/ 478 h 479"/>
                <a:gd name="T10" fmla="*/ 0 w 391"/>
                <a:gd name="T11" fmla="*/ 472 h 479"/>
                <a:gd name="T12" fmla="*/ 6 w 391"/>
                <a:gd name="T13" fmla="*/ 0 h 479"/>
              </a:gdLst>
              <a:ahLst/>
              <a:cxnLst>
                <a:cxn ang="0">
                  <a:pos x="T0" y="T1"/>
                </a:cxn>
                <a:cxn ang="0">
                  <a:pos x="T2" y="T3"/>
                </a:cxn>
                <a:cxn ang="0">
                  <a:pos x="T4" y="T5"/>
                </a:cxn>
                <a:cxn ang="0">
                  <a:pos x="T6" y="T7"/>
                </a:cxn>
                <a:cxn ang="0">
                  <a:pos x="T8" y="T9"/>
                </a:cxn>
                <a:cxn ang="0">
                  <a:pos x="T10" y="T11"/>
                </a:cxn>
                <a:cxn ang="0">
                  <a:pos x="T12" y="T13"/>
                </a:cxn>
              </a:cxnLst>
              <a:rect l="0" t="0" r="r" b="b"/>
              <a:pathLst>
                <a:path w="391" h="479">
                  <a:moveTo>
                    <a:pt x="6" y="0"/>
                  </a:moveTo>
                  <a:lnTo>
                    <a:pt x="200" y="8"/>
                  </a:lnTo>
                  <a:lnTo>
                    <a:pt x="391" y="21"/>
                  </a:lnTo>
                  <a:lnTo>
                    <a:pt x="375" y="479"/>
                  </a:lnTo>
                  <a:lnTo>
                    <a:pt x="193" y="478"/>
                  </a:lnTo>
                  <a:lnTo>
                    <a:pt x="0" y="472"/>
                  </a:lnTo>
                  <a:lnTo>
                    <a:pt x="6" y="0"/>
                  </a:lnTo>
                  <a:close/>
                </a:path>
              </a:pathLst>
            </a:custGeom>
            <a:solidFill>
              <a:srgbClr val="AD46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3" name="Freeform 711"/>
            <p:cNvSpPr/>
            <p:nvPr/>
          </p:nvSpPr>
          <p:spPr bwMode="auto">
            <a:xfrm>
              <a:off x="3844922" y="5003809"/>
              <a:ext cx="206375" cy="252413"/>
            </a:xfrm>
            <a:custGeom>
              <a:avLst/>
              <a:gdLst>
                <a:gd name="T0" fmla="*/ 6 w 391"/>
                <a:gd name="T1" fmla="*/ 0 h 479"/>
                <a:gd name="T2" fmla="*/ 200 w 391"/>
                <a:gd name="T3" fmla="*/ 8 h 479"/>
                <a:gd name="T4" fmla="*/ 391 w 391"/>
                <a:gd name="T5" fmla="*/ 21 h 479"/>
                <a:gd name="T6" fmla="*/ 375 w 391"/>
                <a:gd name="T7" fmla="*/ 479 h 479"/>
                <a:gd name="T8" fmla="*/ 193 w 391"/>
                <a:gd name="T9" fmla="*/ 478 h 479"/>
                <a:gd name="T10" fmla="*/ 0 w 391"/>
                <a:gd name="T11" fmla="*/ 472 h 479"/>
                <a:gd name="T12" fmla="*/ 6 w 391"/>
                <a:gd name="T13" fmla="*/ 0 h 479"/>
              </a:gdLst>
              <a:ahLst/>
              <a:cxnLst>
                <a:cxn ang="0">
                  <a:pos x="T0" y="T1"/>
                </a:cxn>
                <a:cxn ang="0">
                  <a:pos x="T2" y="T3"/>
                </a:cxn>
                <a:cxn ang="0">
                  <a:pos x="T4" y="T5"/>
                </a:cxn>
                <a:cxn ang="0">
                  <a:pos x="T6" y="T7"/>
                </a:cxn>
                <a:cxn ang="0">
                  <a:pos x="T8" y="T9"/>
                </a:cxn>
                <a:cxn ang="0">
                  <a:pos x="T10" y="T11"/>
                </a:cxn>
                <a:cxn ang="0">
                  <a:pos x="T12" y="T13"/>
                </a:cxn>
              </a:cxnLst>
              <a:rect l="0" t="0" r="r" b="b"/>
              <a:pathLst>
                <a:path w="391" h="479">
                  <a:moveTo>
                    <a:pt x="6" y="0"/>
                  </a:moveTo>
                  <a:lnTo>
                    <a:pt x="200" y="8"/>
                  </a:lnTo>
                  <a:lnTo>
                    <a:pt x="391" y="21"/>
                  </a:lnTo>
                  <a:lnTo>
                    <a:pt x="375" y="479"/>
                  </a:lnTo>
                  <a:lnTo>
                    <a:pt x="193" y="478"/>
                  </a:lnTo>
                  <a:lnTo>
                    <a:pt x="0" y="47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4" name="Freeform 712"/>
            <p:cNvSpPr/>
            <p:nvPr/>
          </p:nvSpPr>
          <p:spPr bwMode="auto">
            <a:xfrm>
              <a:off x="2955923" y="5094296"/>
              <a:ext cx="60325" cy="173038"/>
            </a:xfrm>
            <a:custGeom>
              <a:avLst/>
              <a:gdLst>
                <a:gd name="T0" fmla="*/ 0 w 114"/>
                <a:gd name="T1" fmla="*/ 2 h 326"/>
                <a:gd name="T2" fmla="*/ 111 w 114"/>
                <a:gd name="T3" fmla="*/ 0 h 326"/>
                <a:gd name="T4" fmla="*/ 114 w 114"/>
                <a:gd name="T5" fmla="*/ 322 h 326"/>
                <a:gd name="T6" fmla="*/ 0 w 114"/>
                <a:gd name="T7" fmla="*/ 326 h 326"/>
                <a:gd name="T8" fmla="*/ 0 w 114"/>
                <a:gd name="T9" fmla="*/ 2 h 326"/>
              </a:gdLst>
              <a:ahLst/>
              <a:cxnLst>
                <a:cxn ang="0">
                  <a:pos x="T0" y="T1"/>
                </a:cxn>
                <a:cxn ang="0">
                  <a:pos x="T2" y="T3"/>
                </a:cxn>
                <a:cxn ang="0">
                  <a:pos x="T4" y="T5"/>
                </a:cxn>
                <a:cxn ang="0">
                  <a:pos x="T6" y="T7"/>
                </a:cxn>
                <a:cxn ang="0">
                  <a:pos x="T8" y="T9"/>
                </a:cxn>
              </a:cxnLst>
              <a:rect l="0" t="0" r="r" b="b"/>
              <a:pathLst>
                <a:path w="114" h="326">
                  <a:moveTo>
                    <a:pt x="0" y="2"/>
                  </a:moveTo>
                  <a:lnTo>
                    <a:pt x="111" y="0"/>
                  </a:lnTo>
                  <a:lnTo>
                    <a:pt x="114" y="322"/>
                  </a:lnTo>
                  <a:lnTo>
                    <a:pt x="0" y="326"/>
                  </a:lnTo>
                  <a:lnTo>
                    <a:pt x="0" y="2"/>
                  </a:lnTo>
                  <a:close/>
                </a:path>
              </a:pathLst>
            </a:custGeom>
            <a:solidFill>
              <a:srgbClr val="AD46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5" name="Freeform 713"/>
            <p:cNvSpPr/>
            <p:nvPr/>
          </p:nvSpPr>
          <p:spPr bwMode="auto">
            <a:xfrm>
              <a:off x="3022598" y="4246569"/>
              <a:ext cx="49213" cy="244475"/>
            </a:xfrm>
            <a:custGeom>
              <a:avLst/>
              <a:gdLst>
                <a:gd name="T0" fmla="*/ 80 w 93"/>
                <a:gd name="T1" fmla="*/ 447 h 461"/>
                <a:gd name="T2" fmla="*/ 79 w 93"/>
                <a:gd name="T3" fmla="*/ 29 h 461"/>
                <a:gd name="T4" fmla="*/ 93 w 93"/>
                <a:gd name="T5" fmla="*/ 12 h 461"/>
                <a:gd name="T6" fmla="*/ 93 w 93"/>
                <a:gd name="T7" fmla="*/ 12 h 461"/>
                <a:gd name="T8" fmla="*/ 84 w 93"/>
                <a:gd name="T9" fmla="*/ 8 h 461"/>
                <a:gd name="T10" fmla="*/ 76 w 93"/>
                <a:gd name="T11" fmla="*/ 5 h 461"/>
                <a:gd name="T12" fmla="*/ 64 w 93"/>
                <a:gd name="T13" fmla="*/ 3 h 461"/>
                <a:gd name="T14" fmla="*/ 51 w 93"/>
                <a:gd name="T15" fmla="*/ 0 h 461"/>
                <a:gd name="T16" fmla="*/ 35 w 93"/>
                <a:gd name="T17" fmla="*/ 1 h 461"/>
                <a:gd name="T18" fmla="*/ 27 w 93"/>
                <a:gd name="T19" fmla="*/ 1 h 461"/>
                <a:gd name="T20" fmla="*/ 19 w 93"/>
                <a:gd name="T21" fmla="*/ 4 h 461"/>
                <a:gd name="T22" fmla="*/ 11 w 93"/>
                <a:gd name="T23" fmla="*/ 7 h 461"/>
                <a:gd name="T24" fmla="*/ 3 w 93"/>
                <a:gd name="T25" fmla="*/ 11 h 461"/>
                <a:gd name="T26" fmla="*/ 15 w 93"/>
                <a:gd name="T27" fmla="*/ 28 h 461"/>
                <a:gd name="T28" fmla="*/ 0 w 93"/>
                <a:gd name="T29" fmla="*/ 461 h 461"/>
                <a:gd name="T30" fmla="*/ 80 w 93"/>
                <a:gd name="T31" fmla="*/ 447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461">
                  <a:moveTo>
                    <a:pt x="80" y="447"/>
                  </a:moveTo>
                  <a:lnTo>
                    <a:pt x="79" y="29"/>
                  </a:lnTo>
                  <a:lnTo>
                    <a:pt x="93" y="12"/>
                  </a:lnTo>
                  <a:lnTo>
                    <a:pt x="93" y="12"/>
                  </a:lnTo>
                  <a:lnTo>
                    <a:pt x="84" y="8"/>
                  </a:lnTo>
                  <a:lnTo>
                    <a:pt x="76" y="5"/>
                  </a:lnTo>
                  <a:lnTo>
                    <a:pt x="64" y="3"/>
                  </a:lnTo>
                  <a:lnTo>
                    <a:pt x="51" y="0"/>
                  </a:lnTo>
                  <a:lnTo>
                    <a:pt x="35" y="1"/>
                  </a:lnTo>
                  <a:lnTo>
                    <a:pt x="27" y="1"/>
                  </a:lnTo>
                  <a:lnTo>
                    <a:pt x="19" y="4"/>
                  </a:lnTo>
                  <a:lnTo>
                    <a:pt x="11" y="7"/>
                  </a:lnTo>
                  <a:lnTo>
                    <a:pt x="3" y="11"/>
                  </a:lnTo>
                  <a:lnTo>
                    <a:pt x="15" y="28"/>
                  </a:lnTo>
                  <a:lnTo>
                    <a:pt x="0" y="461"/>
                  </a:lnTo>
                  <a:lnTo>
                    <a:pt x="80" y="447"/>
                  </a:lnTo>
                  <a:close/>
                </a:path>
              </a:pathLst>
            </a:custGeom>
            <a:solidFill>
              <a:srgbClr val="569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6" name="Freeform 714"/>
            <p:cNvSpPr/>
            <p:nvPr/>
          </p:nvSpPr>
          <p:spPr bwMode="auto">
            <a:xfrm>
              <a:off x="2717798" y="4229108"/>
              <a:ext cx="82550" cy="352425"/>
            </a:xfrm>
            <a:custGeom>
              <a:avLst/>
              <a:gdLst>
                <a:gd name="T0" fmla="*/ 156 w 156"/>
                <a:gd name="T1" fmla="*/ 613 h 666"/>
                <a:gd name="T2" fmla="*/ 121 w 156"/>
                <a:gd name="T3" fmla="*/ 45 h 666"/>
                <a:gd name="T4" fmla="*/ 140 w 156"/>
                <a:gd name="T5" fmla="*/ 20 h 666"/>
                <a:gd name="T6" fmla="*/ 140 w 156"/>
                <a:gd name="T7" fmla="*/ 20 h 666"/>
                <a:gd name="T8" fmla="*/ 128 w 156"/>
                <a:gd name="T9" fmla="*/ 13 h 666"/>
                <a:gd name="T10" fmla="*/ 112 w 156"/>
                <a:gd name="T11" fmla="*/ 6 h 666"/>
                <a:gd name="T12" fmla="*/ 93 w 156"/>
                <a:gd name="T13" fmla="*/ 2 h 666"/>
                <a:gd name="T14" fmla="*/ 83 w 156"/>
                <a:gd name="T15" fmla="*/ 1 h 666"/>
                <a:gd name="T16" fmla="*/ 71 w 156"/>
                <a:gd name="T17" fmla="*/ 0 h 666"/>
                <a:gd name="T18" fmla="*/ 61 w 156"/>
                <a:gd name="T19" fmla="*/ 1 h 666"/>
                <a:gd name="T20" fmla="*/ 49 w 156"/>
                <a:gd name="T21" fmla="*/ 2 h 666"/>
                <a:gd name="T22" fmla="*/ 37 w 156"/>
                <a:gd name="T23" fmla="*/ 6 h 666"/>
                <a:gd name="T24" fmla="*/ 24 w 156"/>
                <a:gd name="T25" fmla="*/ 12 h 666"/>
                <a:gd name="T26" fmla="*/ 12 w 156"/>
                <a:gd name="T27" fmla="*/ 20 h 666"/>
                <a:gd name="T28" fmla="*/ 0 w 156"/>
                <a:gd name="T29" fmla="*/ 29 h 666"/>
                <a:gd name="T30" fmla="*/ 35 w 156"/>
                <a:gd name="T31" fmla="*/ 50 h 666"/>
                <a:gd name="T32" fmla="*/ 35 w 156"/>
                <a:gd name="T33" fmla="*/ 666 h 666"/>
                <a:gd name="T34" fmla="*/ 156 w 156"/>
                <a:gd name="T35" fmla="*/ 613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6" h="666">
                  <a:moveTo>
                    <a:pt x="156" y="613"/>
                  </a:moveTo>
                  <a:lnTo>
                    <a:pt x="121" y="45"/>
                  </a:lnTo>
                  <a:lnTo>
                    <a:pt x="140" y="20"/>
                  </a:lnTo>
                  <a:lnTo>
                    <a:pt x="140" y="20"/>
                  </a:lnTo>
                  <a:lnTo>
                    <a:pt x="128" y="13"/>
                  </a:lnTo>
                  <a:lnTo>
                    <a:pt x="112" y="6"/>
                  </a:lnTo>
                  <a:lnTo>
                    <a:pt x="93" y="2"/>
                  </a:lnTo>
                  <a:lnTo>
                    <a:pt x="83" y="1"/>
                  </a:lnTo>
                  <a:lnTo>
                    <a:pt x="71" y="0"/>
                  </a:lnTo>
                  <a:lnTo>
                    <a:pt x="61" y="1"/>
                  </a:lnTo>
                  <a:lnTo>
                    <a:pt x="49" y="2"/>
                  </a:lnTo>
                  <a:lnTo>
                    <a:pt x="37" y="6"/>
                  </a:lnTo>
                  <a:lnTo>
                    <a:pt x="24" y="12"/>
                  </a:lnTo>
                  <a:lnTo>
                    <a:pt x="12" y="20"/>
                  </a:lnTo>
                  <a:lnTo>
                    <a:pt x="0" y="29"/>
                  </a:lnTo>
                  <a:lnTo>
                    <a:pt x="35" y="50"/>
                  </a:lnTo>
                  <a:lnTo>
                    <a:pt x="35" y="666"/>
                  </a:lnTo>
                  <a:lnTo>
                    <a:pt x="156" y="613"/>
                  </a:lnTo>
                  <a:close/>
                </a:path>
              </a:pathLst>
            </a:custGeom>
            <a:solidFill>
              <a:srgbClr val="569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7" name="Freeform 715"/>
            <p:cNvSpPr/>
            <p:nvPr/>
          </p:nvSpPr>
          <p:spPr bwMode="auto">
            <a:xfrm>
              <a:off x="3332161" y="4937134"/>
              <a:ext cx="234950" cy="6350"/>
            </a:xfrm>
            <a:custGeom>
              <a:avLst/>
              <a:gdLst>
                <a:gd name="T0" fmla="*/ 0 w 444"/>
                <a:gd name="T1" fmla="*/ 0 h 11"/>
                <a:gd name="T2" fmla="*/ 444 w 444"/>
                <a:gd name="T3" fmla="*/ 11 h 11"/>
                <a:gd name="T4" fmla="*/ 444 w 444"/>
                <a:gd name="T5" fmla="*/ 10 h 11"/>
                <a:gd name="T6" fmla="*/ 0 w 444"/>
                <a:gd name="T7" fmla="*/ 0 h 11"/>
              </a:gdLst>
              <a:ahLst/>
              <a:cxnLst>
                <a:cxn ang="0">
                  <a:pos x="T0" y="T1"/>
                </a:cxn>
                <a:cxn ang="0">
                  <a:pos x="T2" y="T3"/>
                </a:cxn>
                <a:cxn ang="0">
                  <a:pos x="T4" y="T5"/>
                </a:cxn>
                <a:cxn ang="0">
                  <a:pos x="T6" y="T7"/>
                </a:cxn>
              </a:cxnLst>
              <a:rect l="0" t="0" r="r" b="b"/>
              <a:pathLst>
                <a:path w="444" h="11">
                  <a:moveTo>
                    <a:pt x="0" y="0"/>
                  </a:moveTo>
                  <a:lnTo>
                    <a:pt x="444" y="11"/>
                  </a:lnTo>
                  <a:lnTo>
                    <a:pt x="444" y="10"/>
                  </a:lnTo>
                  <a:lnTo>
                    <a:pt x="0" y="0"/>
                  </a:lnTo>
                  <a:close/>
                </a:path>
              </a:pathLst>
            </a:custGeom>
            <a:solidFill>
              <a:srgbClr val="B6A69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8" name="Freeform 716"/>
            <p:cNvSpPr/>
            <p:nvPr/>
          </p:nvSpPr>
          <p:spPr bwMode="auto">
            <a:xfrm>
              <a:off x="3332161" y="4937134"/>
              <a:ext cx="234950" cy="6350"/>
            </a:xfrm>
            <a:custGeom>
              <a:avLst/>
              <a:gdLst>
                <a:gd name="T0" fmla="*/ 0 w 444"/>
                <a:gd name="T1" fmla="*/ 0 h 11"/>
                <a:gd name="T2" fmla="*/ 444 w 444"/>
                <a:gd name="T3" fmla="*/ 11 h 11"/>
                <a:gd name="T4" fmla="*/ 444 w 444"/>
                <a:gd name="T5" fmla="*/ 10 h 11"/>
                <a:gd name="T6" fmla="*/ 0 w 444"/>
                <a:gd name="T7" fmla="*/ 0 h 11"/>
              </a:gdLst>
              <a:ahLst/>
              <a:cxnLst>
                <a:cxn ang="0">
                  <a:pos x="T0" y="T1"/>
                </a:cxn>
                <a:cxn ang="0">
                  <a:pos x="T2" y="T3"/>
                </a:cxn>
                <a:cxn ang="0">
                  <a:pos x="T4" y="T5"/>
                </a:cxn>
                <a:cxn ang="0">
                  <a:pos x="T6" y="T7"/>
                </a:cxn>
              </a:cxnLst>
              <a:rect l="0" t="0" r="r" b="b"/>
              <a:pathLst>
                <a:path w="444" h="11">
                  <a:moveTo>
                    <a:pt x="0" y="0"/>
                  </a:moveTo>
                  <a:lnTo>
                    <a:pt x="444" y="11"/>
                  </a:lnTo>
                  <a:lnTo>
                    <a:pt x="444" y="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89" name="Freeform 717"/>
            <p:cNvSpPr/>
            <p:nvPr/>
          </p:nvSpPr>
          <p:spPr bwMode="auto">
            <a:xfrm>
              <a:off x="3567111" y="4941895"/>
              <a:ext cx="174625" cy="177800"/>
            </a:xfrm>
            <a:custGeom>
              <a:avLst/>
              <a:gdLst>
                <a:gd name="T0" fmla="*/ 0 w 330"/>
                <a:gd name="T1" fmla="*/ 0 h 334"/>
                <a:gd name="T2" fmla="*/ 0 w 330"/>
                <a:gd name="T3" fmla="*/ 1 h 334"/>
                <a:gd name="T4" fmla="*/ 292 w 330"/>
                <a:gd name="T5" fmla="*/ 8 h 334"/>
                <a:gd name="T6" fmla="*/ 298 w 330"/>
                <a:gd name="T7" fmla="*/ 328 h 334"/>
                <a:gd name="T8" fmla="*/ 330 w 330"/>
                <a:gd name="T9" fmla="*/ 334 h 334"/>
                <a:gd name="T10" fmla="*/ 325 w 330"/>
                <a:gd name="T11" fmla="*/ 6 h 334"/>
                <a:gd name="T12" fmla="*/ 0 w 330"/>
                <a:gd name="T13" fmla="*/ 0 h 334"/>
              </a:gdLst>
              <a:ahLst/>
              <a:cxnLst>
                <a:cxn ang="0">
                  <a:pos x="T0" y="T1"/>
                </a:cxn>
                <a:cxn ang="0">
                  <a:pos x="T2" y="T3"/>
                </a:cxn>
                <a:cxn ang="0">
                  <a:pos x="T4" y="T5"/>
                </a:cxn>
                <a:cxn ang="0">
                  <a:pos x="T6" y="T7"/>
                </a:cxn>
                <a:cxn ang="0">
                  <a:pos x="T8" y="T9"/>
                </a:cxn>
                <a:cxn ang="0">
                  <a:pos x="T10" y="T11"/>
                </a:cxn>
                <a:cxn ang="0">
                  <a:pos x="T12" y="T13"/>
                </a:cxn>
              </a:cxnLst>
              <a:rect l="0" t="0" r="r" b="b"/>
              <a:pathLst>
                <a:path w="330" h="334">
                  <a:moveTo>
                    <a:pt x="0" y="0"/>
                  </a:moveTo>
                  <a:lnTo>
                    <a:pt x="0" y="1"/>
                  </a:lnTo>
                  <a:lnTo>
                    <a:pt x="292" y="8"/>
                  </a:lnTo>
                  <a:lnTo>
                    <a:pt x="298" y="328"/>
                  </a:lnTo>
                  <a:lnTo>
                    <a:pt x="330" y="334"/>
                  </a:lnTo>
                  <a:lnTo>
                    <a:pt x="325" y="6"/>
                  </a:lnTo>
                  <a:lnTo>
                    <a:pt x="0" y="0"/>
                  </a:lnTo>
                  <a:close/>
                </a:path>
              </a:pathLst>
            </a:custGeom>
            <a:solidFill>
              <a:srgbClr val="85282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0" name="Freeform 718"/>
            <p:cNvSpPr/>
            <p:nvPr/>
          </p:nvSpPr>
          <p:spPr bwMode="auto">
            <a:xfrm>
              <a:off x="3567111" y="4941895"/>
              <a:ext cx="174625" cy="177800"/>
            </a:xfrm>
            <a:custGeom>
              <a:avLst/>
              <a:gdLst>
                <a:gd name="T0" fmla="*/ 0 w 330"/>
                <a:gd name="T1" fmla="*/ 0 h 334"/>
                <a:gd name="T2" fmla="*/ 0 w 330"/>
                <a:gd name="T3" fmla="*/ 1 h 334"/>
                <a:gd name="T4" fmla="*/ 292 w 330"/>
                <a:gd name="T5" fmla="*/ 8 h 334"/>
                <a:gd name="T6" fmla="*/ 298 w 330"/>
                <a:gd name="T7" fmla="*/ 328 h 334"/>
                <a:gd name="T8" fmla="*/ 330 w 330"/>
                <a:gd name="T9" fmla="*/ 334 h 334"/>
                <a:gd name="T10" fmla="*/ 325 w 330"/>
                <a:gd name="T11" fmla="*/ 6 h 334"/>
                <a:gd name="T12" fmla="*/ 0 w 330"/>
                <a:gd name="T13" fmla="*/ 0 h 334"/>
              </a:gdLst>
              <a:ahLst/>
              <a:cxnLst>
                <a:cxn ang="0">
                  <a:pos x="T0" y="T1"/>
                </a:cxn>
                <a:cxn ang="0">
                  <a:pos x="T2" y="T3"/>
                </a:cxn>
                <a:cxn ang="0">
                  <a:pos x="T4" y="T5"/>
                </a:cxn>
                <a:cxn ang="0">
                  <a:pos x="T6" y="T7"/>
                </a:cxn>
                <a:cxn ang="0">
                  <a:pos x="T8" y="T9"/>
                </a:cxn>
                <a:cxn ang="0">
                  <a:pos x="T10" y="T11"/>
                </a:cxn>
                <a:cxn ang="0">
                  <a:pos x="T12" y="T13"/>
                </a:cxn>
              </a:cxnLst>
              <a:rect l="0" t="0" r="r" b="b"/>
              <a:pathLst>
                <a:path w="330" h="334">
                  <a:moveTo>
                    <a:pt x="0" y="0"/>
                  </a:moveTo>
                  <a:lnTo>
                    <a:pt x="0" y="1"/>
                  </a:lnTo>
                  <a:lnTo>
                    <a:pt x="292" y="8"/>
                  </a:lnTo>
                  <a:lnTo>
                    <a:pt x="298" y="328"/>
                  </a:lnTo>
                  <a:lnTo>
                    <a:pt x="330" y="334"/>
                  </a:lnTo>
                  <a:lnTo>
                    <a:pt x="325" y="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1" name="Freeform 719"/>
            <p:cNvSpPr/>
            <p:nvPr/>
          </p:nvSpPr>
          <p:spPr bwMode="auto">
            <a:xfrm>
              <a:off x="3281361" y="4937134"/>
              <a:ext cx="442913" cy="182563"/>
            </a:xfrm>
            <a:custGeom>
              <a:avLst/>
              <a:gdLst>
                <a:gd name="T0" fmla="*/ 0 w 838"/>
                <a:gd name="T1" fmla="*/ 0 h 345"/>
                <a:gd name="T2" fmla="*/ 0 w 838"/>
                <a:gd name="T3" fmla="*/ 0 h 345"/>
                <a:gd name="T4" fmla="*/ 0 w 838"/>
                <a:gd name="T5" fmla="*/ 107 h 345"/>
                <a:gd name="T6" fmla="*/ 751 w 838"/>
                <a:gd name="T7" fmla="*/ 112 h 345"/>
                <a:gd name="T8" fmla="*/ 752 w 838"/>
                <a:gd name="T9" fmla="*/ 134 h 345"/>
                <a:gd name="T10" fmla="*/ 755 w 838"/>
                <a:gd name="T11" fmla="*/ 134 h 345"/>
                <a:gd name="T12" fmla="*/ 755 w 838"/>
                <a:gd name="T13" fmla="*/ 173 h 345"/>
                <a:gd name="T14" fmla="*/ 765 w 838"/>
                <a:gd name="T15" fmla="*/ 345 h 345"/>
                <a:gd name="T16" fmla="*/ 765 w 838"/>
                <a:gd name="T17" fmla="*/ 345 h 345"/>
                <a:gd name="T18" fmla="*/ 787 w 838"/>
                <a:gd name="T19" fmla="*/ 335 h 345"/>
                <a:gd name="T20" fmla="*/ 796 w 838"/>
                <a:gd name="T21" fmla="*/ 331 h 345"/>
                <a:gd name="T22" fmla="*/ 838 w 838"/>
                <a:gd name="T23" fmla="*/ 339 h 345"/>
                <a:gd name="T24" fmla="*/ 832 w 838"/>
                <a:gd name="T25" fmla="*/ 19 h 345"/>
                <a:gd name="T26" fmla="*/ 540 w 838"/>
                <a:gd name="T27" fmla="*/ 12 h 345"/>
                <a:gd name="T28" fmla="*/ 96 w 838"/>
                <a:gd name="T29" fmla="*/ 1 h 345"/>
                <a:gd name="T30" fmla="*/ 0 w 838"/>
                <a:gd name="T31"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38" h="345">
                  <a:moveTo>
                    <a:pt x="0" y="0"/>
                  </a:moveTo>
                  <a:lnTo>
                    <a:pt x="0" y="0"/>
                  </a:lnTo>
                  <a:lnTo>
                    <a:pt x="0" y="107"/>
                  </a:lnTo>
                  <a:lnTo>
                    <a:pt x="751" y="112"/>
                  </a:lnTo>
                  <a:lnTo>
                    <a:pt x="752" y="134"/>
                  </a:lnTo>
                  <a:lnTo>
                    <a:pt x="755" y="134"/>
                  </a:lnTo>
                  <a:lnTo>
                    <a:pt x="755" y="173"/>
                  </a:lnTo>
                  <a:lnTo>
                    <a:pt x="765" y="345"/>
                  </a:lnTo>
                  <a:lnTo>
                    <a:pt x="765" y="345"/>
                  </a:lnTo>
                  <a:lnTo>
                    <a:pt x="787" y="335"/>
                  </a:lnTo>
                  <a:lnTo>
                    <a:pt x="796" y="331"/>
                  </a:lnTo>
                  <a:lnTo>
                    <a:pt x="838" y="339"/>
                  </a:lnTo>
                  <a:lnTo>
                    <a:pt x="832" y="19"/>
                  </a:lnTo>
                  <a:lnTo>
                    <a:pt x="540" y="12"/>
                  </a:lnTo>
                  <a:lnTo>
                    <a:pt x="96" y="1"/>
                  </a:lnTo>
                  <a:lnTo>
                    <a:pt x="0" y="0"/>
                  </a:lnTo>
                  <a:close/>
                </a:path>
              </a:pathLst>
            </a:custGeom>
            <a:solidFill>
              <a:srgbClr val="A43D3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2" name="Freeform 720"/>
            <p:cNvSpPr/>
            <p:nvPr/>
          </p:nvSpPr>
          <p:spPr bwMode="auto">
            <a:xfrm>
              <a:off x="3281361" y="4937134"/>
              <a:ext cx="442913" cy="182563"/>
            </a:xfrm>
            <a:custGeom>
              <a:avLst/>
              <a:gdLst>
                <a:gd name="T0" fmla="*/ 0 w 838"/>
                <a:gd name="T1" fmla="*/ 0 h 345"/>
                <a:gd name="T2" fmla="*/ 0 w 838"/>
                <a:gd name="T3" fmla="*/ 0 h 345"/>
                <a:gd name="T4" fmla="*/ 0 w 838"/>
                <a:gd name="T5" fmla="*/ 107 h 345"/>
                <a:gd name="T6" fmla="*/ 751 w 838"/>
                <a:gd name="T7" fmla="*/ 112 h 345"/>
                <a:gd name="T8" fmla="*/ 752 w 838"/>
                <a:gd name="T9" fmla="*/ 134 h 345"/>
                <a:gd name="T10" fmla="*/ 755 w 838"/>
                <a:gd name="T11" fmla="*/ 134 h 345"/>
                <a:gd name="T12" fmla="*/ 755 w 838"/>
                <a:gd name="T13" fmla="*/ 173 h 345"/>
                <a:gd name="T14" fmla="*/ 765 w 838"/>
                <a:gd name="T15" fmla="*/ 345 h 345"/>
                <a:gd name="T16" fmla="*/ 765 w 838"/>
                <a:gd name="T17" fmla="*/ 345 h 345"/>
                <a:gd name="T18" fmla="*/ 787 w 838"/>
                <a:gd name="T19" fmla="*/ 335 h 345"/>
                <a:gd name="T20" fmla="*/ 796 w 838"/>
                <a:gd name="T21" fmla="*/ 331 h 345"/>
                <a:gd name="T22" fmla="*/ 838 w 838"/>
                <a:gd name="T23" fmla="*/ 339 h 345"/>
                <a:gd name="T24" fmla="*/ 832 w 838"/>
                <a:gd name="T25" fmla="*/ 19 h 345"/>
                <a:gd name="T26" fmla="*/ 540 w 838"/>
                <a:gd name="T27" fmla="*/ 12 h 345"/>
                <a:gd name="T28" fmla="*/ 96 w 838"/>
                <a:gd name="T29" fmla="*/ 1 h 345"/>
                <a:gd name="T30" fmla="*/ 0 w 838"/>
                <a:gd name="T31"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38" h="345">
                  <a:moveTo>
                    <a:pt x="0" y="0"/>
                  </a:moveTo>
                  <a:lnTo>
                    <a:pt x="0" y="0"/>
                  </a:lnTo>
                  <a:lnTo>
                    <a:pt x="0" y="107"/>
                  </a:lnTo>
                  <a:lnTo>
                    <a:pt x="751" y="112"/>
                  </a:lnTo>
                  <a:lnTo>
                    <a:pt x="752" y="134"/>
                  </a:lnTo>
                  <a:lnTo>
                    <a:pt x="755" y="134"/>
                  </a:lnTo>
                  <a:lnTo>
                    <a:pt x="755" y="173"/>
                  </a:lnTo>
                  <a:lnTo>
                    <a:pt x="765" y="345"/>
                  </a:lnTo>
                  <a:lnTo>
                    <a:pt x="765" y="345"/>
                  </a:lnTo>
                  <a:lnTo>
                    <a:pt x="787" y="335"/>
                  </a:lnTo>
                  <a:lnTo>
                    <a:pt x="796" y="331"/>
                  </a:lnTo>
                  <a:lnTo>
                    <a:pt x="838" y="339"/>
                  </a:lnTo>
                  <a:lnTo>
                    <a:pt x="832" y="19"/>
                  </a:lnTo>
                  <a:lnTo>
                    <a:pt x="540" y="12"/>
                  </a:lnTo>
                  <a:lnTo>
                    <a:pt x="96"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3" name="Rectangle 721"/>
            <p:cNvSpPr>
              <a:spLocks noChangeArrowheads="1"/>
            </p:cNvSpPr>
            <p:nvPr/>
          </p:nvSpPr>
          <p:spPr bwMode="auto">
            <a:xfrm>
              <a:off x="3281361" y="4937134"/>
              <a:ext cx="1588" cy="1588"/>
            </a:xfrm>
            <a:prstGeom prst="rect">
              <a:avLst/>
            </a:prstGeom>
            <a:solidFill>
              <a:srgbClr val="B94F4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94" name="Freeform 722"/>
            <p:cNvSpPr/>
            <p:nvPr/>
          </p:nvSpPr>
          <p:spPr bwMode="auto">
            <a:xfrm>
              <a:off x="3281361" y="4937134"/>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5" name="Freeform 723"/>
            <p:cNvSpPr/>
            <p:nvPr/>
          </p:nvSpPr>
          <p:spPr bwMode="auto">
            <a:xfrm>
              <a:off x="3724272" y="5160971"/>
              <a:ext cx="19050" cy="46038"/>
            </a:xfrm>
            <a:custGeom>
              <a:avLst/>
              <a:gdLst>
                <a:gd name="T0" fmla="*/ 0 w 35"/>
                <a:gd name="T1" fmla="*/ 0 h 87"/>
                <a:gd name="T2" fmla="*/ 1 w 35"/>
                <a:gd name="T3" fmla="*/ 83 h 87"/>
                <a:gd name="T4" fmla="*/ 35 w 35"/>
                <a:gd name="T5" fmla="*/ 87 h 87"/>
                <a:gd name="T6" fmla="*/ 34 w 35"/>
                <a:gd name="T7" fmla="*/ 8 h 87"/>
                <a:gd name="T8" fmla="*/ 0 w 35"/>
                <a:gd name="T9" fmla="*/ 0 h 87"/>
              </a:gdLst>
              <a:ahLst/>
              <a:cxnLst>
                <a:cxn ang="0">
                  <a:pos x="T0" y="T1"/>
                </a:cxn>
                <a:cxn ang="0">
                  <a:pos x="T2" y="T3"/>
                </a:cxn>
                <a:cxn ang="0">
                  <a:pos x="T4" y="T5"/>
                </a:cxn>
                <a:cxn ang="0">
                  <a:pos x="T6" y="T7"/>
                </a:cxn>
                <a:cxn ang="0">
                  <a:pos x="T8" y="T9"/>
                </a:cxn>
              </a:cxnLst>
              <a:rect l="0" t="0" r="r" b="b"/>
              <a:pathLst>
                <a:path w="35" h="87">
                  <a:moveTo>
                    <a:pt x="0" y="0"/>
                  </a:moveTo>
                  <a:lnTo>
                    <a:pt x="1" y="83"/>
                  </a:lnTo>
                  <a:lnTo>
                    <a:pt x="35" y="87"/>
                  </a:lnTo>
                  <a:lnTo>
                    <a:pt x="34" y="8"/>
                  </a:lnTo>
                  <a:lnTo>
                    <a:pt x="0" y="0"/>
                  </a:lnTo>
                  <a:close/>
                </a:path>
              </a:pathLst>
            </a:custGeom>
            <a:solidFill>
              <a:srgbClr val="85282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6" name="Freeform 724"/>
            <p:cNvSpPr/>
            <p:nvPr/>
          </p:nvSpPr>
          <p:spPr bwMode="auto">
            <a:xfrm>
              <a:off x="3724272" y="5160971"/>
              <a:ext cx="19050" cy="46038"/>
            </a:xfrm>
            <a:custGeom>
              <a:avLst/>
              <a:gdLst>
                <a:gd name="T0" fmla="*/ 0 w 35"/>
                <a:gd name="T1" fmla="*/ 0 h 87"/>
                <a:gd name="T2" fmla="*/ 1 w 35"/>
                <a:gd name="T3" fmla="*/ 83 h 87"/>
                <a:gd name="T4" fmla="*/ 35 w 35"/>
                <a:gd name="T5" fmla="*/ 87 h 87"/>
                <a:gd name="T6" fmla="*/ 34 w 35"/>
                <a:gd name="T7" fmla="*/ 8 h 87"/>
                <a:gd name="T8" fmla="*/ 0 w 35"/>
                <a:gd name="T9" fmla="*/ 0 h 87"/>
              </a:gdLst>
              <a:ahLst/>
              <a:cxnLst>
                <a:cxn ang="0">
                  <a:pos x="T0" y="T1"/>
                </a:cxn>
                <a:cxn ang="0">
                  <a:pos x="T2" y="T3"/>
                </a:cxn>
                <a:cxn ang="0">
                  <a:pos x="T4" y="T5"/>
                </a:cxn>
                <a:cxn ang="0">
                  <a:pos x="T6" y="T7"/>
                </a:cxn>
                <a:cxn ang="0">
                  <a:pos x="T8" y="T9"/>
                </a:cxn>
              </a:cxnLst>
              <a:rect l="0" t="0" r="r" b="b"/>
              <a:pathLst>
                <a:path w="35" h="87">
                  <a:moveTo>
                    <a:pt x="0" y="0"/>
                  </a:moveTo>
                  <a:lnTo>
                    <a:pt x="1" y="83"/>
                  </a:lnTo>
                  <a:lnTo>
                    <a:pt x="35" y="87"/>
                  </a:lnTo>
                  <a:lnTo>
                    <a:pt x="34"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7" name="Freeform 725"/>
            <p:cNvSpPr/>
            <p:nvPr/>
          </p:nvSpPr>
          <p:spPr bwMode="auto">
            <a:xfrm>
              <a:off x="3689348" y="5153034"/>
              <a:ext cx="36513" cy="50800"/>
            </a:xfrm>
            <a:custGeom>
              <a:avLst/>
              <a:gdLst>
                <a:gd name="T0" fmla="*/ 0 w 69"/>
                <a:gd name="T1" fmla="*/ 0 h 98"/>
                <a:gd name="T2" fmla="*/ 5 w 69"/>
                <a:gd name="T3" fmla="*/ 89 h 98"/>
                <a:gd name="T4" fmla="*/ 69 w 69"/>
                <a:gd name="T5" fmla="*/ 98 h 98"/>
                <a:gd name="T6" fmla="*/ 68 w 69"/>
                <a:gd name="T7" fmla="*/ 15 h 98"/>
                <a:gd name="T8" fmla="*/ 0 w 69"/>
                <a:gd name="T9" fmla="*/ 0 h 98"/>
              </a:gdLst>
              <a:ahLst/>
              <a:cxnLst>
                <a:cxn ang="0">
                  <a:pos x="T0" y="T1"/>
                </a:cxn>
                <a:cxn ang="0">
                  <a:pos x="T2" y="T3"/>
                </a:cxn>
                <a:cxn ang="0">
                  <a:pos x="T4" y="T5"/>
                </a:cxn>
                <a:cxn ang="0">
                  <a:pos x="T6" y="T7"/>
                </a:cxn>
                <a:cxn ang="0">
                  <a:pos x="T8" y="T9"/>
                </a:cxn>
              </a:cxnLst>
              <a:rect l="0" t="0" r="r" b="b"/>
              <a:pathLst>
                <a:path w="69" h="98">
                  <a:moveTo>
                    <a:pt x="0" y="0"/>
                  </a:moveTo>
                  <a:lnTo>
                    <a:pt x="5" y="89"/>
                  </a:lnTo>
                  <a:lnTo>
                    <a:pt x="69" y="98"/>
                  </a:lnTo>
                  <a:lnTo>
                    <a:pt x="68" y="15"/>
                  </a:lnTo>
                  <a:lnTo>
                    <a:pt x="0" y="0"/>
                  </a:lnTo>
                  <a:close/>
                </a:path>
              </a:pathLst>
            </a:custGeom>
            <a:solidFill>
              <a:srgbClr val="A43D3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8" name="Freeform 726"/>
            <p:cNvSpPr/>
            <p:nvPr/>
          </p:nvSpPr>
          <p:spPr bwMode="auto">
            <a:xfrm>
              <a:off x="3689348" y="5153034"/>
              <a:ext cx="36513" cy="50800"/>
            </a:xfrm>
            <a:custGeom>
              <a:avLst/>
              <a:gdLst>
                <a:gd name="T0" fmla="*/ 0 w 69"/>
                <a:gd name="T1" fmla="*/ 0 h 98"/>
                <a:gd name="T2" fmla="*/ 5 w 69"/>
                <a:gd name="T3" fmla="*/ 89 h 98"/>
                <a:gd name="T4" fmla="*/ 69 w 69"/>
                <a:gd name="T5" fmla="*/ 98 h 98"/>
                <a:gd name="T6" fmla="*/ 68 w 69"/>
                <a:gd name="T7" fmla="*/ 15 h 98"/>
                <a:gd name="T8" fmla="*/ 0 w 69"/>
                <a:gd name="T9" fmla="*/ 0 h 98"/>
              </a:gdLst>
              <a:ahLst/>
              <a:cxnLst>
                <a:cxn ang="0">
                  <a:pos x="T0" y="T1"/>
                </a:cxn>
                <a:cxn ang="0">
                  <a:pos x="T2" y="T3"/>
                </a:cxn>
                <a:cxn ang="0">
                  <a:pos x="T4" y="T5"/>
                </a:cxn>
                <a:cxn ang="0">
                  <a:pos x="T6" y="T7"/>
                </a:cxn>
                <a:cxn ang="0">
                  <a:pos x="T8" y="T9"/>
                </a:cxn>
              </a:cxnLst>
              <a:rect l="0" t="0" r="r" b="b"/>
              <a:pathLst>
                <a:path w="69" h="98">
                  <a:moveTo>
                    <a:pt x="0" y="0"/>
                  </a:moveTo>
                  <a:lnTo>
                    <a:pt x="5" y="89"/>
                  </a:lnTo>
                  <a:lnTo>
                    <a:pt x="69" y="98"/>
                  </a:lnTo>
                  <a:lnTo>
                    <a:pt x="68" y="1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9" name="Freeform 727"/>
            <p:cNvSpPr/>
            <p:nvPr/>
          </p:nvSpPr>
          <p:spPr bwMode="auto">
            <a:xfrm>
              <a:off x="2490786" y="5094296"/>
              <a:ext cx="42863" cy="95250"/>
            </a:xfrm>
            <a:custGeom>
              <a:avLst/>
              <a:gdLst>
                <a:gd name="T0" fmla="*/ 80 w 80"/>
                <a:gd name="T1" fmla="*/ 182 h 182"/>
                <a:gd name="T2" fmla="*/ 80 w 80"/>
                <a:gd name="T3" fmla="*/ 12 h 182"/>
                <a:gd name="T4" fmla="*/ 4 w 80"/>
                <a:gd name="T5" fmla="*/ 0 h 182"/>
                <a:gd name="T6" fmla="*/ 0 w 80"/>
                <a:gd name="T7" fmla="*/ 167 h 182"/>
                <a:gd name="T8" fmla="*/ 80 w 80"/>
                <a:gd name="T9" fmla="*/ 182 h 182"/>
              </a:gdLst>
              <a:ahLst/>
              <a:cxnLst>
                <a:cxn ang="0">
                  <a:pos x="T0" y="T1"/>
                </a:cxn>
                <a:cxn ang="0">
                  <a:pos x="T2" y="T3"/>
                </a:cxn>
                <a:cxn ang="0">
                  <a:pos x="T4" y="T5"/>
                </a:cxn>
                <a:cxn ang="0">
                  <a:pos x="T6" y="T7"/>
                </a:cxn>
                <a:cxn ang="0">
                  <a:pos x="T8" y="T9"/>
                </a:cxn>
              </a:cxnLst>
              <a:rect l="0" t="0" r="r" b="b"/>
              <a:pathLst>
                <a:path w="80" h="182">
                  <a:moveTo>
                    <a:pt x="80" y="182"/>
                  </a:moveTo>
                  <a:lnTo>
                    <a:pt x="80" y="12"/>
                  </a:lnTo>
                  <a:lnTo>
                    <a:pt x="4" y="0"/>
                  </a:lnTo>
                  <a:lnTo>
                    <a:pt x="0" y="167"/>
                  </a:lnTo>
                  <a:lnTo>
                    <a:pt x="80" y="182"/>
                  </a:lnTo>
                  <a:close/>
                </a:path>
              </a:pathLst>
            </a:custGeom>
            <a:solidFill>
              <a:srgbClr val="5F1B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0" name="Freeform 728"/>
            <p:cNvSpPr/>
            <p:nvPr/>
          </p:nvSpPr>
          <p:spPr bwMode="auto">
            <a:xfrm>
              <a:off x="3281361" y="4840296"/>
              <a:ext cx="428625" cy="17463"/>
            </a:xfrm>
            <a:custGeom>
              <a:avLst/>
              <a:gdLst>
                <a:gd name="T0" fmla="*/ 808 w 811"/>
                <a:gd name="T1" fmla="*/ 19 h 32"/>
                <a:gd name="T2" fmla="*/ 2 w 811"/>
                <a:gd name="T3" fmla="*/ 0 h 32"/>
                <a:gd name="T4" fmla="*/ 0 w 811"/>
                <a:gd name="T5" fmla="*/ 12 h 32"/>
                <a:gd name="T6" fmla="*/ 811 w 811"/>
                <a:gd name="T7" fmla="*/ 32 h 32"/>
                <a:gd name="T8" fmla="*/ 808 w 811"/>
                <a:gd name="T9" fmla="*/ 19 h 32"/>
              </a:gdLst>
              <a:ahLst/>
              <a:cxnLst>
                <a:cxn ang="0">
                  <a:pos x="T0" y="T1"/>
                </a:cxn>
                <a:cxn ang="0">
                  <a:pos x="T2" y="T3"/>
                </a:cxn>
                <a:cxn ang="0">
                  <a:pos x="T4" y="T5"/>
                </a:cxn>
                <a:cxn ang="0">
                  <a:pos x="T6" y="T7"/>
                </a:cxn>
                <a:cxn ang="0">
                  <a:pos x="T8" y="T9"/>
                </a:cxn>
              </a:cxnLst>
              <a:rect l="0" t="0" r="r" b="b"/>
              <a:pathLst>
                <a:path w="811" h="32">
                  <a:moveTo>
                    <a:pt x="808" y="19"/>
                  </a:moveTo>
                  <a:lnTo>
                    <a:pt x="2" y="0"/>
                  </a:lnTo>
                  <a:lnTo>
                    <a:pt x="0" y="12"/>
                  </a:lnTo>
                  <a:lnTo>
                    <a:pt x="811" y="32"/>
                  </a:lnTo>
                  <a:lnTo>
                    <a:pt x="808" y="19"/>
                  </a:lnTo>
                  <a:close/>
                </a:path>
              </a:pathLst>
            </a:custGeom>
            <a:solidFill>
              <a:srgbClr val="3263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1" name="Freeform 729"/>
            <p:cNvSpPr/>
            <p:nvPr/>
          </p:nvSpPr>
          <p:spPr bwMode="auto">
            <a:xfrm>
              <a:off x="4465635" y="5083184"/>
              <a:ext cx="12700" cy="44450"/>
            </a:xfrm>
            <a:custGeom>
              <a:avLst/>
              <a:gdLst>
                <a:gd name="T0" fmla="*/ 22 w 22"/>
                <a:gd name="T1" fmla="*/ 4 h 83"/>
                <a:gd name="T2" fmla="*/ 9 w 22"/>
                <a:gd name="T3" fmla="*/ 83 h 83"/>
                <a:gd name="T4" fmla="*/ 0 w 22"/>
                <a:gd name="T5" fmla="*/ 81 h 83"/>
                <a:gd name="T6" fmla="*/ 9 w 22"/>
                <a:gd name="T7" fmla="*/ 0 h 83"/>
                <a:gd name="T8" fmla="*/ 22 w 22"/>
                <a:gd name="T9" fmla="*/ 4 h 83"/>
              </a:gdLst>
              <a:ahLst/>
              <a:cxnLst>
                <a:cxn ang="0">
                  <a:pos x="T0" y="T1"/>
                </a:cxn>
                <a:cxn ang="0">
                  <a:pos x="T2" y="T3"/>
                </a:cxn>
                <a:cxn ang="0">
                  <a:pos x="T4" y="T5"/>
                </a:cxn>
                <a:cxn ang="0">
                  <a:pos x="T6" y="T7"/>
                </a:cxn>
                <a:cxn ang="0">
                  <a:pos x="T8" y="T9"/>
                </a:cxn>
              </a:cxnLst>
              <a:rect l="0" t="0" r="r" b="b"/>
              <a:pathLst>
                <a:path w="22" h="83">
                  <a:moveTo>
                    <a:pt x="22" y="4"/>
                  </a:moveTo>
                  <a:lnTo>
                    <a:pt x="9" y="83"/>
                  </a:lnTo>
                  <a:lnTo>
                    <a:pt x="0" y="81"/>
                  </a:lnTo>
                  <a:lnTo>
                    <a:pt x="9" y="0"/>
                  </a:lnTo>
                  <a:lnTo>
                    <a:pt x="22" y="4"/>
                  </a:lnTo>
                  <a:close/>
                </a:path>
              </a:pathLst>
            </a:custGeom>
            <a:solidFill>
              <a:srgbClr val="5687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2" name="Freeform 730"/>
            <p:cNvSpPr/>
            <p:nvPr/>
          </p:nvSpPr>
          <p:spPr bwMode="auto">
            <a:xfrm>
              <a:off x="4443410" y="4897446"/>
              <a:ext cx="209550" cy="393701"/>
            </a:xfrm>
            <a:custGeom>
              <a:avLst/>
              <a:gdLst>
                <a:gd name="T0" fmla="*/ 24 w 396"/>
                <a:gd name="T1" fmla="*/ 698 h 745"/>
                <a:gd name="T2" fmla="*/ 0 w 396"/>
                <a:gd name="T3" fmla="*/ 87 h 745"/>
                <a:gd name="T4" fmla="*/ 187 w 396"/>
                <a:gd name="T5" fmla="*/ 0 h 745"/>
                <a:gd name="T6" fmla="*/ 369 w 396"/>
                <a:gd name="T7" fmla="*/ 101 h 745"/>
                <a:gd name="T8" fmla="*/ 396 w 396"/>
                <a:gd name="T9" fmla="*/ 723 h 745"/>
                <a:gd name="T10" fmla="*/ 396 w 396"/>
                <a:gd name="T11" fmla="*/ 723 h 745"/>
                <a:gd name="T12" fmla="*/ 388 w 396"/>
                <a:gd name="T13" fmla="*/ 726 h 745"/>
                <a:gd name="T14" fmla="*/ 367 w 396"/>
                <a:gd name="T15" fmla="*/ 731 h 745"/>
                <a:gd name="T16" fmla="*/ 332 w 396"/>
                <a:gd name="T17" fmla="*/ 738 h 745"/>
                <a:gd name="T18" fmla="*/ 309 w 396"/>
                <a:gd name="T19" fmla="*/ 741 h 745"/>
                <a:gd name="T20" fmla="*/ 285 w 396"/>
                <a:gd name="T21" fmla="*/ 743 h 745"/>
                <a:gd name="T22" fmla="*/ 258 w 396"/>
                <a:gd name="T23" fmla="*/ 745 h 745"/>
                <a:gd name="T24" fmla="*/ 230 w 396"/>
                <a:gd name="T25" fmla="*/ 745 h 745"/>
                <a:gd name="T26" fmla="*/ 199 w 396"/>
                <a:gd name="T27" fmla="*/ 742 h 745"/>
                <a:gd name="T28" fmla="*/ 167 w 396"/>
                <a:gd name="T29" fmla="*/ 739 h 745"/>
                <a:gd name="T30" fmla="*/ 132 w 396"/>
                <a:gd name="T31" fmla="*/ 733 h 745"/>
                <a:gd name="T32" fmla="*/ 98 w 396"/>
                <a:gd name="T33" fmla="*/ 725 h 745"/>
                <a:gd name="T34" fmla="*/ 61 w 396"/>
                <a:gd name="T35" fmla="*/ 712 h 745"/>
                <a:gd name="T36" fmla="*/ 24 w 396"/>
                <a:gd name="T37" fmla="*/ 698 h 745"/>
                <a:gd name="T38" fmla="*/ 24 w 396"/>
                <a:gd name="T39" fmla="*/ 698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6" h="745">
                  <a:moveTo>
                    <a:pt x="24" y="698"/>
                  </a:moveTo>
                  <a:lnTo>
                    <a:pt x="0" y="87"/>
                  </a:lnTo>
                  <a:lnTo>
                    <a:pt x="187" y="0"/>
                  </a:lnTo>
                  <a:lnTo>
                    <a:pt x="369" y="101"/>
                  </a:lnTo>
                  <a:lnTo>
                    <a:pt x="396" y="723"/>
                  </a:lnTo>
                  <a:lnTo>
                    <a:pt x="396" y="723"/>
                  </a:lnTo>
                  <a:lnTo>
                    <a:pt x="388" y="726"/>
                  </a:lnTo>
                  <a:lnTo>
                    <a:pt x="367" y="731"/>
                  </a:lnTo>
                  <a:lnTo>
                    <a:pt x="332" y="738"/>
                  </a:lnTo>
                  <a:lnTo>
                    <a:pt x="309" y="741"/>
                  </a:lnTo>
                  <a:lnTo>
                    <a:pt x="285" y="743"/>
                  </a:lnTo>
                  <a:lnTo>
                    <a:pt x="258" y="745"/>
                  </a:lnTo>
                  <a:lnTo>
                    <a:pt x="230" y="745"/>
                  </a:lnTo>
                  <a:lnTo>
                    <a:pt x="199" y="742"/>
                  </a:lnTo>
                  <a:lnTo>
                    <a:pt x="167" y="739"/>
                  </a:lnTo>
                  <a:lnTo>
                    <a:pt x="132" y="733"/>
                  </a:lnTo>
                  <a:lnTo>
                    <a:pt x="98" y="725"/>
                  </a:lnTo>
                  <a:lnTo>
                    <a:pt x="61" y="712"/>
                  </a:lnTo>
                  <a:lnTo>
                    <a:pt x="24" y="698"/>
                  </a:lnTo>
                  <a:lnTo>
                    <a:pt x="24" y="698"/>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3" name="Freeform 731"/>
            <p:cNvSpPr/>
            <p:nvPr/>
          </p:nvSpPr>
          <p:spPr bwMode="auto">
            <a:xfrm>
              <a:off x="3779835" y="4497395"/>
              <a:ext cx="30163" cy="207964"/>
            </a:xfrm>
            <a:custGeom>
              <a:avLst/>
              <a:gdLst>
                <a:gd name="T0" fmla="*/ 59 w 59"/>
                <a:gd name="T1" fmla="*/ 358 h 391"/>
                <a:gd name="T2" fmla="*/ 56 w 59"/>
                <a:gd name="T3" fmla="*/ 7 h 391"/>
                <a:gd name="T4" fmla="*/ 56 w 59"/>
                <a:gd name="T5" fmla="*/ 7 h 391"/>
                <a:gd name="T6" fmla="*/ 51 w 59"/>
                <a:gd name="T7" fmla="*/ 5 h 391"/>
                <a:gd name="T8" fmla="*/ 39 w 59"/>
                <a:gd name="T9" fmla="*/ 1 h 391"/>
                <a:gd name="T10" fmla="*/ 31 w 59"/>
                <a:gd name="T11" fmla="*/ 0 h 391"/>
                <a:gd name="T12" fmla="*/ 22 w 59"/>
                <a:gd name="T13" fmla="*/ 0 h 391"/>
                <a:gd name="T14" fmla="*/ 11 w 59"/>
                <a:gd name="T15" fmla="*/ 3 h 391"/>
                <a:gd name="T16" fmla="*/ 0 w 59"/>
                <a:gd name="T17" fmla="*/ 7 h 391"/>
                <a:gd name="T18" fmla="*/ 0 w 59"/>
                <a:gd name="T19" fmla="*/ 391 h 391"/>
                <a:gd name="T20" fmla="*/ 59 w 59"/>
                <a:gd name="T21" fmla="*/ 358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391">
                  <a:moveTo>
                    <a:pt x="59" y="358"/>
                  </a:moveTo>
                  <a:lnTo>
                    <a:pt x="56" y="7"/>
                  </a:lnTo>
                  <a:lnTo>
                    <a:pt x="56" y="7"/>
                  </a:lnTo>
                  <a:lnTo>
                    <a:pt x="51" y="5"/>
                  </a:lnTo>
                  <a:lnTo>
                    <a:pt x="39" y="1"/>
                  </a:lnTo>
                  <a:lnTo>
                    <a:pt x="31" y="0"/>
                  </a:lnTo>
                  <a:lnTo>
                    <a:pt x="22" y="0"/>
                  </a:lnTo>
                  <a:lnTo>
                    <a:pt x="11" y="3"/>
                  </a:lnTo>
                  <a:lnTo>
                    <a:pt x="0" y="7"/>
                  </a:lnTo>
                  <a:lnTo>
                    <a:pt x="0" y="391"/>
                  </a:lnTo>
                  <a:lnTo>
                    <a:pt x="59" y="358"/>
                  </a:lnTo>
                  <a:close/>
                </a:path>
              </a:pathLst>
            </a:custGeom>
            <a:solidFill>
              <a:srgbClr val="5694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4" name="Freeform 732"/>
            <p:cNvSpPr/>
            <p:nvPr/>
          </p:nvSpPr>
          <p:spPr bwMode="auto">
            <a:xfrm>
              <a:off x="4041772" y="4541845"/>
              <a:ext cx="30163" cy="165100"/>
            </a:xfrm>
            <a:custGeom>
              <a:avLst/>
              <a:gdLst>
                <a:gd name="T0" fmla="*/ 41 w 56"/>
                <a:gd name="T1" fmla="*/ 8 h 313"/>
                <a:gd name="T2" fmla="*/ 41 w 56"/>
                <a:gd name="T3" fmla="*/ 8 h 313"/>
                <a:gd name="T4" fmla="*/ 37 w 56"/>
                <a:gd name="T5" fmla="*/ 5 h 313"/>
                <a:gd name="T6" fmla="*/ 26 w 56"/>
                <a:gd name="T7" fmla="*/ 1 h 313"/>
                <a:gd name="T8" fmla="*/ 20 w 56"/>
                <a:gd name="T9" fmla="*/ 0 h 313"/>
                <a:gd name="T10" fmla="*/ 13 w 56"/>
                <a:gd name="T11" fmla="*/ 0 h 313"/>
                <a:gd name="T12" fmla="*/ 6 w 56"/>
                <a:gd name="T13" fmla="*/ 3 h 313"/>
                <a:gd name="T14" fmla="*/ 0 w 56"/>
                <a:gd name="T15" fmla="*/ 7 h 313"/>
                <a:gd name="T16" fmla="*/ 2 w 56"/>
                <a:gd name="T17" fmla="*/ 270 h 313"/>
                <a:gd name="T18" fmla="*/ 56 w 56"/>
                <a:gd name="T19" fmla="*/ 313 h 313"/>
                <a:gd name="T20" fmla="*/ 41 w 56"/>
                <a:gd name="T21" fmla="*/ 8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313">
                  <a:moveTo>
                    <a:pt x="41" y="8"/>
                  </a:moveTo>
                  <a:lnTo>
                    <a:pt x="41" y="8"/>
                  </a:lnTo>
                  <a:lnTo>
                    <a:pt x="37" y="5"/>
                  </a:lnTo>
                  <a:lnTo>
                    <a:pt x="26" y="1"/>
                  </a:lnTo>
                  <a:lnTo>
                    <a:pt x="20" y="0"/>
                  </a:lnTo>
                  <a:lnTo>
                    <a:pt x="13" y="0"/>
                  </a:lnTo>
                  <a:lnTo>
                    <a:pt x="6" y="3"/>
                  </a:lnTo>
                  <a:lnTo>
                    <a:pt x="0" y="7"/>
                  </a:lnTo>
                  <a:lnTo>
                    <a:pt x="2" y="270"/>
                  </a:lnTo>
                  <a:lnTo>
                    <a:pt x="56" y="313"/>
                  </a:lnTo>
                  <a:lnTo>
                    <a:pt x="41" y="8"/>
                  </a:lnTo>
                  <a:close/>
                </a:path>
              </a:pathLst>
            </a:custGeom>
            <a:solidFill>
              <a:srgbClr val="5694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5" name="Freeform 733"/>
            <p:cNvSpPr/>
            <p:nvPr/>
          </p:nvSpPr>
          <p:spPr bwMode="auto">
            <a:xfrm>
              <a:off x="3844922" y="5294321"/>
              <a:ext cx="14288" cy="50800"/>
            </a:xfrm>
            <a:custGeom>
              <a:avLst/>
              <a:gdLst>
                <a:gd name="T0" fmla="*/ 20 w 28"/>
                <a:gd name="T1" fmla="*/ 97 h 97"/>
                <a:gd name="T2" fmla="*/ 28 w 28"/>
                <a:gd name="T3" fmla="*/ 2 h 97"/>
                <a:gd name="T4" fmla="*/ 8 w 28"/>
                <a:gd name="T5" fmla="*/ 0 h 97"/>
                <a:gd name="T6" fmla="*/ 0 w 28"/>
                <a:gd name="T7" fmla="*/ 95 h 97"/>
                <a:gd name="T8" fmla="*/ 20 w 28"/>
                <a:gd name="T9" fmla="*/ 97 h 97"/>
              </a:gdLst>
              <a:ahLst/>
              <a:cxnLst>
                <a:cxn ang="0">
                  <a:pos x="T0" y="T1"/>
                </a:cxn>
                <a:cxn ang="0">
                  <a:pos x="T2" y="T3"/>
                </a:cxn>
                <a:cxn ang="0">
                  <a:pos x="T4" y="T5"/>
                </a:cxn>
                <a:cxn ang="0">
                  <a:pos x="T6" y="T7"/>
                </a:cxn>
                <a:cxn ang="0">
                  <a:pos x="T8" y="T9"/>
                </a:cxn>
              </a:cxnLst>
              <a:rect l="0" t="0" r="r" b="b"/>
              <a:pathLst>
                <a:path w="28" h="97">
                  <a:moveTo>
                    <a:pt x="20" y="97"/>
                  </a:moveTo>
                  <a:lnTo>
                    <a:pt x="28" y="2"/>
                  </a:lnTo>
                  <a:lnTo>
                    <a:pt x="8" y="0"/>
                  </a:lnTo>
                  <a:lnTo>
                    <a:pt x="0" y="95"/>
                  </a:lnTo>
                  <a:lnTo>
                    <a:pt x="20" y="97"/>
                  </a:lnTo>
                  <a:close/>
                </a:path>
              </a:pathLst>
            </a:custGeom>
            <a:solidFill>
              <a:srgbClr val="36547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6" name="Freeform 734"/>
            <p:cNvSpPr/>
            <p:nvPr/>
          </p:nvSpPr>
          <p:spPr bwMode="auto">
            <a:xfrm>
              <a:off x="3703635" y="5259396"/>
              <a:ext cx="15875" cy="41275"/>
            </a:xfrm>
            <a:custGeom>
              <a:avLst/>
              <a:gdLst>
                <a:gd name="T0" fmla="*/ 9 w 29"/>
                <a:gd name="T1" fmla="*/ 79 h 79"/>
                <a:gd name="T2" fmla="*/ 29 w 29"/>
                <a:gd name="T3" fmla="*/ 76 h 79"/>
                <a:gd name="T4" fmla="*/ 19 w 29"/>
                <a:gd name="T5" fmla="*/ 0 h 79"/>
                <a:gd name="T6" fmla="*/ 0 w 29"/>
                <a:gd name="T7" fmla="*/ 1 h 79"/>
                <a:gd name="T8" fmla="*/ 9 w 29"/>
                <a:gd name="T9" fmla="*/ 79 h 79"/>
              </a:gdLst>
              <a:ahLst/>
              <a:cxnLst>
                <a:cxn ang="0">
                  <a:pos x="T0" y="T1"/>
                </a:cxn>
                <a:cxn ang="0">
                  <a:pos x="T2" y="T3"/>
                </a:cxn>
                <a:cxn ang="0">
                  <a:pos x="T4" y="T5"/>
                </a:cxn>
                <a:cxn ang="0">
                  <a:pos x="T6" y="T7"/>
                </a:cxn>
                <a:cxn ang="0">
                  <a:pos x="T8" y="T9"/>
                </a:cxn>
              </a:cxnLst>
              <a:rect l="0" t="0" r="r" b="b"/>
              <a:pathLst>
                <a:path w="29" h="79">
                  <a:moveTo>
                    <a:pt x="9" y="79"/>
                  </a:moveTo>
                  <a:lnTo>
                    <a:pt x="29" y="76"/>
                  </a:lnTo>
                  <a:lnTo>
                    <a:pt x="19" y="0"/>
                  </a:lnTo>
                  <a:lnTo>
                    <a:pt x="0" y="1"/>
                  </a:lnTo>
                  <a:lnTo>
                    <a:pt x="9" y="79"/>
                  </a:lnTo>
                  <a:close/>
                </a:path>
              </a:pathLst>
            </a:custGeom>
            <a:solidFill>
              <a:srgbClr val="36547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7" name="Freeform 735"/>
            <p:cNvSpPr/>
            <p:nvPr/>
          </p:nvSpPr>
          <p:spPr bwMode="auto">
            <a:xfrm>
              <a:off x="3917947" y="5297496"/>
              <a:ext cx="15875" cy="38100"/>
            </a:xfrm>
            <a:custGeom>
              <a:avLst/>
              <a:gdLst>
                <a:gd name="T0" fmla="*/ 20 w 29"/>
                <a:gd name="T1" fmla="*/ 74 h 74"/>
                <a:gd name="T2" fmla="*/ 29 w 29"/>
                <a:gd name="T3" fmla="*/ 3 h 74"/>
                <a:gd name="T4" fmla="*/ 9 w 29"/>
                <a:gd name="T5" fmla="*/ 0 h 74"/>
                <a:gd name="T6" fmla="*/ 0 w 29"/>
                <a:gd name="T7" fmla="*/ 71 h 74"/>
                <a:gd name="T8" fmla="*/ 20 w 29"/>
                <a:gd name="T9" fmla="*/ 74 h 74"/>
              </a:gdLst>
              <a:ahLst/>
              <a:cxnLst>
                <a:cxn ang="0">
                  <a:pos x="T0" y="T1"/>
                </a:cxn>
                <a:cxn ang="0">
                  <a:pos x="T2" y="T3"/>
                </a:cxn>
                <a:cxn ang="0">
                  <a:pos x="T4" y="T5"/>
                </a:cxn>
                <a:cxn ang="0">
                  <a:pos x="T6" y="T7"/>
                </a:cxn>
                <a:cxn ang="0">
                  <a:pos x="T8" y="T9"/>
                </a:cxn>
              </a:cxnLst>
              <a:rect l="0" t="0" r="r" b="b"/>
              <a:pathLst>
                <a:path w="29" h="74">
                  <a:moveTo>
                    <a:pt x="20" y="74"/>
                  </a:moveTo>
                  <a:lnTo>
                    <a:pt x="29" y="3"/>
                  </a:lnTo>
                  <a:lnTo>
                    <a:pt x="9" y="0"/>
                  </a:lnTo>
                  <a:lnTo>
                    <a:pt x="0" y="71"/>
                  </a:lnTo>
                  <a:lnTo>
                    <a:pt x="20" y="74"/>
                  </a:lnTo>
                  <a:close/>
                </a:path>
              </a:pathLst>
            </a:custGeom>
            <a:solidFill>
              <a:srgbClr val="36547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8" name="Freeform 736"/>
            <p:cNvSpPr/>
            <p:nvPr/>
          </p:nvSpPr>
          <p:spPr bwMode="auto">
            <a:xfrm>
              <a:off x="3709985" y="5273684"/>
              <a:ext cx="219075" cy="50800"/>
            </a:xfrm>
            <a:custGeom>
              <a:avLst/>
              <a:gdLst>
                <a:gd name="T0" fmla="*/ 277 w 414"/>
                <a:gd name="T1" fmla="*/ 96 h 96"/>
                <a:gd name="T2" fmla="*/ 414 w 414"/>
                <a:gd name="T3" fmla="*/ 89 h 96"/>
                <a:gd name="T4" fmla="*/ 412 w 414"/>
                <a:gd name="T5" fmla="*/ 69 h 96"/>
                <a:gd name="T6" fmla="*/ 278 w 414"/>
                <a:gd name="T7" fmla="*/ 75 h 96"/>
                <a:gd name="T8" fmla="*/ 4 w 414"/>
                <a:gd name="T9" fmla="*/ 0 h 96"/>
                <a:gd name="T10" fmla="*/ 0 w 414"/>
                <a:gd name="T11" fmla="*/ 21 h 96"/>
                <a:gd name="T12" fmla="*/ 277 w 414"/>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414" h="96">
                  <a:moveTo>
                    <a:pt x="277" y="96"/>
                  </a:moveTo>
                  <a:lnTo>
                    <a:pt x="414" y="89"/>
                  </a:lnTo>
                  <a:lnTo>
                    <a:pt x="412" y="69"/>
                  </a:lnTo>
                  <a:lnTo>
                    <a:pt x="278" y="75"/>
                  </a:lnTo>
                  <a:lnTo>
                    <a:pt x="4" y="0"/>
                  </a:lnTo>
                  <a:lnTo>
                    <a:pt x="0" y="21"/>
                  </a:lnTo>
                  <a:lnTo>
                    <a:pt x="277" y="96"/>
                  </a:lnTo>
                  <a:close/>
                </a:path>
              </a:pathLst>
            </a:custGeom>
            <a:solidFill>
              <a:srgbClr val="36547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9" name="Freeform 737"/>
            <p:cNvSpPr/>
            <p:nvPr/>
          </p:nvSpPr>
          <p:spPr bwMode="auto">
            <a:xfrm>
              <a:off x="3656010" y="5111759"/>
              <a:ext cx="242888" cy="87313"/>
            </a:xfrm>
            <a:custGeom>
              <a:avLst/>
              <a:gdLst>
                <a:gd name="T0" fmla="*/ 87 w 458"/>
                <a:gd name="T1" fmla="*/ 0 h 166"/>
                <a:gd name="T2" fmla="*/ 443 w 458"/>
                <a:gd name="T3" fmla="*/ 66 h 166"/>
                <a:gd name="T4" fmla="*/ 458 w 458"/>
                <a:gd name="T5" fmla="*/ 166 h 166"/>
                <a:gd name="T6" fmla="*/ 0 w 458"/>
                <a:gd name="T7" fmla="*/ 62 h 166"/>
                <a:gd name="T8" fmla="*/ 0 w 458"/>
                <a:gd name="T9" fmla="*/ 62 h 166"/>
                <a:gd name="T10" fmla="*/ 14 w 458"/>
                <a:gd name="T11" fmla="*/ 48 h 166"/>
                <a:gd name="T12" fmla="*/ 27 w 458"/>
                <a:gd name="T13" fmla="*/ 34 h 166"/>
                <a:gd name="T14" fmla="*/ 42 w 458"/>
                <a:gd name="T15" fmla="*/ 24 h 166"/>
                <a:gd name="T16" fmla="*/ 55 w 458"/>
                <a:gd name="T17" fmla="*/ 14 h 166"/>
                <a:gd name="T18" fmla="*/ 68 w 458"/>
                <a:gd name="T19" fmla="*/ 8 h 166"/>
                <a:gd name="T20" fmla="*/ 78 w 458"/>
                <a:gd name="T21" fmla="*/ 4 h 166"/>
                <a:gd name="T22" fmla="*/ 87 w 458"/>
                <a:gd name="T2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8" h="166">
                  <a:moveTo>
                    <a:pt x="87" y="0"/>
                  </a:moveTo>
                  <a:lnTo>
                    <a:pt x="443" y="66"/>
                  </a:lnTo>
                  <a:lnTo>
                    <a:pt x="458" y="166"/>
                  </a:lnTo>
                  <a:lnTo>
                    <a:pt x="0" y="62"/>
                  </a:lnTo>
                  <a:lnTo>
                    <a:pt x="0" y="62"/>
                  </a:lnTo>
                  <a:lnTo>
                    <a:pt x="14" y="48"/>
                  </a:lnTo>
                  <a:lnTo>
                    <a:pt x="27" y="34"/>
                  </a:lnTo>
                  <a:lnTo>
                    <a:pt x="42" y="24"/>
                  </a:lnTo>
                  <a:lnTo>
                    <a:pt x="55" y="14"/>
                  </a:lnTo>
                  <a:lnTo>
                    <a:pt x="68" y="8"/>
                  </a:lnTo>
                  <a:lnTo>
                    <a:pt x="78" y="4"/>
                  </a:lnTo>
                  <a:lnTo>
                    <a:pt x="87" y="0"/>
                  </a:lnTo>
                  <a:close/>
                </a:path>
              </a:pathLst>
            </a:custGeom>
            <a:solidFill>
              <a:srgbClr val="B9E0D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0" name="Freeform 738"/>
            <p:cNvSpPr/>
            <p:nvPr/>
          </p:nvSpPr>
          <p:spPr bwMode="auto">
            <a:xfrm>
              <a:off x="3656010" y="5111759"/>
              <a:ext cx="242888" cy="87313"/>
            </a:xfrm>
            <a:custGeom>
              <a:avLst/>
              <a:gdLst>
                <a:gd name="T0" fmla="*/ 87 w 458"/>
                <a:gd name="T1" fmla="*/ 0 h 166"/>
                <a:gd name="T2" fmla="*/ 443 w 458"/>
                <a:gd name="T3" fmla="*/ 66 h 166"/>
                <a:gd name="T4" fmla="*/ 458 w 458"/>
                <a:gd name="T5" fmla="*/ 166 h 166"/>
                <a:gd name="T6" fmla="*/ 0 w 458"/>
                <a:gd name="T7" fmla="*/ 62 h 166"/>
                <a:gd name="T8" fmla="*/ 0 w 458"/>
                <a:gd name="T9" fmla="*/ 62 h 166"/>
                <a:gd name="T10" fmla="*/ 14 w 458"/>
                <a:gd name="T11" fmla="*/ 48 h 166"/>
                <a:gd name="T12" fmla="*/ 27 w 458"/>
                <a:gd name="T13" fmla="*/ 34 h 166"/>
                <a:gd name="T14" fmla="*/ 42 w 458"/>
                <a:gd name="T15" fmla="*/ 24 h 166"/>
                <a:gd name="T16" fmla="*/ 55 w 458"/>
                <a:gd name="T17" fmla="*/ 14 h 166"/>
                <a:gd name="T18" fmla="*/ 68 w 458"/>
                <a:gd name="T19" fmla="*/ 8 h 166"/>
                <a:gd name="T20" fmla="*/ 78 w 458"/>
                <a:gd name="T21" fmla="*/ 4 h 166"/>
                <a:gd name="T22" fmla="*/ 87 w 458"/>
                <a:gd name="T2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8" h="166">
                  <a:moveTo>
                    <a:pt x="87" y="0"/>
                  </a:moveTo>
                  <a:lnTo>
                    <a:pt x="443" y="66"/>
                  </a:lnTo>
                  <a:lnTo>
                    <a:pt x="458" y="166"/>
                  </a:lnTo>
                  <a:lnTo>
                    <a:pt x="0" y="62"/>
                  </a:lnTo>
                  <a:lnTo>
                    <a:pt x="0" y="62"/>
                  </a:lnTo>
                  <a:lnTo>
                    <a:pt x="14" y="48"/>
                  </a:lnTo>
                  <a:lnTo>
                    <a:pt x="27" y="34"/>
                  </a:lnTo>
                  <a:lnTo>
                    <a:pt x="42" y="24"/>
                  </a:lnTo>
                  <a:lnTo>
                    <a:pt x="55" y="14"/>
                  </a:lnTo>
                  <a:lnTo>
                    <a:pt x="68" y="8"/>
                  </a:lnTo>
                  <a:lnTo>
                    <a:pt x="78" y="4"/>
                  </a:lnTo>
                  <a:lnTo>
                    <a:pt x="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1" name="Freeform 739"/>
            <p:cNvSpPr/>
            <p:nvPr/>
          </p:nvSpPr>
          <p:spPr bwMode="auto">
            <a:xfrm>
              <a:off x="3643310" y="5157796"/>
              <a:ext cx="260350" cy="76200"/>
            </a:xfrm>
            <a:custGeom>
              <a:avLst/>
              <a:gdLst>
                <a:gd name="T0" fmla="*/ 10 w 490"/>
                <a:gd name="T1" fmla="*/ 0 h 143"/>
                <a:gd name="T2" fmla="*/ 485 w 490"/>
                <a:gd name="T3" fmla="*/ 107 h 143"/>
                <a:gd name="T4" fmla="*/ 490 w 490"/>
                <a:gd name="T5" fmla="*/ 143 h 143"/>
                <a:gd name="T6" fmla="*/ 0 w 490"/>
                <a:gd name="T7" fmla="*/ 35 h 143"/>
                <a:gd name="T8" fmla="*/ 0 w 490"/>
                <a:gd name="T9" fmla="*/ 35 h 143"/>
                <a:gd name="T10" fmla="*/ 3 w 490"/>
                <a:gd name="T11" fmla="*/ 16 h 143"/>
                <a:gd name="T12" fmla="*/ 10 w 490"/>
                <a:gd name="T13" fmla="*/ 0 h 143"/>
                <a:gd name="T14" fmla="*/ 10 w 490"/>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0" h="143">
                  <a:moveTo>
                    <a:pt x="10" y="0"/>
                  </a:moveTo>
                  <a:lnTo>
                    <a:pt x="485" y="107"/>
                  </a:lnTo>
                  <a:lnTo>
                    <a:pt x="490" y="143"/>
                  </a:lnTo>
                  <a:lnTo>
                    <a:pt x="0" y="35"/>
                  </a:lnTo>
                  <a:lnTo>
                    <a:pt x="0" y="35"/>
                  </a:lnTo>
                  <a:lnTo>
                    <a:pt x="3" y="16"/>
                  </a:lnTo>
                  <a:lnTo>
                    <a:pt x="10" y="0"/>
                  </a:lnTo>
                  <a:lnTo>
                    <a:pt x="10" y="0"/>
                  </a:lnTo>
                  <a:close/>
                </a:path>
              </a:pathLst>
            </a:custGeom>
            <a:solidFill>
              <a:srgbClr val="B9E0D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2" name="Freeform 740"/>
            <p:cNvSpPr/>
            <p:nvPr/>
          </p:nvSpPr>
          <p:spPr bwMode="auto">
            <a:xfrm>
              <a:off x="3643310" y="5176846"/>
              <a:ext cx="271463" cy="141288"/>
            </a:xfrm>
            <a:custGeom>
              <a:avLst/>
              <a:gdLst>
                <a:gd name="T0" fmla="*/ 491 w 513"/>
                <a:gd name="T1" fmla="*/ 108 h 268"/>
                <a:gd name="T2" fmla="*/ 513 w 513"/>
                <a:gd name="T3" fmla="*/ 268 h 268"/>
                <a:gd name="T4" fmla="*/ 513 w 513"/>
                <a:gd name="T5" fmla="*/ 268 h 268"/>
                <a:gd name="T6" fmla="*/ 304 w 513"/>
                <a:gd name="T7" fmla="*/ 214 h 268"/>
                <a:gd name="T8" fmla="*/ 158 w 513"/>
                <a:gd name="T9" fmla="*/ 175 h 268"/>
                <a:gd name="T10" fmla="*/ 90 w 513"/>
                <a:gd name="T11" fmla="*/ 156 h 268"/>
                <a:gd name="T12" fmla="*/ 90 w 513"/>
                <a:gd name="T13" fmla="*/ 156 h 268"/>
                <a:gd name="T14" fmla="*/ 74 w 513"/>
                <a:gd name="T15" fmla="*/ 147 h 268"/>
                <a:gd name="T16" fmla="*/ 59 w 513"/>
                <a:gd name="T17" fmla="*/ 138 h 268"/>
                <a:gd name="T18" fmla="*/ 44 w 513"/>
                <a:gd name="T19" fmla="*/ 123 h 268"/>
                <a:gd name="T20" fmla="*/ 36 w 513"/>
                <a:gd name="T21" fmla="*/ 114 h 268"/>
                <a:gd name="T22" fmla="*/ 28 w 513"/>
                <a:gd name="T23" fmla="*/ 104 h 268"/>
                <a:gd name="T24" fmla="*/ 22 w 513"/>
                <a:gd name="T25" fmla="*/ 92 h 268"/>
                <a:gd name="T26" fmla="*/ 15 w 513"/>
                <a:gd name="T27" fmla="*/ 80 h 268"/>
                <a:gd name="T28" fmla="*/ 9 w 513"/>
                <a:gd name="T29" fmla="*/ 65 h 268"/>
                <a:gd name="T30" fmla="*/ 5 w 513"/>
                <a:gd name="T31" fmla="*/ 51 h 268"/>
                <a:gd name="T32" fmla="*/ 1 w 513"/>
                <a:gd name="T33" fmla="*/ 35 h 268"/>
                <a:gd name="T34" fmla="*/ 0 w 513"/>
                <a:gd name="T35" fmla="*/ 16 h 268"/>
                <a:gd name="T36" fmla="*/ 0 w 513"/>
                <a:gd name="T37" fmla="*/ 16 h 268"/>
                <a:gd name="T38" fmla="*/ 1 w 513"/>
                <a:gd name="T39" fmla="*/ 0 h 268"/>
                <a:gd name="T40" fmla="*/ 491 w 513"/>
                <a:gd name="T41" fmla="*/ 10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3" h="268">
                  <a:moveTo>
                    <a:pt x="491" y="108"/>
                  </a:moveTo>
                  <a:lnTo>
                    <a:pt x="513" y="268"/>
                  </a:lnTo>
                  <a:lnTo>
                    <a:pt x="513" y="268"/>
                  </a:lnTo>
                  <a:lnTo>
                    <a:pt x="304" y="214"/>
                  </a:lnTo>
                  <a:lnTo>
                    <a:pt x="158" y="175"/>
                  </a:lnTo>
                  <a:lnTo>
                    <a:pt x="90" y="156"/>
                  </a:lnTo>
                  <a:lnTo>
                    <a:pt x="90" y="156"/>
                  </a:lnTo>
                  <a:lnTo>
                    <a:pt x="74" y="147"/>
                  </a:lnTo>
                  <a:lnTo>
                    <a:pt x="59" y="138"/>
                  </a:lnTo>
                  <a:lnTo>
                    <a:pt x="44" y="123"/>
                  </a:lnTo>
                  <a:lnTo>
                    <a:pt x="36" y="114"/>
                  </a:lnTo>
                  <a:lnTo>
                    <a:pt x="28" y="104"/>
                  </a:lnTo>
                  <a:lnTo>
                    <a:pt x="22" y="92"/>
                  </a:lnTo>
                  <a:lnTo>
                    <a:pt x="15" y="80"/>
                  </a:lnTo>
                  <a:lnTo>
                    <a:pt x="9" y="65"/>
                  </a:lnTo>
                  <a:lnTo>
                    <a:pt x="5" y="51"/>
                  </a:lnTo>
                  <a:lnTo>
                    <a:pt x="1" y="35"/>
                  </a:lnTo>
                  <a:lnTo>
                    <a:pt x="0" y="16"/>
                  </a:lnTo>
                  <a:lnTo>
                    <a:pt x="0" y="16"/>
                  </a:lnTo>
                  <a:lnTo>
                    <a:pt x="1" y="0"/>
                  </a:lnTo>
                  <a:lnTo>
                    <a:pt x="491" y="108"/>
                  </a:lnTo>
                  <a:close/>
                </a:path>
              </a:pathLst>
            </a:custGeom>
            <a:solidFill>
              <a:srgbClr val="6CA6B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3" name="Freeform 741"/>
            <p:cNvSpPr/>
            <p:nvPr/>
          </p:nvSpPr>
          <p:spPr bwMode="auto">
            <a:xfrm>
              <a:off x="3649660" y="5145096"/>
              <a:ext cx="250825" cy="69850"/>
            </a:xfrm>
            <a:custGeom>
              <a:avLst/>
              <a:gdLst>
                <a:gd name="T0" fmla="*/ 13 w 475"/>
                <a:gd name="T1" fmla="*/ 0 h 133"/>
                <a:gd name="T2" fmla="*/ 471 w 475"/>
                <a:gd name="T3" fmla="*/ 104 h 133"/>
                <a:gd name="T4" fmla="*/ 475 w 475"/>
                <a:gd name="T5" fmla="*/ 133 h 133"/>
                <a:gd name="T6" fmla="*/ 0 w 475"/>
                <a:gd name="T7" fmla="*/ 26 h 133"/>
                <a:gd name="T8" fmla="*/ 0 w 475"/>
                <a:gd name="T9" fmla="*/ 26 h 133"/>
                <a:gd name="T10" fmla="*/ 5 w 475"/>
                <a:gd name="T11" fmla="*/ 13 h 133"/>
                <a:gd name="T12" fmla="*/ 13 w 475"/>
                <a:gd name="T13" fmla="*/ 0 h 133"/>
                <a:gd name="T14" fmla="*/ 13 w 475"/>
                <a:gd name="T15" fmla="*/ 0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5" h="133">
                  <a:moveTo>
                    <a:pt x="13" y="0"/>
                  </a:moveTo>
                  <a:lnTo>
                    <a:pt x="471" y="104"/>
                  </a:lnTo>
                  <a:lnTo>
                    <a:pt x="475" y="133"/>
                  </a:lnTo>
                  <a:lnTo>
                    <a:pt x="0" y="26"/>
                  </a:lnTo>
                  <a:lnTo>
                    <a:pt x="0" y="26"/>
                  </a:lnTo>
                  <a:lnTo>
                    <a:pt x="5" y="13"/>
                  </a:lnTo>
                  <a:lnTo>
                    <a:pt x="13" y="0"/>
                  </a:lnTo>
                  <a:lnTo>
                    <a:pt x="13" y="0"/>
                  </a:lnTo>
                  <a:close/>
                </a:path>
              </a:pathLst>
            </a:custGeom>
            <a:solidFill>
              <a:srgbClr val="6CA6B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4" name="Freeform 742"/>
            <p:cNvSpPr/>
            <p:nvPr/>
          </p:nvSpPr>
          <p:spPr bwMode="auto">
            <a:xfrm>
              <a:off x="3830635" y="5146684"/>
              <a:ext cx="150813" cy="171451"/>
            </a:xfrm>
            <a:custGeom>
              <a:avLst/>
              <a:gdLst>
                <a:gd name="T0" fmla="*/ 120 w 285"/>
                <a:gd name="T1" fmla="*/ 2 h 325"/>
                <a:gd name="T2" fmla="*/ 161 w 285"/>
                <a:gd name="T3" fmla="*/ 11 h 325"/>
                <a:gd name="T4" fmla="*/ 195 w 285"/>
                <a:gd name="T5" fmla="*/ 26 h 325"/>
                <a:gd name="T6" fmla="*/ 222 w 285"/>
                <a:gd name="T7" fmla="*/ 43 h 325"/>
                <a:gd name="T8" fmla="*/ 245 w 285"/>
                <a:gd name="T9" fmla="*/ 66 h 325"/>
                <a:gd name="T10" fmla="*/ 261 w 285"/>
                <a:gd name="T11" fmla="*/ 92 h 325"/>
                <a:gd name="T12" fmla="*/ 273 w 285"/>
                <a:gd name="T13" fmla="*/ 120 h 325"/>
                <a:gd name="T14" fmla="*/ 280 w 285"/>
                <a:gd name="T15" fmla="*/ 150 h 325"/>
                <a:gd name="T16" fmla="*/ 284 w 285"/>
                <a:gd name="T17" fmla="*/ 183 h 325"/>
                <a:gd name="T18" fmla="*/ 285 w 285"/>
                <a:gd name="T19" fmla="*/ 197 h 325"/>
                <a:gd name="T20" fmla="*/ 281 w 285"/>
                <a:gd name="T21" fmla="*/ 227 h 325"/>
                <a:gd name="T22" fmla="*/ 272 w 285"/>
                <a:gd name="T23" fmla="*/ 252 h 325"/>
                <a:gd name="T24" fmla="*/ 260 w 285"/>
                <a:gd name="T25" fmla="*/ 274 h 325"/>
                <a:gd name="T26" fmla="*/ 244 w 285"/>
                <a:gd name="T27" fmla="*/ 291 h 325"/>
                <a:gd name="T28" fmla="*/ 225 w 285"/>
                <a:gd name="T29" fmla="*/ 306 h 325"/>
                <a:gd name="T30" fmla="*/ 206 w 285"/>
                <a:gd name="T31" fmla="*/ 315 h 325"/>
                <a:gd name="T32" fmla="*/ 187 w 285"/>
                <a:gd name="T33" fmla="*/ 322 h 325"/>
                <a:gd name="T34" fmla="*/ 178 w 285"/>
                <a:gd name="T35" fmla="*/ 323 h 325"/>
                <a:gd name="T36" fmla="*/ 154 w 285"/>
                <a:gd name="T37" fmla="*/ 323 h 325"/>
                <a:gd name="T38" fmla="*/ 127 w 285"/>
                <a:gd name="T39" fmla="*/ 318 h 325"/>
                <a:gd name="T40" fmla="*/ 99 w 285"/>
                <a:gd name="T41" fmla="*/ 307 h 325"/>
                <a:gd name="T42" fmla="*/ 74 w 285"/>
                <a:gd name="T43" fmla="*/ 291 h 325"/>
                <a:gd name="T44" fmla="*/ 48 w 285"/>
                <a:gd name="T45" fmla="*/ 271 h 325"/>
                <a:gd name="T46" fmla="*/ 28 w 285"/>
                <a:gd name="T47" fmla="*/ 246 h 325"/>
                <a:gd name="T48" fmla="*/ 12 w 285"/>
                <a:gd name="T49" fmla="*/ 216 h 325"/>
                <a:gd name="T50" fmla="*/ 3 w 285"/>
                <a:gd name="T51" fmla="*/ 181 h 325"/>
                <a:gd name="T52" fmla="*/ 0 w 285"/>
                <a:gd name="T53" fmla="*/ 160 h 325"/>
                <a:gd name="T54" fmla="*/ 1 w 285"/>
                <a:gd name="T55" fmla="*/ 121 h 325"/>
                <a:gd name="T56" fmla="*/ 8 w 285"/>
                <a:gd name="T57" fmla="*/ 86 h 325"/>
                <a:gd name="T58" fmla="*/ 20 w 285"/>
                <a:gd name="T59" fmla="*/ 57 h 325"/>
                <a:gd name="T60" fmla="*/ 37 w 285"/>
                <a:gd name="T61" fmla="*/ 33 h 325"/>
                <a:gd name="T62" fmla="*/ 59 w 285"/>
                <a:gd name="T63" fmla="*/ 15 h 325"/>
                <a:gd name="T64" fmla="*/ 82 w 285"/>
                <a:gd name="T65" fmla="*/ 4 h 325"/>
                <a:gd name="T66" fmla="*/ 107 w 285"/>
                <a:gd name="T67"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5" h="325">
                  <a:moveTo>
                    <a:pt x="120" y="2"/>
                  </a:moveTo>
                  <a:lnTo>
                    <a:pt x="120" y="2"/>
                  </a:lnTo>
                  <a:lnTo>
                    <a:pt x="142" y="6"/>
                  </a:lnTo>
                  <a:lnTo>
                    <a:pt x="161" y="11"/>
                  </a:lnTo>
                  <a:lnTo>
                    <a:pt x="179" y="18"/>
                  </a:lnTo>
                  <a:lnTo>
                    <a:pt x="195" y="26"/>
                  </a:lnTo>
                  <a:lnTo>
                    <a:pt x="210" y="34"/>
                  </a:lnTo>
                  <a:lnTo>
                    <a:pt x="222" y="43"/>
                  </a:lnTo>
                  <a:lnTo>
                    <a:pt x="234" y="54"/>
                  </a:lnTo>
                  <a:lnTo>
                    <a:pt x="245" y="66"/>
                  </a:lnTo>
                  <a:lnTo>
                    <a:pt x="253" y="78"/>
                  </a:lnTo>
                  <a:lnTo>
                    <a:pt x="261" y="92"/>
                  </a:lnTo>
                  <a:lnTo>
                    <a:pt x="268" y="105"/>
                  </a:lnTo>
                  <a:lnTo>
                    <a:pt x="273" y="120"/>
                  </a:lnTo>
                  <a:lnTo>
                    <a:pt x="277" y="134"/>
                  </a:lnTo>
                  <a:lnTo>
                    <a:pt x="280" y="150"/>
                  </a:lnTo>
                  <a:lnTo>
                    <a:pt x="282" y="167"/>
                  </a:lnTo>
                  <a:lnTo>
                    <a:pt x="284" y="183"/>
                  </a:lnTo>
                  <a:lnTo>
                    <a:pt x="284" y="183"/>
                  </a:lnTo>
                  <a:lnTo>
                    <a:pt x="285" y="197"/>
                  </a:lnTo>
                  <a:lnTo>
                    <a:pt x="284" y="212"/>
                  </a:lnTo>
                  <a:lnTo>
                    <a:pt x="281" y="227"/>
                  </a:lnTo>
                  <a:lnTo>
                    <a:pt x="277" y="240"/>
                  </a:lnTo>
                  <a:lnTo>
                    <a:pt x="272" y="252"/>
                  </a:lnTo>
                  <a:lnTo>
                    <a:pt x="266" y="263"/>
                  </a:lnTo>
                  <a:lnTo>
                    <a:pt x="260" y="274"/>
                  </a:lnTo>
                  <a:lnTo>
                    <a:pt x="252" y="283"/>
                  </a:lnTo>
                  <a:lnTo>
                    <a:pt x="244" y="291"/>
                  </a:lnTo>
                  <a:lnTo>
                    <a:pt x="234" y="299"/>
                  </a:lnTo>
                  <a:lnTo>
                    <a:pt x="225" y="306"/>
                  </a:lnTo>
                  <a:lnTo>
                    <a:pt x="215" y="311"/>
                  </a:lnTo>
                  <a:lnTo>
                    <a:pt x="206" y="315"/>
                  </a:lnTo>
                  <a:lnTo>
                    <a:pt x="197" y="319"/>
                  </a:lnTo>
                  <a:lnTo>
                    <a:pt x="187" y="322"/>
                  </a:lnTo>
                  <a:lnTo>
                    <a:pt x="178" y="323"/>
                  </a:lnTo>
                  <a:lnTo>
                    <a:pt x="178" y="323"/>
                  </a:lnTo>
                  <a:lnTo>
                    <a:pt x="166" y="325"/>
                  </a:lnTo>
                  <a:lnTo>
                    <a:pt x="154" y="323"/>
                  </a:lnTo>
                  <a:lnTo>
                    <a:pt x="141" y="322"/>
                  </a:lnTo>
                  <a:lnTo>
                    <a:pt x="127" y="318"/>
                  </a:lnTo>
                  <a:lnTo>
                    <a:pt x="112" y="314"/>
                  </a:lnTo>
                  <a:lnTo>
                    <a:pt x="99" y="307"/>
                  </a:lnTo>
                  <a:lnTo>
                    <a:pt x="86" y="300"/>
                  </a:lnTo>
                  <a:lnTo>
                    <a:pt x="74" y="291"/>
                  </a:lnTo>
                  <a:lnTo>
                    <a:pt x="60" y="282"/>
                  </a:lnTo>
                  <a:lnTo>
                    <a:pt x="48" y="271"/>
                  </a:lnTo>
                  <a:lnTo>
                    <a:pt x="37" y="259"/>
                  </a:lnTo>
                  <a:lnTo>
                    <a:pt x="28" y="246"/>
                  </a:lnTo>
                  <a:lnTo>
                    <a:pt x="20" y="231"/>
                  </a:lnTo>
                  <a:lnTo>
                    <a:pt x="12" y="216"/>
                  </a:lnTo>
                  <a:lnTo>
                    <a:pt x="7" y="199"/>
                  </a:lnTo>
                  <a:lnTo>
                    <a:pt x="3" y="181"/>
                  </a:lnTo>
                  <a:lnTo>
                    <a:pt x="3" y="181"/>
                  </a:lnTo>
                  <a:lnTo>
                    <a:pt x="0" y="160"/>
                  </a:lnTo>
                  <a:lnTo>
                    <a:pt x="0" y="140"/>
                  </a:lnTo>
                  <a:lnTo>
                    <a:pt x="1" y="121"/>
                  </a:lnTo>
                  <a:lnTo>
                    <a:pt x="4" y="104"/>
                  </a:lnTo>
                  <a:lnTo>
                    <a:pt x="8" y="86"/>
                  </a:lnTo>
                  <a:lnTo>
                    <a:pt x="13" y="71"/>
                  </a:lnTo>
                  <a:lnTo>
                    <a:pt x="20" y="57"/>
                  </a:lnTo>
                  <a:lnTo>
                    <a:pt x="28" y="43"/>
                  </a:lnTo>
                  <a:lnTo>
                    <a:pt x="37" y="33"/>
                  </a:lnTo>
                  <a:lnTo>
                    <a:pt x="48" y="23"/>
                  </a:lnTo>
                  <a:lnTo>
                    <a:pt x="59" y="15"/>
                  </a:lnTo>
                  <a:lnTo>
                    <a:pt x="70" y="9"/>
                  </a:lnTo>
                  <a:lnTo>
                    <a:pt x="82" y="4"/>
                  </a:lnTo>
                  <a:lnTo>
                    <a:pt x="94" y="2"/>
                  </a:lnTo>
                  <a:lnTo>
                    <a:pt x="107" y="0"/>
                  </a:lnTo>
                  <a:lnTo>
                    <a:pt x="120" y="2"/>
                  </a:lnTo>
                  <a:close/>
                </a:path>
              </a:pathLst>
            </a:custGeom>
            <a:solidFill>
              <a:srgbClr val="E6F7F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5" name="Freeform 743"/>
            <p:cNvSpPr/>
            <p:nvPr/>
          </p:nvSpPr>
          <p:spPr bwMode="auto">
            <a:xfrm>
              <a:off x="3830635" y="5146684"/>
              <a:ext cx="150813" cy="171451"/>
            </a:xfrm>
            <a:custGeom>
              <a:avLst/>
              <a:gdLst>
                <a:gd name="T0" fmla="*/ 120 w 285"/>
                <a:gd name="T1" fmla="*/ 2 h 325"/>
                <a:gd name="T2" fmla="*/ 161 w 285"/>
                <a:gd name="T3" fmla="*/ 11 h 325"/>
                <a:gd name="T4" fmla="*/ 195 w 285"/>
                <a:gd name="T5" fmla="*/ 26 h 325"/>
                <a:gd name="T6" fmla="*/ 222 w 285"/>
                <a:gd name="T7" fmla="*/ 43 h 325"/>
                <a:gd name="T8" fmla="*/ 245 w 285"/>
                <a:gd name="T9" fmla="*/ 66 h 325"/>
                <a:gd name="T10" fmla="*/ 261 w 285"/>
                <a:gd name="T11" fmla="*/ 92 h 325"/>
                <a:gd name="T12" fmla="*/ 273 w 285"/>
                <a:gd name="T13" fmla="*/ 120 h 325"/>
                <a:gd name="T14" fmla="*/ 280 w 285"/>
                <a:gd name="T15" fmla="*/ 150 h 325"/>
                <a:gd name="T16" fmla="*/ 284 w 285"/>
                <a:gd name="T17" fmla="*/ 183 h 325"/>
                <a:gd name="T18" fmla="*/ 285 w 285"/>
                <a:gd name="T19" fmla="*/ 197 h 325"/>
                <a:gd name="T20" fmla="*/ 281 w 285"/>
                <a:gd name="T21" fmla="*/ 227 h 325"/>
                <a:gd name="T22" fmla="*/ 272 w 285"/>
                <a:gd name="T23" fmla="*/ 252 h 325"/>
                <a:gd name="T24" fmla="*/ 260 w 285"/>
                <a:gd name="T25" fmla="*/ 274 h 325"/>
                <a:gd name="T26" fmla="*/ 244 w 285"/>
                <a:gd name="T27" fmla="*/ 291 h 325"/>
                <a:gd name="T28" fmla="*/ 225 w 285"/>
                <a:gd name="T29" fmla="*/ 306 h 325"/>
                <a:gd name="T30" fmla="*/ 206 w 285"/>
                <a:gd name="T31" fmla="*/ 315 h 325"/>
                <a:gd name="T32" fmla="*/ 187 w 285"/>
                <a:gd name="T33" fmla="*/ 322 h 325"/>
                <a:gd name="T34" fmla="*/ 178 w 285"/>
                <a:gd name="T35" fmla="*/ 323 h 325"/>
                <a:gd name="T36" fmla="*/ 154 w 285"/>
                <a:gd name="T37" fmla="*/ 323 h 325"/>
                <a:gd name="T38" fmla="*/ 127 w 285"/>
                <a:gd name="T39" fmla="*/ 318 h 325"/>
                <a:gd name="T40" fmla="*/ 99 w 285"/>
                <a:gd name="T41" fmla="*/ 307 h 325"/>
                <a:gd name="T42" fmla="*/ 74 w 285"/>
                <a:gd name="T43" fmla="*/ 291 h 325"/>
                <a:gd name="T44" fmla="*/ 48 w 285"/>
                <a:gd name="T45" fmla="*/ 271 h 325"/>
                <a:gd name="T46" fmla="*/ 28 w 285"/>
                <a:gd name="T47" fmla="*/ 246 h 325"/>
                <a:gd name="T48" fmla="*/ 12 w 285"/>
                <a:gd name="T49" fmla="*/ 216 h 325"/>
                <a:gd name="T50" fmla="*/ 3 w 285"/>
                <a:gd name="T51" fmla="*/ 181 h 325"/>
                <a:gd name="T52" fmla="*/ 0 w 285"/>
                <a:gd name="T53" fmla="*/ 160 h 325"/>
                <a:gd name="T54" fmla="*/ 1 w 285"/>
                <a:gd name="T55" fmla="*/ 121 h 325"/>
                <a:gd name="T56" fmla="*/ 8 w 285"/>
                <a:gd name="T57" fmla="*/ 86 h 325"/>
                <a:gd name="T58" fmla="*/ 20 w 285"/>
                <a:gd name="T59" fmla="*/ 57 h 325"/>
                <a:gd name="T60" fmla="*/ 37 w 285"/>
                <a:gd name="T61" fmla="*/ 33 h 325"/>
                <a:gd name="T62" fmla="*/ 59 w 285"/>
                <a:gd name="T63" fmla="*/ 15 h 325"/>
                <a:gd name="T64" fmla="*/ 82 w 285"/>
                <a:gd name="T65" fmla="*/ 4 h 325"/>
                <a:gd name="T66" fmla="*/ 107 w 285"/>
                <a:gd name="T67"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5" h="325">
                  <a:moveTo>
                    <a:pt x="120" y="2"/>
                  </a:moveTo>
                  <a:lnTo>
                    <a:pt x="120" y="2"/>
                  </a:lnTo>
                  <a:lnTo>
                    <a:pt x="142" y="6"/>
                  </a:lnTo>
                  <a:lnTo>
                    <a:pt x="161" y="11"/>
                  </a:lnTo>
                  <a:lnTo>
                    <a:pt x="179" y="18"/>
                  </a:lnTo>
                  <a:lnTo>
                    <a:pt x="195" y="26"/>
                  </a:lnTo>
                  <a:lnTo>
                    <a:pt x="210" y="34"/>
                  </a:lnTo>
                  <a:lnTo>
                    <a:pt x="222" y="43"/>
                  </a:lnTo>
                  <a:lnTo>
                    <a:pt x="234" y="54"/>
                  </a:lnTo>
                  <a:lnTo>
                    <a:pt x="245" y="66"/>
                  </a:lnTo>
                  <a:lnTo>
                    <a:pt x="253" y="78"/>
                  </a:lnTo>
                  <a:lnTo>
                    <a:pt x="261" y="92"/>
                  </a:lnTo>
                  <a:lnTo>
                    <a:pt x="268" y="105"/>
                  </a:lnTo>
                  <a:lnTo>
                    <a:pt x="273" y="120"/>
                  </a:lnTo>
                  <a:lnTo>
                    <a:pt x="277" y="134"/>
                  </a:lnTo>
                  <a:lnTo>
                    <a:pt x="280" y="150"/>
                  </a:lnTo>
                  <a:lnTo>
                    <a:pt x="282" y="167"/>
                  </a:lnTo>
                  <a:lnTo>
                    <a:pt x="284" y="183"/>
                  </a:lnTo>
                  <a:lnTo>
                    <a:pt x="284" y="183"/>
                  </a:lnTo>
                  <a:lnTo>
                    <a:pt x="285" y="197"/>
                  </a:lnTo>
                  <a:lnTo>
                    <a:pt x="284" y="212"/>
                  </a:lnTo>
                  <a:lnTo>
                    <a:pt x="281" y="227"/>
                  </a:lnTo>
                  <a:lnTo>
                    <a:pt x="277" y="240"/>
                  </a:lnTo>
                  <a:lnTo>
                    <a:pt x="272" y="252"/>
                  </a:lnTo>
                  <a:lnTo>
                    <a:pt x="266" y="263"/>
                  </a:lnTo>
                  <a:lnTo>
                    <a:pt x="260" y="274"/>
                  </a:lnTo>
                  <a:lnTo>
                    <a:pt x="252" y="283"/>
                  </a:lnTo>
                  <a:lnTo>
                    <a:pt x="244" y="291"/>
                  </a:lnTo>
                  <a:lnTo>
                    <a:pt x="234" y="299"/>
                  </a:lnTo>
                  <a:lnTo>
                    <a:pt x="225" y="306"/>
                  </a:lnTo>
                  <a:lnTo>
                    <a:pt x="215" y="311"/>
                  </a:lnTo>
                  <a:lnTo>
                    <a:pt x="206" y="315"/>
                  </a:lnTo>
                  <a:lnTo>
                    <a:pt x="197" y="319"/>
                  </a:lnTo>
                  <a:lnTo>
                    <a:pt x="187" y="322"/>
                  </a:lnTo>
                  <a:lnTo>
                    <a:pt x="178" y="323"/>
                  </a:lnTo>
                  <a:lnTo>
                    <a:pt x="178" y="323"/>
                  </a:lnTo>
                  <a:lnTo>
                    <a:pt x="166" y="325"/>
                  </a:lnTo>
                  <a:lnTo>
                    <a:pt x="154" y="323"/>
                  </a:lnTo>
                  <a:lnTo>
                    <a:pt x="141" y="322"/>
                  </a:lnTo>
                  <a:lnTo>
                    <a:pt x="127" y="318"/>
                  </a:lnTo>
                  <a:lnTo>
                    <a:pt x="112" y="314"/>
                  </a:lnTo>
                  <a:lnTo>
                    <a:pt x="99" y="307"/>
                  </a:lnTo>
                  <a:lnTo>
                    <a:pt x="86" y="300"/>
                  </a:lnTo>
                  <a:lnTo>
                    <a:pt x="74" y="291"/>
                  </a:lnTo>
                  <a:lnTo>
                    <a:pt x="60" y="282"/>
                  </a:lnTo>
                  <a:lnTo>
                    <a:pt x="48" y="271"/>
                  </a:lnTo>
                  <a:lnTo>
                    <a:pt x="37" y="259"/>
                  </a:lnTo>
                  <a:lnTo>
                    <a:pt x="28" y="246"/>
                  </a:lnTo>
                  <a:lnTo>
                    <a:pt x="20" y="231"/>
                  </a:lnTo>
                  <a:lnTo>
                    <a:pt x="12" y="216"/>
                  </a:lnTo>
                  <a:lnTo>
                    <a:pt x="7" y="199"/>
                  </a:lnTo>
                  <a:lnTo>
                    <a:pt x="3" y="181"/>
                  </a:lnTo>
                  <a:lnTo>
                    <a:pt x="3" y="181"/>
                  </a:lnTo>
                  <a:lnTo>
                    <a:pt x="0" y="160"/>
                  </a:lnTo>
                  <a:lnTo>
                    <a:pt x="0" y="140"/>
                  </a:lnTo>
                  <a:lnTo>
                    <a:pt x="1" y="121"/>
                  </a:lnTo>
                  <a:lnTo>
                    <a:pt x="4" y="104"/>
                  </a:lnTo>
                  <a:lnTo>
                    <a:pt x="8" y="86"/>
                  </a:lnTo>
                  <a:lnTo>
                    <a:pt x="13" y="71"/>
                  </a:lnTo>
                  <a:lnTo>
                    <a:pt x="20" y="57"/>
                  </a:lnTo>
                  <a:lnTo>
                    <a:pt x="28" y="43"/>
                  </a:lnTo>
                  <a:lnTo>
                    <a:pt x="37" y="33"/>
                  </a:lnTo>
                  <a:lnTo>
                    <a:pt x="48" y="23"/>
                  </a:lnTo>
                  <a:lnTo>
                    <a:pt x="59" y="15"/>
                  </a:lnTo>
                  <a:lnTo>
                    <a:pt x="70" y="9"/>
                  </a:lnTo>
                  <a:lnTo>
                    <a:pt x="82" y="4"/>
                  </a:lnTo>
                  <a:lnTo>
                    <a:pt x="94" y="2"/>
                  </a:lnTo>
                  <a:lnTo>
                    <a:pt x="107" y="0"/>
                  </a:lnTo>
                  <a:lnTo>
                    <a:pt x="12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6" name="Freeform 744"/>
            <p:cNvSpPr/>
            <p:nvPr/>
          </p:nvSpPr>
          <p:spPr bwMode="auto">
            <a:xfrm>
              <a:off x="3581397" y="5308609"/>
              <a:ext cx="15875" cy="50800"/>
            </a:xfrm>
            <a:custGeom>
              <a:avLst/>
              <a:gdLst>
                <a:gd name="T0" fmla="*/ 20 w 28"/>
                <a:gd name="T1" fmla="*/ 96 h 96"/>
                <a:gd name="T2" fmla="*/ 28 w 28"/>
                <a:gd name="T3" fmla="*/ 1 h 96"/>
                <a:gd name="T4" fmla="*/ 8 w 28"/>
                <a:gd name="T5" fmla="*/ 0 h 96"/>
                <a:gd name="T6" fmla="*/ 0 w 28"/>
                <a:gd name="T7" fmla="*/ 95 h 96"/>
                <a:gd name="T8" fmla="*/ 20 w 28"/>
                <a:gd name="T9" fmla="*/ 96 h 96"/>
              </a:gdLst>
              <a:ahLst/>
              <a:cxnLst>
                <a:cxn ang="0">
                  <a:pos x="T0" y="T1"/>
                </a:cxn>
                <a:cxn ang="0">
                  <a:pos x="T2" y="T3"/>
                </a:cxn>
                <a:cxn ang="0">
                  <a:pos x="T4" y="T5"/>
                </a:cxn>
                <a:cxn ang="0">
                  <a:pos x="T6" y="T7"/>
                </a:cxn>
                <a:cxn ang="0">
                  <a:pos x="T8" y="T9"/>
                </a:cxn>
              </a:cxnLst>
              <a:rect l="0" t="0" r="r" b="b"/>
              <a:pathLst>
                <a:path w="28" h="96">
                  <a:moveTo>
                    <a:pt x="20" y="96"/>
                  </a:moveTo>
                  <a:lnTo>
                    <a:pt x="28" y="1"/>
                  </a:lnTo>
                  <a:lnTo>
                    <a:pt x="8" y="0"/>
                  </a:lnTo>
                  <a:lnTo>
                    <a:pt x="0" y="95"/>
                  </a:lnTo>
                  <a:lnTo>
                    <a:pt x="20" y="96"/>
                  </a:lnTo>
                  <a:close/>
                </a:path>
              </a:pathLst>
            </a:custGeom>
            <a:solidFill>
              <a:srgbClr val="36547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7" name="Freeform 745"/>
            <p:cNvSpPr/>
            <p:nvPr/>
          </p:nvSpPr>
          <p:spPr bwMode="auto">
            <a:xfrm>
              <a:off x="3440110" y="5273684"/>
              <a:ext cx="15875" cy="41275"/>
            </a:xfrm>
            <a:custGeom>
              <a:avLst/>
              <a:gdLst>
                <a:gd name="T0" fmla="*/ 10 w 30"/>
                <a:gd name="T1" fmla="*/ 79 h 79"/>
                <a:gd name="T2" fmla="*/ 30 w 30"/>
                <a:gd name="T3" fmla="*/ 76 h 79"/>
                <a:gd name="T4" fmla="*/ 19 w 30"/>
                <a:gd name="T5" fmla="*/ 0 h 79"/>
                <a:gd name="T6" fmla="*/ 0 w 30"/>
                <a:gd name="T7" fmla="*/ 3 h 79"/>
                <a:gd name="T8" fmla="*/ 10 w 30"/>
                <a:gd name="T9" fmla="*/ 79 h 79"/>
              </a:gdLst>
              <a:ahLst/>
              <a:cxnLst>
                <a:cxn ang="0">
                  <a:pos x="T0" y="T1"/>
                </a:cxn>
                <a:cxn ang="0">
                  <a:pos x="T2" y="T3"/>
                </a:cxn>
                <a:cxn ang="0">
                  <a:pos x="T4" y="T5"/>
                </a:cxn>
                <a:cxn ang="0">
                  <a:pos x="T6" y="T7"/>
                </a:cxn>
                <a:cxn ang="0">
                  <a:pos x="T8" y="T9"/>
                </a:cxn>
              </a:cxnLst>
              <a:rect l="0" t="0" r="r" b="b"/>
              <a:pathLst>
                <a:path w="30" h="79">
                  <a:moveTo>
                    <a:pt x="10" y="79"/>
                  </a:moveTo>
                  <a:lnTo>
                    <a:pt x="30" y="76"/>
                  </a:lnTo>
                  <a:lnTo>
                    <a:pt x="19" y="0"/>
                  </a:lnTo>
                  <a:lnTo>
                    <a:pt x="0" y="3"/>
                  </a:lnTo>
                  <a:lnTo>
                    <a:pt x="10" y="79"/>
                  </a:lnTo>
                  <a:close/>
                </a:path>
              </a:pathLst>
            </a:custGeom>
            <a:solidFill>
              <a:srgbClr val="36547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8" name="Freeform 746"/>
            <p:cNvSpPr/>
            <p:nvPr/>
          </p:nvSpPr>
          <p:spPr bwMode="auto">
            <a:xfrm>
              <a:off x="3656010" y="5313371"/>
              <a:ext cx="14288" cy="38100"/>
            </a:xfrm>
            <a:custGeom>
              <a:avLst/>
              <a:gdLst>
                <a:gd name="T0" fmla="*/ 19 w 28"/>
                <a:gd name="T1" fmla="*/ 73 h 73"/>
                <a:gd name="T2" fmla="*/ 28 w 28"/>
                <a:gd name="T3" fmla="*/ 2 h 73"/>
                <a:gd name="T4" fmla="*/ 8 w 28"/>
                <a:gd name="T5" fmla="*/ 0 h 73"/>
                <a:gd name="T6" fmla="*/ 0 w 28"/>
                <a:gd name="T7" fmla="*/ 71 h 73"/>
                <a:gd name="T8" fmla="*/ 19 w 28"/>
                <a:gd name="T9" fmla="*/ 73 h 73"/>
              </a:gdLst>
              <a:ahLst/>
              <a:cxnLst>
                <a:cxn ang="0">
                  <a:pos x="T0" y="T1"/>
                </a:cxn>
                <a:cxn ang="0">
                  <a:pos x="T2" y="T3"/>
                </a:cxn>
                <a:cxn ang="0">
                  <a:pos x="T4" y="T5"/>
                </a:cxn>
                <a:cxn ang="0">
                  <a:pos x="T6" y="T7"/>
                </a:cxn>
                <a:cxn ang="0">
                  <a:pos x="T8" y="T9"/>
                </a:cxn>
              </a:cxnLst>
              <a:rect l="0" t="0" r="r" b="b"/>
              <a:pathLst>
                <a:path w="28" h="73">
                  <a:moveTo>
                    <a:pt x="19" y="73"/>
                  </a:moveTo>
                  <a:lnTo>
                    <a:pt x="28" y="2"/>
                  </a:lnTo>
                  <a:lnTo>
                    <a:pt x="8" y="0"/>
                  </a:lnTo>
                  <a:lnTo>
                    <a:pt x="0" y="71"/>
                  </a:lnTo>
                  <a:lnTo>
                    <a:pt x="19" y="73"/>
                  </a:lnTo>
                  <a:close/>
                </a:path>
              </a:pathLst>
            </a:custGeom>
            <a:solidFill>
              <a:srgbClr val="36547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9" name="Freeform 747"/>
            <p:cNvSpPr/>
            <p:nvPr/>
          </p:nvSpPr>
          <p:spPr bwMode="auto">
            <a:xfrm>
              <a:off x="3446461" y="5289559"/>
              <a:ext cx="219075" cy="50800"/>
            </a:xfrm>
            <a:custGeom>
              <a:avLst/>
              <a:gdLst>
                <a:gd name="T0" fmla="*/ 277 w 414"/>
                <a:gd name="T1" fmla="*/ 95 h 95"/>
                <a:gd name="T2" fmla="*/ 414 w 414"/>
                <a:gd name="T3" fmla="*/ 89 h 95"/>
                <a:gd name="T4" fmla="*/ 413 w 414"/>
                <a:gd name="T5" fmla="*/ 69 h 95"/>
                <a:gd name="T6" fmla="*/ 279 w 414"/>
                <a:gd name="T7" fmla="*/ 75 h 95"/>
                <a:gd name="T8" fmla="*/ 6 w 414"/>
                <a:gd name="T9" fmla="*/ 0 h 95"/>
                <a:gd name="T10" fmla="*/ 0 w 414"/>
                <a:gd name="T11" fmla="*/ 20 h 95"/>
                <a:gd name="T12" fmla="*/ 277 w 414"/>
                <a:gd name="T13" fmla="*/ 95 h 95"/>
              </a:gdLst>
              <a:ahLst/>
              <a:cxnLst>
                <a:cxn ang="0">
                  <a:pos x="T0" y="T1"/>
                </a:cxn>
                <a:cxn ang="0">
                  <a:pos x="T2" y="T3"/>
                </a:cxn>
                <a:cxn ang="0">
                  <a:pos x="T4" y="T5"/>
                </a:cxn>
                <a:cxn ang="0">
                  <a:pos x="T6" y="T7"/>
                </a:cxn>
                <a:cxn ang="0">
                  <a:pos x="T8" y="T9"/>
                </a:cxn>
                <a:cxn ang="0">
                  <a:pos x="T10" y="T11"/>
                </a:cxn>
                <a:cxn ang="0">
                  <a:pos x="T12" y="T13"/>
                </a:cxn>
              </a:cxnLst>
              <a:rect l="0" t="0" r="r" b="b"/>
              <a:pathLst>
                <a:path w="414" h="95">
                  <a:moveTo>
                    <a:pt x="277" y="95"/>
                  </a:moveTo>
                  <a:lnTo>
                    <a:pt x="414" y="89"/>
                  </a:lnTo>
                  <a:lnTo>
                    <a:pt x="413" y="69"/>
                  </a:lnTo>
                  <a:lnTo>
                    <a:pt x="279" y="75"/>
                  </a:lnTo>
                  <a:lnTo>
                    <a:pt x="6" y="0"/>
                  </a:lnTo>
                  <a:lnTo>
                    <a:pt x="0" y="20"/>
                  </a:lnTo>
                  <a:lnTo>
                    <a:pt x="277" y="95"/>
                  </a:lnTo>
                  <a:close/>
                </a:path>
              </a:pathLst>
            </a:custGeom>
            <a:solidFill>
              <a:srgbClr val="36547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0" name="Freeform 748"/>
            <p:cNvSpPr/>
            <p:nvPr/>
          </p:nvSpPr>
          <p:spPr bwMode="auto">
            <a:xfrm>
              <a:off x="3392485" y="5127634"/>
              <a:ext cx="242888" cy="87313"/>
            </a:xfrm>
            <a:custGeom>
              <a:avLst/>
              <a:gdLst>
                <a:gd name="T0" fmla="*/ 87 w 458"/>
                <a:gd name="T1" fmla="*/ 0 h 165"/>
                <a:gd name="T2" fmla="*/ 444 w 458"/>
                <a:gd name="T3" fmla="*/ 66 h 165"/>
                <a:gd name="T4" fmla="*/ 458 w 458"/>
                <a:gd name="T5" fmla="*/ 165 h 165"/>
                <a:gd name="T6" fmla="*/ 0 w 458"/>
                <a:gd name="T7" fmla="*/ 63 h 165"/>
                <a:gd name="T8" fmla="*/ 0 w 458"/>
                <a:gd name="T9" fmla="*/ 63 h 165"/>
                <a:gd name="T10" fmla="*/ 14 w 458"/>
                <a:gd name="T11" fmla="*/ 47 h 165"/>
                <a:gd name="T12" fmla="*/ 27 w 458"/>
                <a:gd name="T13" fmla="*/ 33 h 165"/>
                <a:gd name="T14" fmla="*/ 42 w 458"/>
                <a:gd name="T15" fmla="*/ 23 h 165"/>
                <a:gd name="T16" fmla="*/ 55 w 458"/>
                <a:gd name="T17" fmla="*/ 15 h 165"/>
                <a:gd name="T18" fmla="*/ 69 w 458"/>
                <a:gd name="T19" fmla="*/ 8 h 165"/>
                <a:gd name="T20" fmla="*/ 78 w 458"/>
                <a:gd name="T21" fmla="*/ 3 h 165"/>
                <a:gd name="T22" fmla="*/ 87 w 458"/>
                <a:gd name="T23" fmla="*/ 0 h 165"/>
                <a:gd name="T24" fmla="*/ 87 w 458"/>
                <a:gd name="T2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8" h="165">
                  <a:moveTo>
                    <a:pt x="87" y="0"/>
                  </a:moveTo>
                  <a:lnTo>
                    <a:pt x="444" y="66"/>
                  </a:lnTo>
                  <a:lnTo>
                    <a:pt x="458" y="165"/>
                  </a:lnTo>
                  <a:lnTo>
                    <a:pt x="0" y="63"/>
                  </a:lnTo>
                  <a:lnTo>
                    <a:pt x="0" y="63"/>
                  </a:lnTo>
                  <a:lnTo>
                    <a:pt x="14" y="47"/>
                  </a:lnTo>
                  <a:lnTo>
                    <a:pt x="27" y="33"/>
                  </a:lnTo>
                  <a:lnTo>
                    <a:pt x="42" y="23"/>
                  </a:lnTo>
                  <a:lnTo>
                    <a:pt x="55" y="15"/>
                  </a:lnTo>
                  <a:lnTo>
                    <a:pt x="69" y="8"/>
                  </a:lnTo>
                  <a:lnTo>
                    <a:pt x="78" y="3"/>
                  </a:lnTo>
                  <a:lnTo>
                    <a:pt x="87" y="0"/>
                  </a:lnTo>
                  <a:lnTo>
                    <a:pt x="87" y="0"/>
                  </a:lnTo>
                  <a:close/>
                </a:path>
              </a:pathLst>
            </a:custGeom>
            <a:solidFill>
              <a:srgbClr val="B9E0D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1" name="Freeform 749"/>
            <p:cNvSpPr/>
            <p:nvPr/>
          </p:nvSpPr>
          <p:spPr bwMode="auto">
            <a:xfrm>
              <a:off x="3381372" y="5173671"/>
              <a:ext cx="258763" cy="76200"/>
            </a:xfrm>
            <a:custGeom>
              <a:avLst/>
              <a:gdLst>
                <a:gd name="T0" fmla="*/ 9 w 490"/>
                <a:gd name="T1" fmla="*/ 0 h 145"/>
                <a:gd name="T2" fmla="*/ 484 w 490"/>
                <a:gd name="T3" fmla="*/ 107 h 145"/>
                <a:gd name="T4" fmla="*/ 490 w 490"/>
                <a:gd name="T5" fmla="*/ 145 h 145"/>
                <a:gd name="T6" fmla="*/ 0 w 490"/>
                <a:gd name="T7" fmla="*/ 35 h 145"/>
                <a:gd name="T8" fmla="*/ 0 w 490"/>
                <a:gd name="T9" fmla="*/ 35 h 145"/>
                <a:gd name="T10" fmla="*/ 2 w 490"/>
                <a:gd name="T11" fmla="*/ 17 h 145"/>
                <a:gd name="T12" fmla="*/ 9 w 490"/>
                <a:gd name="T13" fmla="*/ 0 h 145"/>
                <a:gd name="T14" fmla="*/ 9 w 490"/>
                <a:gd name="T15" fmla="*/ 0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0" h="145">
                  <a:moveTo>
                    <a:pt x="9" y="0"/>
                  </a:moveTo>
                  <a:lnTo>
                    <a:pt x="484" y="107"/>
                  </a:lnTo>
                  <a:lnTo>
                    <a:pt x="490" y="145"/>
                  </a:lnTo>
                  <a:lnTo>
                    <a:pt x="0" y="35"/>
                  </a:lnTo>
                  <a:lnTo>
                    <a:pt x="0" y="35"/>
                  </a:lnTo>
                  <a:lnTo>
                    <a:pt x="2" y="17"/>
                  </a:lnTo>
                  <a:lnTo>
                    <a:pt x="9" y="0"/>
                  </a:lnTo>
                  <a:lnTo>
                    <a:pt x="9" y="0"/>
                  </a:lnTo>
                  <a:close/>
                </a:path>
              </a:pathLst>
            </a:custGeom>
            <a:solidFill>
              <a:srgbClr val="B9E0D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2" name="Freeform 750"/>
            <p:cNvSpPr/>
            <p:nvPr/>
          </p:nvSpPr>
          <p:spPr bwMode="auto">
            <a:xfrm>
              <a:off x="3379785" y="5191134"/>
              <a:ext cx="271463" cy="142875"/>
            </a:xfrm>
            <a:custGeom>
              <a:avLst/>
              <a:gdLst>
                <a:gd name="T0" fmla="*/ 492 w 513"/>
                <a:gd name="T1" fmla="*/ 110 h 268"/>
                <a:gd name="T2" fmla="*/ 513 w 513"/>
                <a:gd name="T3" fmla="*/ 268 h 268"/>
                <a:gd name="T4" fmla="*/ 513 w 513"/>
                <a:gd name="T5" fmla="*/ 268 h 268"/>
                <a:gd name="T6" fmla="*/ 304 w 513"/>
                <a:gd name="T7" fmla="*/ 214 h 268"/>
                <a:gd name="T8" fmla="*/ 158 w 513"/>
                <a:gd name="T9" fmla="*/ 177 h 268"/>
                <a:gd name="T10" fmla="*/ 90 w 513"/>
                <a:gd name="T11" fmla="*/ 158 h 268"/>
                <a:gd name="T12" fmla="*/ 90 w 513"/>
                <a:gd name="T13" fmla="*/ 158 h 268"/>
                <a:gd name="T14" fmla="*/ 74 w 513"/>
                <a:gd name="T15" fmla="*/ 148 h 268"/>
                <a:gd name="T16" fmla="*/ 59 w 513"/>
                <a:gd name="T17" fmla="*/ 138 h 268"/>
                <a:gd name="T18" fmla="*/ 45 w 513"/>
                <a:gd name="T19" fmla="*/ 123 h 268"/>
                <a:gd name="T20" fmla="*/ 36 w 513"/>
                <a:gd name="T21" fmla="*/ 115 h 268"/>
                <a:gd name="T22" fmla="*/ 28 w 513"/>
                <a:gd name="T23" fmla="*/ 104 h 268"/>
                <a:gd name="T24" fmla="*/ 22 w 513"/>
                <a:gd name="T25" fmla="*/ 94 h 268"/>
                <a:gd name="T26" fmla="*/ 15 w 513"/>
                <a:gd name="T27" fmla="*/ 80 h 268"/>
                <a:gd name="T28" fmla="*/ 10 w 513"/>
                <a:gd name="T29" fmla="*/ 67 h 268"/>
                <a:gd name="T30" fmla="*/ 6 w 513"/>
                <a:gd name="T31" fmla="*/ 51 h 268"/>
                <a:gd name="T32" fmla="*/ 2 w 513"/>
                <a:gd name="T33" fmla="*/ 35 h 268"/>
                <a:gd name="T34" fmla="*/ 0 w 513"/>
                <a:gd name="T35" fmla="*/ 16 h 268"/>
                <a:gd name="T36" fmla="*/ 0 w 513"/>
                <a:gd name="T37" fmla="*/ 16 h 268"/>
                <a:gd name="T38" fmla="*/ 2 w 513"/>
                <a:gd name="T39" fmla="*/ 0 h 268"/>
                <a:gd name="T40" fmla="*/ 492 w 513"/>
                <a:gd name="T41" fmla="*/ 11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3" h="268">
                  <a:moveTo>
                    <a:pt x="492" y="110"/>
                  </a:moveTo>
                  <a:lnTo>
                    <a:pt x="513" y="268"/>
                  </a:lnTo>
                  <a:lnTo>
                    <a:pt x="513" y="268"/>
                  </a:lnTo>
                  <a:lnTo>
                    <a:pt x="304" y="214"/>
                  </a:lnTo>
                  <a:lnTo>
                    <a:pt x="158" y="177"/>
                  </a:lnTo>
                  <a:lnTo>
                    <a:pt x="90" y="158"/>
                  </a:lnTo>
                  <a:lnTo>
                    <a:pt x="90" y="158"/>
                  </a:lnTo>
                  <a:lnTo>
                    <a:pt x="74" y="148"/>
                  </a:lnTo>
                  <a:lnTo>
                    <a:pt x="59" y="138"/>
                  </a:lnTo>
                  <a:lnTo>
                    <a:pt x="45" y="123"/>
                  </a:lnTo>
                  <a:lnTo>
                    <a:pt x="36" y="115"/>
                  </a:lnTo>
                  <a:lnTo>
                    <a:pt x="28" y="104"/>
                  </a:lnTo>
                  <a:lnTo>
                    <a:pt x="22" y="94"/>
                  </a:lnTo>
                  <a:lnTo>
                    <a:pt x="15" y="80"/>
                  </a:lnTo>
                  <a:lnTo>
                    <a:pt x="10" y="67"/>
                  </a:lnTo>
                  <a:lnTo>
                    <a:pt x="6" y="51"/>
                  </a:lnTo>
                  <a:lnTo>
                    <a:pt x="2" y="35"/>
                  </a:lnTo>
                  <a:lnTo>
                    <a:pt x="0" y="16"/>
                  </a:lnTo>
                  <a:lnTo>
                    <a:pt x="0" y="16"/>
                  </a:lnTo>
                  <a:lnTo>
                    <a:pt x="2" y="0"/>
                  </a:lnTo>
                  <a:lnTo>
                    <a:pt x="492" y="110"/>
                  </a:lnTo>
                  <a:close/>
                </a:path>
              </a:pathLst>
            </a:custGeom>
            <a:solidFill>
              <a:srgbClr val="6CA6B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3" name="Freeform 751"/>
            <p:cNvSpPr/>
            <p:nvPr/>
          </p:nvSpPr>
          <p:spPr bwMode="auto">
            <a:xfrm>
              <a:off x="3386136" y="5160971"/>
              <a:ext cx="250825" cy="68263"/>
            </a:xfrm>
            <a:custGeom>
              <a:avLst/>
              <a:gdLst>
                <a:gd name="T0" fmla="*/ 13 w 475"/>
                <a:gd name="T1" fmla="*/ 0 h 131"/>
                <a:gd name="T2" fmla="*/ 471 w 475"/>
                <a:gd name="T3" fmla="*/ 102 h 131"/>
                <a:gd name="T4" fmla="*/ 475 w 475"/>
                <a:gd name="T5" fmla="*/ 131 h 131"/>
                <a:gd name="T6" fmla="*/ 0 w 475"/>
                <a:gd name="T7" fmla="*/ 24 h 131"/>
                <a:gd name="T8" fmla="*/ 0 w 475"/>
                <a:gd name="T9" fmla="*/ 24 h 131"/>
                <a:gd name="T10" fmla="*/ 5 w 475"/>
                <a:gd name="T11" fmla="*/ 12 h 131"/>
                <a:gd name="T12" fmla="*/ 13 w 475"/>
                <a:gd name="T13" fmla="*/ 0 h 131"/>
                <a:gd name="T14" fmla="*/ 13 w 475"/>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5" h="131">
                  <a:moveTo>
                    <a:pt x="13" y="0"/>
                  </a:moveTo>
                  <a:lnTo>
                    <a:pt x="471" y="102"/>
                  </a:lnTo>
                  <a:lnTo>
                    <a:pt x="475" y="131"/>
                  </a:lnTo>
                  <a:lnTo>
                    <a:pt x="0" y="24"/>
                  </a:lnTo>
                  <a:lnTo>
                    <a:pt x="0" y="24"/>
                  </a:lnTo>
                  <a:lnTo>
                    <a:pt x="5" y="12"/>
                  </a:lnTo>
                  <a:lnTo>
                    <a:pt x="13" y="0"/>
                  </a:lnTo>
                  <a:lnTo>
                    <a:pt x="13" y="0"/>
                  </a:lnTo>
                  <a:close/>
                </a:path>
              </a:pathLst>
            </a:custGeom>
            <a:solidFill>
              <a:srgbClr val="6CA6B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4" name="Freeform 752"/>
            <p:cNvSpPr/>
            <p:nvPr/>
          </p:nvSpPr>
          <p:spPr bwMode="auto">
            <a:xfrm>
              <a:off x="3568698" y="5162559"/>
              <a:ext cx="150813" cy="171451"/>
            </a:xfrm>
            <a:custGeom>
              <a:avLst/>
              <a:gdLst>
                <a:gd name="T0" fmla="*/ 121 w 285"/>
                <a:gd name="T1" fmla="*/ 1 h 324"/>
                <a:gd name="T2" fmla="*/ 161 w 285"/>
                <a:gd name="T3" fmla="*/ 10 h 324"/>
                <a:gd name="T4" fmla="*/ 196 w 285"/>
                <a:gd name="T5" fmla="*/ 25 h 324"/>
                <a:gd name="T6" fmla="*/ 224 w 285"/>
                <a:gd name="T7" fmla="*/ 44 h 324"/>
                <a:gd name="T8" fmla="*/ 245 w 285"/>
                <a:gd name="T9" fmla="*/ 65 h 324"/>
                <a:gd name="T10" fmla="*/ 261 w 285"/>
                <a:gd name="T11" fmla="*/ 92 h 324"/>
                <a:gd name="T12" fmla="*/ 273 w 285"/>
                <a:gd name="T13" fmla="*/ 120 h 324"/>
                <a:gd name="T14" fmla="*/ 280 w 285"/>
                <a:gd name="T15" fmla="*/ 150 h 324"/>
                <a:gd name="T16" fmla="*/ 284 w 285"/>
                <a:gd name="T17" fmla="*/ 182 h 324"/>
                <a:gd name="T18" fmla="*/ 285 w 285"/>
                <a:gd name="T19" fmla="*/ 198 h 324"/>
                <a:gd name="T20" fmla="*/ 281 w 285"/>
                <a:gd name="T21" fmla="*/ 226 h 324"/>
                <a:gd name="T22" fmla="*/ 273 w 285"/>
                <a:gd name="T23" fmla="*/ 251 h 324"/>
                <a:gd name="T24" fmla="*/ 260 w 285"/>
                <a:gd name="T25" fmla="*/ 273 h 324"/>
                <a:gd name="T26" fmla="*/ 244 w 285"/>
                <a:gd name="T27" fmla="*/ 291 h 324"/>
                <a:gd name="T28" fmla="*/ 225 w 285"/>
                <a:gd name="T29" fmla="*/ 305 h 324"/>
                <a:gd name="T30" fmla="*/ 206 w 285"/>
                <a:gd name="T31" fmla="*/ 316 h 324"/>
                <a:gd name="T32" fmla="*/ 188 w 285"/>
                <a:gd name="T33" fmla="*/ 321 h 324"/>
                <a:gd name="T34" fmla="*/ 178 w 285"/>
                <a:gd name="T35" fmla="*/ 324 h 324"/>
                <a:gd name="T36" fmla="*/ 154 w 285"/>
                <a:gd name="T37" fmla="*/ 324 h 324"/>
                <a:gd name="T38" fmla="*/ 127 w 285"/>
                <a:gd name="T39" fmla="*/ 318 h 324"/>
                <a:gd name="T40" fmla="*/ 99 w 285"/>
                <a:gd name="T41" fmla="*/ 308 h 324"/>
                <a:gd name="T42" fmla="*/ 74 w 285"/>
                <a:gd name="T43" fmla="*/ 291 h 324"/>
                <a:gd name="T44" fmla="*/ 48 w 285"/>
                <a:gd name="T45" fmla="*/ 270 h 324"/>
                <a:gd name="T46" fmla="*/ 28 w 285"/>
                <a:gd name="T47" fmla="*/ 245 h 324"/>
                <a:gd name="T48" fmla="*/ 12 w 285"/>
                <a:gd name="T49" fmla="*/ 215 h 324"/>
                <a:gd name="T50" fmla="*/ 3 w 285"/>
                <a:gd name="T51" fmla="*/ 182 h 324"/>
                <a:gd name="T52" fmla="*/ 0 w 285"/>
                <a:gd name="T53" fmla="*/ 160 h 324"/>
                <a:gd name="T54" fmla="*/ 1 w 285"/>
                <a:gd name="T55" fmla="*/ 120 h 324"/>
                <a:gd name="T56" fmla="*/ 8 w 285"/>
                <a:gd name="T57" fmla="*/ 85 h 324"/>
                <a:gd name="T58" fmla="*/ 20 w 285"/>
                <a:gd name="T59" fmla="*/ 56 h 324"/>
                <a:gd name="T60" fmla="*/ 38 w 285"/>
                <a:gd name="T61" fmla="*/ 33 h 324"/>
                <a:gd name="T62" fmla="*/ 59 w 285"/>
                <a:gd name="T63" fmla="*/ 14 h 324"/>
                <a:gd name="T64" fmla="*/ 82 w 285"/>
                <a:gd name="T65" fmla="*/ 4 h 324"/>
                <a:gd name="T66" fmla="*/ 107 w 285"/>
                <a:gd name="T67" fmla="*/ 0 h 324"/>
                <a:gd name="T68" fmla="*/ 121 w 285"/>
                <a:gd name="T69" fmla="*/ 1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324">
                  <a:moveTo>
                    <a:pt x="121" y="1"/>
                  </a:moveTo>
                  <a:lnTo>
                    <a:pt x="121" y="1"/>
                  </a:lnTo>
                  <a:lnTo>
                    <a:pt x="142" y="5"/>
                  </a:lnTo>
                  <a:lnTo>
                    <a:pt x="161" y="10"/>
                  </a:lnTo>
                  <a:lnTo>
                    <a:pt x="180" y="17"/>
                  </a:lnTo>
                  <a:lnTo>
                    <a:pt x="196" y="25"/>
                  </a:lnTo>
                  <a:lnTo>
                    <a:pt x="210" y="34"/>
                  </a:lnTo>
                  <a:lnTo>
                    <a:pt x="224" y="44"/>
                  </a:lnTo>
                  <a:lnTo>
                    <a:pt x="234" y="54"/>
                  </a:lnTo>
                  <a:lnTo>
                    <a:pt x="245" y="65"/>
                  </a:lnTo>
                  <a:lnTo>
                    <a:pt x="253" y="79"/>
                  </a:lnTo>
                  <a:lnTo>
                    <a:pt x="261" y="92"/>
                  </a:lnTo>
                  <a:lnTo>
                    <a:pt x="268" y="105"/>
                  </a:lnTo>
                  <a:lnTo>
                    <a:pt x="273" y="120"/>
                  </a:lnTo>
                  <a:lnTo>
                    <a:pt x="277" y="135"/>
                  </a:lnTo>
                  <a:lnTo>
                    <a:pt x="280" y="150"/>
                  </a:lnTo>
                  <a:lnTo>
                    <a:pt x="283" y="166"/>
                  </a:lnTo>
                  <a:lnTo>
                    <a:pt x="284" y="182"/>
                  </a:lnTo>
                  <a:lnTo>
                    <a:pt x="284" y="182"/>
                  </a:lnTo>
                  <a:lnTo>
                    <a:pt x="285" y="198"/>
                  </a:lnTo>
                  <a:lnTo>
                    <a:pt x="284" y="212"/>
                  </a:lnTo>
                  <a:lnTo>
                    <a:pt x="281" y="226"/>
                  </a:lnTo>
                  <a:lnTo>
                    <a:pt x="277" y="239"/>
                  </a:lnTo>
                  <a:lnTo>
                    <a:pt x="273" y="251"/>
                  </a:lnTo>
                  <a:lnTo>
                    <a:pt x="267" y="263"/>
                  </a:lnTo>
                  <a:lnTo>
                    <a:pt x="260" y="273"/>
                  </a:lnTo>
                  <a:lnTo>
                    <a:pt x="252" y="282"/>
                  </a:lnTo>
                  <a:lnTo>
                    <a:pt x="244" y="291"/>
                  </a:lnTo>
                  <a:lnTo>
                    <a:pt x="234" y="298"/>
                  </a:lnTo>
                  <a:lnTo>
                    <a:pt x="225" y="305"/>
                  </a:lnTo>
                  <a:lnTo>
                    <a:pt x="216" y="310"/>
                  </a:lnTo>
                  <a:lnTo>
                    <a:pt x="206" y="316"/>
                  </a:lnTo>
                  <a:lnTo>
                    <a:pt x="197" y="318"/>
                  </a:lnTo>
                  <a:lnTo>
                    <a:pt x="188" y="321"/>
                  </a:lnTo>
                  <a:lnTo>
                    <a:pt x="178" y="324"/>
                  </a:lnTo>
                  <a:lnTo>
                    <a:pt x="178" y="324"/>
                  </a:lnTo>
                  <a:lnTo>
                    <a:pt x="166" y="324"/>
                  </a:lnTo>
                  <a:lnTo>
                    <a:pt x="154" y="324"/>
                  </a:lnTo>
                  <a:lnTo>
                    <a:pt x="141" y="321"/>
                  </a:lnTo>
                  <a:lnTo>
                    <a:pt x="127" y="318"/>
                  </a:lnTo>
                  <a:lnTo>
                    <a:pt x="114" y="313"/>
                  </a:lnTo>
                  <a:lnTo>
                    <a:pt x="99" y="308"/>
                  </a:lnTo>
                  <a:lnTo>
                    <a:pt x="86" y="300"/>
                  </a:lnTo>
                  <a:lnTo>
                    <a:pt x="74" y="291"/>
                  </a:lnTo>
                  <a:lnTo>
                    <a:pt x="60" y="282"/>
                  </a:lnTo>
                  <a:lnTo>
                    <a:pt x="48" y="270"/>
                  </a:lnTo>
                  <a:lnTo>
                    <a:pt x="38" y="258"/>
                  </a:lnTo>
                  <a:lnTo>
                    <a:pt x="28" y="245"/>
                  </a:lnTo>
                  <a:lnTo>
                    <a:pt x="20" y="231"/>
                  </a:lnTo>
                  <a:lnTo>
                    <a:pt x="12" y="215"/>
                  </a:lnTo>
                  <a:lnTo>
                    <a:pt x="7" y="199"/>
                  </a:lnTo>
                  <a:lnTo>
                    <a:pt x="3" y="182"/>
                  </a:lnTo>
                  <a:lnTo>
                    <a:pt x="3" y="182"/>
                  </a:lnTo>
                  <a:lnTo>
                    <a:pt x="0" y="160"/>
                  </a:lnTo>
                  <a:lnTo>
                    <a:pt x="0" y="140"/>
                  </a:lnTo>
                  <a:lnTo>
                    <a:pt x="1" y="120"/>
                  </a:lnTo>
                  <a:lnTo>
                    <a:pt x="4" y="103"/>
                  </a:lnTo>
                  <a:lnTo>
                    <a:pt x="8" y="85"/>
                  </a:lnTo>
                  <a:lnTo>
                    <a:pt x="14" y="71"/>
                  </a:lnTo>
                  <a:lnTo>
                    <a:pt x="20" y="56"/>
                  </a:lnTo>
                  <a:lnTo>
                    <a:pt x="28" y="44"/>
                  </a:lnTo>
                  <a:lnTo>
                    <a:pt x="38" y="33"/>
                  </a:lnTo>
                  <a:lnTo>
                    <a:pt x="48" y="22"/>
                  </a:lnTo>
                  <a:lnTo>
                    <a:pt x="59" y="14"/>
                  </a:lnTo>
                  <a:lnTo>
                    <a:pt x="70" y="9"/>
                  </a:lnTo>
                  <a:lnTo>
                    <a:pt x="82" y="4"/>
                  </a:lnTo>
                  <a:lnTo>
                    <a:pt x="94" y="1"/>
                  </a:lnTo>
                  <a:lnTo>
                    <a:pt x="107" y="0"/>
                  </a:lnTo>
                  <a:lnTo>
                    <a:pt x="121" y="1"/>
                  </a:lnTo>
                  <a:lnTo>
                    <a:pt x="121" y="1"/>
                  </a:lnTo>
                  <a:close/>
                </a:path>
              </a:pathLst>
            </a:custGeom>
            <a:solidFill>
              <a:srgbClr val="E6F7F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5" name="Freeform 753"/>
            <p:cNvSpPr/>
            <p:nvPr/>
          </p:nvSpPr>
          <p:spPr bwMode="auto">
            <a:xfrm>
              <a:off x="3319460" y="5322896"/>
              <a:ext cx="14288" cy="50800"/>
            </a:xfrm>
            <a:custGeom>
              <a:avLst/>
              <a:gdLst>
                <a:gd name="T0" fmla="*/ 20 w 28"/>
                <a:gd name="T1" fmla="*/ 96 h 96"/>
                <a:gd name="T2" fmla="*/ 28 w 28"/>
                <a:gd name="T3" fmla="*/ 1 h 96"/>
                <a:gd name="T4" fmla="*/ 8 w 28"/>
                <a:gd name="T5" fmla="*/ 0 h 96"/>
                <a:gd name="T6" fmla="*/ 0 w 28"/>
                <a:gd name="T7" fmla="*/ 95 h 96"/>
                <a:gd name="T8" fmla="*/ 20 w 28"/>
                <a:gd name="T9" fmla="*/ 96 h 96"/>
              </a:gdLst>
              <a:ahLst/>
              <a:cxnLst>
                <a:cxn ang="0">
                  <a:pos x="T0" y="T1"/>
                </a:cxn>
                <a:cxn ang="0">
                  <a:pos x="T2" y="T3"/>
                </a:cxn>
                <a:cxn ang="0">
                  <a:pos x="T4" y="T5"/>
                </a:cxn>
                <a:cxn ang="0">
                  <a:pos x="T6" y="T7"/>
                </a:cxn>
                <a:cxn ang="0">
                  <a:pos x="T8" y="T9"/>
                </a:cxn>
              </a:cxnLst>
              <a:rect l="0" t="0" r="r" b="b"/>
              <a:pathLst>
                <a:path w="28" h="96">
                  <a:moveTo>
                    <a:pt x="20" y="96"/>
                  </a:moveTo>
                  <a:lnTo>
                    <a:pt x="28" y="1"/>
                  </a:lnTo>
                  <a:lnTo>
                    <a:pt x="8" y="0"/>
                  </a:lnTo>
                  <a:lnTo>
                    <a:pt x="0" y="95"/>
                  </a:lnTo>
                  <a:lnTo>
                    <a:pt x="20" y="96"/>
                  </a:lnTo>
                  <a:close/>
                </a:path>
              </a:pathLst>
            </a:custGeom>
            <a:solidFill>
              <a:srgbClr val="36547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6" name="Freeform 754"/>
            <p:cNvSpPr/>
            <p:nvPr/>
          </p:nvSpPr>
          <p:spPr bwMode="auto">
            <a:xfrm>
              <a:off x="3178173" y="5287970"/>
              <a:ext cx="15875" cy="41275"/>
            </a:xfrm>
            <a:custGeom>
              <a:avLst/>
              <a:gdLst>
                <a:gd name="T0" fmla="*/ 10 w 30"/>
                <a:gd name="T1" fmla="*/ 79 h 79"/>
                <a:gd name="T2" fmla="*/ 30 w 30"/>
                <a:gd name="T3" fmla="*/ 76 h 79"/>
                <a:gd name="T4" fmla="*/ 19 w 30"/>
                <a:gd name="T5" fmla="*/ 0 h 79"/>
                <a:gd name="T6" fmla="*/ 0 w 30"/>
                <a:gd name="T7" fmla="*/ 3 h 79"/>
                <a:gd name="T8" fmla="*/ 10 w 30"/>
                <a:gd name="T9" fmla="*/ 79 h 79"/>
              </a:gdLst>
              <a:ahLst/>
              <a:cxnLst>
                <a:cxn ang="0">
                  <a:pos x="T0" y="T1"/>
                </a:cxn>
                <a:cxn ang="0">
                  <a:pos x="T2" y="T3"/>
                </a:cxn>
                <a:cxn ang="0">
                  <a:pos x="T4" y="T5"/>
                </a:cxn>
                <a:cxn ang="0">
                  <a:pos x="T6" y="T7"/>
                </a:cxn>
                <a:cxn ang="0">
                  <a:pos x="T8" y="T9"/>
                </a:cxn>
              </a:cxnLst>
              <a:rect l="0" t="0" r="r" b="b"/>
              <a:pathLst>
                <a:path w="30" h="79">
                  <a:moveTo>
                    <a:pt x="10" y="79"/>
                  </a:moveTo>
                  <a:lnTo>
                    <a:pt x="30" y="76"/>
                  </a:lnTo>
                  <a:lnTo>
                    <a:pt x="19" y="0"/>
                  </a:lnTo>
                  <a:lnTo>
                    <a:pt x="0" y="3"/>
                  </a:lnTo>
                  <a:lnTo>
                    <a:pt x="10" y="79"/>
                  </a:lnTo>
                  <a:close/>
                </a:path>
              </a:pathLst>
            </a:custGeom>
            <a:solidFill>
              <a:srgbClr val="36547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7" name="Freeform 755"/>
            <p:cNvSpPr/>
            <p:nvPr/>
          </p:nvSpPr>
          <p:spPr bwMode="auto">
            <a:xfrm>
              <a:off x="3392485" y="5327659"/>
              <a:ext cx="15875" cy="38100"/>
            </a:xfrm>
            <a:custGeom>
              <a:avLst/>
              <a:gdLst>
                <a:gd name="T0" fmla="*/ 19 w 29"/>
                <a:gd name="T1" fmla="*/ 73 h 73"/>
                <a:gd name="T2" fmla="*/ 29 w 29"/>
                <a:gd name="T3" fmla="*/ 2 h 73"/>
                <a:gd name="T4" fmla="*/ 8 w 29"/>
                <a:gd name="T5" fmla="*/ 0 h 73"/>
                <a:gd name="T6" fmla="*/ 0 w 29"/>
                <a:gd name="T7" fmla="*/ 71 h 73"/>
                <a:gd name="T8" fmla="*/ 19 w 29"/>
                <a:gd name="T9" fmla="*/ 73 h 73"/>
              </a:gdLst>
              <a:ahLst/>
              <a:cxnLst>
                <a:cxn ang="0">
                  <a:pos x="T0" y="T1"/>
                </a:cxn>
                <a:cxn ang="0">
                  <a:pos x="T2" y="T3"/>
                </a:cxn>
                <a:cxn ang="0">
                  <a:pos x="T4" y="T5"/>
                </a:cxn>
                <a:cxn ang="0">
                  <a:pos x="T6" y="T7"/>
                </a:cxn>
                <a:cxn ang="0">
                  <a:pos x="T8" y="T9"/>
                </a:cxn>
              </a:cxnLst>
              <a:rect l="0" t="0" r="r" b="b"/>
              <a:pathLst>
                <a:path w="29" h="73">
                  <a:moveTo>
                    <a:pt x="19" y="73"/>
                  </a:moveTo>
                  <a:lnTo>
                    <a:pt x="29" y="2"/>
                  </a:lnTo>
                  <a:lnTo>
                    <a:pt x="8" y="0"/>
                  </a:lnTo>
                  <a:lnTo>
                    <a:pt x="0" y="71"/>
                  </a:lnTo>
                  <a:lnTo>
                    <a:pt x="19" y="73"/>
                  </a:lnTo>
                  <a:close/>
                </a:path>
              </a:pathLst>
            </a:custGeom>
            <a:solidFill>
              <a:srgbClr val="36547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8" name="Freeform 756"/>
            <p:cNvSpPr/>
            <p:nvPr/>
          </p:nvSpPr>
          <p:spPr bwMode="auto">
            <a:xfrm>
              <a:off x="3184523" y="5303846"/>
              <a:ext cx="219075" cy="49213"/>
            </a:xfrm>
            <a:custGeom>
              <a:avLst/>
              <a:gdLst>
                <a:gd name="T0" fmla="*/ 278 w 414"/>
                <a:gd name="T1" fmla="*/ 95 h 95"/>
                <a:gd name="T2" fmla="*/ 279 w 414"/>
                <a:gd name="T3" fmla="*/ 95 h 95"/>
                <a:gd name="T4" fmla="*/ 414 w 414"/>
                <a:gd name="T5" fmla="*/ 90 h 95"/>
                <a:gd name="T6" fmla="*/ 413 w 414"/>
                <a:gd name="T7" fmla="*/ 70 h 95"/>
                <a:gd name="T8" fmla="*/ 279 w 414"/>
                <a:gd name="T9" fmla="*/ 75 h 95"/>
                <a:gd name="T10" fmla="*/ 6 w 414"/>
                <a:gd name="T11" fmla="*/ 0 h 95"/>
                <a:gd name="T12" fmla="*/ 0 w 414"/>
                <a:gd name="T13" fmla="*/ 20 h 95"/>
                <a:gd name="T14" fmla="*/ 278 w 414"/>
                <a:gd name="T15" fmla="*/ 95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4" h="95">
                  <a:moveTo>
                    <a:pt x="278" y="95"/>
                  </a:moveTo>
                  <a:lnTo>
                    <a:pt x="279" y="95"/>
                  </a:lnTo>
                  <a:lnTo>
                    <a:pt x="414" y="90"/>
                  </a:lnTo>
                  <a:lnTo>
                    <a:pt x="413" y="70"/>
                  </a:lnTo>
                  <a:lnTo>
                    <a:pt x="279" y="75"/>
                  </a:lnTo>
                  <a:lnTo>
                    <a:pt x="6" y="0"/>
                  </a:lnTo>
                  <a:lnTo>
                    <a:pt x="0" y="20"/>
                  </a:lnTo>
                  <a:lnTo>
                    <a:pt x="278" y="95"/>
                  </a:lnTo>
                  <a:close/>
                </a:path>
              </a:pathLst>
            </a:custGeom>
            <a:solidFill>
              <a:srgbClr val="36547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9" name="Freeform 757"/>
            <p:cNvSpPr/>
            <p:nvPr/>
          </p:nvSpPr>
          <p:spPr bwMode="auto">
            <a:xfrm>
              <a:off x="3130547" y="5141921"/>
              <a:ext cx="242888" cy="85725"/>
            </a:xfrm>
            <a:custGeom>
              <a:avLst/>
              <a:gdLst>
                <a:gd name="T0" fmla="*/ 87 w 458"/>
                <a:gd name="T1" fmla="*/ 0 h 164"/>
                <a:gd name="T2" fmla="*/ 443 w 458"/>
                <a:gd name="T3" fmla="*/ 65 h 164"/>
                <a:gd name="T4" fmla="*/ 458 w 458"/>
                <a:gd name="T5" fmla="*/ 164 h 164"/>
                <a:gd name="T6" fmla="*/ 0 w 458"/>
                <a:gd name="T7" fmla="*/ 63 h 164"/>
                <a:gd name="T8" fmla="*/ 0 w 458"/>
                <a:gd name="T9" fmla="*/ 63 h 164"/>
                <a:gd name="T10" fmla="*/ 13 w 458"/>
                <a:gd name="T11" fmla="*/ 47 h 164"/>
                <a:gd name="T12" fmla="*/ 26 w 458"/>
                <a:gd name="T13" fmla="*/ 33 h 164"/>
                <a:gd name="T14" fmla="*/ 41 w 458"/>
                <a:gd name="T15" fmla="*/ 23 h 164"/>
                <a:gd name="T16" fmla="*/ 56 w 458"/>
                <a:gd name="T17" fmla="*/ 14 h 164"/>
                <a:gd name="T18" fmla="*/ 68 w 458"/>
                <a:gd name="T19" fmla="*/ 8 h 164"/>
                <a:gd name="T20" fmla="*/ 77 w 458"/>
                <a:gd name="T21" fmla="*/ 2 h 164"/>
                <a:gd name="T22" fmla="*/ 87 w 458"/>
                <a:gd name="T23" fmla="*/ 0 h 164"/>
                <a:gd name="T24" fmla="*/ 87 w 458"/>
                <a:gd name="T2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8" h="164">
                  <a:moveTo>
                    <a:pt x="87" y="0"/>
                  </a:moveTo>
                  <a:lnTo>
                    <a:pt x="443" y="65"/>
                  </a:lnTo>
                  <a:lnTo>
                    <a:pt x="458" y="164"/>
                  </a:lnTo>
                  <a:lnTo>
                    <a:pt x="0" y="63"/>
                  </a:lnTo>
                  <a:lnTo>
                    <a:pt x="0" y="63"/>
                  </a:lnTo>
                  <a:lnTo>
                    <a:pt x="13" y="47"/>
                  </a:lnTo>
                  <a:lnTo>
                    <a:pt x="26" y="33"/>
                  </a:lnTo>
                  <a:lnTo>
                    <a:pt x="41" y="23"/>
                  </a:lnTo>
                  <a:lnTo>
                    <a:pt x="56" y="14"/>
                  </a:lnTo>
                  <a:lnTo>
                    <a:pt x="68" y="8"/>
                  </a:lnTo>
                  <a:lnTo>
                    <a:pt x="77" y="2"/>
                  </a:lnTo>
                  <a:lnTo>
                    <a:pt x="87" y="0"/>
                  </a:lnTo>
                  <a:lnTo>
                    <a:pt x="87" y="0"/>
                  </a:lnTo>
                  <a:close/>
                </a:path>
              </a:pathLst>
            </a:custGeom>
            <a:solidFill>
              <a:srgbClr val="B9E0D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0" name="Freeform 758"/>
            <p:cNvSpPr/>
            <p:nvPr/>
          </p:nvSpPr>
          <p:spPr bwMode="auto">
            <a:xfrm>
              <a:off x="3117848" y="5187959"/>
              <a:ext cx="260350" cy="76200"/>
            </a:xfrm>
            <a:custGeom>
              <a:avLst/>
              <a:gdLst>
                <a:gd name="T0" fmla="*/ 9 w 490"/>
                <a:gd name="T1" fmla="*/ 0 h 144"/>
                <a:gd name="T2" fmla="*/ 485 w 490"/>
                <a:gd name="T3" fmla="*/ 107 h 144"/>
                <a:gd name="T4" fmla="*/ 490 w 490"/>
                <a:gd name="T5" fmla="*/ 144 h 144"/>
                <a:gd name="T6" fmla="*/ 0 w 490"/>
                <a:gd name="T7" fmla="*/ 35 h 144"/>
                <a:gd name="T8" fmla="*/ 0 w 490"/>
                <a:gd name="T9" fmla="*/ 35 h 144"/>
                <a:gd name="T10" fmla="*/ 3 w 490"/>
                <a:gd name="T11" fmla="*/ 16 h 144"/>
                <a:gd name="T12" fmla="*/ 9 w 490"/>
                <a:gd name="T13" fmla="*/ 0 h 144"/>
                <a:gd name="T14" fmla="*/ 9 w 490"/>
                <a:gd name="T15" fmla="*/ 0 h 1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0" h="144">
                  <a:moveTo>
                    <a:pt x="9" y="0"/>
                  </a:moveTo>
                  <a:lnTo>
                    <a:pt x="485" y="107"/>
                  </a:lnTo>
                  <a:lnTo>
                    <a:pt x="490" y="144"/>
                  </a:lnTo>
                  <a:lnTo>
                    <a:pt x="0" y="35"/>
                  </a:lnTo>
                  <a:lnTo>
                    <a:pt x="0" y="35"/>
                  </a:lnTo>
                  <a:lnTo>
                    <a:pt x="3" y="16"/>
                  </a:lnTo>
                  <a:lnTo>
                    <a:pt x="9" y="0"/>
                  </a:lnTo>
                  <a:lnTo>
                    <a:pt x="9" y="0"/>
                  </a:lnTo>
                  <a:close/>
                </a:path>
              </a:pathLst>
            </a:custGeom>
            <a:solidFill>
              <a:srgbClr val="B9E0D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1" name="Freeform 759"/>
            <p:cNvSpPr/>
            <p:nvPr/>
          </p:nvSpPr>
          <p:spPr bwMode="auto">
            <a:xfrm>
              <a:off x="3117848" y="5205420"/>
              <a:ext cx="271463" cy="141288"/>
            </a:xfrm>
            <a:custGeom>
              <a:avLst/>
              <a:gdLst>
                <a:gd name="T0" fmla="*/ 491 w 512"/>
                <a:gd name="T1" fmla="*/ 109 h 267"/>
                <a:gd name="T2" fmla="*/ 512 w 512"/>
                <a:gd name="T3" fmla="*/ 267 h 267"/>
                <a:gd name="T4" fmla="*/ 512 w 512"/>
                <a:gd name="T5" fmla="*/ 267 h 267"/>
                <a:gd name="T6" fmla="*/ 304 w 512"/>
                <a:gd name="T7" fmla="*/ 214 h 267"/>
                <a:gd name="T8" fmla="*/ 158 w 512"/>
                <a:gd name="T9" fmla="*/ 176 h 267"/>
                <a:gd name="T10" fmla="*/ 89 w 512"/>
                <a:gd name="T11" fmla="*/ 158 h 267"/>
                <a:gd name="T12" fmla="*/ 89 w 512"/>
                <a:gd name="T13" fmla="*/ 158 h 267"/>
                <a:gd name="T14" fmla="*/ 73 w 512"/>
                <a:gd name="T15" fmla="*/ 148 h 267"/>
                <a:gd name="T16" fmla="*/ 58 w 512"/>
                <a:gd name="T17" fmla="*/ 138 h 267"/>
                <a:gd name="T18" fmla="*/ 44 w 512"/>
                <a:gd name="T19" fmla="*/ 123 h 267"/>
                <a:gd name="T20" fmla="*/ 36 w 512"/>
                <a:gd name="T21" fmla="*/ 115 h 267"/>
                <a:gd name="T22" fmla="*/ 28 w 512"/>
                <a:gd name="T23" fmla="*/ 104 h 267"/>
                <a:gd name="T24" fmla="*/ 21 w 512"/>
                <a:gd name="T25" fmla="*/ 93 h 267"/>
                <a:gd name="T26" fmla="*/ 14 w 512"/>
                <a:gd name="T27" fmla="*/ 80 h 267"/>
                <a:gd name="T28" fmla="*/ 9 w 512"/>
                <a:gd name="T29" fmla="*/ 67 h 267"/>
                <a:gd name="T30" fmla="*/ 5 w 512"/>
                <a:gd name="T31" fmla="*/ 50 h 267"/>
                <a:gd name="T32" fmla="*/ 2 w 512"/>
                <a:gd name="T33" fmla="*/ 34 h 267"/>
                <a:gd name="T34" fmla="*/ 0 w 512"/>
                <a:gd name="T35" fmla="*/ 16 h 267"/>
                <a:gd name="T36" fmla="*/ 0 w 512"/>
                <a:gd name="T37" fmla="*/ 16 h 267"/>
                <a:gd name="T38" fmla="*/ 1 w 512"/>
                <a:gd name="T39" fmla="*/ 0 h 267"/>
                <a:gd name="T40" fmla="*/ 491 w 512"/>
                <a:gd name="T41" fmla="*/ 10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2" h="267">
                  <a:moveTo>
                    <a:pt x="491" y="109"/>
                  </a:moveTo>
                  <a:lnTo>
                    <a:pt x="512" y="267"/>
                  </a:lnTo>
                  <a:lnTo>
                    <a:pt x="512" y="267"/>
                  </a:lnTo>
                  <a:lnTo>
                    <a:pt x="304" y="214"/>
                  </a:lnTo>
                  <a:lnTo>
                    <a:pt x="158" y="176"/>
                  </a:lnTo>
                  <a:lnTo>
                    <a:pt x="89" y="158"/>
                  </a:lnTo>
                  <a:lnTo>
                    <a:pt x="89" y="158"/>
                  </a:lnTo>
                  <a:lnTo>
                    <a:pt x="73" y="148"/>
                  </a:lnTo>
                  <a:lnTo>
                    <a:pt x="58" y="138"/>
                  </a:lnTo>
                  <a:lnTo>
                    <a:pt x="44" y="123"/>
                  </a:lnTo>
                  <a:lnTo>
                    <a:pt x="36" y="115"/>
                  </a:lnTo>
                  <a:lnTo>
                    <a:pt x="28" y="104"/>
                  </a:lnTo>
                  <a:lnTo>
                    <a:pt x="21" y="93"/>
                  </a:lnTo>
                  <a:lnTo>
                    <a:pt x="14" y="80"/>
                  </a:lnTo>
                  <a:lnTo>
                    <a:pt x="9" y="67"/>
                  </a:lnTo>
                  <a:lnTo>
                    <a:pt x="5" y="50"/>
                  </a:lnTo>
                  <a:lnTo>
                    <a:pt x="2" y="34"/>
                  </a:lnTo>
                  <a:lnTo>
                    <a:pt x="0" y="16"/>
                  </a:lnTo>
                  <a:lnTo>
                    <a:pt x="0" y="16"/>
                  </a:lnTo>
                  <a:lnTo>
                    <a:pt x="1" y="0"/>
                  </a:lnTo>
                  <a:lnTo>
                    <a:pt x="491" y="109"/>
                  </a:lnTo>
                  <a:close/>
                </a:path>
              </a:pathLst>
            </a:custGeom>
            <a:solidFill>
              <a:srgbClr val="6CA6B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2" name="Freeform 760"/>
            <p:cNvSpPr/>
            <p:nvPr/>
          </p:nvSpPr>
          <p:spPr bwMode="auto">
            <a:xfrm>
              <a:off x="3122611" y="5175258"/>
              <a:ext cx="252413" cy="68263"/>
            </a:xfrm>
            <a:custGeom>
              <a:avLst/>
              <a:gdLst>
                <a:gd name="T0" fmla="*/ 14 w 476"/>
                <a:gd name="T1" fmla="*/ 0 h 131"/>
                <a:gd name="T2" fmla="*/ 472 w 476"/>
                <a:gd name="T3" fmla="*/ 101 h 131"/>
                <a:gd name="T4" fmla="*/ 476 w 476"/>
                <a:gd name="T5" fmla="*/ 131 h 131"/>
                <a:gd name="T6" fmla="*/ 0 w 476"/>
                <a:gd name="T7" fmla="*/ 24 h 131"/>
                <a:gd name="T8" fmla="*/ 0 w 476"/>
                <a:gd name="T9" fmla="*/ 24 h 131"/>
                <a:gd name="T10" fmla="*/ 7 w 476"/>
                <a:gd name="T11" fmla="*/ 12 h 131"/>
                <a:gd name="T12" fmla="*/ 14 w 476"/>
                <a:gd name="T13" fmla="*/ 0 h 131"/>
                <a:gd name="T14" fmla="*/ 14 w 476"/>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6" h="131">
                  <a:moveTo>
                    <a:pt x="14" y="0"/>
                  </a:moveTo>
                  <a:lnTo>
                    <a:pt x="472" y="101"/>
                  </a:lnTo>
                  <a:lnTo>
                    <a:pt x="476" y="131"/>
                  </a:lnTo>
                  <a:lnTo>
                    <a:pt x="0" y="24"/>
                  </a:lnTo>
                  <a:lnTo>
                    <a:pt x="0" y="24"/>
                  </a:lnTo>
                  <a:lnTo>
                    <a:pt x="7" y="12"/>
                  </a:lnTo>
                  <a:lnTo>
                    <a:pt x="14" y="0"/>
                  </a:lnTo>
                  <a:lnTo>
                    <a:pt x="14" y="0"/>
                  </a:lnTo>
                  <a:close/>
                </a:path>
              </a:pathLst>
            </a:custGeom>
            <a:solidFill>
              <a:srgbClr val="6CA6B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3" name="Freeform 761"/>
            <p:cNvSpPr/>
            <p:nvPr/>
          </p:nvSpPr>
          <p:spPr bwMode="auto">
            <a:xfrm>
              <a:off x="3305173" y="5175256"/>
              <a:ext cx="150813" cy="171450"/>
            </a:xfrm>
            <a:custGeom>
              <a:avLst/>
              <a:gdLst>
                <a:gd name="T0" fmla="*/ 121 w 286"/>
                <a:gd name="T1" fmla="*/ 2 h 324"/>
                <a:gd name="T2" fmla="*/ 161 w 286"/>
                <a:gd name="T3" fmla="*/ 11 h 324"/>
                <a:gd name="T4" fmla="*/ 196 w 286"/>
                <a:gd name="T5" fmla="*/ 26 h 324"/>
                <a:gd name="T6" fmla="*/ 224 w 286"/>
                <a:gd name="T7" fmla="*/ 45 h 324"/>
                <a:gd name="T8" fmla="*/ 245 w 286"/>
                <a:gd name="T9" fmla="*/ 66 h 324"/>
                <a:gd name="T10" fmla="*/ 261 w 286"/>
                <a:gd name="T11" fmla="*/ 91 h 324"/>
                <a:gd name="T12" fmla="*/ 274 w 286"/>
                <a:gd name="T13" fmla="*/ 120 h 324"/>
                <a:gd name="T14" fmla="*/ 280 w 286"/>
                <a:gd name="T15" fmla="*/ 150 h 324"/>
                <a:gd name="T16" fmla="*/ 284 w 286"/>
                <a:gd name="T17" fmla="*/ 182 h 324"/>
                <a:gd name="T18" fmla="*/ 286 w 286"/>
                <a:gd name="T19" fmla="*/ 199 h 324"/>
                <a:gd name="T20" fmla="*/ 282 w 286"/>
                <a:gd name="T21" fmla="*/ 227 h 324"/>
                <a:gd name="T22" fmla="*/ 274 w 286"/>
                <a:gd name="T23" fmla="*/ 252 h 324"/>
                <a:gd name="T24" fmla="*/ 260 w 286"/>
                <a:gd name="T25" fmla="*/ 274 h 324"/>
                <a:gd name="T26" fmla="*/ 244 w 286"/>
                <a:gd name="T27" fmla="*/ 292 h 324"/>
                <a:gd name="T28" fmla="*/ 225 w 286"/>
                <a:gd name="T29" fmla="*/ 306 h 324"/>
                <a:gd name="T30" fmla="*/ 207 w 286"/>
                <a:gd name="T31" fmla="*/ 316 h 324"/>
                <a:gd name="T32" fmla="*/ 188 w 286"/>
                <a:gd name="T33" fmla="*/ 322 h 324"/>
                <a:gd name="T34" fmla="*/ 178 w 286"/>
                <a:gd name="T35" fmla="*/ 324 h 324"/>
                <a:gd name="T36" fmla="*/ 154 w 286"/>
                <a:gd name="T37" fmla="*/ 324 h 324"/>
                <a:gd name="T38" fmla="*/ 128 w 286"/>
                <a:gd name="T39" fmla="*/ 319 h 324"/>
                <a:gd name="T40" fmla="*/ 99 w 286"/>
                <a:gd name="T41" fmla="*/ 308 h 324"/>
                <a:gd name="T42" fmla="*/ 74 w 286"/>
                <a:gd name="T43" fmla="*/ 292 h 324"/>
                <a:gd name="T44" fmla="*/ 50 w 286"/>
                <a:gd name="T45" fmla="*/ 271 h 324"/>
                <a:gd name="T46" fmla="*/ 29 w 286"/>
                <a:gd name="T47" fmla="*/ 245 h 324"/>
                <a:gd name="T48" fmla="*/ 12 w 286"/>
                <a:gd name="T49" fmla="*/ 216 h 324"/>
                <a:gd name="T50" fmla="*/ 3 w 286"/>
                <a:gd name="T51" fmla="*/ 182 h 324"/>
                <a:gd name="T52" fmla="*/ 2 w 286"/>
                <a:gd name="T53" fmla="*/ 161 h 324"/>
                <a:gd name="T54" fmla="*/ 2 w 286"/>
                <a:gd name="T55" fmla="*/ 121 h 324"/>
                <a:gd name="T56" fmla="*/ 8 w 286"/>
                <a:gd name="T57" fmla="*/ 86 h 324"/>
                <a:gd name="T58" fmla="*/ 20 w 286"/>
                <a:gd name="T59" fmla="*/ 57 h 324"/>
                <a:gd name="T60" fmla="*/ 38 w 286"/>
                <a:gd name="T61" fmla="*/ 33 h 324"/>
                <a:gd name="T62" fmla="*/ 59 w 286"/>
                <a:gd name="T63" fmla="*/ 15 h 324"/>
                <a:gd name="T64" fmla="*/ 82 w 286"/>
                <a:gd name="T65" fmla="*/ 4 h 324"/>
                <a:gd name="T66" fmla="*/ 108 w 286"/>
                <a:gd name="T67" fmla="*/ 0 h 324"/>
                <a:gd name="T68" fmla="*/ 121 w 286"/>
                <a:gd name="T69" fmla="*/ 2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6" h="324">
                  <a:moveTo>
                    <a:pt x="121" y="2"/>
                  </a:moveTo>
                  <a:lnTo>
                    <a:pt x="121" y="2"/>
                  </a:lnTo>
                  <a:lnTo>
                    <a:pt x="142" y="6"/>
                  </a:lnTo>
                  <a:lnTo>
                    <a:pt x="161" y="11"/>
                  </a:lnTo>
                  <a:lnTo>
                    <a:pt x="180" y="18"/>
                  </a:lnTo>
                  <a:lnTo>
                    <a:pt x="196" y="26"/>
                  </a:lnTo>
                  <a:lnTo>
                    <a:pt x="211" y="34"/>
                  </a:lnTo>
                  <a:lnTo>
                    <a:pt x="224" y="45"/>
                  </a:lnTo>
                  <a:lnTo>
                    <a:pt x="235" y="55"/>
                  </a:lnTo>
                  <a:lnTo>
                    <a:pt x="245" y="66"/>
                  </a:lnTo>
                  <a:lnTo>
                    <a:pt x="253" y="79"/>
                  </a:lnTo>
                  <a:lnTo>
                    <a:pt x="261" y="91"/>
                  </a:lnTo>
                  <a:lnTo>
                    <a:pt x="268" y="106"/>
                  </a:lnTo>
                  <a:lnTo>
                    <a:pt x="274" y="120"/>
                  </a:lnTo>
                  <a:lnTo>
                    <a:pt x="278" y="136"/>
                  </a:lnTo>
                  <a:lnTo>
                    <a:pt x="280" y="150"/>
                  </a:lnTo>
                  <a:lnTo>
                    <a:pt x="283" y="166"/>
                  </a:lnTo>
                  <a:lnTo>
                    <a:pt x="284" y="182"/>
                  </a:lnTo>
                  <a:lnTo>
                    <a:pt x="284" y="182"/>
                  </a:lnTo>
                  <a:lnTo>
                    <a:pt x="286" y="199"/>
                  </a:lnTo>
                  <a:lnTo>
                    <a:pt x="284" y="213"/>
                  </a:lnTo>
                  <a:lnTo>
                    <a:pt x="282" y="227"/>
                  </a:lnTo>
                  <a:lnTo>
                    <a:pt x="278" y="240"/>
                  </a:lnTo>
                  <a:lnTo>
                    <a:pt x="274" y="252"/>
                  </a:lnTo>
                  <a:lnTo>
                    <a:pt x="267" y="264"/>
                  </a:lnTo>
                  <a:lnTo>
                    <a:pt x="260" y="274"/>
                  </a:lnTo>
                  <a:lnTo>
                    <a:pt x="252" y="283"/>
                  </a:lnTo>
                  <a:lnTo>
                    <a:pt x="244" y="292"/>
                  </a:lnTo>
                  <a:lnTo>
                    <a:pt x="235" y="299"/>
                  </a:lnTo>
                  <a:lnTo>
                    <a:pt x="225" y="306"/>
                  </a:lnTo>
                  <a:lnTo>
                    <a:pt x="216" y="311"/>
                  </a:lnTo>
                  <a:lnTo>
                    <a:pt x="207" y="316"/>
                  </a:lnTo>
                  <a:lnTo>
                    <a:pt x="197" y="319"/>
                  </a:lnTo>
                  <a:lnTo>
                    <a:pt x="188" y="322"/>
                  </a:lnTo>
                  <a:lnTo>
                    <a:pt x="178" y="324"/>
                  </a:lnTo>
                  <a:lnTo>
                    <a:pt x="178" y="324"/>
                  </a:lnTo>
                  <a:lnTo>
                    <a:pt x="166" y="324"/>
                  </a:lnTo>
                  <a:lnTo>
                    <a:pt x="154" y="324"/>
                  </a:lnTo>
                  <a:lnTo>
                    <a:pt x="141" y="322"/>
                  </a:lnTo>
                  <a:lnTo>
                    <a:pt x="128" y="319"/>
                  </a:lnTo>
                  <a:lnTo>
                    <a:pt x="114" y="314"/>
                  </a:lnTo>
                  <a:lnTo>
                    <a:pt x="99" y="308"/>
                  </a:lnTo>
                  <a:lnTo>
                    <a:pt x="86" y="300"/>
                  </a:lnTo>
                  <a:lnTo>
                    <a:pt x="74" y="292"/>
                  </a:lnTo>
                  <a:lnTo>
                    <a:pt x="61" y="283"/>
                  </a:lnTo>
                  <a:lnTo>
                    <a:pt x="50" y="271"/>
                  </a:lnTo>
                  <a:lnTo>
                    <a:pt x="38" y="259"/>
                  </a:lnTo>
                  <a:lnTo>
                    <a:pt x="29" y="245"/>
                  </a:lnTo>
                  <a:lnTo>
                    <a:pt x="20" y="232"/>
                  </a:lnTo>
                  <a:lnTo>
                    <a:pt x="12" y="216"/>
                  </a:lnTo>
                  <a:lnTo>
                    <a:pt x="7" y="200"/>
                  </a:lnTo>
                  <a:lnTo>
                    <a:pt x="3" y="182"/>
                  </a:lnTo>
                  <a:lnTo>
                    <a:pt x="3" y="182"/>
                  </a:lnTo>
                  <a:lnTo>
                    <a:pt x="2" y="161"/>
                  </a:lnTo>
                  <a:lnTo>
                    <a:pt x="0" y="141"/>
                  </a:lnTo>
                  <a:lnTo>
                    <a:pt x="2" y="121"/>
                  </a:lnTo>
                  <a:lnTo>
                    <a:pt x="4" y="103"/>
                  </a:lnTo>
                  <a:lnTo>
                    <a:pt x="8" y="86"/>
                  </a:lnTo>
                  <a:lnTo>
                    <a:pt x="14" y="71"/>
                  </a:lnTo>
                  <a:lnTo>
                    <a:pt x="20" y="57"/>
                  </a:lnTo>
                  <a:lnTo>
                    <a:pt x="29" y="45"/>
                  </a:lnTo>
                  <a:lnTo>
                    <a:pt x="38" y="33"/>
                  </a:lnTo>
                  <a:lnTo>
                    <a:pt x="49" y="23"/>
                  </a:lnTo>
                  <a:lnTo>
                    <a:pt x="59" y="15"/>
                  </a:lnTo>
                  <a:lnTo>
                    <a:pt x="70" y="8"/>
                  </a:lnTo>
                  <a:lnTo>
                    <a:pt x="82" y="4"/>
                  </a:lnTo>
                  <a:lnTo>
                    <a:pt x="94" y="2"/>
                  </a:lnTo>
                  <a:lnTo>
                    <a:pt x="108" y="0"/>
                  </a:lnTo>
                  <a:lnTo>
                    <a:pt x="121" y="2"/>
                  </a:lnTo>
                  <a:lnTo>
                    <a:pt x="121" y="2"/>
                  </a:lnTo>
                  <a:close/>
                </a:path>
              </a:pathLst>
            </a:custGeom>
            <a:solidFill>
              <a:srgbClr val="E6F7F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4" name="Freeform 762"/>
            <p:cNvSpPr/>
            <p:nvPr/>
          </p:nvSpPr>
          <p:spPr bwMode="auto">
            <a:xfrm>
              <a:off x="2376487" y="5138743"/>
              <a:ext cx="233363" cy="44450"/>
            </a:xfrm>
            <a:custGeom>
              <a:avLst/>
              <a:gdLst>
                <a:gd name="T0" fmla="*/ 263 w 441"/>
                <a:gd name="T1" fmla="*/ 83 h 83"/>
                <a:gd name="T2" fmla="*/ 265 w 441"/>
                <a:gd name="T3" fmla="*/ 83 h 83"/>
                <a:gd name="T4" fmla="*/ 441 w 441"/>
                <a:gd name="T5" fmla="*/ 59 h 83"/>
                <a:gd name="T6" fmla="*/ 440 w 441"/>
                <a:gd name="T7" fmla="*/ 48 h 83"/>
                <a:gd name="T8" fmla="*/ 263 w 441"/>
                <a:gd name="T9" fmla="*/ 72 h 83"/>
                <a:gd name="T10" fmla="*/ 34 w 441"/>
                <a:gd name="T11" fmla="*/ 25 h 83"/>
                <a:gd name="T12" fmla="*/ 146 w 441"/>
                <a:gd name="T13" fmla="*/ 9 h 83"/>
                <a:gd name="T14" fmla="*/ 144 w 441"/>
                <a:gd name="T15" fmla="*/ 0 h 83"/>
                <a:gd name="T16" fmla="*/ 4 w 441"/>
                <a:gd name="T17" fmla="*/ 18 h 83"/>
                <a:gd name="T18" fmla="*/ 4 w 441"/>
                <a:gd name="T19" fmla="*/ 18 h 83"/>
                <a:gd name="T20" fmla="*/ 1 w 441"/>
                <a:gd name="T21" fmla="*/ 20 h 83"/>
                <a:gd name="T22" fmla="*/ 0 w 441"/>
                <a:gd name="T23" fmla="*/ 24 h 83"/>
                <a:gd name="T24" fmla="*/ 0 w 441"/>
                <a:gd name="T25" fmla="*/ 24 h 83"/>
                <a:gd name="T26" fmla="*/ 1 w 441"/>
                <a:gd name="T27" fmla="*/ 27 h 83"/>
                <a:gd name="T28" fmla="*/ 4 w 441"/>
                <a:gd name="T29" fmla="*/ 28 h 83"/>
                <a:gd name="T30" fmla="*/ 262 w 441"/>
                <a:gd name="T31" fmla="*/ 83 h 83"/>
                <a:gd name="T32" fmla="*/ 263 w 441"/>
                <a:gd name="T33"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1" h="83">
                  <a:moveTo>
                    <a:pt x="263" y="83"/>
                  </a:moveTo>
                  <a:lnTo>
                    <a:pt x="265" y="83"/>
                  </a:lnTo>
                  <a:lnTo>
                    <a:pt x="441" y="59"/>
                  </a:lnTo>
                  <a:lnTo>
                    <a:pt x="440" y="48"/>
                  </a:lnTo>
                  <a:lnTo>
                    <a:pt x="263" y="72"/>
                  </a:lnTo>
                  <a:lnTo>
                    <a:pt x="34" y="25"/>
                  </a:lnTo>
                  <a:lnTo>
                    <a:pt x="146" y="9"/>
                  </a:lnTo>
                  <a:lnTo>
                    <a:pt x="144" y="0"/>
                  </a:lnTo>
                  <a:lnTo>
                    <a:pt x="4" y="18"/>
                  </a:lnTo>
                  <a:lnTo>
                    <a:pt x="4" y="18"/>
                  </a:lnTo>
                  <a:lnTo>
                    <a:pt x="1" y="20"/>
                  </a:lnTo>
                  <a:lnTo>
                    <a:pt x="0" y="24"/>
                  </a:lnTo>
                  <a:lnTo>
                    <a:pt x="0" y="24"/>
                  </a:lnTo>
                  <a:lnTo>
                    <a:pt x="1" y="27"/>
                  </a:lnTo>
                  <a:lnTo>
                    <a:pt x="4" y="28"/>
                  </a:lnTo>
                  <a:lnTo>
                    <a:pt x="262" y="83"/>
                  </a:lnTo>
                  <a:lnTo>
                    <a:pt x="263" y="83"/>
                  </a:lnTo>
                  <a:close/>
                </a:path>
              </a:pathLst>
            </a:custGeom>
            <a:solidFill>
              <a:srgbClr val="90B0B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5" name="Freeform 763"/>
            <p:cNvSpPr/>
            <p:nvPr/>
          </p:nvSpPr>
          <p:spPr bwMode="auto">
            <a:xfrm>
              <a:off x="2513011" y="5180019"/>
              <a:ext cx="7938" cy="39688"/>
            </a:xfrm>
            <a:custGeom>
              <a:avLst/>
              <a:gdLst>
                <a:gd name="T0" fmla="*/ 5 w 16"/>
                <a:gd name="T1" fmla="*/ 74 h 74"/>
                <a:gd name="T2" fmla="*/ 16 w 16"/>
                <a:gd name="T3" fmla="*/ 74 h 74"/>
                <a:gd name="T4" fmla="*/ 11 w 16"/>
                <a:gd name="T5" fmla="*/ 0 h 74"/>
                <a:gd name="T6" fmla="*/ 0 w 16"/>
                <a:gd name="T7" fmla="*/ 0 h 74"/>
                <a:gd name="T8" fmla="*/ 5 w 16"/>
                <a:gd name="T9" fmla="*/ 74 h 74"/>
              </a:gdLst>
              <a:ahLst/>
              <a:cxnLst>
                <a:cxn ang="0">
                  <a:pos x="T0" y="T1"/>
                </a:cxn>
                <a:cxn ang="0">
                  <a:pos x="T2" y="T3"/>
                </a:cxn>
                <a:cxn ang="0">
                  <a:pos x="T4" y="T5"/>
                </a:cxn>
                <a:cxn ang="0">
                  <a:pos x="T6" y="T7"/>
                </a:cxn>
                <a:cxn ang="0">
                  <a:pos x="T8" y="T9"/>
                </a:cxn>
              </a:cxnLst>
              <a:rect l="0" t="0" r="r" b="b"/>
              <a:pathLst>
                <a:path w="16" h="74">
                  <a:moveTo>
                    <a:pt x="5" y="74"/>
                  </a:moveTo>
                  <a:lnTo>
                    <a:pt x="16" y="74"/>
                  </a:lnTo>
                  <a:lnTo>
                    <a:pt x="11" y="0"/>
                  </a:lnTo>
                  <a:lnTo>
                    <a:pt x="0" y="0"/>
                  </a:lnTo>
                  <a:lnTo>
                    <a:pt x="5" y="74"/>
                  </a:lnTo>
                  <a:close/>
                </a:path>
              </a:pathLst>
            </a:custGeom>
            <a:solidFill>
              <a:srgbClr val="90B0B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6" name="Freeform 764"/>
            <p:cNvSpPr/>
            <p:nvPr/>
          </p:nvSpPr>
          <p:spPr bwMode="auto">
            <a:xfrm>
              <a:off x="2376486" y="5151444"/>
              <a:ext cx="11113" cy="41275"/>
            </a:xfrm>
            <a:custGeom>
              <a:avLst/>
              <a:gdLst>
                <a:gd name="T0" fmla="*/ 10 w 21"/>
                <a:gd name="T1" fmla="*/ 77 h 77"/>
                <a:gd name="T2" fmla="*/ 21 w 21"/>
                <a:gd name="T3" fmla="*/ 76 h 77"/>
                <a:gd name="T4" fmla="*/ 9 w 21"/>
                <a:gd name="T5" fmla="*/ 0 h 77"/>
                <a:gd name="T6" fmla="*/ 0 w 21"/>
                <a:gd name="T7" fmla="*/ 1 h 77"/>
                <a:gd name="T8" fmla="*/ 10 w 21"/>
                <a:gd name="T9" fmla="*/ 77 h 77"/>
              </a:gdLst>
              <a:ahLst/>
              <a:cxnLst>
                <a:cxn ang="0">
                  <a:pos x="T0" y="T1"/>
                </a:cxn>
                <a:cxn ang="0">
                  <a:pos x="T2" y="T3"/>
                </a:cxn>
                <a:cxn ang="0">
                  <a:pos x="T4" y="T5"/>
                </a:cxn>
                <a:cxn ang="0">
                  <a:pos x="T6" y="T7"/>
                </a:cxn>
                <a:cxn ang="0">
                  <a:pos x="T8" y="T9"/>
                </a:cxn>
              </a:cxnLst>
              <a:rect l="0" t="0" r="r" b="b"/>
              <a:pathLst>
                <a:path w="21" h="77">
                  <a:moveTo>
                    <a:pt x="10" y="77"/>
                  </a:moveTo>
                  <a:lnTo>
                    <a:pt x="21" y="76"/>
                  </a:lnTo>
                  <a:lnTo>
                    <a:pt x="9" y="0"/>
                  </a:lnTo>
                  <a:lnTo>
                    <a:pt x="0" y="1"/>
                  </a:lnTo>
                  <a:lnTo>
                    <a:pt x="10" y="77"/>
                  </a:lnTo>
                  <a:close/>
                </a:path>
              </a:pathLst>
            </a:custGeom>
            <a:solidFill>
              <a:srgbClr val="90B0B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7" name="Rectangle 765"/>
            <p:cNvSpPr>
              <a:spLocks noChangeArrowheads="1"/>
            </p:cNvSpPr>
            <p:nvPr/>
          </p:nvSpPr>
          <p:spPr bwMode="auto">
            <a:xfrm>
              <a:off x="2474911" y="5172082"/>
              <a:ext cx="4763" cy="38100"/>
            </a:xfrm>
            <a:prstGeom prst="rect">
              <a:avLst/>
            </a:prstGeom>
            <a:solidFill>
              <a:srgbClr val="90B0B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38" name="Freeform 766"/>
            <p:cNvSpPr/>
            <p:nvPr/>
          </p:nvSpPr>
          <p:spPr bwMode="auto">
            <a:xfrm>
              <a:off x="2422523" y="5162557"/>
              <a:ext cx="9525" cy="38100"/>
            </a:xfrm>
            <a:custGeom>
              <a:avLst/>
              <a:gdLst>
                <a:gd name="T0" fmla="*/ 10 w 20"/>
                <a:gd name="T1" fmla="*/ 71 h 71"/>
                <a:gd name="T2" fmla="*/ 20 w 20"/>
                <a:gd name="T3" fmla="*/ 70 h 71"/>
                <a:gd name="T4" fmla="*/ 9 w 20"/>
                <a:gd name="T5" fmla="*/ 0 h 71"/>
                <a:gd name="T6" fmla="*/ 0 w 20"/>
                <a:gd name="T7" fmla="*/ 1 h 71"/>
                <a:gd name="T8" fmla="*/ 10 w 20"/>
                <a:gd name="T9" fmla="*/ 71 h 71"/>
              </a:gdLst>
              <a:ahLst/>
              <a:cxnLst>
                <a:cxn ang="0">
                  <a:pos x="T0" y="T1"/>
                </a:cxn>
                <a:cxn ang="0">
                  <a:pos x="T2" y="T3"/>
                </a:cxn>
                <a:cxn ang="0">
                  <a:pos x="T4" y="T5"/>
                </a:cxn>
                <a:cxn ang="0">
                  <a:pos x="T6" y="T7"/>
                </a:cxn>
                <a:cxn ang="0">
                  <a:pos x="T8" y="T9"/>
                </a:cxn>
              </a:cxnLst>
              <a:rect l="0" t="0" r="r" b="b"/>
              <a:pathLst>
                <a:path w="20" h="71">
                  <a:moveTo>
                    <a:pt x="10" y="71"/>
                  </a:moveTo>
                  <a:lnTo>
                    <a:pt x="20" y="70"/>
                  </a:lnTo>
                  <a:lnTo>
                    <a:pt x="9" y="0"/>
                  </a:lnTo>
                  <a:lnTo>
                    <a:pt x="0" y="1"/>
                  </a:lnTo>
                  <a:lnTo>
                    <a:pt x="10" y="71"/>
                  </a:lnTo>
                  <a:close/>
                </a:path>
              </a:pathLst>
            </a:custGeom>
            <a:solidFill>
              <a:srgbClr val="90B0B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9" name="Freeform 767"/>
            <p:cNvSpPr/>
            <p:nvPr/>
          </p:nvSpPr>
          <p:spPr bwMode="auto">
            <a:xfrm>
              <a:off x="2579686" y="5170494"/>
              <a:ext cx="7938" cy="38100"/>
            </a:xfrm>
            <a:custGeom>
              <a:avLst/>
              <a:gdLst>
                <a:gd name="T0" fmla="*/ 9 w 15"/>
                <a:gd name="T1" fmla="*/ 72 h 72"/>
                <a:gd name="T2" fmla="*/ 15 w 15"/>
                <a:gd name="T3" fmla="*/ 0 h 72"/>
                <a:gd name="T4" fmla="*/ 5 w 15"/>
                <a:gd name="T5" fmla="*/ 0 h 72"/>
                <a:gd name="T6" fmla="*/ 0 w 15"/>
                <a:gd name="T7" fmla="*/ 71 h 72"/>
                <a:gd name="T8" fmla="*/ 9 w 15"/>
                <a:gd name="T9" fmla="*/ 72 h 72"/>
              </a:gdLst>
              <a:ahLst/>
              <a:cxnLst>
                <a:cxn ang="0">
                  <a:pos x="T0" y="T1"/>
                </a:cxn>
                <a:cxn ang="0">
                  <a:pos x="T2" y="T3"/>
                </a:cxn>
                <a:cxn ang="0">
                  <a:pos x="T4" y="T5"/>
                </a:cxn>
                <a:cxn ang="0">
                  <a:pos x="T6" y="T7"/>
                </a:cxn>
                <a:cxn ang="0">
                  <a:pos x="T8" y="T9"/>
                </a:cxn>
              </a:cxnLst>
              <a:rect l="0" t="0" r="r" b="b"/>
              <a:pathLst>
                <a:path w="15" h="72">
                  <a:moveTo>
                    <a:pt x="9" y="72"/>
                  </a:moveTo>
                  <a:lnTo>
                    <a:pt x="15" y="0"/>
                  </a:lnTo>
                  <a:lnTo>
                    <a:pt x="5" y="0"/>
                  </a:lnTo>
                  <a:lnTo>
                    <a:pt x="0" y="71"/>
                  </a:lnTo>
                  <a:lnTo>
                    <a:pt x="9" y="72"/>
                  </a:lnTo>
                  <a:close/>
                </a:path>
              </a:pathLst>
            </a:custGeom>
            <a:solidFill>
              <a:srgbClr val="90B0B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0" name="Freeform 768"/>
            <p:cNvSpPr/>
            <p:nvPr/>
          </p:nvSpPr>
          <p:spPr bwMode="auto">
            <a:xfrm>
              <a:off x="2546348" y="5175256"/>
              <a:ext cx="6350" cy="39688"/>
            </a:xfrm>
            <a:custGeom>
              <a:avLst/>
              <a:gdLst>
                <a:gd name="T0" fmla="*/ 4 w 13"/>
                <a:gd name="T1" fmla="*/ 75 h 75"/>
                <a:gd name="T2" fmla="*/ 13 w 13"/>
                <a:gd name="T3" fmla="*/ 75 h 75"/>
                <a:gd name="T4" fmla="*/ 11 w 13"/>
                <a:gd name="T5" fmla="*/ 0 h 75"/>
                <a:gd name="T6" fmla="*/ 0 w 13"/>
                <a:gd name="T7" fmla="*/ 1 h 75"/>
                <a:gd name="T8" fmla="*/ 4 w 13"/>
                <a:gd name="T9" fmla="*/ 75 h 75"/>
              </a:gdLst>
              <a:ahLst/>
              <a:cxnLst>
                <a:cxn ang="0">
                  <a:pos x="T0" y="T1"/>
                </a:cxn>
                <a:cxn ang="0">
                  <a:pos x="T2" y="T3"/>
                </a:cxn>
                <a:cxn ang="0">
                  <a:pos x="T4" y="T5"/>
                </a:cxn>
                <a:cxn ang="0">
                  <a:pos x="T6" y="T7"/>
                </a:cxn>
                <a:cxn ang="0">
                  <a:pos x="T8" y="T9"/>
                </a:cxn>
              </a:cxnLst>
              <a:rect l="0" t="0" r="r" b="b"/>
              <a:pathLst>
                <a:path w="13" h="75">
                  <a:moveTo>
                    <a:pt x="4" y="75"/>
                  </a:moveTo>
                  <a:lnTo>
                    <a:pt x="13" y="75"/>
                  </a:lnTo>
                  <a:lnTo>
                    <a:pt x="11" y="0"/>
                  </a:lnTo>
                  <a:lnTo>
                    <a:pt x="0" y="1"/>
                  </a:lnTo>
                  <a:lnTo>
                    <a:pt x="4" y="75"/>
                  </a:lnTo>
                  <a:close/>
                </a:path>
              </a:pathLst>
            </a:custGeom>
            <a:solidFill>
              <a:srgbClr val="90B0B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1" name="Freeform 769"/>
            <p:cNvSpPr/>
            <p:nvPr/>
          </p:nvSpPr>
          <p:spPr bwMode="auto">
            <a:xfrm>
              <a:off x="2428873" y="5141919"/>
              <a:ext cx="11113" cy="38100"/>
            </a:xfrm>
            <a:custGeom>
              <a:avLst/>
              <a:gdLst>
                <a:gd name="T0" fmla="*/ 9 w 20"/>
                <a:gd name="T1" fmla="*/ 71 h 71"/>
                <a:gd name="T2" fmla="*/ 20 w 20"/>
                <a:gd name="T3" fmla="*/ 70 h 71"/>
                <a:gd name="T4" fmla="*/ 9 w 20"/>
                <a:gd name="T5" fmla="*/ 0 h 71"/>
                <a:gd name="T6" fmla="*/ 0 w 20"/>
                <a:gd name="T7" fmla="*/ 1 h 71"/>
                <a:gd name="T8" fmla="*/ 9 w 20"/>
                <a:gd name="T9" fmla="*/ 71 h 71"/>
              </a:gdLst>
              <a:ahLst/>
              <a:cxnLst>
                <a:cxn ang="0">
                  <a:pos x="T0" y="T1"/>
                </a:cxn>
                <a:cxn ang="0">
                  <a:pos x="T2" y="T3"/>
                </a:cxn>
                <a:cxn ang="0">
                  <a:pos x="T4" y="T5"/>
                </a:cxn>
                <a:cxn ang="0">
                  <a:pos x="T6" y="T7"/>
                </a:cxn>
                <a:cxn ang="0">
                  <a:pos x="T8" y="T9"/>
                </a:cxn>
              </a:cxnLst>
              <a:rect l="0" t="0" r="r" b="b"/>
              <a:pathLst>
                <a:path w="20" h="71">
                  <a:moveTo>
                    <a:pt x="9" y="71"/>
                  </a:moveTo>
                  <a:lnTo>
                    <a:pt x="20" y="70"/>
                  </a:lnTo>
                  <a:lnTo>
                    <a:pt x="9" y="0"/>
                  </a:lnTo>
                  <a:lnTo>
                    <a:pt x="0" y="1"/>
                  </a:lnTo>
                  <a:lnTo>
                    <a:pt x="9" y="71"/>
                  </a:lnTo>
                  <a:close/>
                </a:path>
              </a:pathLst>
            </a:custGeom>
            <a:solidFill>
              <a:srgbClr val="90B0B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2" name="Freeform 770"/>
            <p:cNvSpPr/>
            <p:nvPr/>
          </p:nvSpPr>
          <p:spPr bwMode="auto">
            <a:xfrm>
              <a:off x="2398711" y="5148268"/>
              <a:ext cx="9525" cy="38100"/>
            </a:xfrm>
            <a:custGeom>
              <a:avLst/>
              <a:gdLst>
                <a:gd name="T0" fmla="*/ 9 w 19"/>
                <a:gd name="T1" fmla="*/ 71 h 71"/>
                <a:gd name="T2" fmla="*/ 19 w 19"/>
                <a:gd name="T3" fmla="*/ 70 h 71"/>
                <a:gd name="T4" fmla="*/ 10 w 19"/>
                <a:gd name="T5" fmla="*/ 0 h 71"/>
                <a:gd name="T6" fmla="*/ 0 w 19"/>
                <a:gd name="T7" fmla="*/ 1 h 71"/>
                <a:gd name="T8" fmla="*/ 9 w 19"/>
                <a:gd name="T9" fmla="*/ 71 h 71"/>
              </a:gdLst>
              <a:ahLst/>
              <a:cxnLst>
                <a:cxn ang="0">
                  <a:pos x="T0" y="T1"/>
                </a:cxn>
                <a:cxn ang="0">
                  <a:pos x="T2" y="T3"/>
                </a:cxn>
                <a:cxn ang="0">
                  <a:pos x="T4" y="T5"/>
                </a:cxn>
                <a:cxn ang="0">
                  <a:pos x="T6" y="T7"/>
                </a:cxn>
                <a:cxn ang="0">
                  <a:pos x="T8" y="T9"/>
                </a:cxn>
              </a:cxnLst>
              <a:rect l="0" t="0" r="r" b="b"/>
              <a:pathLst>
                <a:path w="19" h="71">
                  <a:moveTo>
                    <a:pt x="9" y="71"/>
                  </a:moveTo>
                  <a:lnTo>
                    <a:pt x="19" y="70"/>
                  </a:lnTo>
                  <a:lnTo>
                    <a:pt x="10" y="0"/>
                  </a:lnTo>
                  <a:lnTo>
                    <a:pt x="0" y="1"/>
                  </a:lnTo>
                  <a:lnTo>
                    <a:pt x="9" y="71"/>
                  </a:lnTo>
                  <a:close/>
                </a:path>
              </a:pathLst>
            </a:custGeom>
            <a:solidFill>
              <a:srgbClr val="90B0B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3" name="Freeform 771"/>
            <p:cNvSpPr/>
            <p:nvPr/>
          </p:nvSpPr>
          <p:spPr bwMode="auto">
            <a:xfrm>
              <a:off x="2922585" y="4487868"/>
              <a:ext cx="365125" cy="136525"/>
            </a:xfrm>
            <a:custGeom>
              <a:avLst/>
              <a:gdLst>
                <a:gd name="T0" fmla="*/ 690 w 690"/>
                <a:gd name="T1" fmla="*/ 191 h 258"/>
                <a:gd name="T2" fmla="*/ 337 w 690"/>
                <a:gd name="T3" fmla="*/ 0 h 258"/>
                <a:gd name="T4" fmla="*/ 0 w 690"/>
                <a:gd name="T5" fmla="*/ 182 h 258"/>
                <a:gd name="T6" fmla="*/ 0 w 690"/>
                <a:gd name="T7" fmla="*/ 258 h 258"/>
                <a:gd name="T8" fmla="*/ 328 w 690"/>
                <a:gd name="T9" fmla="*/ 33 h 258"/>
                <a:gd name="T10" fmla="*/ 688 w 690"/>
                <a:gd name="T11" fmla="*/ 221 h 258"/>
                <a:gd name="T12" fmla="*/ 690 w 690"/>
                <a:gd name="T13" fmla="*/ 191 h 258"/>
              </a:gdLst>
              <a:ahLst/>
              <a:cxnLst>
                <a:cxn ang="0">
                  <a:pos x="T0" y="T1"/>
                </a:cxn>
                <a:cxn ang="0">
                  <a:pos x="T2" y="T3"/>
                </a:cxn>
                <a:cxn ang="0">
                  <a:pos x="T4" y="T5"/>
                </a:cxn>
                <a:cxn ang="0">
                  <a:pos x="T6" y="T7"/>
                </a:cxn>
                <a:cxn ang="0">
                  <a:pos x="T8" y="T9"/>
                </a:cxn>
                <a:cxn ang="0">
                  <a:pos x="T10" y="T11"/>
                </a:cxn>
                <a:cxn ang="0">
                  <a:pos x="T12" y="T13"/>
                </a:cxn>
              </a:cxnLst>
              <a:rect l="0" t="0" r="r" b="b"/>
              <a:pathLst>
                <a:path w="690" h="258">
                  <a:moveTo>
                    <a:pt x="690" y="191"/>
                  </a:moveTo>
                  <a:lnTo>
                    <a:pt x="337" y="0"/>
                  </a:lnTo>
                  <a:lnTo>
                    <a:pt x="0" y="182"/>
                  </a:lnTo>
                  <a:lnTo>
                    <a:pt x="0" y="258"/>
                  </a:lnTo>
                  <a:lnTo>
                    <a:pt x="328" y="33"/>
                  </a:lnTo>
                  <a:lnTo>
                    <a:pt x="688" y="221"/>
                  </a:lnTo>
                  <a:lnTo>
                    <a:pt x="690" y="191"/>
                  </a:lnTo>
                  <a:close/>
                </a:path>
              </a:pathLst>
            </a:custGeom>
            <a:solidFill>
              <a:srgbClr val="C65E5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4" name="Freeform 772"/>
            <p:cNvSpPr/>
            <p:nvPr/>
          </p:nvSpPr>
          <p:spPr bwMode="auto">
            <a:xfrm>
              <a:off x="2946398" y="4719643"/>
              <a:ext cx="319088" cy="20638"/>
            </a:xfrm>
            <a:custGeom>
              <a:avLst/>
              <a:gdLst>
                <a:gd name="T0" fmla="*/ 601 w 601"/>
                <a:gd name="T1" fmla="*/ 14 h 41"/>
                <a:gd name="T2" fmla="*/ 0 w 601"/>
                <a:gd name="T3" fmla="*/ 0 h 41"/>
                <a:gd name="T4" fmla="*/ 0 w 601"/>
                <a:gd name="T5" fmla="*/ 27 h 41"/>
                <a:gd name="T6" fmla="*/ 601 w 601"/>
                <a:gd name="T7" fmla="*/ 41 h 41"/>
                <a:gd name="T8" fmla="*/ 601 w 601"/>
                <a:gd name="T9" fmla="*/ 14 h 41"/>
              </a:gdLst>
              <a:ahLst/>
              <a:cxnLst>
                <a:cxn ang="0">
                  <a:pos x="T0" y="T1"/>
                </a:cxn>
                <a:cxn ang="0">
                  <a:pos x="T2" y="T3"/>
                </a:cxn>
                <a:cxn ang="0">
                  <a:pos x="T4" y="T5"/>
                </a:cxn>
                <a:cxn ang="0">
                  <a:pos x="T6" y="T7"/>
                </a:cxn>
                <a:cxn ang="0">
                  <a:pos x="T8" y="T9"/>
                </a:cxn>
              </a:cxnLst>
              <a:rect l="0" t="0" r="r" b="b"/>
              <a:pathLst>
                <a:path w="601" h="41">
                  <a:moveTo>
                    <a:pt x="601" y="14"/>
                  </a:moveTo>
                  <a:lnTo>
                    <a:pt x="0" y="0"/>
                  </a:lnTo>
                  <a:lnTo>
                    <a:pt x="0" y="27"/>
                  </a:lnTo>
                  <a:lnTo>
                    <a:pt x="601" y="41"/>
                  </a:lnTo>
                  <a:lnTo>
                    <a:pt x="601" y="14"/>
                  </a:lnTo>
                  <a:close/>
                </a:path>
              </a:pathLst>
            </a:custGeom>
            <a:solidFill>
              <a:srgbClr val="E4D8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5" name="Freeform 773"/>
            <p:cNvSpPr/>
            <p:nvPr/>
          </p:nvSpPr>
          <p:spPr bwMode="auto">
            <a:xfrm>
              <a:off x="2951160" y="4954593"/>
              <a:ext cx="304800" cy="17463"/>
            </a:xfrm>
            <a:custGeom>
              <a:avLst/>
              <a:gdLst>
                <a:gd name="T0" fmla="*/ 577 w 577"/>
                <a:gd name="T1" fmla="*/ 5 h 33"/>
                <a:gd name="T2" fmla="*/ 0 w 577"/>
                <a:gd name="T3" fmla="*/ 0 h 33"/>
                <a:gd name="T4" fmla="*/ 0 w 577"/>
                <a:gd name="T5" fmla="*/ 24 h 33"/>
                <a:gd name="T6" fmla="*/ 574 w 577"/>
                <a:gd name="T7" fmla="*/ 33 h 33"/>
                <a:gd name="T8" fmla="*/ 577 w 577"/>
                <a:gd name="T9" fmla="*/ 5 h 33"/>
              </a:gdLst>
              <a:ahLst/>
              <a:cxnLst>
                <a:cxn ang="0">
                  <a:pos x="T0" y="T1"/>
                </a:cxn>
                <a:cxn ang="0">
                  <a:pos x="T2" y="T3"/>
                </a:cxn>
                <a:cxn ang="0">
                  <a:pos x="T4" y="T5"/>
                </a:cxn>
                <a:cxn ang="0">
                  <a:pos x="T6" y="T7"/>
                </a:cxn>
                <a:cxn ang="0">
                  <a:pos x="T8" y="T9"/>
                </a:cxn>
              </a:cxnLst>
              <a:rect l="0" t="0" r="r" b="b"/>
              <a:pathLst>
                <a:path w="577" h="33">
                  <a:moveTo>
                    <a:pt x="577" y="5"/>
                  </a:moveTo>
                  <a:lnTo>
                    <a:pt x="0" y="0"/>
                  </a:lnTo>
                  <a:lnTo>
                    <a:pt x="0" y="24"/>
                  </a:lnTo>
                  <a:lnTo>
                    <a:pt x="574" y="33"/>
                  </a:lnTo>
                  <a:lnTo>
                    <a:pt x="577" y="5"/>
                  </a:lnTo>
                  <a:close/>
                </a:path>
              </a:pathLst>
            </a:custGeom>
            <a:solidFill>
              <a:srgbClr val="E4D8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6" name="Freeform 774"/>
            <p:cNvSpPr/>
            <p:nvPr/>
          </p:nvSpPr>
          <p:spPr bwMode="auto">
            <a:xfrm>
              <a:off x="2838448" y="4921256"/>
              <a:ext cx="11113" cy="28575"/>
            </a:xfrm>
            <a:custGeom>
              <a:avLst/>
              <a:gdLst>
                <a:gd name="T0" fmla="*/ 22 w 22"/>
                <a:gd name="T1" fmla="*/ 1 h 53"/>
                <a:gd name="T2" fmla="*/ 22 w 22"/>
                <a:gd name="T3" fmla="*/ 53 h 53"/>
                <a:gd name="T4" fmla="*/ 0 w 22"/>
                <a:gd name="T5" fmla="*/ 52 h 53"/>
                <a:gd name="T6" fmla="*/ 0 w 22"/>
                <a:gd name="T7" fmla="*/ 0 h 53"/>
                <a:gd name="T8" fmla="*/ 22 w 22"/>
                <a:gd name="T9" fmla="*/ 1 h 53"/>
              </a:gdLst>
              <a:ahLst/>
              <a:cxnLst>
                <a:cxn ang="0">
                  <a:pos x="T0" y="T1"/>
                </a:cxn>
                <a:cxn ang="0">
                  <a:pos x="T2" y="T3"/>
                </a:cxn>
                <a:cxn ang="0">
                  <a:pos x="T4" y="T5"/>
                </a:cxn>
                <a:cxn ang="0">
                  <a:pos x="T6" y="T7"/>
                </a:cxn>
                <a:cxn ang="0">
                  <a:pos x="T8" y="T9"/>
                </a:cxn>
              </a:cxnLst>
              <a:rect l="0" t="0" r="r" b="b"/>
              <a:pathLst>
                <a:path w="22" h="53">
                  <a:moveTo>
                    <a:pt x="22" y="1"/>
                  </a:moveTo>
                  <a:lnTo>
                    <a:pt x="22" y="53"/>
                  </a:lnTo>
                  <a:lnTo>
                    <a:pt x="0" y="52"/>
                  </a:lnTo>
                  <a:lnTo>
                    <a:pt x="0" y="0"/>
                  </a:lnTo>
                  <a:lnTo>
                    <a:pt x="22" y="1"/>
                  </a:lnTo>
                  <a:close/>
                </a:path>
              </a:pathLst>
            </a:custGeom>
            <a:solidFill>
              <a:srgbClr val="3263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7" name="Freeform 775"/>
            <p:cNvSpPr/>
            <p:nvPr/>
          </p:nvSpPr>
          <p:spPr bwMode="auto">
            <a:xfrm>
              <a:off x="3668709" y="5006982"/>
              <a:ext cx="11113" cy="28575"/>
            </a:xfrm>
            <a:custGeom>
              <a:avLst/>
              <a:gdLst>
                <a:gd name="T0" fmla="*/ 0 w 23"/>
                <a:gd name="T1" fmla="*/ 0 h 54"/>
                <a:gd name="T2" fmla="*/ 0 w 23"/>
                <a:gd name="T3" fmla="*/ 53 h 54"/>
                <a:gd name="T4" fmla="*/ 23 w 23"/>
                <a:gd name="T5" fmla="*/ 54 h 54"/>
                <a:gd name="T6" fmla="*/ 23 w 23"/>
                <a:gd name="T7" fmla="*/ 41 h 54"/>
                <a:gd name="T8" fmla="*/ 20 w 23"/>
                <a:gd name="T9" fmla="*/ 2 h 54"/>
                <a:gd name="T10" fmla="*/ 0 w 23"/>
                <a:gd name="T11" fmla="*/ 0 h 54"/>
              </a:gdLst>
              <a:ahLst/>
              <a:cxnLst>
                <a:cxn ang="0">
                  <a:pos x="T0" y="T1"/>
                </a:cxn>
                <a:cxn ang="0">
                  <a:pos x="T2" y="T3"/>
                </a:cxn>
                <a:cxn ang="0">
                  <a:pos x="T4" y="T5"/>
                </a:cxn>
                <a:cxn ang="0">
                  <a:pos x="T6" y="T7"/>
                </a:cxn>
                <a:cxn ang="0">
                  <a:pos x="T8" y="T9"/>
                </a:cxn>
                <a:cxn ang="0">
                  <a:pos x="T10" y="T11"/>
                </a:cxn>
              </a:cxnLst>
              <a:rect l="0" t="0" r="r" b="b"/>
              <a:pathLst>
                <a:path w="23" h="54">
                  <a:moveTo>
                    <a:pt x="0" y="0"/>
                  </a:moveTo>
                  <a:lnTo>
                    <a:pt x="0" y="53"/>
                  </a:lnTo>
                  <a:lnTo>
                    <a:pt x="23" y="54"/>
                  </a:lnTo>
                  <a:lnTo>
                    <a:pt x="23" y="41"/>
                  </a:lnTo>
                  <a:lnTo>
                    <a:pt x="20" y="2"/>
                  </a:lnTo>
                  <a:lnTo>
                    <a:pt x="0" y="0"/>
                  </a:lnTo>
                  <a:close/>
                </a:path>
              </a:pathLst>
            </a:custGeom>
            <a:solidFill>
              <a:srgbClr val="A43D3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8" name="Freeform 776"/>
            <p:cNvSpPr/>
            <p:nvPr/>
          </p:nvSpPr>
          <p:spPr bwMode="auto">
            <a:xfrm>
              <a:off x="3668709" y="5006982"/>
              <a:ext cx="11113" cy="28575"/>
            </a:xfrm>
            <a:custGeom>
              <a:avLst/>
              <a:gdLst>
                <a:gd name="T0" fmla="*/ 0 w 23"/>
                <a:gd name="T1" fmla="*/ 0 h 54"/>
                <a:gd name="T2" fmla="*/ 0 w 23"/>
                <a:gd name="T3" fmla="*/ 53 h 54"/>
                <a:gd name="T4" fmla="*/ 23 w 23"/>
                <a:gd name="T5" fmla="*/ 54 h 54"/>
                <a:gd name="T6" fmla="*/ 23 w 23"/>
                <a:gd name="T7" fmla="*/ 41 h 54"/>
                <a:gd name="T8" fmla="*/ 20 w 23"/>
                <a:gd name="T9" fmla="*/ 2 h 54"/>
                <a:gd name="T10" fmla="*/ 0 w 23"/>
                <a:gd name="T11" fmla="*/ 0 h 54"/>
              </a:gdLst>
              <a:ahLst/>
              <a:cxnLst>
                <a:cxn ang="0">
                  <a:pos x="T0" y="T1"/>
                </a:cxn>
                <a:cxn ang="0">
                  <a:pos x="T2" y="T3"/>
                </a:cxn>
                <a:cxn ang="0">
                  <a:pos x="T4" y="T5"/>
                </a:cxn>
                <a:cxn ang="0">
                  <a:pos x="T6" y="T7"/>
                </a:cxn>
                <a:cxn ang="0">
                  <a:pos x="T8" y="T9"/>
                </a:cxn>
                <a:cxn ang="0">
                  <a:pos x="T10" y="T11"/>
                </a:cxn>
              </a:cxnLst>
              <a:rect l="0" t="0" r="r" b="b"/>
              <a:pathLst>
                <a:path w="23" h="54">
                  <a:moveTo>
                    <a:pt x="0" y="0"/>
                  </a:moveTo>
                  <a:lnTo>
                    <a:pt x="0" y="53"/>
                  </a:lnTo>
                  <a:lnTo>
                    <a:pt x="23" y="54"/>
                  </a:lnTo>
                  <a:lnTo>
                    <a:pt x="23" y="41"/>
                  </a:lnTo>
                  <a:lnTo>
                    <a:pt x="2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9" name="Freeform 777"/>
            <p:cNvSpPr/>
            <p:nvPr/>
          </p:nvSpPr>
          <p:spPr bwMode="auto">
            <a:xfrm>
              <a:off x="3678235" y="5006982"/>
              <a:ext cx="1588" cy="20638"/>
            </a:xfrm>
            <a:custGeom>
              <a:avLst/>
              <a:gdLst>
                <a:gd name="T0" fmla="*/ 0 w 3"/>
                <a:gd name="T1" fmla="*/ 0 h 39"/>
                <a:gd name="T2" fmla="*/ 3 w 3"/>
                <a:gd name="T3" fmla="*/ 39 h 39"/>
                <a:gd name="T4" fmla="*/ 3 w 3"/>
                <a:gd name="T5" fmla="*/ 0 h 39"/>
                <a:gd name="T6" fmla="*/ 0 w 3"/>
                <a:gd name="T7" fmla="*/ 0 h 39"/>
              </a:gdLst>
              <a:ahLst/>
              <a:cxnLst>
                <a:cxn ang="0">
                  <a:pos x="T0" y="T1"/>
                </a:cxn>
                <a:cxn ang="0">
                  <a:pos x="T2" y="T3"/>
                </a:cxn>
                <a:cxn ang="0">
                  <a:pos x="T4" y="T5"/>
                </a:cxn>
                <a:cxn ang="0">
                  <a:pos x="T6" y="T7"/>
                </a:cxn>
              </a:cxnLst>
              <a:rect l="0" t="0" r="r" b="b"/>
              <a:pathLst>
                <a:path w="3" h="39">
                  <a:moveTo>
                    <a:pt x="0" y="0"/>
                  </a:moveTo>
                  <a:lnTo>
                    <a:pt x="3" y="39"/>
                  </a:lnTo>
                  <a:lnTo>
                    <a:pt x="3" y="0"/>
                  </a:lnTo>
                  <a:lnTo>
                    <a:pt x="0" y="0"/>
                  </a:lnTo>
                  <a:close/>
                </a:path>
              </a:pathLst>
            </a:custGeom>
            <a:solidFill>
              <a:srgbClr val="97343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0" name="Freeform 778"/>
            <p:cNvSpPr/>
            <p:nvPr/>
          </p:nvSpPr>
          <p:spPr bwMode="auto">
            <a:xfrm>
              <a:off x="3678235" y="5006982"/>
              <a:ext cx="1588" cy="20638"/>
            </a:xfrm>
            <a:custGeom>
              <a:avLst/>
              <a:gdLst>
                <a:gd name="T0" fmla="*/ 0 w 3"/>
                <a:gd name="T1" fmla="*/ 0 h 39"/>
                <a:gd name="T2" fmla="*/ 3 w 3"/>
                <a:gd name="T3" fmla="*/ 39 h 39"/>
                <a:gd name="T4" fmla="*/ 3 w 3"/>
                <a:gd name="T5" fmla="*/ 0 h 39"/>
                <a:gd name="T6" fmla="*/ 0 w 3"/>
                <a:gd name="T7" fmla="*/ 0 h 39"/>
              </a:gdLst>
              <a:ahLst/>
              <a:cxnLst>
                <a:cxn ang="0">
                  <a:pos x="T0" y="T1"/>
                </a:cxn>
                <a:cxn ang="0">
                  <a:pos x="T2" y="T3"/>
                </a:cxn>
                <a:cxn ang="0">
                  <a:pos x="T4" y="T5"/>
                </a:cxn>
                <a:cxn ang="0">
                  <a:pos x="T6" y="T7"/>
                </a:cxn>
              </a:cxnLst>
              <a:rect l="0" t="0" r="r" b="b"/>
              <a:pathLst>
                <a:path w="3" h="39">
                  <a:moveTo>
                    <a:pt x="0" y="0"/>
                  </a:moveTo>
                  <a:lnTo>
                    <a:pt x="3" y="39"/>
                  </a:lnTo>
                  <a:lnTo>
                    <a:pt x="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1" name="Freeform 779"/>
            <p:cNvSpPr/>
            <p:nvPr/>
          </p:nvSpPr>
          <p:spPr bwMode="auto">
            <a:xfrm>
              <a:off x="3589335" y="5006982"/>
              <a:ext cx="11113" cy="28575"/>
            </a:xfrm>
            <a:custGeom>
              <a:avLst/>
              <a:gdLst>
                <a:gd name="T0" fmla="*/ 0 w 23"/>
                <a:gd name="T1" fmla="*/ 0 h 53"/>
                <a:gd name="T2" fmla="*/ 0 w 23"/>
                <a:gd name="T3" fmla="*/ 53 h 53"/>
                <a:gd name="T4" fmla="*/ 23 w 23"/>
                <a:gd name="T5" fmla="*/ 53 h 53"/>
                <a:gd name="T6" fmla="*/ 23 w 23"/>
                <a:gd name="T7" fmla="*/ 1 h 53"/>
                <a:gd name="T8" fmla="*/ 0 w 23"/>
                <a:gd name="T9" fmla="*/ 0 h 53"/>
              </a:gdLst>
              <a:ahLst/>
              <a:cxnLst>
                <a:cxn ang="0">
                  <a:pos x="T0" y="T1"/>
                </a:cxn>
                <a:cxn ang="0">
                  <a:pos x="T2" y="T3"/>
                </a:cxn>
                <a:cxn ang="0">
                  <a:pos x="T4" y="T5"/>
                </a:cxn>
                <a:cxn ang="0">
                  <a:pos x="T6" y="T7"/>
                </a:cxn>
                <a:cxn ang="0">
                  <a:pos x="T8" y="T9"/>
                </a:cxn>
              </a:cxnLst>
              <a:rect l="0" t="0" r="r" b="b"/>
              <a:pathLst>
                <a:path w="23" h="53">
                  <a:moveTo>
                    <a:pt x="0" y="0"/>
                  </a:moveTo>
                  <a:lnTo>
                    <a:pt x="0" y="53"/>
                  </a:lnTo>
                  <a:lnTo>
                    <a:pt x="23" y="53"/>
                  </a:lnTo>
                  <a:lnTo>
                    <a:pt x="23" y="1"/>
                  </a:lnTo>
                  <a:lnTo>
                    <a:pt x="0" y="0"/>
                  </a:lnTo>
                  <a:close/>
                </a:path>
              </a:pathLst>
            </a:custGeom>
            <a:solidFill>
              <a:srgbClr val="A43D3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2" name="Freeform 780"/>
            <p:cNvSpPr/>
            <p:nvPr/>
          </p:nvSpPr>
          <p:spPr bwMode="auto">
            <a:xfrm>
              <a:off x="3589335" y="5006982"/>
              <a:ext cx="11113" cy="28575"/>
            </a:xfrm>
            <a:custGeom>
              <a:avLst/>
              <a:gdLst>
                <a:gd name="T0" fmla="*/ 0 w 23"/>
                <a:gd name="T1" fmla="*/ 0 h 53"/>
                <a:gd name="T2" fmla="*/ 0 w 23"/>
                <a:gd name="T3" fmla="*/ 53 h 53"/>
                <a:gd name="T4" fmla="*/ 23 w 23"/>
                <a:gd name="T5" fmla="*/ 53 h 53"/>
                <a:gd name="T6" fmla="*/ 23 w 23"/>
                <a:gd name="T7" fmla="*/ 1 h 53"/>
                <a:gd name="T8" fmla="*/ 0 w 23"/>
                <a:gd name="T9" fmla="*/ 0 h 53"/>
              </a:gdLst>
              <a:ahLst/>
              <a:cxnLst>
                <a:cxn ang="0">
                  <a:pos x="T0" y="T1"/>
                </a:cxn>
                <a:cxn ang="0">
                  <a:pos x="T2" y="T3"/>
                </a:cxn>
                <a:cxn ang="0">
                  <a:pos x="T4" y="T5"/>
                </a:cxn>
                <a:cxn ang="0">
                  <a:pos x="T6" y="T7"/>
                </a:cxn>
                <a:cxn ang="0">
                  <a:pos x="T8" y="T9"/>
                </a:cxn>
              </a:cxnLst>
              <a:rect l="0" t="0" r="r" b="b"/>
              <a:pathLst>
                <a:path w="23" h="53">
                  <a:moveTo>
                    <a:pt x="0" y="0"/>
                  </a:moveTo>
                  <a:lnTo>
                    <a:pt x="0" y="53"/>
                  </a:lnTo>
                  <a:lnTo>
                    <a:pt x="23" y="53"/>
                  </a:lnTo>
                  <a:lnTo>
                    <a:pt x="23"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3" name="Freeform 781"/>
            <p:cNvSpPr/>
            <p:nvPr/>
          </p:nvSpPr>
          <p:spPr bwMode="auto">
            <a:xfrm>
              <a:off x="3489322" y="5006982"/>
              <a:ext cx="12700" cy="28575"/>
            </a:xfrm>
            <a:custGeom>
              <a:avLst/>
              <a:gdLst>
                <a:gd name="T0" fmla="*/ 0 w 22"/>
                <a:gd name="T1" fmla="*/ 0 h 54"/>
                <a:gd name="T2" fmla="*/ 0 w 22"/>
                <a:gd name="T3" fmla="*/ 53 h 54"/>
                <a:gd name="T4" fmla="*/ 22 w 22"/>
                <a:gd name="T5" fmla="*/ 54 h 54"/>
                <a:gd name="T6" fmla="*/ 22 w 22"/>
                <a:gd name="T7" fmla="*/ 0 h 54"/>
                <a:gd name="T8" fmla="*/ 0 w 22"/>
                <a:gd name="T9" fmla="*/ 0 h 54"/>
              </a:gdLst>
              <a:ahLst/>
              <a:cxnLst>
                <a:cxn ang="0">
                  <a:pos x="T0" y="T1"/>
                </a:cxn>
                <a:cxn ang="0">
                  <a:pos x="T2" y="T3"/>
                </a:cxn>
                <a:cxn ang="0">
                  <a:pos x="T4" y="T5"/>
                </a:cxn>
                <a:cxn ang="0">
                  <a:pos x="T6" y="T7"/>
                </a:cxn>
                <a:cxn ang="0">
                  <a:pos x="T8" y="T9"/>
                </a:cxn>
              </a:cxnLst>
              <a:rect l="0" t="0" r="r" b="b"/>
              <a:pathLst>
                <a:path w="22" h="54">
                  <a:moveTo>
                    <a:pt x="0" y="0"/>
                  </a:moveTo>
                  <a:lnTo>
                    <a:pt x="0" y="53"/>
                  </a:lnTo>
                  <a:lnTo>
                    <a:pt x="22" y="54"/>
                  </a:lnTo>
                  <a:lnTo>
                    <a:pt x="22" y="0"/>
                  </a:lnTo>
                  <a:lnTo>
                    <a:pt x="0" y="0"/>
                  </a:lnTo>
                  <a:close/>
                </a:path>
              </a:pathLst>
            </a:custGeom>
            <a:solidFill>
              <a:srgbClr val="A43D3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4" name="Freeform 782"/>
            <p:cNvSpPr/>
            <p:nvPr/>
          </p:nvSpPr>
          <p:spPr bwMode="auto">
            <a:xfrm>
              <a:off x="3489322" y="5006982"/>
              <a:ext cx="12700" cy="28575"/>
            </a:xfrm>
            <a:custGeom>
              <a:avLst/>
              <a:gdLst>
                <a:gd name="T0" fmla="*/ 0 w 22"/>
                <a:gd name="T1" fmla="*/ 0 h 54"/>
                <a:gd name="T2" fmla="*/ 0 w 22"/>
                <a:gd name="T3" fmla="*/ 53 h 54"/>
                <a:gd name="T4" fmla="*/ 22 w 22"/>
                <a:gd name="T5" fmla="*/ 54 h 54"/>
                <a:gd name="T6" fmla="*/ 22 w 22"/>
                <a:gd name="T7" fmla="*/ 0 h 54"/>
                <a:gd name="T8" fmla="*/ 0 w 22"/>
                <a:gd name="T9" fmla="*/ 0 h 54"/>
              </a:gdLst>
              <a:ahLst/>
              <a:cxnLst>
                <a:cxn ang="0">
                  <a:pos x="T0" y="T1"/>
                </a:cxn>
                <a:cxn ang="0">
                  <a:pos x="T2" y="T3"/>
                </a:cxn>
                <a:cxn ang="0">
                  <a:pos x="T4" y="T5"/>
                </a:cxn>
                <a:cxn ang="0">
                  <a:pos x="T6" y="T7"/>
                </a:cxn>
                <a:cxn ang="0">
                  <a:pos x="T8" y="T9"/>
                </a:cxn>
              </a:cxnLst>
              <a:rect l="0" t="0" r="r" b="b"/>
              <a:pathLst>
                <a:path w="22" h="54">
                  <a:moveTo>
                    <a:pt x="0" y="0"/>
                  </a:moveTo>
                  <a:lnTo>
                    <a:pt x="0" y="53"/>
                  </a:lnTo>
                  <a:lnTo>
                    <a:pt x="22" y="54"/>
                  </a:lnTo>
                  <a:lnTo>
                    <a:pt x="2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5" name="Rectangle 783"/>
            <p:cNvSpPr>
              <a:spLocks noChangeArrowheads="1"/>
            </p:cNvSpPr>
            <p:nvPr/>
          </p:nvSpPr>
          <p:spPr bwMode="auto">
            <a:xfrm>
              <a:off x="3392485" y="5003807"/>
              <a:ext cx="11113" cy="28575"/>
            </a:xfrm>
            <a:prstGeom prst="rect">
              <a:avLst/>
            </a:prstGeom>
            <a:solidFill>
              <a:srgbClr val="A43D3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56" name="Rectangle 784"/>
            <p:cNvSpPr>
              <a:spLocks noChangeArrowheads="1"/>
            </p:cNvSpPr>
            <p:nvPr/>
          </p:nvSpPr>
          <p:spPr bwMode="auto">
            <a:xfrm>
              <a:off x="3392485" y="5003807"/>
              <a:ext cx="11113"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57" name="Rectangle 785"/>
            <p:cNvSpPr>
              <a:spLocks noChangeArrowheads="1"/>
            </p:cNvSpPr>
            <p:nvPr/>
          </p:nvSpPr>
          <p:spPr bwMode="auto">
            <a:xfrm>
              <a:off x="3303585" y="5002218"/>
              <a:ext cx="12700" cy="28575"/>
            </a:xfrm>
            <a:prstGeom prst="rect">
              <a:avLst/>
            </a:prstGeom>
            <a:solidFill>
              <a:srgbClr val="A43D3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58" name="Rectangle 786"/>
            <p:cNvSpPr>
              <a:spLocks noChangeArrowheads="1"/>
            </p:cNvSpPr>
            <p:nvPr/>
          </p:nvSpPr>
          <p:spPr bwMode="auto">
            <a:xfrm>
              <a:off x="3303585" y="5002218"/>
              <a:ext cx="12700" cy="2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59" name="Freeform 787"/>
            <p:cNvSpPr/>
            <p:nvPr/>
          </p:nvSpPr>
          <p:spPr bwMode="auto">
            <a:xfrm>
              <a:off x="2782886" y="4987932"/>
              <a:ext cx="11113" cy="28575"/>
            </a:xfrm>
            <a:custGeom>
              <a:avLst/>
              <a:gdLst>
                <a:gd name="T0" fmla="*/ 23 w 23"/>
                <a:gd name="T1" fmla="*/ 0 h 53"/>
                <a:gd name="T2" fmla="*/ 23 w 23"/>
                <a:gd name="T3" fmla="*/ 53 h 53"/>
                <a:gd name="T4" fmla="*/ 0 w 23"/>
                <a:gd name="T5" fmla="*/ 52 h 53"/>
                <a:gd name="T6" fmla="*/ 0 w 23"/>
                <a:gd name="T7" fmla="*/ 0 h 53"/>
                <a:gd name="T8" fmla="*/ 23 w 23"/>
                <a:gd name="T9" fmla="*/ 0 h 53"/>
              </a:gdLst>
              <a:ahLst/>
              <a:cxnLst>
                <a:cxn ang="0">
                  <a:pos x="T0" y="T1"/>
                </a:cxn>
                <a:cxn ang="0">
                  <a:pos x="T2" y="T3"/>
                </a:cxn>
                <a:cxn ang="0">
                  <a:pos x="T4" y="T5"/>
                </a:cxn>
                <a:cxn ang="0">
                  <a:pos x="T6" y="T7"/>
                </a:cxn>
                <a:cxn ang="0">
                  <a:pos x="T8" y="T9"/>
                </a:cxn>
              </a:cxnLst>
              <a:rect l="0" t="0" r="r" b="b"/>
              <a:pathLst>
                <a:path w="23" h="53">
                  <a:moveTo>
                    <a:pt x="23" y="0"/>
                  </a:moveTo>
                  <a:lnTo>
                    <a:pt x="23" y="53"/>
                  </a:lnTo>
                  <a:lnTo>
                    <a:pt x="0" y="52"/>
                  </a:lnTo>
                  <a:lnTo>
                    <a:pt x="0" y="0"/>
                  </a:lnTo>
                  <a:lnTo>
                    <a:pt x="23" y="0"/>
                  </a:lnTo>
                  <a:close/>
                </a:path>
              </a:pathLst>
            </a:custGeom>
            <a:solidFill>
              <a:srgbClr val="3263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Rectangle 788"/>
            <p:cNvSpPr>
              <a:spLocks noChangeArrowheads="1"/>
            </p:cNvSpPr>
            <p:nvPr/>
          </p:nvSpPr>
          <p:spPr bwMode="auto">
            <a:xfrm>
              <a:off x="2725736" y="5054607"/>
              <a:ext cx="11113" cy="26988"/>
            </a:xfrm>
            <a:prstGeom prst="rect">
              <a:avLst/>
            </a:prstGeom>
            <a:solidFill>
              <a:srgbClr val="326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61" name="Rectangle 789"/>
            <p:cNvSpPr>
              <a:spLocks noChangeArrowheads="1"/>
            </p:cNvSpPr>
            <p:nvPr/>
          </p:nvSpPr>
          <p:spPr bwMode="auto">
            <a:xfrm>
              <a:off x="2665411" y="5114932"/>
              <a:ext cx="11113" cy="26988"/>
            </a:xfrm>
            <a:prstGeom prst="rect">
              <a:avLst/>
            </a:prstGeom>
            <a:solidFill>
              <a:srgbClr val="326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162" name="Freeform 790"/>
            <p:cNvSpPr/>
            <p:nvPr/>
          </p:nvSpPr>
          <p:spPr bwMode="auto">
            <a:xfrm>
              <a:off x="3205160" y="4740281"/>
              <a:ext cx="60325" cy="100013"/>
            </a:xfrm>
            <a:custGeom>
              <a:avLst/>
              <a:gdLst>
                <a:gd name="T0" fmla="*/ 114 w 114"/>
                <a:gd name="T1" fmla="*/ 2 h 190"/>
                <a:gd name="T2" fmla="*/ 107 w 114"/>
                <a:gd name="T3" fmla="*/ 190 h 190"/>
                <a:gd name="T4" fmla="*/ 0 w 114"/>
                <a:gd name="T5" fmla="*/ 190 h 190"/>
                <a:gd name="T6" fmla="*/ 4 w 114"/>
                <a:gd name="T7" fmla="*/ 0 h 190"/>
                <a:gd name="T8" fmla="*/ 114 w 114"/>
                <a:gd name="T9" fmla="*/ 2 h 190"/>
              </a:gdLst>
              <a:ahLst/>
              <a:cxnLst>
                <a:cxn ang="0">
                  <a:pos x="T0" y="T1"/>
                </a:cxn>
                <a:cxn ang="0">
                  <a:pos x="T2" y="T3"/>
                </a:cxn>
                <a:cxn ang="0">
                  <a:pos x="T4" y="T5"/>
                </a:cxn>
                <a:cxn ang="0">
                  <a:pos x="T6" y="T7"/>
                </a:cxn>
                <a:cxn ang="0">
                  <a:pos x="T8" y="T9"/>
                </a:cxn>
              </a:cxnLst>
              <a:rect l="0" t="0" r="r" b="b"/>
              <a:pathLst>
                <a:path w="114" h="190">
                  <a:moveTo>
                    <a:pt x="114" y="2"/>
                  </a:moveTo>
                  <a:lnTo>
                    <a:pt x="107" y="190"/>
                  </a:lnTo>
                  <a:lnTo>
                    <a:pt x="0" y="190"/>
                  </a:lnTo>
                  <a:lnTo>
                    <a:pt x="4" y="0"/>
                  </a:lnTo>
                  <a:lnTo>
                    <a:pt x="114" y="2"/>
                  </a:lnTo>
                  <a:close/>
                </a:path>
              </a:pathLst>
            </a:custGeom>
            <a:solidFill>
              <a:srgbClr val="336C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3" name="Freeform 791"/>
            <p:cNvSpPr/>
            <p:nvPr/>
          </p:nvSpPr>
          <p:spPr bwMode="auto">
            <a:xfrm>
              <a:off x="3116260" y="4737106"/>
              <a:ext cx="69850" cy="103188"/>
            </a:xfrm>
            <a:custGeom>
              <a:avLst/>
              <a:gdLst>
                <a:gd name="T0" fmla="*/ 130 w 130"/>
                <a:gd name="T1" fmla="*/ 2 h 194"/>
                <a:gd name="T2" fmla="*/ 125 w 130"/>
                <a:gd name="T3" fmla="*/ 194 h 194"/>
                <a:gd name="T4" fmla="*/ 0 w 130"/>
                <a:gd name="T5" fmla="*/ 194 h 194"/>
                <a:gd name="T6" fmla="*/ 4 w 130"/>
                <a:gd name="T7" fmla="*/ 0 h 194"/>
                <a:gd name="T8" fmla="*/ 130 w 130"/>
                <a:gd name="T9" fmla="*/ 2 h 194"/>
              </a:gdLst>
              <a:ahLst/>
              <a:cxnLst>
                <a:cxn ang="0">
                  <a:pos x="T0" y="T1"/>
                </a:cxn>
                <a:cxn ang="0">
                  <a:pos x="T2" y="T3"/>
                </a:cxn>
                <a:cxn ang="0">
                  <a:pos x="T4" y="T5"/>
                </a:cxn>
                <a:cxn ang="0">
                  <a:pos x="T6" y="T7"/>
                </a:cxn>
                <a:cxn ang="0">
                  <a:pos x="T8" y="T9"/>
                </a:cxn>
              </a:cxnLst>
              <a:rect l="0" t="0" r="r" b="b"/>
              <a:pathLst>
                <a:path w="130" h="194">
                  <a:moveTo>
                    <a:pt x="130" y="2"/>
                  </a:moveTo>
                  <a:lnTo>
                    <a:pt x="125" y="194"/>
                  </a:lnTo>
                  <a:lnTo>
                    <a:pt x="0" y="194"/>
                  </a:lnTo>
                  <a:lnTo>
                    <a:pt x="4" y="0"/>
                  </a:lnTo>
                  <a:lnTo>
                    <a:pt x="130" y="2"/>
                  </a:lnTo>
                  <a:close/>
                </a:path>
              </a:pathLst>
            </a:custGeom>
            <a:solidFill>
              <a:srgbClr val="336C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4" name="Freeform 792"/>
            <p:cNvSpPr/>
            <p:nvPr/>
          </p:nvSpPr>
          <p:spPr bwMode="auto">
            <a:xfrm>
              <a:off x="2946398" y="4733931"/>
              <a:ext cx="63500" cy="104775"/>
            </a:xfrm>
            <a:custGeom>
              <a:avLst/>
              <a:gdLst>
                <a:gd name="T0" fmla="*/ 0 w 119"/>
                <a:gd name="T1" fmla="*/ 0 h 200"/>
                <a:gd name="T2" fmla="*/ 116 w 119"/>
                <a:gd name="T3" fmla="*/ 2 h 200"/>
                <a:gd name="T4" fmla="*/ 119 w 119"/>
                <a:gd name="T5" fmla="*/ 200 h 200"/>
                <a:gd name="T6" fmla="*/ 5 w 119"/>
                <a:gd name="T7" fmla="*/ 200 h 200"/>
                <a:gd name="T8" fmla="*/ 0 w 119"/>
                <a:gd name="T9" fmla="*/ 0 h 200"/>
              </a:gdLst>
              <a:ahLst/>
              <a:cxnLst>
                <a:cxn ang="0">
                  <a:pos x="T0" y="T1"/>
                </a:cxn>
                <a:cxn ang="0">
                  <a:pos x="T2" y="T3"/>
                </a:cxn>
                <a:cxn ang="0">
                  <a:pos x="T4" y="T5"/>
                </a:cxn>
                <a:cxn ang="0">
                  <a:pos x="T6" y="T7"/>
                </a:cxn>
                <a:cxn ang="0">
                  <a:pos x="T8" y="T9"/>
                </a:cxn>
              </a:cxnLst>
              <a:rect l="0" t="0" r="r" b="b"/>
              <a:pathLst>
                <a:path w="119" h="200">
                  <a:moveTo>
                    <a:pt x="0" y="0"/>
                  </a:moveTo>
                  <a:lnTo>
                    <a:pt x="116" y="2"/>
                  </a:lnTo>
                  <a:lnTo>
                    <a:pt x="119" y="200"/>
                  </a:lnTo>
                  <a:lnTo>
                    <a:pt x="5" y="200"/>
                  </a:lnTo>
                  <a:lnTo>
                    <a:pt x="0" y="0"/>
                  </a:lnTo>
                  <a:close/>
                </a:path>
              </a:pathLst>
            </a:custGeom>
            <a:solidFill>
              <a:srgbClr val="336C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5" name="Freeform 793"/>
            <p:cNvSpPr/>
            <p:nvPr/>
          </p:nvSpPr>
          <p:spPr bwMode="auto">
            <a:xfrm>
              <a:off x="3030535" y="4735518"/>
              <a:ext cx="65088" cy="104775"/>
            </a:xfrm>
            <a:custGeom>
              <a:avLst/>
              <a:gdLst>
                <a:gd name="T0" fmla="*/ 124 w 124"/>
                <a:gd name="T1" fmla="*/ 2 h 198"/>
                <a:gd name="T2" fmla="*/ 122 w 124"/>
                <a:gd name="T3" fmla="*/ 198 h 198"/>
                <a:gd name="T4" fmla="*/ 4 w 124"/>
                <a:gd name="T5" fmla="*/ 196 h 198"/>
                <a:gd name="T6" fmla="*/ 0 w 124"/>
                <a:gd name="T7" fmla="*/ 0 h 198"/>
                <a:gd name="T8" fmla="*/ 124 w 124"/>
                <a:gd name="T9" fmla="*/ 2 h 198"/>
              </a:gdLst>
              <a:ahLst/>
              <a:cxnLst>
                <a:cxn ang="0">
                  <a:pos x="T0" y="T1"/>
                </a:cxn>
                <a:cxn ang="0">
                  <a:pos x="T2" y="T3"/>
                </a:cxn>
                <a:cxn ang="0">
                  <a:pos x="T4" y="T5"/>
                </a:cxn>
                <a:cxn ang="0">
                  <a:pos x="T6" y="T7"/>
                </a:cxn>
                <a:cxn ang="0">
                  <a:pos x="T8" y="T9"/>
                </a:cxn>
              </a:cxnLst>
              <a:rect l="0" t="0" r="r" b="b"/>
              <a:pathLst>
                <a:path w="124" h="198">
                  <a:moveTo>
                    <a:pt x="124" y="2"/>
                  </a:moveTo>
                  <a:lnTo>
                    <a:pt x="122" y="198"/>
                  </a:lnTo>
                  <a:lnTo>
                    <a:pt x="4" y="196"/>
                  </a:lnTo>
                  <a:lnTo>
                    <a:pt x="0" y="0"/>
                  </a:lnTo>
                  <a:lnTo>
                    <a:pt x="124" y="2"/>
                  </a:lnTo>
                  <a:close/>
                </a:path>
              </a:pathLst>
            </a:custGeom>
            <a:solidFill>
              <a:srgbClr val="AD46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6" name="Freeform 794"/>
            <p:cNvSpPr/>
            <p:nvPr/>
          </p:nvSpPr>
          <p:spPr bwMode="auto">
            <a:xfrm>
              <a:off x="3032122" y="4852993"/>
              <a:ext cx="63500" cy="103188"/>
            </a:xfrm>
            <a:custGeom>
              <a:avLst/>
              <a:gdLst>
                <a:gd name="T0" fmla="*/ 118 w 118"/>
                <a:gd name="T1" fmla="*/ 3 h 194"/>
                <a:gd name="T2" fmla="*/ 116 w 118"/>
                <a:gd name="T3" fmla="*/ 194 h 194"/>
                <a:gd name="T4" fmla="*/ 3 w 118"/>
                <a:gd name="T5" fmla="*/ 194 h 194"/>
                <a:gd name="T6" fmla="*/ 0 w 118"/>
                <a:gd name="T7" fmla="*/ 0 h 194"/>
                <a:gd name="T8" fmla="*/ 118 w 118"/>
                <a:gd name="T9" fmla="*/ 3 h 194"/>
              </a:gdLst>
              <a:ahLst/>
              <a:cxnLst>
                <a:cxn ang="0">
                  <a:pos x="T0" y="T1"/>
                </a:cxn>
                <a:cxn ang="0">
                  <a:pos x="T2" y="T3"/>
                </a:cxn>
                <a:cxn ang="0">
                  <a:pos x="T4" y="T5"/>
                </a:cxn>
                <a:cxn ang="0">
                  <a:pos x="T6" y="T7"/>
                </a:cxn>
                <a:cxn ang="0">
                  <a:pos x="T8" y="T9"/>
                </a:cxn>
              </a:cxnLst>
              <a:rect l="0" t="0" r="r" b="b"/>
              <a:pathLst>
                <a:path w="118" h="194">
                  <a:moveTo>
                    <a:pt x="118" y="3"/>
                  </a:moveTo>
                  <a:lnTo>
                    <a:pt x="116" y="194"/>
                  </a:lnTo>
                  <a:lnTo>
                    <a:pt x="3" y="194"/>
                  </a:lnTo>
                  <a:lnTo>
                    <a:pt x="0" y="0"/>
                  </a:lnTo>
                  <a:lnTo>
                    <a:pt x="118" y="3"/>
                  </a:lnTo>
                  <a:close/>
                </a:path>
              </a:pathLst>
            </a:custGeom>
            <a:solidFill>
              <a:srgbClr val="C65E5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7" name="Freeform 795"/>
            <p:cNvSpPr/>
            <p:nvPr/>
          </p:nvSpPr>
          <p:spPr bwMode="auto">
            <a:xfrm>
              <a:off x="2949572" y="4851406"/>
              <a:ext cx="60325" cy="104775"/>
            </a:xfrm>
            <a:custGeom>
              <a:avLst/>
              <a:gdLst>
                <a:gd name="T0" fmla="*/ 0 w 115"/>
                <a:gd name="T1" fmla="*/ 0 h 197"/>
                <a:gd name="T2" fmla="*/ 114 w 115"/>
                <a:gd name="T3" fmla="*/ 3 h 197"/>
                <a:gd name="T4" fmla="*/ 115 w 115"/>
                <a:gd name="T5" fmla="*/ 197 h 197"/>
                <a:gd name="T6" fmla="*/ 3 w 115"/>
                <a:gd name="T7" fmla="*/ 196 h 197"/>
                <a:gd name="T8" fmla="*/ 0 w 115"/>
                <a:gd name="T9" fmla="*/ 0 h 197"/>
              </a:gdLst>
              <a:ahLst/>
              <a:cxnLst>
                <a:cxn ang="0">
                  <a:pos x="T0" y="T1"/>
                </a:cxn>
                <a:cxn ang="0">
                  <a:pos x="T2" y="T3"/>
                </a:cxn>
                <a:cxn ang="0">
                  <a:pos x="T4" y="T5"/>
                </a:cxn>
                <a:cxn ang="0">
                  <a:pos x="T6" y="T7"/>
                </a:cxn>
                <a:cxn ang="0">
                  <a:pos x="T8" y="T9"/>
                </a:cxn>
              </a:cxnLst>
              <a:rect l="0" t="0" r="r" b="b"/>
              <a:pathLst>
                <a:path w="115" h="197">
                  <a:moveTo>
                    <a:pt x="0" y="0"/>
                  </a:moveTo>
                  <a:lnTo>
                    <a:pt x="114" y="3"/>
                  </a:lnTo>
                  <a:lnTo>
                    <a:pt x="115" y="197"/>
                  </a:lnTo>
                  <a:lnTo>
                    <a:pt x="3" y="196"/>
                  </a:lnTo>
                  <a:lnTo>
                    <a:pt x="0" y="0"/>
                  </a:lnTo>
                  <a:close/>
                </a:path>
              </a:pathLst>
            </a:custGeom>
            <a:solidFill>
              <a:srgbClr val="C65E5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8" name="Freeform 796"/>
            <p:cNvSpPr/>
            <p:nvPr/>
          </p:nvSpPr>
          <p:spPr bwMode="auto">
            <a:xfrm>
              <a:off x="3116260" y="4856168"/>
              <a:ext cx="66675" cy="101600"/>
            </a:xfrm>
            <a:custGeom>
              <a:avLst/>
              <a:gdLst>
                <a:gd name="T0" fmla="*/ 127 w 127"/>
                <a:gd name="T1" fmla="*/ 3 h 192"/>
                <a:gd name="T2" fmla="*/ 123 w 127"/>
                <a:gd name="T3" fmla="*/ 192 h 192"/>
                <a:gd name="T4" fmla="*/ 0 w 127"/>
                <a:gd name="T5" fmla="*/ 192 h 192"/>
                <a:gd name="T6" fmla="*/ 1 w 127"/>
                <a:gd name="T7" fmla="*/ 0 h 192"/>
                <a:gd name="T8" fmla="*/ 127 w 127"/>
                <a:gd name="T9" fmla="*/ 3 h 192"/>
              </a:gdLst>
              <a:ahLst/>
              <a:cxnLst>
                <a:cxn ang="0">
                  <a:pos x="T0" y="T1"/>
                </a:cxn>
                <a:cxn ang="0">
                  <a:pos x="T2" y="T3"/>
                </a:cxn>
                <a:cxn ang="0">
                  <a:pos x="T4" y="T5"/>
                </a:cxn>
                <a:cxn ang="0">
                  <a:pos x="T6" y="T7"/>
                </a:cxn>
                <a:cxn ang="0">
                  <a:pos x="T8" y="T9"/>
                </a:cxn>
              </a:cxnLst>
              <a:rect l="0" t="0" r="r" b="b"/>
              <a:pathLst>
                <a:path w="127" h="192">
                  <a:moveTo>
                    <a:pt x="127" y="3"/>
                  </a:moveTo>
                  <a:lnTo>
                    <a:pt x="123" y="192"/>
                  </a:lnTo>
                  <a:lnTo>
                    <a:pt x="0" y="192"/>
                  </a:lnTo>
                  <a:lnTo>
                    <a:pt x="1" y="0"/>
                  </a:lnTo>
                  <a:lnTo>
                    <a:pt x="127" y="3"/>
                  </a:lnTo>
                  <a:close/>
                </a:path>
              </a:pathLst>
            </a:custGeom>
            <a:solidFill>
              <a:srgbClr val="AD46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9" name="Freeform 797"/>
            <p:cNvSpPr/>
            <p:nvPr/>
          </p:nvSpPr>
          <p:spPr bwMode="auto">
            <a:xfrm>
              <a:off x="3205160" y="4857756"/>
              <a:ext cx="55563" cy="100013"/>
            </a:xfrm>
            <a:custGeom>
              <a:avLst/>
              <a:gdLst>
                <a:gd name="T0" fmla="*/ 107 w 107"/>
                <a:gd name="T1" fmla="*/ 3 h 189"/>
                <a:gd name="T2" fmla="*/ 98 w 107"/>
                <a:gd name="T3" fmla="*/ 189 h 189"/>
                <a:gd name="T4" fmla="*/ 0 w 107"/>
                <a:gd name="T5" fmla="*/ 189 h 189"/>
                <a:gd name="T6" fmla="*/ 2 w 107"/>
                <a:gd name="T7" fmla="*/ 0 h 189"/>
                <a:gd name="T8" fmla="*/ 107 w 107"/>
                <a:gd name="T9" fmla="*/ 3 h 189"/>
              </a:gdLst>
              <a:ahLst/>
              <a:cxnLst>
                <a:cxn ang="0">
                  <a:pos x="T0" y="T1"/>
                </a:cxn>
                <a:cxn ang="0">
                  <a:pos x="T2" y="T3"/>
                </a:cxn>
                <a:cxn ang="0">
                  <a:pos x="T4" y="T5"/>
                </a:cxn>
                <a:cxn ang="0">
                  <a:pos x="T6" y="T7"/>
                </a:cxn>
                <a:cxn ang="0">
                  <a:pos x="T8" y="T9"/>
                </a:cxn>
              </a:cxnLst>
              <a:rect l="0" t="0" r="r" b="b"/>
              <a:pathLst>
                <a:path w="107" h="189">
                  <a:moveTo>
                    <a:pt x="107" y="3"/>
                  </a:moveTo>
                  <a:lnTo>
                    <a:pt x="98" y="189"/>
                  </a:lnTo>
                  <a:lnTo>
                    <a:pt x="0" y="189"/>
                  </a:lnTo>
                  <a:lnTo>
                    <a:pt x="2" y="0"/>
                  </a:lnTo>
                  <a:lnTo>
                    <a:pt x="107" y="3"/>
                  </a:lnTo>
                  <a:close/>
                </a:path>
              </a:pathLst>
            </a:custGeom>
            <a:solidFill>
              <a:srgbClr val="C65E5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0" name="Freeform 798"/>
            <p:cNvSpPr/>
            <p:nvPr/>
          </p:nvSpPr>
          <p:spPr bwMode="auto">
            <a:xfrm>
              <a:off x="3205160" y="4970468"/>
              <a:ext cx="50800" cy="106363"/>
            </a:xfrm>
            <a:custGeom>
              <a:avLst/>
              <a:gdLst>
                <a:gd name="T0" fmla="*/ 96 w 96"/>
                <a:gd name="T1" fmla="*/ 2 h 199"/>
                <a:gd name="T2" fmla="*/ 92 w 96"/>
                <a:gd name="T3" fmla="*/ 199 h 199"/>
                <a:gd name="T4" fmla="*/ 0 w 96"/>
                <a:gd name="T5" fmla="*/ 199 h 199"/>
                <a:gd name="T6" fmla="*/ 1 w 96"/>
                <a:gd name="T7" fmla="*/ 0 h 199"/>
                <a:gd name="T8" fmla="*/ 96 w 96"/>
                <a:gd name="T9" fmla="*/ 2 h 199"/>
              </a:gdLst>
              <a:ahLst/>
              <a:cxnLst>
                <a:cxn ang="0">
                  <a:pos x="T0" y="T1"/>
                </a:cxn>
                <a:cxn ang="0">
                  <a:pos x="T2" y="T3"/>
                </a:cxn>
                <a:cxn ang="0">
                  <a:pos x="T4" y="T5"/>
                </a:cxn>
                <a:cxn ang="0">
                  <a:pos x="T6" y="T7"/>
                </a:cxn>
                <a:cxn ang="0">
                  <a:pos x="T8" y="T9"/>
                </a:cxn>
              </a:cxnLst>
              <a:rect l="0" t="0" r="r" b="b"/>
              <a:pathLst>
                <a:path w="96" h="199">
                  <a:moveTo>
                    <a:pt x="96" y="2"/>
                  </a:moveTo>
                  <a:lnTo>
                    <a:pt x="92" y="199"/>
                  </a:lnTo>
                  <a:lnTo>
                    <a:pt x="0" y="199"/>
                  </a:lnTo>
                  <a:lnTo>
                    <a:pt x="1" y="0"/>
                  </a:lnTo>
                  <a:lnTo>
                    <a:pt x="96" y="2"/>
                  </a:lnTo>
                  <a:close/>
                </a:path>
              </a:pathLst>
            </a:custGeom>
            <a:solidFill>
              <a:srgbClr val="AD46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1" name="Freeform 799"/>
            <p:cNvSpPr/>
            <p:nvPr/>
          </p:nvSpPr>
          <p:spPr bwMode="auto">
            <a:xfrm>
              <a:off x="3116260" y="4970468"/>
              <a:ext cx="66675" cy="106363"/>
            </a:xfrm>
            <a:custGeom>
              <a:avLst/>
              <a:gdLst>
                <a:gd name="T0" fmla="*/ 125 w 125"/>
                <a:gd name="T1" fmla="*/ 1 h 201"/>
                <a:gd name="T2" fmla="*/ 118 w 125"/>
                <a:gd name="T3" fmla="*/ 201 h 201"/>
                <a:gd name="T4" fmla="*/ 0 w 125"/>
                <a:gd name="T5" fmla="*/ 201 h 201"/>
                <a:gd name="T6" fmla="*/ 0 w 125"/>
                <a:gd name="T7" fmla="*/ 0 h 201"/>
                <a:gd name="T8" fmla="*/ 125 w 125"/>
                <a:gd name="T9" fmla="*/ 1 h 201"/>
              </a:gdLst>
              <a:ahLst/>
              <a:cxnLst>
                <a:cxn ang="0">
                  <a:pos x="T0" y="T1"/>
                </a:cxn>
                <a:cxn ang="0">
                  <a:pos x="T2" y="T3"/>
                </a:cxn>
                <a:cxn ang="0">
                  <a:pos x="T4" y="T5"/>
                </a:cxn>
                <a:cxn ang="0">
                  <a:pos x="T6" y="T7"/>
                </a:cxn>
                <a:cxn ang="0">
                  <a:pos x="T8" y="T9"/>
                </a:cxn>
              </a:cxnLst>
              <a:rect l="0" t="0" r="r" b="b"/>
              <a:pathLst>
                <a:path w="125" h="201">
                  <a:moveTo>
                    <a:pt x="125" y="1"/>
                  </a:moveTo>
                  <a:lnTo>
                    <a:pt x="118" y="201"/>
                  </a:lnTo>
                  <a:lnTo>
                    <a:pt x="0" y="201"/>
                  </a:lnTo>
                  <a:lnTo>
                    <a:pt x="0" y="0"/>
                  </a:lnTo>
                  <a:lnTo>
                    <a:pt x="125" y="1"/>
                  </a:lnTo>
                  <a:close/>
                </a:path>
              </a:pathLst>
            </a:custGeom>
            <a:solidFill>
              <a:srgbClr val="336C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2" name="Freeform 800"/>
            <p:cNvSpPr/>
            <p:nvPr/>
          </p:nvSpPr>
          <p:spPr bwMode="auto">
            <a:xfrm>
              <a:off x="2951160" y="4967294"/>
              <a:ext cx="61913" cy="109538"/>
            </a:xfrm>
            <a:custGeom>
              <a:avLst/>
              <a:gdLst>
                <a:gd name="T0" fmla="*/ 0 w 116"/>
                <a:gd name="T1" fmla="*/ 0 h 205"/>
                <a:gd name="T2" fmla="*/ 115 w 116"/>
                <a:gd name="T3" fmla="*/ 1 h 205"/>
                <a:gd name="T4" fmla="*/ 116 w 116"/>
                <a:gd name="T5" fmla="*/ 205 h 205"/>
                <a:gd name="T6" fmla="*/ 3 w 116"/>
                <a:gd name="T7" fmla="*/ 205 h 205"/>
                <a:gd name="T8" fmla="*/ 0 w 116"/>
                <a:gd name="T9" fmla="*/ 0 h 205"/>
              </a:gdLst>
              <a:ahLst/>
              <a:cxnLst>
                <a:cxn ang="0">
                  <a:pos x="T0" y="T1"/>
                </a:cxn>
                <a:cxn ang="0">
                  <a:pos x="T2" y="T3"/>
                </a:cxn>
                <a:cxn ang="0">
                  <a:pos x="T4" y="T5"/>
                </a:cxn>
                <a:cxn ang="0">
                  <a:pos x="T6" y="T7"/>
                </a:cxn>
                <a:cxn ang="0">
                  <a:pos x="T8" y="T9"/>
                </a:cxn>
              </a:cxnLst>
              <a:rect l="0" t="0" r="r" b="b"/>
              <a:pathLst>
                <a:path w="116" h="205">
                  <a:moveTo>
                    <a:pt x="0" y="0"/>
                  </a:moveTo>
                  <a:lnTo>
                    <a:pt x="115" y="1"/>
                  </a:lnTo>
                  <a:lnTo>
                    <a:pt x="116" y="205"/>
                  </a:lnTo>
                  <a:lnTo>
                    <a:pt x="3" y="205"/>
                  </a:lnTo>
                  <a:lnTo>
                    <a:pt x="0" y="0"/>
                  </a:lnTo>
                  <a:close/>
                </a:path>
              </a:pathLst>
            </a:custGeom>
            <a:solidFill>
              <a:srgbClr val="336C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3" name="Freeform 801"/>
            <p:cNvSpPr/>
            <p:nvPr/>
          </p:nvSpPr>
          <p:spPr bwMode="auto">
            <a:xfrm>
              <a:off x="3036886" y="4968881"/>
              <a:ext cx="58738" cy="107950"/>
            </a:xfrm>
            <a:custGeom>
              <a:avLst/>
              <a:gdLst>
                <a:gd name="T0" fmla="*/ 111 w 111"/>
                <a:gd name="T1" fmla="*/ 2 h 203"/>
                <a:gd name="T2" fmla="*/ 110 w 111"/>
                <a:gd name="T3" fmla="*/ 203 h 203"/>
                <a:gd name="T4" fmla="*/ 3 w 111"/>
                <a:gd name="T5" fmla="*/ 203 h 203"/>
                <a:gd name="T6" fmla="*/ 0 w 111"/>
                <a:gd name="T7" fmla="*/ 0 h 203"/>
                <a:gd name="T8" fmla="*/ 111 w 111"/>
                <a:gd name="T9" fmla="*/ 2 h 203"/>
              </a:gdLst>
              <a:ahLst/>
              <a:cxnLst>
                <a:cxn ang="0">
                  <a:pos x="T0" y="T1"/>
                </a:cxn>
                <a:cxn ang="0">
                  <a:pos x="T2" y="T3"/>
                </a:cxn>
                <a:cxn ang="0">
                  <a:pos x="T4" y="T5"/>
                </a:cxn>
                <a:cxn ang="0">
                  <a:pos x="T6" y="T7"/>
                </a:cxn>
                <a:cxn ang="0">
                  <a:pos x="T8" y="T9"/>
                </a:cxn>
              </a:cxnLst>
              <a:rect l="0" t="0" r="r" b="b"/>
              <a:pathLst>
                <a:path w="111" h="203">
                  <a:moveTo>
                    <a:pt x="111" y="2"/>
                  </a:moveTo>
                  <a:lnTo>
                    <a:pt x="110" y="203"/>
                  </a:lnTo>
                  <a:lnTo>
                    <a:pt x="3" y="203"/>
                  </a:lnTo>
                  <a:lnTo>
                    <a:pt x="0" y="0"/>
                  </a:lnTo>
                  <a:lnTo>
                    <a:pt x="111" y="2"/>
                  </a:lnTo>
                  <a:close/>
                </a:path>
              </a:pathLst>
            </a:custGeom>
            <a:solidFill>
              <a:srgbClr val="336C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4" name="Freeform 802"/>
            <p:cNvSpPr/>
            <p:nvPr/>
          </p:nvSpPr>
          <p:spPr bwMode="auto">
            <a:xfrm>
              <a:off x="2938460" y="4192593"/>
              <a:ext cx="44450" cy="358776"/>
            </a:xfrm>
            <a:custGeom>
              <a:avLst/>
              <a:gdLst>
                <a:gd name="T0" fmla="*/ 67 w 83"/>
                <a:gd name="T1" fmla="*/ 8 h 678"/>
                <a:gd name="T2" fmla="*/ 67 w 83"/>
                <a:gd name="T3" fmla="*/ 8 h 678"/>
                <a:gd name="T4" fmla="*/ 60 w 83"/>
                <a:gd name="T5" fmla="*/ 6 h 678"/>
                <a:gd name="T6" fmla="*/ 44 w 83"/>
                <a:gd name="T7" fmla="*/ 1 h 678"/>
                <a:gd name="T8" fmla="*/ 34 w 83"/>
                <a:gd name="T9" fmla="*/ 0 h 678"/>
                <a:gd name="T10" fmla="*/ 23 w 83"/>
                <a:gd name="T11" fmla="*/ 0 h 678"/>
                <a:gd name="T12" fmla="*/ 11 w 83"/>
                <a:gd name="T13" fmla="*/ 2 h 678"/>
                <a:gd name="T14" fmla="*/ 0 w 83"/>
                <a:gd name="T15" fmla="*/ 6 h 678"/>
                <a:gd name="T16" fmla="*/ 0 w 83"/>
                <a:gd name="T17" fmla="*/ 678 h 678"/>
                <a:gd name="T18" fmla="*/ 83 w 83"/>
                <a:gd name="T19" fmla="*/ 632 h 678"/>
                <a:gd name="T20" fmla="*/ 67 w 83"/>
                <a:gd name="T21" fmla="*/ 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678">
                  <a:moveTo>
                    <a:pt x="67" y="8"/>
                  </a:moveTo>
                  <a:lnTo>
                    <a:pt x="67" y="8"/>
                  </a:lnTo>
                  <a:lnTo>
                    <a:pt x="60" y="6"/>
                  </a:lnTo>
                  <a:lnTo>
                    <a:pt x="44" y="1"/>
                  </a:lnTo>
                  <a:lnTo>
                    <a:pt x="34" y="0"/>
                  </a:lnTo>
                  <a:lnTo>
                    <a:pt x="23" y="0"/>
                  </a:lnTo>
                  <a:lnTo>
                    <a:pt x="11" y="2"/>
                  </a:lnTo>
                  <a:lnTo>
                    <a:pt x="0" y="6"/>
                  </a:lnTo>
                  <a:lnTo>
                    <a:pt x="0" y="678"/>
                  </a:lnTo>
                  <a:lnTo>
                    <a:pt x="83" y="632"/>
                  </a:lnTo>
                  <a:lnTo>
                    <a:pt x="67" y="8"/>
                  </a:lnTo>
                  <a:close/>
                </a:path>
              </a:pathLst>
            </a:custGeom>
            <a:solidFill>
              <a:srgbClr val="81BFC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5" name="Freeform 803"/>
            <p:cNvSpPr/>
            <p:nvPr/>
          </p:nvSpPr>
          <p:spPr bwMode="auto">
            <a:xfrm>
              <a:off x="3225797" y="4219581"/>
              <a:ext cx="46038" cy="347663"/>
            </a:xfrm>
            <a:custGeom>
              <a:avLst/>
              <a:gdLst>
                <a:gd name="T0" fmla="*/ 85 w 87"/>
                <a:gd name="T1" fmla="*/ 7 h 655"/>
                <a:gd name="T2" fmla="*/ 85 w 87"/>
                <a:gd name="T3" fmla="*/ 7 h 655"/>
                <a:gd name="T4" fmla="*/ 81 w 87"/>
                <a:gd name="T5" fmla="*/ 6 h 655"/>
                <a:gd name="T6" fmla="*/ 70 w 87"/>
                <a:gd name="T7" fmla="*/ 2 h 655"/>
                <a:gd name="T8" fmla="*/ 63 w 87"/>
                <a:gd name="T9" fmla="*/ 0 h 655"/>
                <a:gd name="T10" fmla="*/ 55 w 87"/>
                <a:gd name="T11" fmla="*/ 2 h 655"/>
                <a:gd name="T12" fmla="*/ 47 w 87"/>
                <a:gd name="T13" fmla="*/ 3 h 655"/>
                <a:gd name="T14" fmla="*/ 38 w 87"/>
                <a:gd name="T15" fmla="*/ 6 h 655"/>
                <a:gd name="T16" fmla="*/ 0 w 87"/>
                <a:gd name="T17" fmla="*/ 601 h 655"/>
                <a:gd name="T18" fmla="*/ 87 w 87"/>
                <a:gd name="T19" fmla="*/ 655 h 655"/>
                <a:gd name="T20" fmla="*/ 85 w 87"/>
                <a:gd name="T21" fmla="*/ 7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 h="655">
                  <a:moveTo>
                    <a:pt x="85" y="7"/>
                  </a:moveTo>
                  <a:lnTo>
                    <a:pt x="85" y="7"/>
                  </a:lnTo>
                  <a:lnTo>
                    <a:pt x="81" y="6"/>
                  </a:lnTo>
                  <a:lnTo>
                    <a:pt x="70" y="2"/>
                  </a:lnTo>
                  <a:lnTo>
                    <a:pt x="63" y="0"/>
                  </a:lnTo>
                  <a:lnTo>
                    <a:pt x="55" y="2"/>
                  </a:lnTo>
                  <a:lnTo>
                    <a:pt x="47" y="3"/>
                  </a:lnTo>
                  <a:lnTo>
                    <a:pt x="38" y="6"/>
                  </a:lnTo>
                  <a:lnTo>
                    <a:pt x="0" y="601"/>
                  </a:lnTo>
                  <a:lnTo>
                    <a:pt x="87" y="655"/>
                  </a:lnTo>
                  <a:lnTo>
                    <a:pt x="85" y="7"/>
                  </a:lnTo>
                  <a:close/>
                </a:path>
              </a:pathLst>
            </a:custGeom>
            <a:solidFill>
              <a:srgbClr val="81BFC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6" name="Freeform 804"/>
            <p:cNvSpPr/>
            <p:nvPr/>
          </p:nvSpPr>
          <p:spPr bwMode="auto">
            <a:xfrm>
              <a:off x="3038473" y="4260855"/>
              <a:ext cx="26988" cy="227013"/>
            </a:xfrm>
            <a:custGeom>
              <a:avLst/>
              <a:gdLst>
                <a:gd name="T0" fmla="*/ 49 w 50"/>
                <a:gd name="T1" fmla="*/ 4 h 430"/>
                <a:gd name="T2" fmla="*/ 49 w 50"/>
                <a:gd name="T3" fmla="*/ 4 h 430"/>
                <a:gd name="T4" fmla="*/ 45 w 50"/>
                <a:gd name="T5" fmla="*/ 3 h 430"/>
                <a:gd name="T6" fmla="*/ 37 w 50"/>
                <a:gd name="T7" fmla="*/ 0 h 430"/>
                <a:gd name="T8" fmla="*/ 30 w 50"/>
                <a:gd name="T9" fmla="*/ 0 h 430"/>
                <a:gd name="T10" fmla="*/ 25 w 50"/>
                <a:gd name="T11" fmla="*/ 0 h 430"/>
                <a:gd name="T12" fmla="*/ 18 w 50"/>
                <a:gd name="T13" fmla="*/ 2 h 430"/>
                <a:gd name="T14" fmla="*/ 12 w 50"/>
                <a:gd name="T15" fmla="*/ 4 h 430"/>
                <a:gd name="T16" fmla="*/ 0 w 50"/>
                <a:gd name="T17" fmla="*/ 430 h 430"/>
                <a:gd name="T18" fmla="*/ 50 w 50"/>
                <a:gd name="T19" fmla="*/ 422 h 430"/>
                <a:gd name="T20" fmla="*/ 49 w 50"/>
                <a:gd name="T21" fmla="*/ 4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430">
                  <a:moveTo>
                    <a:pt x="49" y="4"/>
                  </a:moveTo>
                  <a:lnTo>
                    <a:pt x="49" y="4"/>
                  </a:lnTo>
                  <a:lnTo>
                    <a:pt x="45" y="3"/>
                  </a:lnTo>
                  <a:lnTo>
                    <a:pt x="37" y="0"/>
                  </a:lnTo>
                  <a:lnTo>
                    <a:pt x="30" y="0"/>
                  </a:lnTo>
                  <a:lnTo>
                    <a:pt x="25" y="0"/>
                  </a:lnTo>
                  <a:lnTo>
                    <a:pt x="18" y="2"/>
                  </a:lnTo>
                  <a:lnTo>
                    <a:pt x="12" y="4"/>
                  </a:lnTo>
                  <a:lnTo>
                    <a:pt x="0" y="430"/>
                  </a:lnTo>
                  <a:lnTo>
                    <a:pt x="50" y="422"/>
                  </a:lnTo>
                  <a:lnTo>
                    <a:pt x="49" y="4"/>
                  </a:lnTo>
                  <a:close/>
                </a:path>
              </a:pathLst>
            </a:custGeom>
            <a:solidFill>
              <a:srgbClr val="81BFC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7" name="Freeform 805"/>
            <p:cNvSpPr/>
            <p:nvPr/>
          </p:nvSpPr>
          <p:spPr bwMode="auto">
            <a:xfrm>
              <a:off x="2751136" y="4251330"/>
              <a:ext cx="49213" cy="322263"/>
            </a:xfrm>
            <a:custGeom>
              <a:avLst/>
              <a:gdLst>
                <a:gd name="T0" fmla="*/ 58 w 93"/>
                <a:gd name="T1" fmla="*/ 5 h 609"/>
                <a:gd name="T2" fmla="*/ 58 w 93"/>
                <a:gd name="T3" fmla="*/ 5 h 609"/>
                <a:gd name="T4" fmla="*/ 53 w 93"/>
                <a:gd name="T5" fmla="*/ 4 h 609"/>
                <a:gd name="T6" fmla="*/ 38 w 93"/>
                <a:gd name="T7" fmla="*/ 1 h 609"/>
                <a:gd name="T8" fmla="*/ 28 w 93"/>
                <a:gd name="T9" fmla="*/ 0 h 609"/>
                <a:gd name="T10" fmla="*/ 19 w 93"/>
                <a:gd name="T11" fmla="*/ 0 h 609"/>
                <a:gd name="T12" fmla="*/ 10 w 93"/>
                <a:gd name="T13" fmla="*/ 1 h 609"/>
                <a:gd name="T14" fmla="*/ 0 w 93"/>
                <a:gd name="T15" fmla="*/ 4 h 609"/>
                <a:gd name="T16" fmla="*/ 10 w 93"/>
                <a:gd name="T17" fmla="*/ 609 h 609"/>
                <a:gd name="T18" fmla="*/ 93 w 93"/>
                <a:gd name="T19" fmla="*/ 573 h 609"/>
                <a:gd name="T20" fmla="*/ 58 w 93"/>
                <a:gd name="T21" fmla="*/ 5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609">
                  <a:moveTo>
                    <a:pt x="58" y="5"/>
                  </a:moveTo>
                  <a:lnTo>
                    <a:pt x="58" y="5"/>
                  </a:lnTo>
                  <a:lnTo>
                    <a:pt x="53" y="4"/>
                  </a:lnTo>
                  <a:lnTo>
                    <a:pt x="38" y="1"/>
                  </a:lnTo>
                  <a:lnTo>
                    <a:pt x="28" y="0"/>
                  </a:lnTo>
                  <a:lnTo>
                    <a:pt x="19" y="0"/>
                  </a:lnTo>
                  <a:lnTo>
                    <a:pt x="10" y="1"/>
                  </a:lnTo>
                  <a:lnTo>
                    <a:pt x="0" y="4"/>
                  </a:lnTo>
                  <a:lnTo>
                    <a:pt x="10" y="609"/>
                  </a:lnTo>
                  <a:lnTo>
                    <a:pt x="93" y="573"/>
                  </a:lnTo>
                  <a:lnTo>
                    <a:pt x="58" y="5"/>
                  </a:lnTo>
                  <a:close/>
                </a:path>
              </a:pathLst>
            </a:custGeom>
            <a:solidFill>
              <a:srgbClr val="81BFC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8" name="Freeform 806"/>
            <p:cNvSpPr/>
            <p:nvPr/>
          </p:nvSpPr>
          <p:spPr bwMode="auto">
            <a:xfrm>
              <a:off x="2700336" y="4583118"/>
              <a:ext cx="219075" cy="25400"/>
            </a:xfrm>
            <a:custGeom>
              <a:avLst/>
              <a:gdLst>
                <a:gd name="T0" fmla="*/ 0 w 415"/>
                <a:gd name="T1" fmla="*/ 29 h 47"/>
                <a:gd name="T2" fmla="*/ 0 w 415"/>
                <a:gd name="T3" fmla="*/ 47 h 47"/>
                <a:gd name="T4" fmla="*/ 410 w 415"/>
                <a:gd name="T5" fmla="*/ 27 h 47"/>
                <a:gd name="T6" fmla="*/ 415 w 415"/>
                <a:gd name="T7" fmla="*/ 0 h 47"/>
                <a:gd name="T8" fmla="*/ 0 w 415"/>
                <a:gd name="T9" fmla="*/ 29 h 47"/>
              </a:gdLst>
              <a:ahLst/>
              <a:cxnLst>
                <a:cxn ang="0">
                  <a:pos x="T0" y="T1"/>
                </a:cxn>
                <a:cxn ang="0">
                  <a:pos x="T2" y="T3"/>
                </a:cxn>
                <a:cxn ang="0">
                  <a:pos x="T4" y="T5"/>
                </a:cxn>
                <a:cxn ang="0">
                  <a:pos x="T6" y="T7"/>
                </a:cxn>
                <a:cxn ang="0">
                  <a:pos x="T8" y="T9"/>
                </a:cxn>
              </a:cxnLst>
              <a:rect l="0" t="0" r="r" b="b"/>
              <a:pathLst>
                <a:path w="415" h="47">
                  <a:moveTo>
                    <a:pt x="0" y="29"/>
                  </a:moveTo>
                  <a:lnTo>
                    <a:pt x="0" y="47"/>
                  </a:lnTo>
                  <a:lnTo>
                    <a:pt x="410" y="27"/>
                  </a:lnTo>
                  <a:lnTo>
                    <a:pt x="415" y="0"/>
                  </a:lnTo>
                  <a:lnTo>
                    <a:pt x="0" y="29"/>
                  </a:lnTo>
                  <a:close/>
                </a:path>
              </a:pathLst>
            </a:custGeom>
            <a:solidFill>
              <a:srgbClr val="85282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79" name="Freeform 807"/>
            <p:cNvSpPr/>
            <p:nvPr/>
          </p:nvSpPr>
          <p:spPr bwMode="auto">
            <a:xfrm>
              <a:off x="3090860" y="4562481"/>
              <a:ext cx="25400" cy="57150"/>
            </a:xfrm>
            <a:custGeom>
              <a:avLst/>
              <a:gdLst>
                <a:gd name="T0" fmla="*/ 47 w 48"/>
                <a:gd name="T1" fmla="*/ 8 h 107"/>
                <a:gd name="T2" fmla="*/ 5 w 48"/>
                <a:gd name="T3" fmla="*/ 0 h 107"/>
                <a:gd name="T4" fmla="*/ 0 w 48"/>
                <a:gd name="T5" fmla="*/ 107 h 107"/>
                <a:gd name="T6" fmla="*/ 48 w 48"/>
                <a:gd name="T7" fmla="*/ 104 h 107"/>
                <a:gd name="T8" fmla="*/ 47 w 48"/>
                <a:gd name="T9" fmla="*/ 8 h 107"/>
              </a:gdLst>
              <a:ahLst/>
              <a:cxnLst>
                <a:cxn ang="0">
                  <a:pos x="T0" y="T1"/>
                </a:cxn>
                <a:cxn ang="0">
                  <a:pos x="T2" y="T3"/>
                </a:cxn>
                <a:cxn ang="0">
                  <a:pos x="T4" y="T5"/>
                </a:cxn>
                <a:cxn ang="0">
                  <a:pos x="T6" y="T7"/>
                </a:cxn>
                <a:cxn ang="0">
                  <a:pos x="T8" y="T9"/>
                </a:cxn>
              </a:cxnLst>
              <a:rect l="0" t="0" r="r" b="b"/>
              <a:pathLst>
                <a:path w="48" h="107">
                  <a:moveTo>
                    <a:pt x="47" y="8"/>
                  </a:moveTo>
                  <a:lnTo>
                    <a:pt x="5" y="0"/>
                  </a:lnTo>
                  <a:lnTo>
                    <a:pt x="0" y="107"/>
                  </a:lnTo>
                  <a:lnTo>
                    <a:pt x="48" y="104"/>
                  </a:lnTo>
                  <a:lnTo>
                    <a:pt x="47" y="8"/>
                  </a:lnTo>
                  <a:close/>
                </a:path>
              </a:pathLst>
            </a:custGeom>
            <a:solidFill>
              <a:srgbClr val="AD464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0" name="Freeform 809"/>
            <p:cNvSpPr/>
            <p:nvPr/>
          </p:nvSpPr>
          <p:spPr bwMode="auto">
            <a:xfrm>
              <a:off x="2601911" y="4768856"/>
              <a:ext cx="298450" cy="331788"/>
            </a:xfrm>
            <a:custGeom>
              <a:avLst/>
              <a:gdLst>
                <a:gd name="T0" fmla="*/ 562 w 562"/>
                <a:gd name="T1" fmla="*/ 0 h 625"/>
                <a:gd name="T2" fmla="*/ 0 w 562"/>
                <a:gd name="T3" fmla="*/ 606 h 625"/>
                <a:gd name="T4" fmla="*/ 16 w 562"/>
                <a:gd name="T5" fmla="*/ 625 h 625"/>
                <a:gd name="T6" fmla="*/ 549 w 562"/>
                <a:gd name="T7" fmla="*/ 49 h 625"/>
                <a:gd name="T8" fmla="*/ 562 w 562"/>
                <a:gd name="T9" fmla="*/ 0 h 625"/>
              </a:gdLst>
              <a:ahLst/>
              <a:cxnLst>
                <a:cxn ang="0">
                  <a:pos x="T0" y="T1"/>
                </a:cxn>
                <a:cxn ang="0">
                  <a:pos x="T2" y="T3"/>
                </a:cxn>
                <a:cxn ang="0">
                  <a:pos x="T4" y="T5"/>
                </a:cxn>
                <a:cxn ang="0">
                  <a:pos x="T6" y="T7"/>
                </a:cxn>
                <a:cxn ang="0">
                  <a:pos x="T8" y="T9"/>
                </a:cxn>
              </a:cxnLst>
              <a:rect l="0" t="0" r="r" b="b"/>
              <a:pathLst>
                <a:path w="562" h="625">
                  <a:moveTo>
                    <a:pt x="562" y="0"/>
                  </a:moveTo>
                  <a:lnTo>
                    <a:pt x="0" y="606"/>
                  </a:lnTo>
                  <a:lnTo>
                    <a:pt x="16" y="625"/>
                  </a:lnTo>
                  <a:lnTo>
                    <a:pt x="549" y="49"/>
                  </a:lnTo>
                  <a:lnTo>
                    <a:pt x="562" y="0"/>
                  </a:lnTo>
                  <a:close/>
                </a:path>
              </a:pathLst>
            </a:custGeom>
            <a:solidFill>
              <a:srgbClr val="C65E5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1" name="Freeform 810"/>
            <p:cNvSpPr/>
            <p:nvPr/>
          </p:nvSpPr>
          <p:spPr bwMode="auto">
            <a:xfrm>
              <a:off x="2916236" y="4189417"/>
              <a:ext cx="58738" cy="12700"/>
            </a:xfrm>
            <a:custGeom>
              <a:avLst/>
              <a:gdLst>
                <a:gd name="T0" fmla="*/ 6 w 111"/>
                <a:gd name="T1" fmla="*/ 26 h 26"/>
                <a:gd name="T2" fmla="*/ 6 w 111"/>
                <a:gd name="T3" fmla="*/ 26 h 26"/>
                <a:gd name="T4" fmla="*/ 15 w 111"/>
                <a:gd name="T5" fmla="*/ 20 h 26"/>
                <a:gd name="T6" fmla="*/ 24 w 111"/>
                <a:gd name="T7" fmla="*/ 16 h 26"/>
                <a:gd name="T8" fmla="*/ 34 w 111"/>
                <a:gd name="T9" fmla="*/ 14 h 26"/>
                <a:gd name="T10" fmla="*/ 43 w 111"/>
                <a:gd name="T11" fmla="*/ 12 h 26"/>
                <a:gd name="T12" fmla="*/ 61 w 111"/>
                <a:gd name="T13" fmla="*/ 11 h 26"/>
                <a:gd name="T14" fmla="*/ 75 w 111"/>
                <a:gd name="T15" fmla="*/ 11 h 26"/>
                <a:gd name="T16" fmla="*/ 89 w 111"/>
                <a:gd name="T17" fmla="*/ 14 h 26"/>
                <a:gd name="T18" fmla="*/ 98 w 111"/>
                <a:gd name="T19" fmla="*/ 16 h 26"/>
                <a:gd name="T20" fmla="*/ 107 w 111"/>
                <a:gd name="T21" fmla="*/ 19 h 26"/>
                <a:gd name="T22" fmla="*/ 111 w 111"/>
                <a:gd name="T23" fmla="*/ 10 h 26"/>
                <a:gd name="T24" fmla="*/ 111 w 111"/>
                <a:gd name="T25" fmla="*/ 10 h 26"/>
                <a:gd name="T26" fmla="*/ 101 w 111"/>
                <a:gd name="T27" fmla="*/ 6 h 26"/>
                <a:gd name="T28" fmla="*/ 90 w 111"/>
                <a:gd name="T29" fmla="*/ 3 h 26"/>
                <a:gd name="T30" fmla="*/ 77 w 111"/>
                <a:gd name="T31" fmla="*/ 2 h 26"/>
                <a:gd name="T32" fmla="*/ 59 w 111"/>
                <a:gd name="T33" fmla="*/ 0 h 26"/>
                <a:gd name="T34" fmla="*/ 42 w 111"/>
                <a:gd name="T35" fmla="*/ 2 h 26"/>
                <a:gd name="T36" fmla="*/ 31 w 111"/>
                <a:gd name="T37" fmla="*/ 4 h 26"/>
                <a:gd name="T38" fmla="*/ 22 w 111"/>
                <a:gd name="T39" fmla="*/ 7 h 26"/>
                <a:gd name="T40" fmla="*/ 11 w 111"/>
                <a:gd name="T41" fmla="*/ 11 h 26"/>
                <a:gd name="T42" fmla="*/ 0 w 111"/>
                <a:gd name="T43" fmla="*/ 16 h 26"/>
                <a:gd name="T44" fmla="*/ 6 w 111"/>
                <a:gd name="T4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26">
                  <a:moveTo>
                    <a:pt x="6" y="26"/>
                  </a:moveTo>
                  <a:lnTo>
                    <a:pt x="6" y="26"/>
                  </a:lnTo>
                  <a:lnTo>
                    <a:pt x="15" y="20"/>
                  </a:lnTo>
                  <a:lnTo>
                    <a:pt x="24" y="16"/>
                  </a:lnTo>
                  <a:lnTo>
                    <a:pt x="34" y="14"/>
                  </a:lnTo>
                  <a:lnTo>
                    <a:pt x="43" y="12"/>
                  </a:lnTo>
                  <a:lnTo>
                    <a:pt x="61" y="11"/>
                  </a:lnTo>
                  <a:lnTo>
                    <a:pt x="75" y="11"/>
                  </a:lnTo>
                  <a:lnTo>
                    <a:pt x="89" y="14"/>
                  </a:lnTo>
                  <a:lnTo>
                    <a:pt x="98" y="16"/>
                  </a:lnTo>
                  <a:lnTo>
                    <a:pt x="107" y="19"/>
                  </a:lnTo>
                  <a:lnTo>
                    <a:pt x="111" y="10"/>
                  </a:lnTo>
                  <a:lnTo>
                    <a:pt x="111" y="10"/>
                  </a:lnTo>
                  <a:lnTo>
                    <a:pt x="101" y="6"/>
                  </a:lnTo>
                  <a:lnTo>
                    <a:pt x="90" y="3"/>
                  </a:lnTo>
                  <a:lnTo>
                    <a:pt x="77" y="2"/>
                  </a:lnTo>
                  <a:lnTo>
                    <a:pt x="59" y="0"/>
                  </a:lnTo>
                  <a:lnTo>
                    <a:pt x="42" y="2"/>
                  </a:lnTo>
                  <a:lnTo>
                    <a:pt x="31" y="4"/>
                  </a:lnTo>
                  <a:lnTo>
                    <a:pt x="22" y="7"/>
                  </a:lnTo>
                  <a:lnTo>
                    <a:pt x="11" y="11"/>
                  </a:lnTo>
                  <a:lnTo>
                    <a:pt x="0" y="16"/>
                  </a:lnTo>
                  <a:lnTo>
                    <a:pt x="6" y="26"/>
                  </a:lnTo>
                  <a:close/>
                </a:path>
              </a:pathLst>
            </a:custGeom>
            <a:solidFill>
              <a:srgbClr val="4D839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2" name="Freeform 811"/>
            <p:cNvSpPr/>
            <p:nvPr/>
          </p:nvSpPr>
          <p:spPr bwMode="auto">
            <a:xfrm>
              <a:off x="2913060" y="4260854"/>
              <a:ext cx="66675" cy="9525"/>
            </a:xfrm>
            <a:custGeom>
              <a:avLst/>
              <a:gdLst>
                <a:gd name="T0" fmla="*/ 2 w 127"/>
                <a:gd name="T1" fmla="*/ 17 h 19"/>
                <a:gd name="T2" fmla="*/ 2 w 127"/>
                <a:gd name="T3" fmla="*/ 17 h 19"/>
                <a:gd name="T4" fmla="*/ 25 w 127"/>
                <a:gd name="T5" fmla="*/ 13 h 19"/>
                <a:gd name="T6" fmla="*/ 48 w 127"/>
                <a:gd name="T7" fmla="*/ 11 h 19"/>
                <a:gd name="T8" fmla="*/ 68 w 127"/>
                <a:gd name="T9" fmla="*/ 11 h 19"/>
                <a:gd name="T10" fmla="*/ 87 w 127"/>
                <a:gd name="T11" fmla="*/ 13 h 19"/>
                <a:gd name="T12" fmla="*/ 101 w 127"/>
                <a:gd name="T13" fmla="*/ 15 h 19"/>
                <a:gd name="T14" fmla="*/ 113 w 127"/>
                <a:gd name="T15" fmla="*/ 17 h 19"/>
                <a:gd name="T16" fmla="*/ 124 w 127"/>
                <a:gd name="T17" fmla="*/ 19 h 19"/>
                <a:gd name="T18" fmla="*/ 127 w 127"/>
                <a:gd name="T19" fmla="*/ 10 h 19"/>
                <a:gd name="T20" fmla="*/ 127 w 127"/>
                <a:gd name="T21" fmla="*/ 10 h 19"/>
                <a:gd name="T22" fmla="*/ 115 w 127"/>
                <a:gd name="T23" fmla="*/ 7 h 19"/>
                <a:gd name="T24" fmla="*/ 103 w 127"/>
                <a:gd name="T25" fmla="*/ 4 h 19"/>
                <a:gd name="T26" fmla="*/ 87 w 127"/>
                <a:gd name="T27" fmla="*/ 3 h 19"/>
                <a:gd name="T28" fmla="*/ 68 w 127"/>
                <a:gd name="T29" fmla="*/ 0 h 19"/>
                <a:gd name="T30" fmla="*/ 46 w 127"/>
                <a:gd name="T31" fmla="*/ 0 h 19"/>
                <a:gd name="T32" fmla="*/ 24 w 127"/>
                <a:gd name="T33" fmla="*/ 3 h 19"/>
                <a:gd name="T34" fmla="*/ 0 w 127"/>
                <a:gd name="T35" fmla="*/ 7 h 19"/>
                <a:gd name="T36" fmla="*/ 2 w 127"/>
                <a:gd name="T3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9">
                  <a:moveTo>
                    <a:pt x="2" y="17"/>
                  </a:moveTo>
                  <a:lnTo>
                    <a:pt x="2" y="17"/>
                  </a:lnTo>
                  <a:lnTo>
                    <a:pt x="25" y="13"/>
                  </a:lnTo>
                  <a:lnTo>
                    <a:pt x="48" y="11"/>
                  </a:lnTo>
                  <a:lnTo>
                    <a:pt x="68" y="11"/>
                  </a:lnTo>
                  <a:lnTo>
                    <a:pt x="87" y="13"/>
                  </a:lnTo>
                  <a:lnTo>
                    <a:pt x="101" y="15"/>
                  </a:lnTo>
                  <a:lnTo>
                    <a:pt x="113" y="17"/>
                  </a:lnTo>
                  <a:lnTo>
                    <a:pt x="124" y="19"/>
                  </a:lnTo>
                  <a:lnTo>
                    <a:pt x="127" y="10"/>
                  </a:lnTo>
                  <a:lnTo>
                    <a:pt x="127" y="10"/>
                  </a:lnTo>
                  <a:lnTo>
                    <a:pt x="115" y="7"/>
                  </a:lnTo>
                  <a:lnTo>
                    <a:pt x="103" y="4"/>
                  </a:lnTo>
                  <a:lnTo>
                    <a:pt x="87" y="3"/>
                  </a:lnTo>
                  <a:lnTo>
                    <a:pt x="68" y="0"/>
                  </a:lnTo>
                  <a:lnTo>
                    <a:pt x="46" y="0"/>
                  </a:lnTo>
                  <a:lnTo>
                    <a:pt x="24" y="3"/>
                  </a:lnTo>
                  <a:lnTo>
                    <a:pt x="0" y="7"/>
                  </a:lnTo>
                  <a:lnTo>
                    <a:pt x="2" y="17"/>
                  </a:lnTo>
                  <a:close/>
                </a:path>
              </a:pathLst>
            </a:custGeom>
            <a:solidFill>
              <a:srgbClr val="4D839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3" name="Freeform 812"/>
            <p:cNvSpPr/>
            <p:nvPr/>
          </p:nvSpPr>
          <p:spPr bwMode="auto">
            <a:xfrm>
              <a:off x="2913060" y="4356105"/>
              <a:ext cx="66675" cy="7938"/>
            </a:xfrm>
            <a:custGeom>
              <a:avLst/>
              <a:gdLst>
                <a:gd name="T0" fmla="*/ 1 w 127"/>
                <a:gd name="T1" fmla="*/ 16 h 16"/>
                <a:gd name="T2" fmla="*/ 1 w 127"/>
                <a:gd name="T3" fmla="*/ 16 h 16"/>
                <a:gd name="T4" fmla="*/ 25 w 127"/>
                <a:gd name="T5" fmla="*/ 14 h 16"/>
                <a:gd name="T6" fmla="*/ 46 w 127"/>
                <a:gd name="T7" fmla="*/ 11 h 16"/>
                <a:gd name="T8" fmla="*/ 68 w 127"/>
                <a:gd name="T9" fmla="*/ 11 h 16"/>
                <a:gd name="T10" fmla="*/ 87 w 127"/>
                <a:gd name="T11" fmla="*/ 11 h 16"/>
                <a:gd name="T12" fmla="*/ 113 w 127"/>
                <a:gd name="T13" fmla="*/ 14 h 16"/>
                <a:gd name="T14" fmla="*/ 124 w 127"/>
                <a:gd name="T15" fmla="*/ 15 h 16"/>
                <a:gd name="T16" fmla="*/ 127 w 127"/>
                <a:gd name="T17" fmla="*/ 4 h 16"/>
                <a:gd name="T18" fmla="*/ 127 w 127"/>
                <a:gd name="T19" fmla="*/ 4 h 16"/>
                <a:gd name="T20" fmla="*/ 115 w 127"/>
                <a:gd name="T21" fmla="*/ 3 h 16"/>
                <a:gd name="T22" fmla="*/ 85 w 127"/>
                <a:gd name="T23" fmla="*/ 0 h 16"/>
                <a:gd name="T24" fmla="*/ 67 w 127"/>
                <a:gd name="T25" fmla="*/ 0 h 16"/>
                <a:gd name="T26" fmla="*/ 46 w 127"/>
                <a:gd name="T27" fmla="*/ 2 h 16"/>
                <a:gd name="T28" fmla="*/ 24 w 127"/>
                <a:gd name="T29" fmla="*/ 3 h 16"/>
                <a:gd name="T30" fmla="*/ 0 w 127"/>
                <a:gd name="T31" fmla="*/ 7 h 16"/>
                <a:gd name="T32" fmla="*/ 1 w 127"/>
                <a:gd name="T3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 h="16">
                  <a:moveTo>
                    <a:pt x="1" y="16"/>
                  </a:moveTo>
                  <a:lnTo>
                    <a:pt x="1" y="16"/>
                  </a:lnTo>
                  <a:lnTo>
                    <a:pt x="25" y="14"/>
                  </a:lnTo>
                  <a:lnTo>
                    <a:pt x="46" y="11"/>
                  </a:lnTo>
                  <a:lnTo>
                    <a:pt x="68" y="11"/>
                  </a:lnTo>
                  <a:lnTo>
                    <a:pt x="87" y="11"/>
                  </a:lnTo>
                  <a:lnTo>
                    <a:pt x="113" y="14"/>
                  </a:lnTo>
                  <a:lnTo>
                    <a:pt x="124" y="15"/>
                  </a:lnTo>
                  <a:lnTo>
                    <a:pt x="127" y="4"/>
                  </a:lnTo>
                  <a:lnTo>
                    <a:pt x="127" y="4"/>
                  </a:lnTo>
                  <a:lnTo>
                    <a:pt x="115" y="3"/>
                  </a:lnTo>
                  <a:lnTo>
                    <a:pt x="85" y="0"/>
                  </a:lnTo>
                  <a:lnTo>
                    <a:pt x="67" y="0"/>
                  </a:lnTo>
                  <a:lnTo>
                    <a:pt x="46" y="2"/>
                  </a:lnTo>
                  <a:lnTo>
                    <a:pt x="24" y="3"/>
                  </a:lnTo>
                  <a:lnTo>
                    <a:pt x="0" y="7"/>
                  </a:lnTo>
                  <a:lnTo>
                    <a:pt x="1" y="16"/>
                  </a:lnTo>
                  <a:close/>
                </a:path>
              </a:pathLst>
            </a:custGeom>
            <a:solidFill>
              <a:srgbClr val="4D839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4" name="Freeform 813"/>
            <p:cNvSpPr/>
            <p:nvPr/>
          </p:nvSpPr>
          <p:spPr bwMode="auto">
            <a:xfrm>
              <a:off x="2909885" y="4438655"/>
              <a:ext cx="71438" cy="9525"/>
            </a:xfrm>
            <a:custGeom>
              <a:avLst/>
              <a:gdLst>
                <a:gd name="T0" fmla="*/ 60 w 134"/>
                <a:gd name="T1" fmla="*/ 17 h 17"/>
                <a:gd name="T2" fmla="*/ 60 w 134"/>
                <a:gd name="T3" fmla="*/ 17 h 17"/>
                <a:gd name="T4" fmla="*/ 87 w 134"/>
                <a:gd name="T5" fmla="*/ 17 h 17"/>
                <a:gd name="T6" fmla="*/ 111 w 134"/>
                <a:gd name="T7" fmla="*/ 16 h 17"/>
                <a:gd name="T8" fmla="*/ 134 w 134"/>
                <a:gd name="T9" fmla="*/ 12 h 17"/>
                <a:gd name="T10" fmla="*/ 133 w 134"/>
                <a:gd name="T11" fmla="*/ 3 h 17"/>
                <a:gd name="T12" fmla="*/ 133 w 134"/>
                <a:gd name="T13" fmla="*/ 3 h 17"/>
                <a:gd name="T14" fmla="*/ 119 w 134"/>
                <a:gd name="T15" fmla="*/ 4 h 17"/>
                <a:gd name="T16" fmla="*/ 87 w 134"/>
                <a:gd name="T17" fmla="*/ 8 h 17"/>
                <a:gd name="T18" fmla="*/ 67 w 134"/>
                <a:gd name="T19" fmla="*/ 8 h 17"/>
                <a:gd name="T20" fmla="*/ 46 w 134"/>
                <a:gd name="T21" fmla="*/ 7 h 17"/>
                <a:gd name="T22" fmla="*/ 23 w 134"/>
                <a:gd name="T23" fmla="*/ 4 h 17"/>
                <a:gd name="T24" fmla="*/ 3 w 134"/>
                <a:gd name="T25" fmla="*/ 0 h 17"/>
                <a:gd name="T26" fmla="*/ 0 w 134"/>
                <a:gd name="T27" fmla="*/ 9 h 17"/>
                <a:gd name="T28" fmla="*/ 0 w 134"/>
                <a:gd name="T29" fmla="*/ 9 h 17"/>
                <a:gd name="T30" fmla="*/ 15 w 134"/>
                <a:gd name="T31" fmla="*/ 13 h 17"/>
                <a:gd name="T32" fmla="*/ 30 w 134"/>
                <a:gd name="T33" fmla="*/ 16 h 17"/>
                <a:gd name="T34" fmla="*/ 44 w 134"/>
                <a:gd name="T35" fmla="*/ 17 h 17"/>
                <a:gd name="T36" fmla="*/ 60 w 134"/>
                <a:gd name="T37" fmla="*/ 17 h 17"/>
                <a:gd name="T38" fmla="*/ 60 w 134"/>
                <a:gd name="T3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4" h="17">
                  <a:moveTo>
                    <a:pt x="60" y="17"/>
                  </a:moveTo>
                  <a:lnTo>
                    <a:pt x="60" y="17"/>
                  </a:lnTo>
                  <a:lnTo>
                    <a:pt x="87" y="17"/>
                  </a:lnTo>
                  <a:lnTo>
                    <a:pt x="111" y="16"/>
                  </a:lnTo>
                  <a:lnTo>
                    <a:pt x="134" y="12"/>
                  </a:lnTo>
                  <a:lnTo>
                    <a:pt x="133" y="3"/>
                  </a:lnTo>
                  <a:lnTo>
                    <a:pt x="133" y="3"/>
                  </a:lnTo>
                  <a:lnTo>
                    <a:pt x="119" y="4"/>
                  </a:lnTo>
                  <a:lnTo>
                    <a:pt x="87" y="8"/>
                  </a:lnTo>
                  <a:lnTo>
                    <a:pt x="67" y="8"/>
                  </a:lnTo>
                  <a:lnTo>
                    <a:pt x="46" y="7"/>
                  </a:lnTo>
                  <a:lnTo>
                    <a:pt x="23" y="4"/>
                  </a:lnTo>
                  <a:lnTo>
                    <a:pt x="3" y="0"/>
                  </a:lnTo>
                  <a:lnTo>
                    <a:pt x="0" y="9"/>
                  </a:lnTo>
                  <a:lnTo>
                    <a:pt x="0" y="9"/>
                  </a:lnTo>
                  <a:lnTo>
                    <a:pt x="15" y="13"/>
                  </a:lnTo>
                  <a:lnTo>
                    <a:pt x="30" y="16"/>
                  </a:lnTo>
                  <a:lnTo>
                    <a:pt x="44" y="17"/>
                  </a:lnTo>
                  <a:lnTo>
                    <a:pt x="60" y="17"/>
                  </a:lnTo>
                  <a:lnTo>
                    <a:pt x="60" y="17"/>
                  </a:lnTo>
                  <a:close/>
                </a:path>
              </a:pathLst>
            </a:custGeom>
            <a:solidFill>
              <a:srgbClr val="4D839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5" name="Freeform 814"/>
            <p:cNvSpPr/>
            <p:nvPr/>
          </p:nvSpPr>
          <p:spPr bwMode="auto">
            <a:xfrm>
              <a:off x="2911472" y="4521205"/>
              <a:ext cx="71438" cy="12700"/>
            </a:xfrm>
            <a:custGeom>
              <a:avLst/>
              <a:gdLst>
                <a:gd name="T0" fmla="*/ 0 w 136"/>
                <a:gd name="T1" fmla="*/ 23 h 24"/>
                <a:gd name="T2" fmla="*/ 0 w 136"/>
                <a:gd name="T3" fmla="*/ 23 h 24"/>
                <a:gd name="T4" fmla="*/ 32 w 136"/>
                <a:gd name="T5" fmla="*/ 24 h 24"/>
                <a:gd name="T6" fmla="*/ 58 w 136"/>
                <a:gd name="T7" fmla="*/ 23 h 24"/>
                <a:gd name="T8" fmla="*/ 83 w 136"/>
                <a:gd name="T9" fmla="*/ 20 h 24"/>
                <a:gd name="T10" fmla="*/ 101 w 136"/>
                <a:gd name="T11" fmla="*/ 17 h 24"/>
                <a:gd name="T12" fmla="*/ 127 w 136"/>
                <a:gd name="T13" fmla="*/ 12 h 24"/>
                <a:gd name="T14" fmla="*/ 136 w 136"/>
                <a:gd name="T15" fmla="*/ 9 h 24"/>
                <a:gd name="T16" fmla="*/ 133 w 136"/>
                <a:gd name="T17" fmla="*/ 0 h 24"/>
                <a:gd name="T18" fmla="*/ 133 w 136"/>
                <a:gd name="T19" fmla="*/ 0 h 24"/>
                <a:gd name="T20" fmla="*/ 124 w 136"/>
                <a:gd name="T21" fmla="*/ 3 h 24"/>
                <a:gd name="T22" fmla="*/ 99 w 136"/>
                <a:gd name="T23" fmla="*/ 8 h 24"/>
                <a:gd name="T24" fmla="*/ 80 w 136"/>
                <a:gd name="T25" fmla="*/ 11 h 24"/>
                <a:gd name="T26" fmla="*/ 57 w 136"/>
                <a:gd name="T27" fmla="*/ 12 h 24"/>
                <a:gd name="T28" fmla="*/ 30 w 136"/>
                <a:gd name="T29" fmla="*/ 13 h 24"/>
                <a:gd name="T30" fmla="*/ 0 w 136"/>
                <a:gd name="T31" fmla="*/ 13 h 24"/>
                <a:gd name="T32" fmla="*/ 0 w 136"/>
                <a:gd name="T33"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24">
                  <a:moveTo>
                    <a:pt x="0" y="23"/>
                  </a:moveTo>
                  <a:lnTo>
                    <a:pt x="0" y="23"/>
                  </a:lnTo>
                  <a:lnTo>
                    <a:pt x="32" y="24"/>
                  </a:lnTo>
                  <a:lnTo>
                    <a:pt x="58" y="23"/>
                  </a:lnTo>
                  <a:lnTo>
                    <a:pt x="83" y="20"/>
                  </a:lnTo>
                  <a:lnTo>
                    <a:pt x="101" y="17"/>
                  </a:lnTo>
                  <a:lnTo>
                    <a:pt x="127" y="12"/>
                  </a:lnTo>
                  <a:lnTo>
                    <a:pt x="136" y="9"/>
                  </a:lnTo>
                  <a:lnTo>
                    <a:pt x="133" y="0"/>
                  </a:lnTo>
                  <a:lnTo>
                    <a:pt x="133" y="0"/>
                  </a:lnTo>
                  <a:lnTo>
                    <a:pt x="124" y="3"/>
                  </a:lnTo>
                  <a:lnTo>
                    <a:pt x="99" y="8"/>
                  </a:lnTo>
                  <a:lnTo>
                    <a:pt x="80" y="11"/>
                  </a:lnTo>
                  <a:lnTo>
                    <a:pt x="57" y="12"/>
                  </a:lnTo>
                  <a:lnTo>
                    <a:pt x="30" y="13"/>
                  </a:lnTo>
                  <a:lnTo>
                    <a:pt x="0" y="13"/>
                  </a:lnTo>
                  <a:lnTo>
                    <a:pt x="0" y="23"/>
                  </a:lnTo>
                  <a:close/>
                </a:path>
              </a:pathLst>
            </a:custGeom>
            <a:solidFill>
              <a:srgbClr val="4D839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6" name="Freeform 815"/>
            <p:cNvSpPr/>
            <p:nvPr/>
          </p:nvSpPr>
          <p:spPr bwMode="auto">
            <a:xfrm>
              <a:off x="3225797" y="4217991"/>
              <a:ext cx="46038" cy="7938"/>
            </a:xfrm>
            <a:custGeom>
              <a:avLst/>
              <a:gdLst>
                <a:gd name="T0" fmla="*/ 3 w 87"/>
                <a:gd name="T1" fmla="*/ 14 h 16"/>
                <a:gd name="T2" fmla="*/ 3 w 87"/>
                <a:gd name="T3" fmla="*/ 14 h 16"/>
                <a:gd name="T4" fmla="*/ 22 w 87"/>
                <a:gd name="T5" fmla="*/ 11 h 16"/>
                <a:gd name="T6" fmla="*/ 38 w 87"/>
                <a:gd name="T7" fmla="*/ 11 h 16"/>
                <a:gd name="T8" fmla="*/ 52 w 87"/>
                <a:gd name="T9" fmla="*/ 11 h 16"/>
                <a:gd name="T10" fmla="*/ 63 w 87"/>
                <a:gd name="T11" fmla="*/ 11 h 16"/>
                <a:gd name="T12" fmla="*/ 78 w 87"/>
                <a:gd name="T13" fmla="*/ 14 h 16"/>
                <a:gd name="T14" fmla="*/ 83 w 87"/>
                <a:gd name="T15" fmla="*/ 16 h 16"/>
                <a:gd name="T16" fmla="*/ 87 w 87"/>
                <a:gd name="T17" fmla="*/ 7 h 16"/>
                <a:gd name="T18" fmla="*/ 87 w 87"/>
                <a:gd name="T19" fmla="*/ 7 h 16"/>
                <a:gd name="T20" fmla="*/ 82 w 87"/>
                <a:gd name="T21" fmla="*/ 4 h 16"/>
                <a:gd name="T22" fmla="*/ 66 w 87"/>
                <a:gd name="T23" fmla="*/ 1 h 16"/>
                <a:gd name="T24" fmla="*/ 54 w 87"/>
                <a:gd name="T25" fmla="*/ 0 h 16"/>
                <a:gd name="T26" fmla="*/ 39 w 87"/>
                <a:gd name="T27" fmla="*/ 0 h 16"/>
                <a:gd name="T28" fmla="*/ 20 w 87"/>
                <a:gd name="T29" fmla="*/ 1 h 16"/>
                <a:gd name="T30" fmla="*/ 0 w 87"/>
                <a:gd name="T31" fmla="*/ 4 h 16"/>
                <a:gd name="T32" fmla="*/ 3 w 87"/>
                <a:gd name="T3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 h="16">
                  <a:moveTo>
                    <a:pt x="3" y="14"/>
                  </a:moveTo>
                  <a:lnTo>
                    <a:pt x="3" y="14"/>
                  </a:lnTo>
                  <a:lnTo>
                    <a:pt x="22" y="11"/>
                  </a:lnTo>
                  <a:lnTo>
                    <a:pt x="38" y="11"/>
                  </a:lnTo>
                  <a:lnTo>
                    <a:pt x="52" y="11"/>
                  </a:lnTo>
                  <a:lnTo>
                    <a:pt x="63" y="11"/>
                  </a:lnTo>
                  <a:lnTo>
                    <a:pt x="78" y="14"/>
                  </a:lnTo>
                  <a:lnTo>
                    <a:pt x="83" y="16"/>
                  </a:lnTo>
                  <a:lnTo>
                    <a:pt x="87" y="7"/>
                  </a:lnTo>
                  <a:lnTo>
                    <a:pt x="87" y="7"/>
                  </a:lnTo>
                  <a:lnTo>
                    <a:pt x="82" y="4"/>
                  </a:lnTo>
                  <a:lnTo>
                    <a:pt x="66" y="1"/>
                  </a:lnTo>
                  <a:lnTo>
                    <a:pt x="54" y="0"/>
                  </a:lnTo>
                  <a:lnTo>
                    <a:pt x="39" y="0"/>
                  </a:lnTo>
                  <a:lnTo>
                    <a:pt x="20" y="1"/>
                  </a:lnTo>
                  <a:lnTo>
                    <a:pt x="0" y="4"/>
                  </a:lnTo>
                  <a:lnTo>
                    <a:pt x="3" y="14"/>
                  </a:lnTo>
                  <a:close/>
                </a:path>
              </a:pathLst>
            </a:custGeom>
            <a:solidFill>
              <a:srgbClr val="4D839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7" name="Freeform 816"/>
            <p:cNvSpPr/>
            <p:nvPr/>
          </p:nvSpPr>
          <p:spPr bwMode="auto">
            <a:xfrm>
              <a:off x="3211510" y="4373566"/>
              <a:ext cx="63500" cy="7938"/>
            </a:xfrm>
            <a:custGeom>
              <a:avLst/>
              <a:gdLst>
                <a:gd name="T0" fmla="*/ 0 w 121"/>
                <a:gd name="T1" fmla="*/ 10 h 13"/>
                <a:gd name="T2" fmla="*/ 121 w 121"/>
                <a:gd name="T3" fmla="*/ 13 h 13"/>
                <a:gd name="T4" fmla="*/ 121 w 121"/>
                <a:gd name="T5" fmla="*/ 2 h 13"/>
                <a:gd name="T6" fmla="*/ 0 w 121"/>
                <a:gd name="T7" fmla="*/ 0 h 13"/>
                <a:gd name="T8" fmla="*/ 0 w 121"/>
                <a:gd name="T9" fmla="*/ 10 h 13"/>
              </a:gdLst>
              <a:ahLst/>
              <a:cxnLst>
                <a:cxn ang="0">
                  <a:pos x="T0" y="T1"/>
                </a:cxn>
                <a:cxn ang="0">
                  <a:pos x="T2" y="T3"/>
                </a:cxn>
                <a:cxn ang="0">
                  <a:pos x="T4" y="T5"/>
                </a:cxn>
                <a:cxn ang="0">
                  <a:pos x="T6" y="T7"/>
                </a:cxn>
                <a:cxn ang="0">
                  <a:pos x="T8" y="T9"/>
                </a:cxn>
              </a:cxnLst>
              <a:rect l="0" t="0" r="r" b="b"/>
              <a:pathLst>
                <a:path w="121" h="13">
                  <a:moveTo>
                    <a:pt x="0" y="10"/>
                  </a:moveTo>
                  <a:lnTo>
                    <a:pt x="121" y="13"/>
                  </a:lnTo>
                  <a:lnTo>
                    <a:pt x="121" y="2"/>
                  </a:lnTo>
                  <a:lnTo>
                    <a:pt x="0" y="0"/>
                  </a:lnTo>
                  <a:lnTo>
                    <a:pt x="0" y="10"/>
                  </a:lnTo>
                  <a:close/>
                </a:path>
              </a:pathLst>
            </a:custGeom>
            <a:solidFill>
              <a:srgbClr val="4D839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8" name="Freeform 817"/>
            <p:cNvSpPr/>
            <p:nvPr/>
          </p:nvSpPr>
          <p:spPr bwMode="auto">
            <a:xfrm>
              <a:off x="3216272" y="4286255"/>
              <a:ext cx="57150" cy="7938"/>
            </a:xfrm>
            <a:custGeom>
              <a:avLst/>
              <a:gdLst>
                <a:gd name="T0" fmla="*/ 1 w 107"/>
                <a:gd name="T1" fmla="*/ 13 h 16"/>
                <a:gd name="T2" fmla="*/ 1 w 107"/>
                <a:gd name="T3" fmla="*/ 13 h 16"/>
                <a:gd name="T4" fmla="*/ 22 w 107"/>
                <a:gd name="T5" fmla="*/ 10 h 16"/>
                <a:gd name="T6" fmla="*/ 43 w 107"/>
                <a:gd name="T7" fmla="*/ 9 h 16"/>
                <a:gd name="T8" fmla="*/ 60 w 107"/>
                <a:gd name="T9" fmla="*/ 10 h 16"/>
                <a:gd name="T10" fmla="*/ 76 w 107"/>
                <a:gd name="T11" fmla="*/ 10 h 16"/>
                <a:gd name="T12" fmla="*/ 96 w 107"/>
                <a:gd name="T13" fmla="*/ 14 h 16"/>
                <a:gd name="T14" fmla="*/ 104 w 107"/>
                <a:gd name="T15" fmla="*/ 16 h 16"/>
                <a:gd name="T16" fmla="*/ 107 w 107"/>
                <a:gd name="T17" fmla="*/ 6 h 16"/>
                <a:gd name="T18" fmla="*/ 107 w 107"/>
                <a:gd name="T19" fmla="*/ 6 h 16"/>
                <a:gd name="T20" fmla="*/ 97 w 107"/>
                <a:gd name="T21" fmla="*/ 4 h 16"/>
                <a:gd name="T22" fmla="*/ 76 w 107"/>
                <a:gd name="T23" fmla="*/ 1 h 16"/>
                <a:gd name="T24" fmla="*/ 61 w 107"/>
                <a:gd name="T25" fmla="*/ 0 h 16"/>
                <a:gd name="T26" fmla="*/ 43 w 107"/>
                <a:gd name="T27" fmla="*/ 0 h 16"/>
                <a:gd name="T28" fmla="*/ 22 w 107"/>
                <a:gd name="T29" fmla="*/ 1 h 16"/>
                <a:gd name="T30" fmla="*/ 0 w 107"/>
                <a:gd name="T31" fmla="*/ 4 h 16"/>
                <a:gd name="T32" fmla="*/ 1 w 107"/>
                <a:gd name="T33"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6">
                  <a:moveTo>
                    <a:pt x="1" y="13"/>
                  </a:moveTo>
                  <a:lnTo>
                    <a:pt x="1" y="13"/>
                  </a:lnTo>
                  <a:lnTo>
                    <a:pt x="22" y="10"/>
                  </a:lnTo>
                  <a:lnTo>
                    <a:pt x="43" y="9"/>
                  </a:lnTo>
                  <a:lnTo>
                    <a:pt x="60" y="10"/>
                  </a:lnTo>
                  <a:lnTo>
                    <a:pt x="76" y="10"/>
                  </a:lnTo>
                  <a:lnTo>
                    <a:pt x="96" y="14"/>
                  </a:lnTo>
                  <a:lnTo>
                    <a:pt x="104" y="16"/>
                  </a:lnTo>
                  <a:lnTo>
                    <a:pt x="107" y="6"/>
                  </a:lnTo>
                  <a:lnTo>
                    <a:pt x="107" y="6"/>
                  </a:lnTo>
                  <a:lnTo>
                    <a:pt x="97" y="4"/>
                  </a:lnTo>
                  <a:lnTo>
                    <a:pt x="76" y="1"/>
                  </a:lnTo>
                  <a:lnTo>
                    <a:pt x="61" y="0"/>
                  </a:lnTo>
                  <a:lnTo>
                    <a:pt x="43" y="0"/>
                  </a:lnTo>
                  <a:lnTo>
                    <a:pt x="22" y="1"/>
                  </a:lnTo>
                  <a:lnTo>
                    <a:pt x="0" y="4"/>
                  </a:lnTo>
                  <a:lnTo>
                    <a:pt x="1" y="13"/>
                  </a:lnTo>
                  <a:close/>
                </a:path>
              </a:pathLst>
            </a:custGeom>
            <a:solidFill>
              <a:srgbClr val="4D839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89" name="Freeform 818"/>
            <p:cNvSpPr/>
            <p:nvPr/>
          </p:nvSpPr>
          <p:spPr bwMode="auto">
            <a:xfrm>
              <a:off x="3203572" y="4459291"/>
              <a:ext cx="71438" cy="9525"/>
            </a:xfrm>
            <a:custGeom>
              <a:avLst/>
              <a:gdLst>
                <a:gd name="T0" fmla="*/ 59 w 134"/>
                <a:gd name="T1" fmla="*/ 18 h 18"/>
                <a:gd name="T2" fmla="*/ 59 w 134"/>
                <a:gd name="T3" fmla="*/ 18 h 18"/>
                <a:gd name="T4" fmla="*/ 87 w 134"/>
                <a:gd name="T5" fmla="*/ 16 h 18"/>
                <a:gd name="T6" fmla="*/ 111 w 134"/>
                <a:gd name="T7" fmla="*/ 16 h 18"/>
                <a:gd name="T8" fmla="*/ 134 w 134"/>
                <a:gd name="T9" fmla="*/ 14 h 18"/>
                <a:gd name="T10" fmla="*/ 132 w 134"/>
                <a:gd name="T11" fmla="*/ 3 h 18"/>
                <a:gd name="T12" fmla="*/ 132 w 134"/>
                <a:gd name="T13" fmla="*/ 3 h 18"/>
                <a:gd name="T14" fmla="*/ 119 w 134"/>
                <a:gd name="T15" fmla="*/ 4 h 18"/>
                <a:gd name="T16" fmla="*/ 87 w 134"/>
                <a:gd name="T17" fmla="*/ 7 h 18"/>
                <a:gd name="T18" fmla="*/ 66 w 134"/>
                <a:gd name="T19" fmla="*/ 7 h 18"/>
                <a:gd name="T20" fmla="*/ 44 w 134"/>
                <a:gd name="T21" fmla="*/ 6 h 18"/>
                <a:gd name="T22" fmla="*/ 23 w 134"/>
                <a:gd name="T23" fmla="*/ 4 h 18"/>
                <a:gd name="T24" fmla="*/ 1 w 134"/>
                <a:gd name="T25" fmla="*/ 0 h 18"/>
                <a:gd name="T26" fmla="*/ 0 w 134"/>
                <a:gd name="T27" fmla="*/ 10 h 18"/>
                <a:gd name="T28" fmla="*/ 0 w 134"/>
                <a:gd name="T29" fmla="*/ 10 h 18"/>
                <a:gd name="T30" fmla="*/ 13 w 134"/>
                <a:gd name="T31" fmla="*/ 14 h 18"/>
                <a:gd name="T32" fmla="*/ 29 w 134"/>
                <a:gd name="T33" fmla="*/ 15 h 18"/>
                <a:gd name="T34" fmla="*/ 59 w 134"/>
                <a:gd name="T35" fmla="*/ 18 h 18"/>
                <a:gd name="T36" fmla="*/ 59 w 134"/>
                <a:gd name="T3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4" h="18">
                  <a:moveTo>
                    <a:pt x="59" y="18"/>
                  </a:moveTo>
                  <a:lnTo>
                    <a:pt x="59" y="18"/>
                  </a:lnTo>
                  <a:lnTo>
                    <a:pt x="87" y="16"/>
                  </a:lnTo>
                  <a:lnTo>
                    <a:pt x="111" y="16"/>
                  </a:lnTo>
                  <a:lnTo>
                    <a:pt x="134" y="14"/>
                  </a:lnTo>
                  <a:lnTo>
                    <a:pt x="132" y="3"/>
                  </a:lnTo>
                  <a:lnTo>
                    <a:pt x="132" y="3"/>
                  </a:lnTo>
                  <a:lnTo>
                    <a:pt x="119" y="4"/>
                  </a:lnTo>
                  <a:lnTo>
                    <a:pt x="87" y="7"/>
                  </a:lnTo>
                  <a:lnTo>
                    <a:pt x="66" y="7"/>
                  </a:lnTo>
                  <a:lnTo>
                    <a:pt x="44" y="6"/>
                  </a:lnTo>
                  <a:lnTo>
                    <a:pt x="23" y="4"/>
                  </a:lnTo>
                  <a:lnTo>
                    <a:pt x="1" y="0"/>
                  </a:lnTo>
                  <a:lnTo>
                    <a:pt x="0" y="10"/>
                  </a:lnTo>
                  <a:lnTo>
                    <a:pt x="0" y="10"/>
                  </a:lnTo>
                  <a:lnTo>
                    <a:pt x="13" y="14"/>
                  </a:lnTo>
                  <a:lnTo>
                    <a:pt x="29" y="15"/>
                  </a:lnTo>
                  <a:lnTo>
                    <a:pt x="59" y="18"/>
                  </a:lnTo>
                  <a:lnTo>
                    <a:pt x="59" y="18"/>
                  </a:lnTo>
                  <a:close/>
                </a:path>
              </a:pathLst>
            </a:custGeom>
            <a:solidFill>
              <a:srgbClr val="4D839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0" name="Freeform 819"/>
            <p:cNvSpPr/>
            <p:nvPr/>
          </p:nvSpPr>
          <p:spPr bwMode="auto">
            <a:xfrm>
              <a:off x="3246435" y="4548191"/>
              <a:ext cx="28575" cy="7938"/>
            </a:xfrm>
            <a:custGeom>
              <a:avLst/>
              <a:gdLst>
                <a:gd name="T0" fmla="*/ 55 w 55"/>
                <a:gd name="T1" fmla="*/ 15 h 15"/>
                <a:gd name="T2" fmla="*/ 55 w 55"/>
                <a:gd name="T3" fmla="*/ 5 h 15"/>
                <a:gd name="T4" fmla="*/ 1 w 55"/>
                <a:gd name="T5" fmla="*/ 0 h 15"/>
                <a:gd name="T6" fmla="*/ 0 w 55"/>
                <a:gd name="T7" fmla="*/ 11 h 15"/>
                <a:gd name="T8" fmla="*/ 55 w 55"/>
                <a:gd name="T9" fmla="*/ 15 h 15"/>
              </a:gdLst>
              <a:ahLst/>
              <a:cxnLst>
                <a:cxn ang="0">
                  <a:pos x="T0" y="T1"/>
                </a:cxn>
                <a:cxn ang="0">
                  <a:pos x="T2" y="T3"/>
                </a:cxn>
                <a:cxn ang="0">
                  <a:pos x="T4" y="T5"/>
                </a:cxn>
                <a:cxn ang="0">
                  <a:pos x="T6" y="T7"/>
                </a:cxn>
                <a:cxn ang="0">
                  <a:pos x="T8" y="T9"/>
                </a:cxn>
              </a:cxnLst>
              <a:rect l="0" t="0" r="r" b="b"/>
              <a:pathLst>
                <a:path w="55" h="15">
                  <a:moveTo>
                    <a:pt x="55" y="15"/>
                  </a:moveTo>
                  <a:lnTo>
                    <a:pt x="55" y="5"/>
                  </a:lnTo>
                  <a:lnTo>
                    <a:pt x="1" y="0"/>
                  </a:lnTo>
                  <a:lnTo>
                    <a:pt x="0" y="11"/>
                  </a:lnTo>
                  <a:lnTo>
                    <a:pt x="55" y="15"/>
                  </a:lnTo>
                  <a:close/>
                </a:path>
              </a:pathLst>
            </a:custGeom>
            <a:solidFill>
              <a:srgbClr val="4D839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1" name="Freeform 820"/>
            <p:cNvSpPr/>
            <p:nvPr/>
          </p:nvSpPr>
          <p:spPr bwMode="auto">
            <a:xfrm>
              <a:off x="2384423" y="5235579"/>
              <a:ext cx="131763" cy="63500"/>
            </a:xfrm>
            <a:custGeom>
              <a:avLst/>
              <a:gdLst>
                <a:gd name="T0" fmla="*/ 0 w 250"/>
                <a:gd name="T1" fmla="*/ 0 h 120"/>
                <a:gd name="T2" fmla="*/ 250 w 250"/>
                <a:gd name="T3" fmla="*/ 69 h 120"/>
                <a:gd name="T4" fmla="*/ 247 w 250"/>
                <a:gd name="T5" fmla="*/ 120 h 120"/>
                <a:gd name="T6" fmla="*/ 0 w 250"/>
                <a:gd name="T7" fmla="*/ 53 h 120"/>
                <a:gd name="T8" fmla="*/ 0 w 250"/>
                <a:gd name="T9" fmla="*/ 0 h 120"/>
              </a:gdLst>
              <a:ahLst/>
              <a:cxnLst>
                <a:cxn ang="0">
                  <a:pos x="T0" y="T1"/>
                </a:cxn>
                <a:cxn ang="0">
                  <a:pos x="T2" y="T3"/>
                </a:cxn>
                <a:cxn ang="0">
                  <a:pos x="T4" y="T5"/>
                </a:cxn>
                <a:cxn ang="0">
                  <a:pos x="T6" y="T7"/>
                </a:cxn>
                <a:cxn ang="0">
                  <a:pos x="T8" y="T9"/>
                </a:cxn>
              </a:cxnLst>
              <a:rect l="0" t="0" r="r" b="b"/>
              <a:pathLst>
                <a:path w="250" h="120">
                  <a:moveTo>
                    <a:pt x="0" y="0"/>
                  </a:moveTo>
                  <a:lnTo>
                    <a:pt x="250" y="69"/>
                  </a:lnTo>
                  <a:lnTo>
                    <a:pt x="247" y="120"/>
                  </a:lnTo>
                  <a:lnTo>
                    <a:pt x="0" y="53"/>
                  </a:lnTo>
                  <a:lnTo>
                    <a:pt x="0" y="0"/>
                  </a:lnTo>
                  <a:close/>
                </a:path>
              </a:pathLst>
            </a:custGeom>
            <a:solidFill>
              <a:srgbClr val="A541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2" name="Freeform 821"/>
            <p:cNvSpPr/>
            <p:nvPr/>
          </p:nvSpPr>
          <p:spPr bwMode="auto">
            <a:xfrm>
              <a:off x="2514598" y="5227641"/>
              <a:ext cx="382588" cy="71438"/>
            </a:xfrm>
            <a:custGeom>
              <a:avLst/>
              <a:gdLst>
                <a:gd name="T0" fmla="*/ 3 w 721"/>
                <a:gd name="T1" fmla="*/ 83 h 134"/>
                <a:gd name="T2" fmla="*/ 721 w 721"/>
                <a:gd name="T3" fmla="*/ 0 h 134"/>
                <a:gd name="T4" fmla="*/ 721 w 721"/>
                <a:gd name="T5" fmla="*/ 71 h 134"/>
                <a:gd name="T6" fmla="*/ 0 w 721"/>
                <a:gd name="T7" fmla="*/ 134 h 134"/>
                <a:gd name="T8" fmla="*/ 3 w 721"/>
                <a:gd name="T9" fmla="*/ 83 h 134"/>
              </a:gdLst>
              <a:ahLst/>
              <a:cxnLst>
                <a:cxn ang="0">
                  <a:pos x="T0" y="T1"/>
                </a:cxn>
                <a:cxn ang="0">
                  <a:pos x="T2" y="T3"/>
                </a:cxn>
                <a:cxn ang="0">
                  <a:pos x="T4" y="T5"/>
                </a:cxn>
                <a:cxn ang="0">
                  <a:pos x="T6" y="T7"/>
                </a:cxn>
                <a:cxn ang="0">
                  <a:pos x="T8" y="T9"/>
                </a:cxn>
              </a:cxnLst>
              <a:rect l="0" t="0" r="r" b="b"/>
              <a:pathLst>
                <a:path w="721" h="134">
                  <a:moveTo>
                    <a:pt x="3" y="83"/>
                  </a:moveTo>
                  <a:lnTo>
                    <a:pt x="721" y="0"/>
                  </a:lnTo>
                  <a:lnTo>
                    <a:pt x="721" y="71"/>
                  </a:lnTo>
                  <a:lnTo>
                    <a:pt x="0" y="134"/>
                  </a:lnTo>
                  <a:lnTo>
                    <a:pt x="3" y="83"/>
                  </a:lnTo>
                  <a:close/>
                </a:path>
              </a:pathLst>
            </a:custGeom>
            <a:solidFill>
              <a:srgbClr val="F6D1B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3" name="Freeform 822"/>
            <p:cNvSpPr/>
            <p:nvPr/>
          </p:nvSpPr>
          <p:spPr bwMode="auto">
            <a:xfrm>
              <a:off x="2517773" y="4995866"/>
              <a:ext cx="130175" cy="68263"/>
            </a:xfrm>
            <a:custGeom>
              <a:avLst/>
              <a:gdLst>
                <a:gd name="T0" fmla="*/ 246 w 246"/>
                <a:gd name="T1" fmla="*/ 11 h 130"/>
                <a:gd name="T2" fmla="*/ 25 w 246"/>
                <a:gd name="T3" fmla="*/ 130 h 130"/>
                <a:gd name="T4" fmla="*/ 0 w 246"/>
                <a:gd name="T5" fmla="*/ 118 h 130"/>
                <a:gd name="T6" fmla="*/ 207 w 246"/>
                <a:gd name="T7" fmla="*/ 0 h 130"/>
                <a:gd name="T8" fmla="*/ 246 w 246"/>
                <a:gd name="T9" fmla="*/ 11 h 130"/>
              </a:gdLst>
              <a:ahLst/>
              <a:cxnLst>
                <a:cxn ang="0">
                  <a:pos x="T0" y="T1"/>
                </a:cxn>
                <a:cxn ang="0">
                  <a:pos x="T2" y="T3"/>
                </a:cxn>
                <a:cxn ang="0">
                  <a:pos x="T4" y="T5"/>
                </a:cxn>
                <a:cxn ang="0">
                  <a:pos x="T6" y="T7"/>
                </a:cxn>
                <a:cxn ang="0">
                  <a:pos x="T8" y="T9"/>
                </a:cxn>
              </a:cxnLst>
              <a:rect l="0" t="0" r="r" b="b"/>
              <a:pathLst>
                <a:path w="246" h="130">
                  <a:moveTo>
                    <a:pt x="246" y="11"/>
                  </a:moveTo>
                  <a:lnTo>
                    <a:pt x="25" y="130"/>
                  </a:lnTo>
                  <a:lnTo>
                    <a:pt x="0" y="118"/>
                  </a:lnTo>
                  <a:lnTo>
                    <a:pt x="207" y="0"/>
                  </a:lnTo>
                  <a:lnTo>
                    <a:pt x="246" y="11"/>
                  </a:lnTo>
                  <a:close/>
                </a:path>
              </a:pathLst>
            </a:custGeom>
            <a:solidFill>
              <a:srgbClr val="BA907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4" name="Freeform 823"/>
            <p:cNvSpPr/>
            <p:nvPr/>
          </p:nvSpPr>
          <p:spPr bwMode="auto">
            <a:xfrm>
              <a:off x="2627311" y="4835529"/>
              <a:ext cx="20638" cy="168275"/>
            </a:xfrm>
            <a:custGeom>
              <a:avLst/>
              <a:gdLst>
                <a:gd name="T0" fmla="*/ 39 w 39"/>
                <a:gd name="T1" fmla="*/ 313 h 317"/>
                <a:gd name="T2" fmla="*/ 0 w 39"/>
                <a:gd name="T3" fmla="*/ 317 h 317"/>
                <a:gd name="T4" fmla="*/ 0 w 39"/>
                <a:gd name="T5" fmla="*/ 0 h 317"/>
                <a:gd name="T6" fmla="*/ 36 w 39"/>
                <a:gd name="T7" fmla="*/ 1 h 317"/>
                <a:gd name="T8" fmla="*/ 39 w 39"/>
                <a:gd name="T9" fmla="*/ 313 h 317"/>
              </a:gdLst>
              <a:ahLst/>
              <a:cxnLst>
                <a:cxn ang="0">
                  <a:pos x="T0" y="T1"/>
                </a:cxn>
                <a:cxn ang="0">
                  <a:pos x="T2" y="T3"/>
                </a:cxn>
                <a:cxn ang="0">
                  <a:pos x="T4" y="T5"/>
                </a:cxn>
                <a:cxn ang="0">
                  <a:pos x="T6" y="T7"/>
                </a:cxn>
                <a:cxn ang="0">
                  <a:pos x="T8" y="T9"/>
                </a:cxn>
              </a:cxnLst>
              <a:rect l="0" t="0" r="r" b="b"/>
              <a:pathLst>
                <a:path w="39" h="317">
                  <a:moveTo>
                    <a:pt x="39" y="313"/>
                  </a:moveTo>
                  <a:lnTo>
                    <a:pt x="0" y="317"/>
                  </a:lnTo>
                  <a:lnTo>
                    <a:pt x="0" y="0"/>
                  </a:lnTo>
                  <a:lnTo>
                    <a:pt x="36" y="1"/>
                  </a:lnTo>
                  <a:lnTo>
                    <a:pt x="39" y="313"/>
                  </a:lnTo>
                  <a:close/>
                </a:path>
              </a:pathLst>
            </a:custGeom>
            <a:solidFill>
              <a:srgbClr val="81ADC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5" name="Freeform 824"/>
            <p:cNvSpPr/>
            <p:nvPr/>
          </p:nvSpPr>
          <p:spPr bwMode="auto">
            <a:xfrm>
              <a:off x="2627311" y="4832354"/>
              <a:ext cx="19050" cy="7938"/>
            </a:xfrm>
            <a:custGeom>
              <a:avLst/>
              <a:gdLst>
                <a:gd name="T0" fmla="*/ 36 w 36"/>
                <a:gd name="T1" fmla="*/ 7 h 14"/>
                <a:gd name="T2" fmla="*/ 36 w 36"/>
                <a:gd name="T3" fmla="*/ 7 h 14"/>
                <a:gd name="T4" fmla="*/ 35 w 36"/>
                <a:gd name="T5" fmla="*/ 4 h 14"/>
                <a:gd name="T6" fmla="*/ 32 w 36"/>
                <a:gd name="T7" fmla="*/ 3 h 14"/>
                <a:gd name="T8" fmla="*/ 28 w 36"/>
                <a:gd name="T9" fmla="*/ 2 h 14"/>
                <a:gd name="T10" fmla="*/ 24 w 36"/>
                <a:gd name="T11" fmla="*/ 0 h 14"/>
                <a:gd name="T12" fmla="*/ 18 w 36"/>
                <a:gd name="T13" fmla="*/ 0 h 14"/>
                <a:gd name="T14" fmla="*/ 10 w 36"/>
                <a:gd name="T15" fmla="*/ 2 h 14"/>
                <a:gd name="T16" fmla="*/ 0 w 36"/>
                <a:gd name="T17" fmla="*/ 6 h 14"/>
                <a:gd name="T18" fmla="*/ 0 w 36"/>
                <a:gd name="T19" fmla="*/ 6 h 14"/>
                <a:gd name="T20" fmla="*/ 4 w 36"/>
                <a:gd name="T21" fmla="*/ 8 h 14"/>
                <a:gd name="T22" fmla="*/ 14 w 36"/>
                <a:gd name="T23" fmla="*/ 12 h 14"/>
                <a:gd name="T24" fmla="*/ 19 w 36"/>
                <a:gd name="T25" fmla="*/ 14 h 14"/>
                <a:gd name="T26" fmla="*/ 26 w 36"/>
                <a:gd name="T27" fmla="*/ 12 h 14"/>
                <a:gd name="T28" fmla="*/ 31 w 36"/>
                <a:gd name="T29" fmla="*/ 11 h 14"/>
                <a:gd name="T30" fmla="*/ 36 w 36"/>
                <a:gd name="T31" fmla="*/ 7 h 14"/>
                <a:gd name="T32" fmla="*/ 36 w 36"/>
                <a:gd name="T33"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14">
                  <a:moveTo>
                    <a:pt x="36" y="7"/>
                  </a:moveTo>
                  <a:lnTo>
                    <a:pt x="36" y="7"/>
                  </a:lnTo>
                  <a:lnTo>
                    <a:pt x="35" y="4"/>
                  </a:lnTo>
                  <a:lnTo>
                    <a:pt x="32" y="3"/>
                  </a:lnTo>
                  <a:lnTo>
                    <a:pt x="28" y="2"/>
                  </a:lnTo>
                  <a:lnTo>
                    <a:pt x="24" y="0"/>
                  </a:lnTo>
                  <a:lnTo>
                    <a:pt x="18" y="0"/>
                  </a:lnTo>
                  <a:lnTo>
                    <a:pt x="10" y="2"/>
                  </a:lnTo>
                  <a:lnTo>
                    <a:pt x="0" y="6"/>
                  </a:lnTo>
                  <a:lnTo>
                    <a:pt x="0" y="6"/>
                  </a:lnTo>
                  <a:lnTo>
                    <a:pt x="4" y="8"/>
                  </a:lnTo>
                  <a:lnTo>
                    <a:pt x="14" y="12"/>
                  </a:lnTo>
                  <a:lnTo>
                    <a:pt x="19" y="14"/>
                  </a:lnTo>
                  <a:lnTo>
                    <a:pt x="26" y="12"/>
                  </a:lnTo>
                  <a:lnTo>
                    <a:pt x="31" y="11"/>
                  </a:lnTo>
                  <a:lnTo>
                    <a:pt x="36" y="7"/>
                  </a:lnTo>
                  <a:lnTo>
                    <a:pt x="36" y="7"/>
                  </a:lnTo>
                  <a:close/>
                </a:path>
              </a:pathLst>
            </a:custGeom>
            <a:solidFill>
              <a:srgbClr val="455E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6" name="Freeform 825"/>
            <p:cNvSpPr/>
            <p:nvPr/>
          </p:nvSpPr>
          <p:spPr bwMode="auto">
            <a:xfrm>
              <a:off x="2897186" y="5227642"/>
              <a:ext cx="25400" cy="39688"/>
            </a:xfrm>
            <a:custGeom>
              <a:avLst/>
              <a:gdLst>
                <a:gd name="T0" fmla="*/ 48 w 48"/>
                <a:gd name="T1" fmla="*/ 2 h 74"/>
                <a:gd name="T2" fmla="*/ 0 w 48"/>
                <a:gd name="T3" fmla="*/ 0 h 74"/>
                <a:gd name="T4" fmla="*/ 0 w 48"/>
                <a:gd name="T5" fmla="*/ 71 h 74"/>
                <a:gd name="T6" fmla="*/ 48 w 48"/>
                <a:gd name="T7" fmla="*/ 74 h 74"/>
                <a:gd name="T8" fmla="*/ 48 w 48"/>
                <a:gd name="T9" fmla="*/ 2 h 74"/>
              </a:gdLst>
              <a:ahLst/>
              <a:cxnLst>
                <a:cxn ang="0">
                  <a:pos x="T0" y="T1"/>
                </a:cxn>
                <a:cxn ang="0">
                  <a:pos x="T2" y="T3"/>
                </a:cxn>
                <a:cxn ang="0">
                  <a:pos x="T4" y="T5"/>
                </a:cxn>
                <a:cxn ang="0">
                  <a:pos x="T6" y="T7"/>
                </a:cxn>
                <a:cxn ang="0">
                  <a:pos x="T8" y="T9"/>
                </a:cxn>
              </a:cxnLst>
              <a:rect l="0" t="0" r="r" b="b"/>
              <a:pathLst>
                <a:path w="48" h="74">
                  <a:moveTo>
                    <a:pt x="48" y="2"/>
                  </a:moveTo>
                  <a:lnTo>
                    <a:pt x="0" y="0"/>
                  </a:lnTo>
                  <a:lnTo>
                    <a:pt x="0" y="71"/>
                  </a:lnTo>
                  <a:lnTo>
                    <a:pt x="48" y="74"/>
                  </a:lnTo>
                  <a:lnTo>
                    <a:pt x="48" y="2"/>
                  </a:lnTo>
                  <a:close/>
                </a:path>
              </a:pathLst>
            </a:custGeom>
            <a:solidFill>
              <a:srgbClr val="A5414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7" name="Freeform 826"/>
            <p:cNvSpPr/>
            <p:nvPr/>
          </p:nvSpPr>
          <p:spPr bwMode="auto">
            <a:xfrm>
              <a:off x="2438398" y="5065717"/>
              <a:ext cx="173038" cy="34925"/>
            </a:xfrm>
            <a:custGeom>
              <a:avLst/>
              <a:gdLst>
                <a:gd name="T0" fmla="*/ 309 w 325"/>
                <a:gd name="T1" fmla="*/ 45 h 64"/>
                <a:gd name="T2" fmla="*/ 0 w 325"/>
                <a:gd name="T3" fmla="*/ 0 h 64"/>
                <a:gd name="T4" fmla="*/ 4 w 325"/>
                <a:gd name="T5" fmla="*/ 16 h 64"/>
                <a:gd name="T6" fmla="*/ 325 w 325"/>
                <a:gd name="T7" fmla="*/ 64 h 64"/>
                <a:gd name="T8" fmla="*/ 309 w 325"/>
                <a:gd name="T9" fmla="*/ 45 h 64"/>
              </a:gdLst>
              <a:ahLst/>
              <a:cxnLst>
                <a:cxn ang="0">
                  <a:pos x="T0" y="T1"/>
                </a:cxn>
                <a:cxn ang="0">
                  <a:pos x="T2" y="T3"/>
                </a:cxn>
                <a:cxn ang="0">
                  <a:pos x="T4" y="T5"/>
                </a:cxn>
                <a:cxn ang="0">
                  <a:pos x="T6" y="T7"/>
                </a:cxn>
                <a:cxn ang="0">
                  <a:pos x="T8" y="T9"/>
                </a:cxn>
              </a:cxnLst>
              <a:rect l="0" t="0" r="r" b="b"/>
              <a:pathLst>
                <a:path w="325" h="64">
                  <a:moveTo>
                    <a:pt x="309" y="45"/>
                  </a:moveTo>
                  <a:lnTo>
                    <a:pt x="0" y="0"/>
                  </a:lnTo>
                  <a:lnTo>
                    <a:pt x="4" y="16"/>
                  </a:lnTo>
                  <a:lnTo>
                    <a:pt x="325" y="64"/>
                  </a:lnTo>
                  <a:lnTo>
                    <a:pt x="309" y="45"/>
                  </a:lnTo>
                  <a:close/>
                </a:path>
              </a:pathLst>
            </a:custGeom>
            <a:solidFill>
              <a:srgbClr val="85282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8" name="Freeform 827"/>
            <p:cNvSpPr/>
            <p:nvPr/>
          </p:nvSpPr>
          <p:spPr bwMode="auto">
            <a:xfrm>
              <a:off x="2627311" y="4835530"/>
              <a:ext cx="11113" cy="168275"/>
            </a:xfrm>
            <a:custGeom>
              <a:avLst/>
              <a:gdLst>
                <a:gd name="T0" fmla="*/ 0 w 19"/>
                <a:gd name="T1" fmla="*/ 0 h 317"/>
                <a:gd name="T2" fmla="*/ 14 w 19"/>
                <a:gd name="T3" fmla="*/ 6 h 317"/>
                <a:gd name="T4" fmla="*/ 19 w 19"/>
                <a:gd name="T5" fmla="*/ 316 h 317"/>
                <a:gd name="T6" fmla="*/ 0 w 19"/>
                <a:gd name="T7" fmla="*/ 317 h 317"/>
                <a:gd name="T8" fmla="*/ 0 w 19"/>
                <a:gd name="T9" fmla="*/ 0 h 317"/>
              </a:gdLst>
              <a:ahLst/>
              <a:cxnLst>
                <a:cxn ang="0">
                  <a:pos x="T0" y="T1"/>
                </a:cxn>
                <a:cxn ang="0">
                  <a:pos x="T2" y="T3"/>
                </a:cxn>
                <a:cxn ang="0">
                  <a:pos x="T4" y="T5"/>
                </a:cxn>
                <a:cxn ang="0">
                  <a:pos x="T6" y="T7"/>
                </a:cxn>
                <a:cxn ang="0">
                  <a:pos x="T8" y="T9"/>
                </a:cxn>
              </a:cxnLst>
              <a:rect l="0" t="0" r="r" b="b"/>
              <a:pathLst>
                <a:path w="19" h="317">
                  <a:moveTo>
                    <a:pt x="0" y="0"/>
                  </a:moveTo>
                  <a:lnTo>
                    <a:pt x="14" y="6"/>
                  </a:lnTo>
                  <a:lnTo>
                    <a:pt x="19" y="316"/>
                  </a:lnTo>
                  <a:lnTo>
                    <a:pt x="0" y="317"/>
                  </a:lnTo>
                  <a:lnTo>
                    <a:pt x="0" y="0"/>
                  </a:lnTo>
                  <a:close/>
                </a:path>
              </a:pathLst>
            </a:custGeom>
            <a:solidFill>
              <a:srgbClr val="5687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9" name="Freeform 828"/>
            <p:cNvSpPr/>
            <p:nvPr/>
          </p:nvSpPr>
          <p:spPr bwMode="auto">
            <a:xfrm>
              <a:off x="3844922" y="5002217"/>
              <a:ext cx="206375" cy="33338"/>
            </a:xfrm>
            <a:custGeom>
              <a:avLst/>
              <a:gdLst>
                <a:gd name="T0" fmla="*/ 391 w 391"/>
                <a:gd name="T1" fmla="*/ 24 h 64"/>
                <a:gd name="T2" fmla="*/ 200 w 391"/>
                <a:gd name="T3" fmla="*/ 64 h 64"/>
                <a:gd name="T4" fmla="*/ 4 w 391"/>
                <a:gd name="T5" fmla="*/ 59 h 64"/>
                <a:gd name="T6" fmla="*/ 0 w 391"/>
                <a:gd name="T7" fmla="*/ 0 h 64"/>
                <a:gd name="T8" fmla="*/ 391 w 391"/>
                <a:gd name="T9" fmla="*/ 24 h 64"/>
              </a:gdLst>
              <a:ahLst/>
              <a:cxnLst>
                <a:cxn ang="0">
                  <a:pos x="T0" y="T1"/>
                </a:cxn>
                <a:cxn ang="0">
                  <a:pos x="T2" y="T3"/>
                </a:cxn>
                <a:cxn ang="0">
                  <a:pos x="T4" y="T5"/>
                </a:cxn>
                <a:cxn ang="0">
                  <a:pos x="T6" y="T7"/>
                </a:cxn>
                <a:cxn ang="0">
                  <a:pos x="T8" y="T9"/>
                </a:cxn>
              </a:cxnLst>
              <a:rect l="0" t="0" r="r" b="b"/>
              <a:pathLst>
                <a:path w="391" h="64">
                  <a:moveTo>
                    <a:pt x="391" y="24"/>
                  </a:moveTo>
                  <a:lnTo>
                    <a:pt x="200" y="64"/>
                  </a:lnTo>
                  <a:lnTo>
                    <a:pt x="4" y="59"/>
                  </a:lnTo>
                  <a:lnTo>
                    <a:pt x="0" y="0"/>
                  </a:lnTo>
                  <a:lnTo>
                    <a:pt x="391" y="24"/>
                  </a:lnTo>
                  <a:close/>
                </a:path>
              </a:pathLst>
            </a:custGeom>
            <a:solidFill>
              <a:srgbClr val="85282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0" name="Freeform 829"/>
            <p:cNvSpPr/>
            <p:nvPr/>
          </p:nvSpPr>
          <p:spPr bwMode="auto">
            <a:xfrm>
              <a:off x="3844922" y="5002217"/>
              <a:ext cx="206375" cy="33338"/>
            </a:xfrm>
            <a:custGeom>
              <a:avLst/>
              <a:gdLst>
                <a:gd name="T0" fmla="*/ 391 w 391"/>
                <a:gd name="T1" fmla="*/ 24 h 64"/>
                <a:gd name="T2" fmla="*/ 200 w 391"/>
                <a:gd name="T3" fmla="*/ 64 h 64"/>
                <a:gd name="T4" fmla="*/ 4 w 391"/>
                <a:gd name="T5" fmla="*/ 59 h 64"/>
                <a:gd name="T6" fmla="*/ 0 w 391"/>
                <a:gd name="T7" fmla="*/ 0 h 64"/>
                <a:gd name="T8" fmla="*/ 391 w 391"/>
                <a:gd name="T9" fmla="*/ 24 h 64"/>
              </a:gdLst>
              <a:ahLst/>
              <a:cxnLst>
                <a:cxn ang="0">
                  <a:pos x="T0" y="T1"/>
                </a:cxn>
                <a:cxn ang="0">
                  <a:pos x="T2" y="T3"/>
                </a:cxn>
                <a:cxn ang="0">
                  <a:pos x="T4" y="T5"/>
                </a:cxn>
                <a:cxn ang="0">
                  <a:pos x="T6" y="T7"/>
                </a:cxn>
                <a:cxn ang="0">
                  <a:pos x="T8" y="T9"/>
                </a:cxn>
              </a:cxnLst>
              <a:rect l="0" t="0" r="r" b="b"/>
              <a:pathLst>
                <a:path w="391" h="64">
                  <a:moveTo>
                    <a:pt x="391" y="24"/>
                  </a:moveTo>
                  <a:lnTo>
                    <a:pt x="200" y="64"/>
                  </a:lnTo>
                  <a:lnTo>
                    <a:pt x="4" y="59"/>
                  </a:lnTo>
                  <a:lnTo>
                    <a:pt x="0" y="0"/>
                  </a:lnTo>
                  <a:lnTo>
                    <a:pt x="391"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pic>
          <p:nvPicPr>
            <p:cNvPr id="201" name="Picture 830"/>
            <p:cNvPicPr>
              <a:picLocks noChangeAspect="1" noChangeArrowheads="1"/>
            </p:cNvPicPr>
            <p:nvPr/>
          </p:nvPicPr>
          <p:blipFill>
            <a:blip r:embed="rId1" cstate="print"/>
            <a:srcRect/>
            <a:stretch>
              <a:fillRect/>
            </a:stretch>
          </p:blipFill>
          <p:spPr bwMode="auto">
            <a:xfrm>
              <a:off x="3841747" y="4999042"/>
              <a:ext cx="68263" cy="139700"/>
            </a:xfrm>
            <a:prstGeom prst="rect">
              <a:avLst/>
            </a:prstGeom>
            <a:solidFill>
              <a:schemeClr val="bg1">
                <a:lumMod val="95000"/>
              </a:schemeClr>
            </a:solidFill>
            <a:ln>
              <a:noFill/>
            </a:ln>
            <a:effectLst>
              <a:outerShdw blurRad="266700" dist="508000" dir="1920000" sx="96000" sy="96000" algn="tl" rotWithShape="0">
                <a:prstClr val="black">
                  <a:alpha val="26000"/>
                </a:prstClr>
              </a:outerShdw>
            </a:effectLst>
            <a:extLst>
              <a:ext uri="{91240B29-F687-4F45-9708-019B960494DF}">
                <a14:hiddenLine xmlns:a14="http://schemas.microsoft.com/office/drawing/2010/main" w="9525">
                  <a:solidFill>
                    <a:srgbClr val="000000"/>
                  </a:solidFill>
                  <a:miter lim="800000"/>
                  <a:headEnd/>
                  <a:tailEnd/>
                </a14:hiddenLine>
              </a:ext>
            </a:extLst>
          </p:spPr>
        </p:pic>
        <p:sp>
          <p:nvSpPr>
            <p:cNvPr id="202" name="Freeform 831"/>
            <p:cNvSpPr/>
            <p:nvPr/>
          </p:nvSpPr>
          <p:spPr bwMode="auto">
            <a:xfrm>
              <a:off x="3846510" y="5014917"/>
              <a:ext cx="204788" cy="141288"/>
            </a:xfrm>
            <a:custGeom>
              <a:avLst/>
              <a:gdLst>
                <a:gd name="T0" fmla="*/ 388 w 388"/>
                <a:gd name="T1" fmla="*/ 0 h 267"/>
                <a:gd name="T2" fmla="*/ 197 w 388"/>
                <a:gd name="T3" fmla="*/ 40 h 267"/>
                <a:gd name="T4" fmla="*/ 1 w 388"/>
                <a:gd name="T5" fmla="*/ 35 h 267"/>
                <a:gd name="T6" fmla="*/ 0 w 388"/>
                <a:gd name="T7" fmla="*/ 232 h 267"/>
                <a:gd name="T8" fmla="*/ 62 w 388"/>
                <a:gd name="T9" fmla="*/ 246 h 267"/>
                <a:gd name="T10" fmla="*/ 84 w 388"/>
                <a:gd name="T11" fmla="*/ 250 h 267"/>
                <a:gd name="T12" fmla="*/ 84 w 388"/>
                <a:gd name="T13" fmla="*/ 250 h 267"/>
                <a:gd name="T14" fmla="*/ 84 w 388"/>
                <a:gd name="T15" fmla="*/ 250 h 267"/>
                <a:gd name="T16" fmla="*/ 92 w 388"/>
                <a:gd name="T17" fmla="*/ 252 h 267"/>
                <a:gd name="T18" fmla="*/ 92 w 388"/>
                <a:gd name="T19" fmla="*/ 252 h 267"/>
                <a:gd name="T20" fmla="*/ 122 w 388"/>
                <a:gd name="T21" fmla="*/ 257 h 267"/>
                <a:gd name="T22" fmla="*/ 135 w 388"/>
                <a:gd name="T23" fmla="*/ 261 h 267"/>
                <a:gd name="T24" fmla="*/ 147 w 388"/>
                <a:gd name="T25" fmla="*/ 267 h 267"/>
                <a:gd name="T26" fmla="*/ 190 w 388"/>
                <a:gd name="T27" fmla="*/ 51 h 267"/>
                <a:gd name="T28" fmla="*/ 388 w 388"/>
                <a:gd name="T29"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8" h="267">
                  <a:moveTo>
                    <a:pt x="388" y="0"/>
                  </a:moveTo>
                  <a:lnTo>
                    <a:pt x="197" y="40"/>
                  </a:lnTo>
                  <a:lnTo>
                    <a:pt x="1" y="35"/>
                  </a:lnTo>
                  <a:lnTo>
                    <a:pt x="0" y="232"/>
                  </a:lnTo>
                  <a:lnTo>
                    <a:pt x="62" y="246"/>
                  </a:lnTo>
                  <a:lnTo>
                    <a:pt x="84" y="250"/>
                  </a:lnTo>
                  <a:lnTo>
                    <a:pt x="84" y="250"/>
                  </a:lnTo>
                  <a:lnTo>
                    <a:pt x="84" y="250"/>
                  </a:lnTo>
                  <a:lnTo>
                    <a:pt x="92" y="252"/>
                  </a:lnTo>
                  <a:lnTo>
                    <a:pt x="92" y="252"/>
                  </a:lnTo>
                  <a:lnTo>
                    <a:pt x="122" y="257"/>
                  </a:lnTo>
                  <a:lnTo>
                    <a:pt x="135" y="261"/>
                  </a:lnTo>
                  <a:lnTo>
                    <a:pt x="147" y="267"/>
                  </a:lnTo>
                  <a:lnTo>
                    <a:pt x="190" y="51"/>
                  </a:lnTo>
                  <a:lnTo>
                    <a:pt x="388" y="0"/>
                  </a:lnTo>
                  <a:close/>
                </a:path>
              </a:pathLst>
            </a:custGeom>
            <a:solidFill>
              <a:srgbClr val="A33E3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3" name="Freeform 832"/>
            <p:cNvSpPr/>
            <p:nvPr/>
          </p:nvSpPr>
          <p:spPr bwMode="auto">
            <a:xfrm>
              <a:off x="3846510" y="5014917"/>
              <a:ext cx="204788" cy="141288"/>
            </a:xfrm>
            <a:custGeom>
              <a:avLst/>
              <a:gdLst>
                <a:gd name="T0" fmla="*/ 388 w 388"/>
                <a:gd name="T1" fmla="*/ 0 h 267"/>
                <a:gd name="T2" fmla="*/ 197 w 388"/>
                <a:gd name="T3" fmla="*/ 40 h 267"/>
                <a:gd name="T4" fmla="*/ 1 w 388"/>
                <a:gd name="T5" fmla="*/ 35 h 267"/>
                <a:gd name="T6" fmla="*/ 0 w 388"/>
                <a:gd name="T7" fmla="*/ 232 h 267"/>
                <a:gd name="T8" fmla="*/ 62 w 388"/>
                <a:gd name="T9" fmla="*/ 246 h 267"/>
                <a:gd name="T10" fmla="*/ 84 w 388"/>
                <a:gd name="T11" fmla="*/ 250 h 267"/>
                <a:gd name="T12" fmla="*/ 84 w 388"/>
                <a:gd name="T13" fmla="*/ 250 h 267"/>
                <a:gd name="T14" fmla="*/ 84 w 388"/>
                <a:gd name="T15" fmla="*/ 250 h 267"/>
                <a:gd name="T16" fmla="*/ 92 w 388"/>
                <a:gd name="T17" fmla="*/ 252 h 267"/>
                <a:gd name="T18" fmla="*/ 92 w 388"/>
                <a:gd name="T19" fmla="*/ 252 h 267"/>
                <a:gd name="T20" fmla="*/ 122 w 388"/>
                <a:gd name="T21" fmla="*/ 257 h 267"/>
                <a:gd name="T22" fmla="*/ 135 w 388"/>
                <a:gd name="T23" fmla="*/ 261 h 267"/>
                <a:gd name="T24" fmla="*/ 147 w 388"/>
                <a:gd name="T25" fmla="*/ 267 h 267"/>
                <a:gd name="T26" fmla="*/ 190 w 388"/>
                <a:gd name="T27" fmla="*/ 51 h 267"/>
                <a:gd name="T28" fmla="*/ 388 w 388"/>
                <a:gd name="T29"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8" h="267">
                  <a:moveTo>
                    <a:pt x="388" y="0"/>
                  </a:moveTo>
                  <a:lnTo>
                    <a:pt x="197" y="40"/>
                  </a:lnTo>
                  <a:lnTo>
                    <a:pt x="1" y="35"/>
                  </a:lnTo>
                  <a:lnTo>
                    <a:pt x="0" y="232"/>
                  </a:lnTo>
                  <a:lnTo>
                    <a:pt x="62" y="246"/>
                  </a:lnTo>
                  <a:lnTo>
                    <a:pt x="84" y="250"/>
                  </a:lnTo>
                  <a:lnTo>
                    <a:pt x="84" y="250"/>
                  </a:lnTo>
                  <a:lnTo>
                    <a:pt x="84" y="250"/>
                  </a:lnTo>
                  <a:lnTo>
                    <a:pt x="92" y="252"/>
                  </a:lnTo>
                  <a:lnTo>
                    <a:pt x="92" y="252"/>
                  </a:lnTo>
                  <a:lnTo>
                    <a:pt x="122" y="257"/>
                  </a:lnTo>
                  <a:lnTo>
                    <a:pt x="135" y="261"/>
                  </a:lnTo>
                  <a:lnTo>
                    <a:pt x="147" y="267"/>
                  </a:lnTo>
                  <a:lnTo>
                    <a:pt x="190" y="51"/>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4" name="Freeform 833"/>
            <p:cNvSpPr/>
            <p:nvPr/>
          </p:nvSpPr>
          <p:spPr bwMode="auto">
            <a:xfrm>
              <a:off x="3878260" y="5145092"/>
              <a:ext cx="12700" cy="1588"/>
            </a:xfrm>
            <a:custGeom>
              <a:avLst/>
              <a:gdLst>
                <a:gd name="T0" fmla="*/ 0 w 22"/>
                <a:gd name="T1" fmla="*/ 0 h 4"/>
                <a:gd name="T2" fmla="*/ 18 w 22"/>
                <a:gd name="T3" fmla="*/ 4 h 4"/>
                <a:gd name="T4" fmla="*/ 18 w 22"/>
                <a:gd name="T5" fmla="*/ 4 h 4"/>
                <a:gd name="T6" fmla="*/ 22 w 22"/>
                <a:gd name="T7" fmla="*/ 4 h 4"/>
                <a:gd name="T8" fmla="*/ 22 w 22"/>
                <a:gd name="T9" fmla="*/ 4 h 4"/>
                <a:gd name="T10" fmla="*/ 0 w 22"/>
                <a:gd name="T11" fmla="*/ 0 h 4"/>
              </a:gdLst>
              <a:ahLst/>
              <a:cxnLst>
                <a:cxn ang="0">
                  <a:pos x="T0" y="T1"/>
                </a:cxn>
                <a:cxn ang="0">
                  <a:pos x="T2" y="T3"/>
                </a:cxn>
                <a:cxn ang="0">
                  <a:pos x="T4" y="T5"/>
                </a:cxn>
                <a:cxn ang="0">
                  <a:pos x="T6" y="T7"/>
                </a:cxn>
                <a:cxn ang="0">
                  <a:pos x="T8" y="T9"/>
                </a:cxn>
                <a:cxn ang="0">
                  <a:pos x="T10" y="T11"/>
                </a:cxn>
              </a:cxnLst>
              <a:rect l="0" t="0" r="r" b="b"/>
              <a:pathLst>
                <a:path w="22" h="4">
                  <a:moveTo>
                    <a:pt x="0" y="0"/>
                  </a:moveTo>
                  <a:lnTo>
                    <a:pt x="18" y="4"/>
                  </a:lnTo>
                  <a:lnTo>
                    <a:pt x="18" y="4"/>
                  </a:lnTo>
                  <a:lnTo>
                    <a:pt x="22" y="4"/>
                  </a:lnTo>
                  <a:lnTo>
                    <a:pt x="22" y="4"/>
                  </a:lnTo>
                  <a:lnTo>
                    <a:pt x="0" y="0"/>
                  </a:lnTo>
                  <a:close/>
                </a:path>
              </a:pathLst>
            </a:custGeom>
            <a:solidFill>
              <a:srgbClr val="ACB2A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5" name="Freeform 834"/>
            <p:cNvSpPr/>
            <p:nvPr/>
          </p:nvSpPr>
          <p:spPr bwMode="auto">
            <a:xfrm>
              <a:off x="3878260" y="5145092"/>
              <a:ext cx="12700" cy="1588"/>
            </a:xfrm>
            <a:custGeom>
              <a:avLst/>
              <a:gdLst>
                <a:gd name="T0" fmla="*/ 0 w 22"/>
                <a:gd name="T1" fmla="*/ 0 h 4"/>
                <a:gd name="T2" fmla="*/ 18 w 22"/>
                <a:gd name="T3" fmla="*/ 4 h 4"/>
                <a:gd name="T4" fmla="*/ 18 w 22"/>
                <a:gd name="T5" fmla="*/ 4 h 4"/>
                <a:gd name="T6" fmla="*/ 22 w 22"/>
                <a:gd name="T7" fmla="*/ 4 h 4"/>
                <a:gd name="T8" fmla="*/ 22 w 22"/>
                <a:gd name="T9" fmla="*/ 4 h 4"/>
                <a:gd name="T10" fmla="*/ 0 w 22"/>
                <a:gd name="T11" fmla="*/ 0 h 4"/>
              </a:gdLst>
              <a:ahLst/>
              <a:cxnLst>
                <a:cxn ang="0">
                  <a:pos x="T0" y="T1"/>
                </a:cxn>
                <a:cxn ang="0">
                  <a:pos x="T2" y="T3"/>
                </a:cxn>
                <a:cxn ang="0">
                  <a:pos x="T4" y="T5"/>
                </a:cxn>
                <a:cxn ang="0">
                  <a:pos x="T6" y="T7"/>
                </a:cxn>
                <a:cxn ang="0">
                  <a:pos x="T8" y="T9"/>
                </a:cxn>
                <a:cxn ang="0">
                  <a:pos x="T10" y="T11"/>
                </a:cxn>
              </a:cxnLst>
              <a:rect l="0" t="0" r="r" b="b"/>
              <a:pathLst>
                <a:path w="22" h="4">
                  <a:moveTo>
                    <a:pt x="0" y="0"/>
                  </a:moveTo>
                  <a:lnTo>
                    <a:pt x="18" y="4"/>
                  </a:lnTo>
                  <a:lnTo>
                    <a:pt x="18" y="4"/>
                  </a:lnTo>
                  <a:lnTo>
                    <a:pt x="22" y="4"/>
                  </a:lnTo>
                  <a:lnTo>
                    <a:pt x="2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6" name="Freeform 835"/>
            <p:cNvSpPr/>
            <p:nvPr/>
          </p:nvSpPr>
          <p:spPr bwMode="auto">
            <a:xfrm>
              <a:off x="3887785" y="5146680"/>
              <a:ext cx="36513" cy="9525"/>
            </a:xfrm>
            <a:custGeom>
              <a:avLst/>
              <a:gdLst>
                <a:gd name="T0" fmla="*/ 0 w 67"/>
                <a:gd name="T1" fmla="*/ 0 h 17"/>
                <a:gd name="T2" fmla="*/ 67 w 67"/>
                <a:gd name="T3" fmla="*/ 17 h 17"/>
                <a:gd name="T4" fmla="*/ 67 w 67"/>
                <a:gd name="T5" fmla="*/ 17 h 17"/>
                <a:gd name="T6" fmla="*/ 67 w 67"/>
                <a:gd name="T7" fmla="*/ 17 h 17"/>
                <a:gd name="T8" fmla="*/ 55 w 67"/>
                <a:gd name="T9" fmla="*/ 11 h 17"/>
                <a:gd name="T10" fmla="*/ 42 w 67"/>
                <a:gd name="T11" fmla="*/ 7 h 17"/>
                <a:gd name="T12" fmla="*/ 12 w 67"/>
                <a:gd name="T13" fmla="*/ 2 h 17"/>
                <a:gd name="T14" fmla="*/ 12 w 67"/>
                <a:gd name="T15" fmla="*/ 2 h 17"/>
                <a:gd name="T16" fmla="*/ 4 w 67"/>
                <a:gd name="T17" fmla="*/ 0 h 17"/>
                <a:gd name="T18" fmla="*/ 4 w 67"/>
                <a:gd name="T19" fmla="*/ 0 h 17"/>
                <a:gd name="T20" fmla="*/ 0 w 67"/>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17">
                  <a:moveTo>
                    <a:pt x="0" y="0"/>
                  </a:moveTo>
                  <a:lnTo>
                    <a:pt x="67" y="17"/>
                  </a:lnTo>
                  <a:lnTo>
                    <a:pt x="67" y="17"/>
                  </a:lnTo>
                  <a:lnTo>
                    <a:pt x="67" y="17"/>
                  </a:lnTo>
                  <a:lnTo>
                    <a:pt x="55" y="11"/>
                  </a:lnTo>
                  <a:lnTo>
                    <a:pt x="42" y="7"/>
                  </a:lnTo>
                  <a:lnTo>
                    <a:pt x="12" y="2"/>
                  </a:lnTo>
                  <a:lnTo>
                    <a:pt x="12" y="2"/>
                  </a:lnTo>
                  <a:lnTo>
                    <a:pt x="4" y="0"/>
                  </a:lnTo>
                  <a:lnTo>
                    <a:pt x="4" y="0"/>
                  </a:lnTo>
                  <a:lnTo>
                    <a:pt x="0" y="0"/>
                  </a:lnTo>
                  <a:close/>
                </a:path>
              </a:pathLst>
            </a:custGeom>
            <a:solidFill>
              <a:srgbClr val="CEC3C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7" name="Freeform 836"/>
            <p:cNvSpPr/>
            <p:nvPr/>
          </p:nvSpPr>
          <p:spPr bwMode="auto">
            <a:xfrm>
              <a:off x="3887785" y="5146680"/>
              <a:ext cx="36513" cy="9525"/>
            </a:xfrm>
            <a:custGeom>
              <a:avLst/>
              <a:gdLst>
                <a:gd name="T0" fmla="*/ 0 w 67"/>
                <a:gd name="T1" fmla="*/ 0 h 17"/>
                <a:gd name="T2" fmla="*/ 67 w 67"/>
                <a:gd name="T3" fmla="*/ 17 h 17"/>
                <a:gd name="T4" fmla="*/ 67 w 67"/>
                <a:gd name="T5" fmla="*/ 17 h 17"/>
                <a:gd name="T6" fmla="*/ 67 w 67"/>
                <a:gd name="T7" fmla="*/ 17 h 17"/>
                <a:gd name="T8" fmla="*/ 55 w 67"/>
                <a:gd name="T9" fmla="*/ 11 h 17"/>
                <a:gd name="T10" fmla="*/ 42 w 67"/>
                <a:gd name="T11" fmla="*/ 7 h 17"/>
                <a:gd name="T12" fmla="*/ 12 w 67"/>
                <a:gd name="T13" fmla="*/ 2 h 17"/>
                <a:gd name="T14" fmla="*/ 12 w 67"/>
                <a:gd name="T15" fmla="*/ 2 h 17"/>
                <a:gd name="T16" fmla="*/ 4 w 67"/>
                <a:gd name="T17" fmla="*/ 0 h 17"/>
                <a:gd name="T18" fmla="*/ 4 w 67"/>
                <a:gd name="T19" fmla="*/ 0 h 17"/>
                <a:gd name="T20" fmla="*/ 0 w 67"/>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17">
                  <a:moveTo>
                    <a:pt x="0" y="0"/>
                  </a:moveTo>
                  <a:lnTo>
                    <a:pt x="67" y="17"/>
                  </a:lnTo>
                  <a:lnTo>
                    <a:pt x="67" y="17"/>
                  </a:lnTo>
                  <a:lnTo>
                    <a:pt x="67" y="17"/>
                  </a:lnTo>
                  <a:lnTo>
                    <a:pt x="55" y="11"/>
                  </a:lnTo>
                  <a:lnTo>
                    <a:pt x="42" y="7"/>
                  </a:lnTo>
                  <a:lnTo>
                    <a:pt x="12" y="2"/>
                  </a:lnTo>
                  <a:lnTo>
                    <a:pt x="12" y="2"/>
                  </a:lnTo>
                  <a:lnTo>
                    <a:pt x="4" y="0"/>
                  </a:lnTo>
                  <a:lnTo>
                    <a:pt x="4"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8" name="Freeform 837"/>
            <p:cNvSpPr/>
            <p:nvPr/>
          </p:nvSpPr>
          <p:spPr bwMode="auto">
            <a:xfrm>
              <a:off x="3844922" y="5002217"/>
              <a:ext cx="206375" cy="33338"/>
            </a:xfrm>
            <a:custGeom>
              <a:avLst/>
              <a:gdLst>
                <a:gd name="T0" fmla="*/ 0 w 391"/>
                <a:gd name="T1" fmla="*/ 0 h 64"/>
                <a:gd name="T2" fmla="*/ 4 w 391"/>
                <a:gd name="T3" fmla="*/ 59 h 64"/>
                <a:gd name="T4" fmla="*/ 4 w 391"/>
                <a:gd name="T5" fmla="*/ 59 h 64"/>
                <a:gd name="T6" fmla="*/ 200 w 391"/>
                <a:gd name="T7" fmla="*/ 64 h 64"/>
                <a:gd name="T8" fmla="*/ 391 w 391"/>
                <a:gd name="T9" fmla="*/ 24 h 64"/>
                <a:gd name="T10" fmla="*/ 120 w 391"/>
                <a:gd name="T11" fmla="*/ 7 h 64"/>
                <a:gd name="T12" fmla="*/ 0 w 391"/>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391" h="64">
                  <a:moveTo>
                    <a:pt x="0" y="0"/>
                  </a:moveTo>
                  <a:lnTo>
                    <a:pt x="4" y="59"/>
                  </a:lnTo>
                  <a:lnTo>
                    <a:pt x="4" y="59"/>
                  </a:lnTo>
                  <a:lnTo>
                    <a:pt x="200" y="64"/>
                  </a:lnTo>
                  <a:lnTo>
                    <a:pt x="391" y="24"/>
                  </a:lnTo>
                  <a:lnTo>
                    <a:pt x="120" y="7"/>
                  </a:lnTo>
                  <a:lnTo>
                    <a:pt x="0" y="0"/>
                  </a:lnTo>
                  <a:close/>
                </a:path>
              </a:pathLst>
            </a:custGeom>
            <a:solidFill>
              <a:srgbClr val="85282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09" name="Freeform 838"/>
            <p:cNvSpPr/>
            <p:nvPr/>
          </p:nvSpPr>
          <p:spPr bwMode="auto">
            <a:xfrm>
              <a:off x="3844922" y="5002217"/>
              <a:ext cx="206375" cy="33338"/>
            </a:xfrm>
            <a:custGeom>
              <a:avLst/>
              <a:gdLst>
                <a:gd name="T0" fmla="*/ 0 w 391"/>
                <a:gd name="T1" fmla="*/ 0 h 64"/>
                <a:gd name="T2" fmla="*/ 4 w 391"/>
                <a:gd name="T3" fmla="*/ 59 h 64"/>
                <a:gd name="T4" fmla="*/ 4 w 391"/>
                <a:gd name="T5" fmla="*/ 59 h 64"/>
                <a:gd name="T6" fmla="*/ 200 w 391"/>
                <a:gd name="T7" fmla="*/ 64 h 64"/>
                <a:gd name="T8" fmla="*/ 391 w 391"/>
                <a:gd name="T9" fmla="*/ 24 h 64"/>
                <a:gd name="T10" fmla="*/ 120 w 391"/>
                <a:gd name="T11" fmla="*/ 7 h 64"/>
                <a:gd name="T12" fmla="*/ 0 w 391"/>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391" h="64">
                  <a:moveTo>
                    <a:pt x="0" y="0"/>
                  </a:moveTo>
                  <a:lnTo>
                    <a:pt x="4" y="59"/>
                  </a:lnTo>
                  <a:lnTo>
                    <a:pt x="4" y="59"/>
                  </a:lnTo>
                  <a:lnTo>
                    <a:pt x="200" y="64"/>
                  </a:lnTo>
                  <a:lnTo>
                    <a:pt x="391" y="24"/>
                  </a:lnTo>
                  <a:lnTo>
                    <a:pt x="120"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0" name="Freeform 839"/>
            <p:cNvSpPr/>
            <p:nvPr/>
          </p:nvSpPr>
          <p:spPr bwMode="auto">
            <a:xfrm>
              <a:off x="3830635" y="4989517"/>
              <a:ext cx="233363" cy="26988"/>
            </a:xfrm>
            <a:custGeom>
              <a:avLst/>
              <a:gdLst>
                <a:gd name="T0" fmla="*/ 439 w 439"/>
                <a:gd name="T1" fmla="*/ 52 h 52"/>
                <a:gd name="T2" fmla="*/ 0 w 439"/>
                <a:gd name="T3" fmla="*/ 25 h 52"/>
                <a:gd name="T4" fmla="*/ 0 w 439"/>
                <a:gd name="T5" fmla="*/ 0 h 52"/>
                <a:gd name="T6" fmla="*/ 439 w 439"/>
                <a:gd name="T7" fmla="*/ 23 h 52"/>
                <a:gd name="T8" fmla="*/ 439 w 439"/>
                <a:gd name="T9" fmla="*/ 52 h 52"/>
              </a:gdLst>
              <a:ahLst/>
              <a:cxnLst>
                <a:cxn ang="0">
                  <a:pos x="T0" y="T1"/>
                </a:cxn>
                <a:cxn ang="0">
                  <a:pos x="T2" y="T3"/>
                </a:cxn>
                <a:cxn ang="0">
                  <a:pos x="T4" y="T5"/>
                </a:cxn>
                <a:cxn ang="0">
                  <a:pos x="T6" y="T7"/>
                </a:cxn>
                <a:cxn ang="0">
                  <a:pos x="T8" y="T9"/>
                </a:cxn>
              </a:cxnLst>
              <a:rect l="0" t="0" r="r" b="b"/>
              <a:pathLst>
                <a:path w="439" h="52">
                  <a:moveTo>
                    <a:pt x="439" y="52"/>
                  </a:moveTo>
                  <a:lnTo>
                    <a:pt x="0" y="25"/>
                  </a:lnTo>
                  <a:lnTo>
                    <a:pt x="0" y="0"/>
                  </a:lnTo>
                  <a:lnTo>
                    <a:pt x="439" y="23"/>
                  </a:lnTo>
                  <a:lnTo>
                    <a:pt x="439" y="52"/>
                  </a:lnTo>
                  <a:close/>
                </a:path>
              </a:pathLst>
            </a:custGeom>
            <a:solidFill>
              <a:srgbClr val="E4D8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1" name="Freeform 840"/>
            <p:cNvSpPr/>
            <p:nvPr/>
          </p:nvSpPr>
          <p:spPr bwMode="auto">
            <a:xfrm>
              <a:off x="3835397" y="4835530"/>
              <a:ext cx="228600" cy="114300"/>
            </a:xfrm>
            <a:custGeom>
              <a:avLst/>
              <a:gdLst>
                <a:gd name="T0" fmla="*/ 415 w 430"/>
                <a:gd name="T1" fmla="*/ 217 h 217"/>
                <a:gd name="T2" fmla="*/ 6 w 430"/>
                <a:gd name="T3" fmla="*/ 197 h 217"/>
                <a:gd name="T4" fmla="*/ 0 w 430"/>
                <a:gd name="T5" fmla="*/ 0 h 217"/>
                <a:gd name="T6" fmla="*/ 430 w 430"/>
                <a:gd name="T7" fmla="*/ 27 h 217"/>
                <a:gd name="T8" fmla="*/ 415 w 430"/>
                <a:gd name="T9" fmla="*/ 217 h 217"/>
              </a:gdLst>
              <a:ahLst/>
              <a:cxnLst>
                <a:cxn ang="0">
                  <a:pos x="T0" y="T1"/>
                </a:cxn>
                <a:cxn ang="0">
                  <a:pos x="T2" y="T3"/>
                </a:cxn>
                <a:cxn ang="0">
                  <a:pos x="T4" y="T5"/>
                </a:cxn>
                <a:cxn ang="0">
                  <a:pos x="T6" y="T7"/>
                </a:cxn>
                <a:cxn ang="0">
                  <a:pos x="T8" y="T9"/>
                </a:cxn>
              </a:cxnLst>
              <a:rect l="0" t="0" r="r" b="b"/>
              <a:pathLst>
                <a:path w="430" h="217">
                  <a:moveTo>
                    <a:pt x="415" y="217"/>
                  </a:moveTo>
                  <a:lnTo>
                    <a:pt x="6" y="197"/>
                  </a:lnTo>
                  <a:lnTo>
                    <a:pt x="0" y="0"/>
                  </a:lnTo>
                  <a:lnTo>
                    <a:pt x="430" y="27"/>
                  </a:lnTo>
                  <a:lnTo>
                    <a:pt x="415" y="217"/>
                  </a:lnTo>
                  <a:close/>
                </a:path>
              </a:pathLst>
            </a:custGeom>
            <a:solidFill>
              <a:srgbClr val="336C7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2" name="Freeform 841"/>
            <p:cNvSpPr/>
            <p:nvPr/>
          </p:nvSpPr>
          <p:spPr bwMode="auto">
            <a:xfrm>
              <a:off x="4017960" y="4835530"/>
              <a:ext cx="14288" cy="117475"/>
            </a:xfrm>
            <a:custGeom>
              <a:avLst/>
              <a:gdLst>
                <a:gd name="T0" fmla="*/ 28 w 28"/>
                <a:gd name="T1" fmla="*/ 6 h 221"/>
                <a:gd name="T2" fmla="*/ 17 w 28"/>
                <a:gd name="T3" fmla="*/ 218 h 221"/>
                <a:gd name="T4" fmla="*/ 0 w 28"/>
                <a:gd name="T5" fmla="*/ 221 h 221"/>
                <a:gd name="T6" fmla="*/ 9 w 28"/>
                <a:gd name="T7" fmla="*/ 0 h 221"/>
                <a:gd name="T8" fmla="*/ 28 w 28"/>
                <a:gd name="T9" fmla="*/ 6 h 221"/>
              </a:gdLst>
              <a:ahLst/>
              <a:cxnLst>
                <a:cxn ang="0">
                  <a:pos x="T0" y="T1"/>
                </a:cxn>
                <a:cxn ang="0">
                  <a:pos x="T2" y="T3"/>
                </a:cxn>
                <a:cxn ang="0">
                  <a:pos x="T4" y="T5"/>
                </a:cxn>
                <a:cxn ang="0">
                  <a:pos x="T6" y="T7"/>
                </a:cxn>
                <a:cxn ang="0">
                  <a:pos x="T8" y="T9"/>
                </a:cxn>
              </a:cxnLst>
              <a:rect l="0" t="0" r="r" b="b"/>
              <a:pathLst>
                <a:path w="28" h="221">
                  <a:moveTo>
                    <a:pt x="28" y="6"/>
                  </a:moveTo>
                  <a:lnTo>
                    <a:pt x="17" y="218"/>
                  </a:lnTo>
                  <a:lnTo>
                    <a:pt x="0" y="221"/>
                  </a:lnTo>
                  <a:lnTo>
                    <a:pt x="9" y="0"/>
                  </a:lnTo>
                  <a:lnTo>
                    <a:pt x="28" y="6"/>
                  </a:lnTo>
                  <a:close/>
                </a:path>
              </a:pathLst>
            </a:custGeom>
            <a:solidFill>
              <a:srgbClr val="DE6A6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3" name="Freeform 842"/>
            <p:cNvSpPr/>
            <p:nvPr/>
          </p:nvSpPr>
          <p:spPr bwMode="auto">
            <a:xfrm>
              <a:off x="3863972" y="4832355"/>
              <a:ext cx="11113" cy="112713"/>
            </a:xfrm>
            <a:custGeom>
              <a:avLst/>
              <a:gdLst>
                <a:gd name="T0" fmla="*/ 0 w 20"/>
                <a:gd name="T1" fmla="*/ 0 h 214"/>
                <a:gd name="T2" fmla="*/ 3 w 20"/>
                <a:gd name="T3" fmla="*/ 214 h 214"/>
                <a:gd name="T4" fmla="*/ 19 w 20"/>
                <a:gd name="T5" fmla="*/ 214 h 214"/>
                <a:gd name="T6" fmla="*/ 20 w 20"/>
                <a:gd name="T7" fmla="*/ 1 h 214"/>
                <a:gd name="T8" fmla="*/ 0 w 20"/>
                <a:gd name="T9" fmla="*/ 0 h 214"/>
              </a:gdLst>
              <a:ahLst/>
              <a:cxnLst>
                <a:cxn ang="0">
                  <a:pos x="T0" y="T1"/>
                </a:cxn>
                <a:cxn ang="0">
                  <a:pos x="T2" y="T3"/>
                </a:cxn>
                <a:cxn ang="0">
                  <a:pos x="T4" y="T5"/>
                </a:cxn>
                <a:cxn ang="0">
                  <a:pos x="T6" y="T7"/>
                </a:cxn>
                <a:cxn ang="0">
                  <a:pos x="T8" y="T9"/>
                </a:cxn>
              </a:cxnLst>
              <a:rect l="0" t="0" r="r" b="b"/>
              <a:pathLst>
                <a:path w="20" h="214">
                  <a:moveTo>
                    <a:pt x="0" y="0"/>
                  </a:moveTo>
                  <a:lnTo>
                    <a:pt x="3" y="214"/>
                  </a:lnTo>
                  <a:lnTo>
                    <a:pt x="19" y="214"/>
                  </a:lnTo>
                  <a:lnTo>
                    <a:pt x="20" y="1"/>
                  </a:lnTo>
                  <a:lnTo>
                    <a:pt x="0" y="0"/>
                  </a:lnTo>
                  <a:close/>
                </a:path>
              </a:pathLst>
            </a:custGeom>
            <a:solidFill>
              <a:srgbClr val="DE6A6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4" name="Freeform 843"/>
            <p:cNvSpPr/>
            <p:nvPr/>
          </p:nvSpPr>
          <p:spPr bwMode="auto">
            <a:xfrm>
              <a:off x="3502022" y="5140330"/>
              <a:ext cx="80963" cy="17463"/>
            </a:xfrm>
            <a:custGeom>
              <a:avLst/>
              <a:gdLst>
                <a:gd name="T0" fmla="*/ 134 w 151"/>
                <a:gd name="T1" fmla="*/ 30 h 33"/>
                <a:gd name="T2" fmla="*/ 134 w 151"/>
                <a:gd name="T3" fmla="*/ 30 h 33"/>
                <a:gd name="T4" fmla="*/ 120 w 151"/>
                <a:gd name="T5" fmla="*/ 31 h 33"/>
                <a:gd name="T6" fmla="*/ 107 w 151"/>
                <a:gd name="T7" fmla="*/ 33 h 33"/>
                <a:gd name="T8" fmla="*/ 77 w 151"/>
                <a:gd name="T9" fmla="*/ 31 h 33"/>
                <a:gd name="T10" fmla="*/ 51 w 151"/>
                <a:gd name="T11" fmla="*/ 27 h 33"/>
                <a:gd name="T12" fmla="*/ 26 w 151"/>
                <a:gd name="T13" fmla="*/ 23 h 33"/>
                <a:gd name="T14" fmla="*/ 8 w 151"/>
                <a:gd name="T15" fmla="*/ 16 h 33"/>
                <a:gd name="T16" fmla="*/ 2 w 151"/>
                <a:gd name="T17" fmla="*/ 14 h 33"/>
                <a:gd name="T18" fmla="*/ 0 w 151"/>
                <a:gd name="T19" fmla="*/ 11 h 33"/>
                <a:gd name="T20" fmla="*/ 0 w 151"/>
                <a:gd name="T21" fmla="*/ 10 h 33"/>
                <a:gd name="T22" fmla="*/ 0 w 151"/>
                <a:gd name="T23" fmla="*/ 8 h 33"/>
                <a:gd name="T24" fmla="*/ 4 w 151"/>
                <a:gd name="T25" fmla="*/ 6 h 33"/>
                <a:gd name="T26" fmla="*/ 10 w 151"/>
                <a:gd name="T27" fmla="*/ 4 h 33"/>
                <a:gd name="T28" fmla="*/ 22 w 151"/>
                <a:gd name="T29" fmla="*/ 3 h 33"/>
                <a:gd name="T30" fmla="*/ 22 w 151"/>
                <a:gd name="T31" fmla="*/ 3 h 33"/>
                <a:gd name="T32" fmla="*/ 56 w 151"/>
                <a:gd name="T33" fmla="*/ 0 h 33"/>
                <a:gd name="T34" fmla="*/ 87 w 151"/>
                <a:gd name="T35" fmla="*/ 2 h 33"/>
                <a:gd name="T36" fmla="*/ 112 w 151"/>
                <a:gd name="T37" fmla="*/ 6 h 33"/>
                <a:gd name="T38" fmla="*/ 132 w 151"/>
                <a:gd name="T39" fmla="*/ 10 h 33"/>
                <a:gd name="T40" fmla="*/ 140 w 151"/>
                <a:gd name="T41" fmla="*/ 12 h 33"/>
                <a:gd name="T42" fmla="*/ 146 w 151"/>
                <a:gd name="T43" fmla="*/ 15 h 33"/>
                <a:gd name="T44" fmla="*/ 150 w 151"/>
                <a:gd name="T45" fmla="*/ 18 h 33"/>
                <a:gd name="T46" fmla="*/ 151 w 151"/>
                <a:gd name="T47" fmla="*/ 21 h 33"/>
                <a:gd name="T48" fmla="*/ 151 w 151"/>
                <a:gd name="T49" fmla="*/ 23 h 33"/>
                <a:gd name="T50" fmla="*/ 148 w 151"/>
                <a:gd name="T51" fmla="*/ 26 h 33"/>
                <a:gd name="T52" fmla="*/ 142 w 151"/>
                <a:gd name="T53" fmla="*/ 29 h 33"/>
                <a:gd name="T54" fmla="*/ 134 w 151"/>
                <a:gd name="T55" fmla="*/ 30 h 33"/>
                <a:gd name="T56" fmla="*/ 134 w 151"/>
                <a:gd name="T5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1" h="33">
                  <a:moveTo>
                    <a:pt x="134" y="30"/>
                  </a:moveTo>
                  <a:lnTo>
                    <a:pt x="134" y="30"/>
                  </a:lnTo>
                  <a:lnTo>
                    <a:pt x="120" y="31"/>
                  </a:lnTo>
                  <a:lnTo>
                    <a:pt x="107" y="33"/>
                  </a:lnTo>
                  <a:lnTo>
                    <a:pt x="77" y="31"/>
                  </a:lnTo>
                  <a:lnTo>
                    <a:pt x="51" y="27"/>
                  </a:lnTo>
                  <a:lnTo>
                    <a:pt x="26" y="23"/>
                  </a:lnTo>
                  <a:lnTo>
                    <a:pt x="8" y="16"/>
                  </a:lnTo>
                  <a:lnTo>
                    <a:pt x="2" y="14"/>
                  </a:lnTo>
                  <a:lnTo>
                    <a:pt x="0" y="11"/>
                  </a:lnTo>
                  <a:lnTo>
                    <a:pt x="0" y="10"/>
                  </a:lnTo>
                  <a:lnTo>
                    <a:pt x="0" y="8"/>
                  </a:lnTo>
                  <a:lnTo>
                    <a:pt x="4" y="6"/>
                  </a:lnTo>
                  <a:lnTo>
                    <a:pt x="10" y="4"/>
                  </a:lnTo>
                  <a:lnTo>
                    <a:pt x="22" y="3"/>
                  </a:lnTo>
                  <a:lnTo>
                    <a:pt x="22" y="3"/>
                  </a:lnTo>
                  <a:lnTo>
                    <a:pt x="56" y="0"/>
                  </a:lnTo>
                  <a:lnTo>
                    <a:pt x="87" y="2"/>
                  </a:lnTo>
                  <a:lnTo>
                    <a:pt x="112" y="6"/>
                  </a:lnTo>
                  <a:lnTo>
                    <a:pt x="132" y="10"/>
                  </a:lnTo>
                  <a:lnTo>
                    <a:pt x="140" y="12"/>
                  </a:lnTo>
                  <a:lnTo>
                    <a:pt x="146" y="15"/>
                  </a:lnTo>
                  <a:lnTo>
                    <a:pt x="150" y="18"/>
                  </a:lnTo>
                  <a:lnTo>
                    <a:pt x="151" y="21"/>
                  </a:lnTo>
                  <a:lnTo>
                    <a:pt x="151" y="23"/>
                  </a:lnTo>
                  <a:lnTo>
                    <a:pt x="148" y="26"/>
                  </a:lnTo>
                  <a:lnTo>
                    <a:pt x="142" y="29"/>
                  </a:lnTo>
                  <a:lnTo>
                    <a:pt x="134" y="30"/>
                  </a:lnTo>
                  <a:lnTo>
                    <a:pt x="134" y="30"/>
                  </a:lnTo>
                  <a:close/>
                </a:path>
              </a:pathLst>
            </a:custGeom>
            <a:solidFill>
              <a:srgbClr val="6CA6B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5" name="Freeform 844"/>
            <p:cNvSpPr/>
            <p:nvPr/>
          </p:nvSpPr>
          <p:spPr bwMode="auto">
            <a:xfrm>
              <a:off x="3502022" y="5132392"/>
              <a:ext cx="80963" cy="15875"/>
            </a:xfrm>
            <a:custGeom>
              <a:avLst/>
              <a:gdLst>
                <a:gd name="T0" fmla="*/ 134 w 151"/>
                <a:gd name="T1" fmla="*/ 29 h 30"/>
                <a:gd name="T2" fmla="*/ 134 w 151"/>
                <a:gd name="T3" fmla="*/ 29 h 30"/>
                <a:gd name="T4" fmla="*/ 120 w 151"/>
                <a:gd name="T5" fmla="*/ 30 h 30"/>
                <a:gd name="T6" fmla="*/ 107 w 151"/>
                <a:gd name="T7" fmla="*/ 30 h 30"/>
                <a:gd name="T8" fmla="*/ 77 w 151"/>
                <a:gd name="T9" fmla="*/ 30 h 30"/>
                <a:gd name="T10" fmla="*/ 51 w 151"/>
                <a:gd name="T11" fmla="*/ 26 h 30"/>
                <a:gd name="T12" fmla="*/ 26 w 151"/>
                <a:gd name="T13" fmla="*/ 21 h 30"/>
                <a:gd name="T14" fmla="*/ 8 w 151"/>
                <a:gd name="T15" fmla="*/ 16 h 30"/>
                <a:gd name="T16" fmla="*/ 2 w 151"/>
                <a:gd name="T17" fmla="*/ 13 h 30"/>
                <a:gd name="T18" fmla="*/ 0 w 151"/>
                <a:gd name="T19" fmla="*/ 10 h 30"/>
                <a:gd name="T20" fmla="*/ 0 w 151"/>
                <a:gd name="T21" fmla="*/ 9 h 30"/>
                <a:gd name="T22" fmla="*/ 0 w 151"/>
                <a:gd name="T23" fmla="*/ 8 h 30"/>
                <a:gd name="T24" fmla="*/ 4 w 151"/>
                <a:gd name="T25" fmla="*/ 5 h 30"/>
                <a:gd name="T26" fmla="*/ 10 w 151"/>
                <a:gd name="T27" fmla="*/ 4 h 30"/>
                <a:gd name="T28" fmla="*/ 22 w 151"/>
                <a:gd name="T29" fmla="*/ 1 h 30"/>
                <a:gd name="T30" fmla="*/ 22 w 151"/>
                <a:gd name="T31" fmla="*/ 1 h 30"/>
                <a:gd name="T32" fmla="*/ 56 w 151"/>
                <a:gd name="T33" fmla="*/ 0 h 30"/>
                <a:gd name="T34" fmla="*/ 87 w 151"/>
                <a:gd name="T35" fmla="*/ 1 h 30"/>
                <a:gd name="T36" fmla="*/ 112 w 151"/>
                <a:gd name="T37" fmla="*/ 4 h 30"/>
                <a:gd name="T38" fmla="*/ 132 w 151"/>
                <a:gd name="T39" fmla="*/ 9 h 30"/>
                <a:gd name="T40" fmla="*/ 140 w 151"/>
                <a:gd name="T41" fmla="*/ 12 h 30"/>
                <a:gd name="T42" fmla="*/ 146 w 151"/>
                <a:gd name="T43" fmla="*/ 14 h 30"/>
                <a:gd name="T44" fmla="*/ 150 w 151"/>
                <a:gd name="T45" fmla="*/ 17 h 30"/>
                <a:gd name="T46" fmla="*/ 151 w 151"/>
                <a:gd name="T47" fmla="*/ 20 h 30"/>
                <a:gd name="T48" fmla="*/ 151 w 151"/>
                <a:gd name="T49" fmla="*/ 22 h 30"/>
                <a:gd name="T50" fmla="*/ 148 w 151"/>
                <a:gd name="T51" fmla="*/ 25 h 30"/>
                <a:gd name="T52" fmla="*/ 142 w 151"/>
                <a:gd name="T53" fmla="*/ 28 h 30"/>
                <a:gd name="T54" fmla="*/ 134 w 151"/>
                <a:gd name="T55" fmla="*/ 29 h 30"/>
                <a:gd name="T56" fmla="*/ 134 w 151"/>
                <a:gd name="T5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1" h="30">
                  <a:moveTo>
                    <a:pt x="134" y="29"/>
                  </a:moveTo>
                  <a:lnTo>
                    <a:pt x="134" y="29"/>
                  </a:lnTo>
                  <a:lnTo>
                    <a:pt x="120" y="30"/>
                  </a:lnTo>
                  <a:lnTo>
                    <a:pt x="107" y="30"/>
                  </a:lnTo>
                  <a:lnTo>
                    <a:pt x="77" y="30"/>
                  </a:lnTo>
                  <a:lnTo>
                    <a:pt x="51" y="26"/>
                  </a:lnTo>
                  <a:lnTo>
                    <a:pt x="26" y="21"/>
                  </a:lnTo>
                  <a:lnTo>
                    <a:pt x="8" y="16"/>
                  </a:lnTo>
                  <a:lnTo>
                    <a:pt x="2" y="13"/>
                  </a:lnTo>
                  <a:lnTo>
                    <a:pt x="0" y="10"/>
                  </a:lnTo>
                  <a:lnTo>
                    <a:pt x="0" y="9"/>
                  </a:lnTo>
                  <a:lnTo>
                    <a:pt x="0" y="8"/>
                  </a:lnTo>
                  <a:lnTo>
                    <a:pt x="4" y="5"/>
                  </a:lnTo>
                  <a:lnTo>
                    <a:pt x="10" y="4"/>
                  </a:lnTo>
                  <a:lnTo>
                    <a:pt x="22" y="1"/>
                  </a:lnTo>
                  <a:lnTo>
                    <a:pt x="22" y="1"/>
                  </a:lnTo>
                  <a:lnTo>
                    <a:pt x="56" y="0"/>
                  </a:lnTo>
                  <a:lnTo>
                    <a:pt x="87" y="1"/>
                  </a:lnTo>
                  <a:lnTo>
                    <a:pt x="112" y="4"/>
                  </a:lnTo>
                  <a:lnTo>
                    <a:pt x="132" y="9"/>
                  </a:lnTo>
                  <a:lnTo>
                    <a:pt x="140" y="12"/>
                  </a:lnTo>
                  <a:lnTo>
                    <a:pt x="146" y="14"/>
                  </a:lnTo>
                  <a:lnTo>
                    <a:pt x="150" y="17"/>
                  </a:lnTo>
                  <a:lnTo>
                    <a:pt x="151" y="20"/>
                  </a:lnTo>
                  <a:lnTo>
                    <a:pt x="151" y="22"/>
                  </a:lnTo>
                  <a:lnTo>
                    <a:pt x="148" y="25"/>
                  </a:lnTo>
                  <a:lnTo>
                    <a:pt x="142" y="28"/>
                  </a:lnTo>
                  <a:lnTo>
                    <a:pt x="134" y="29"/>
                  </a:lnTo>
                  <a:lnTo>
                    <a:pt x="134" y="29"/>
                  </a:lnTo>
                  <a:close/>
                </a:path>
              </a:pathLst>
            </a:custGeom>
            <a:solidFill>
              <a:srgbClr val="B9E0D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6" name="Freeform 845"/>
            <p:cNvSpPr/>
            <p:nvPr/>
          </p:nvSpPr>
          <p:spPr bwMode="auto">
            <a:xfrm>
              <a:off x="3233736" y="5153030"/>
              <a:ext cx="79375" cy="15875"/>
            </a:xfrm>
            <a:custGeom>
              <a:avLst/>
              <a:gdLst>
                <a:gd name="T0" fmla="*/ 134 w 151"/>
                <a:gd name="T1" fmla="*/ 29 h 30"/>
                <a:gd name="T2" fmla="*/ 134 w 151"/>
                <a:gd name="T3" fmla="*/ 29 h 30"/>
                <a:gd name="T4" fmla="*/ 120 w 151"/>
                <a:gd name="T5" fmla="*/ 30 h 30"/>
                <a:gd name="T6" fmla="*/ 107 w 151"/>
                <a:gd name="T7" fmla="*/ 30 h 30"/>
                <a:gd name="T8" fmla="*/ 77 w 151"/>
                <a:gd name="T9" fmla="*/ 29 h 30"/>
                <a:gd name="T10" fmla="*/ 51 w 151"/>
                <a:gd name="T11" fmla="*/ 26 h 30"/>
                <a:gd name="T12" fmla="*/ 27 w 151"/>
                <a:gd name="T13" fmla="*/ 21 h 30"/>
                <a:gd name="T14" fmla="*/ 9 w 151"/>
                <a:gd name="T15" fmla="*/ 16 h 30"/>
                <a:gd name="T16" fmla="*/ 2 w 151"/>
                <a:gd name="T17" fmla="*/ 13 h 30"/>
                <a:gd name="T18" fmla="*/ 0 w 151"/>
                <a:gd name="T19" fmla="*/ 10 h 30"/>
                <a:gd name="T20" fmla="*/ 0 w 151"/>
                <a:gd name="T21" fmla="*/ 9 h 30"/>
                <a:gd name="T22" fmla="*/ 0 w 151"/>
                <a:gd name="T23" fmla="*/ 8 h 30"/>
                <a:gd name="T24" fmla="*/ 4 w 151"/>
                <a:gd name="T25" fmla="*/ 5 h 30"/>
                <a:gd name="T26" fmla="*/ 12 w 151"/>
                <a:gd name="T27" fmla="*/ 2 h 30"/>
                <a:gd name="T28" fmla="*/ 23 w 151"/>
                <a:gd name="T29" fmla="*/ 1 h 30"/>
                <a:gd name="T30" fmla="*/ 23 w 151"/>
                <a:gd name="T31" fmla="*/ 1 h 30"/>
                <a:gd name="T32" fmla="*/ 56 w 151"/>
                <a:gd name="T33" fmla="*/ 0 h 30"/>
                <a:gd name="T34" fmla="*/ 87 w 151"/>
                <a:gd name="T35" fmla="*/ 1 h 30"/>
                <a:gd name="T36" fmla="*/ 112 w 151"/>
                <a:gd name="T37" fmla="*/ 4 h 30"/>
                <a:gd name="T38" fmla="*/ 132 w 151"/>
                <a:gd name="T39" fmla="*/ 9 h 30"/>
                <a:gd name="T40" fmla="*/ 140 w 151"/>
                <a:gd name="T41" fmla="*/ 12 h 30"/>
                <a:gd name="T42" fmla="*/ 146 w 151"/>
                <a:gd name="T43" fmla="*/ 14 h 30"/>
                <a:gd name="T44" fmla="*/ 150 w 151"/>
                <a:gd name="T45" fmla="*/ 17 h 30"/>
                <a:gd name="T46" fmla="*/ 151 w 151"/>
                <a:gd name="T47" fmla="*/ 20 h 30"/>
                <a:gd name="T48" fmla="*/ 151 w 151"/>
                <a:gd name="T49" fmla="*/ 22 h 30"/>
                <a:gd name="T50" fmla="*/ 148 w 151"/>
                <a:gd name="T51" fmla="*/ 25 h 30"/>
                <a:gd name="T52" fmla="*/ 142 w 151"/>
                <a:gd name="T53" fmla="*/ 26 h 30"/>
                <a:gd name="T54" fmla="*/ 134 w 151"/>
                <a:gd name="T55" fmla="*/ 29 h 30"/>
                <a:gd name="T56" fmla="*/ 134 w 151"/>
                <a:gd name="T57"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1" h="30">
                  <a:moveTo>
                    <a:pt x="134" y="29"/>
                  </a:moveTo>
                  <a:lnTo>
                    <a:pt x="134" y="29"/>
                  </a:lnTo>
                  <a:lnTo>
                    <a:pt x="120" y="30"/>
                  </a:lnTo>
                  <a:lnTo>
                    <a:pt x="107" y="30"/>
                  </a:lnTo>
                  <a:lnTo>
                    <a:pt x="77" y="29"/>
                  </a:lnTo>
                  <a:lnTo>
                    <a:pt x="51" y="26"/>
                  </a:lnTo>
                  <a:lnTo>
                    <a:pt x="27" y="21"/>
                  </a:lnTo>
                  <a:lnTo>
                    <a:pt x="9" y="16"/>
                  </a:lnTo>
                  <a:lnTo>
                    <a:pt x="2" y="13"/>
                  </a:lnTo>
                  <a:lnTo>
                    <a:pt x="0" y="10"/>
                  </a:lnTo>
                  <a:lnTo>
                    <a:pt x="0" y="9"/>
                  </a:lnTo>
                  <a:lnTo>
                    <a:pt x="0" y="8"/>
                  </a:lnTo>
                  <a:lnTo>
                    <a:pt x="4" y="5"/>
                  </a:lnTo>
                  <a:lnTo>
                    <a:pt x="12" y="2"/>
                  </a:lnTo>
                  <a:lnTo>
                    <a:pt x="23" y="1"/>
                  </a:lnTo>
                  <a:lnTo>
                    <a:pt x="23" y="1"/>
                  </a:lnTo>
                  <a:lnTo>
                    <a:pt x="56" y="0"/>
                  </a:lnTo>
                  <a:lnTo>
                    <a:pt x="87" y="1"/>
                  </a:lnTo>
                  <a:lnTo>
                    <a:pt x="112" y="4"/>
                  </a:lnTo>
                  <a:lnTo>
                    <a:pt x="132" y="9"/>
                  </a:lnTo>
                  <a:lnTo>
                    <a:pt x="140" y="12"/>
                  </a:lnTo>
                  <a:lnTo>
                    <a:pt x="146" y="14"/>
                  </a:lnTo>
                  <a:lnTo>
                    <a:pt x="150" y="17"/>
                  </a:lnTo>
                  <a:lnTo>
                    <a:pt x="151" y="20"/>
                  </a:lnTo>
                  <a:lnTo>
                    <a:pt x="151" y="22"/>
                  </a:lnTo>
                  <a:lnTo>
                    <a:pt x="148" y="25"/>
                  </a:lnTo>
                  <a:lnTo>
                    <a:pt x="142" y="26"/>
                  </a:lnTo>
                  <a:lnTo>
                    <a:pt x="134" y="29"/>
                  </a:lnTo>
                  <a:lnTo>
                    <a:pt x="134" y="29"/>
                  </a:lnTo>
                  <a:close/>
                </a:path>
              </a:pathLst>
            </a:custGeom>
            <a:solidFill>
              <a:srgbClr val="6CA6B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7" name="Freeform 846"/>
            <p:cNvSpPr/>
            <p:nvPr/>
          </p:nvSpPr>
          <p:spPr bwMode="auto">
            <a:xfrm>
              <a:off x="3233735" y="5145091"/>
              <a:ext cx="79375" cy="17463"/>
            </a:xfrm>
            <a:custGeom>
              <a:avLst/>
              <a:gdLst>
                <a:gd name="T0" fmla="*/ 134 w 151"/>
                <a:gd name="T1" fmla="*/ 28 h 31"/>
                <a:gd name="T2" fmla="*/ 134 w 151"/>
                <a:gd name="T3" fmla="*/ 28 h 31"/>
                <a:gd name="T4" fmla="*/ 120 w 151"/>
                <a:gd name="T5" fmla="*/ 29 h 31"/>
                <a:gd name="T6" fmla="*/ 107 w 151"/>
                <a:gd name="T7" fmla="*/ 31 h 31"/>
                <a:gd name="T8" fmla="*/ 77 w 151"/>
                <a:gd name="T9" fmla="*/ 29 h 31"/>
                <a:gd name="T10" fmla="*/ 51 w 151"/>
                <a:gd name="T11" fmla="*/ 27 h 31"/>
                <a:gd name="T12" fmla="*/ 27 w 151"/>
                <a:gd name="T13" fmla="*/ 21 h 31"/>
                <a:gd name="T14" fmla="*/ 9 w 151"/>
                <a:gd name="T15" fmla="*/ 16 h 31"/>
                <a:gd name="T16" fmla="*/ 2 w 151"/>
                <a:gd name="T17" fmla="*/ 12 h 31"/>
                <a:gd name="T18" fmla="*/ 0 w 151"/>
                <a:gd name="T19" fmla="*/ 9 h 31"/>
                <a:gd name="T20" fmla="*/ 0 w 151"/>
                <a:gd name="T21" fmla="*/ 8 h 31"/>
                <a:gd name="T22" fmla="*/ 0 w 151"/>
                <a:gd name="T23" fmla="*/ 6 h 31"/>
                <a:gd name="T24" fmla="*/ 4 w 151"/>
                <a:gd name="T25" fmla="*/ 5 h 31"/>
                <a:gd name="T26" fmla="*/ 12 w 151"/>
                <a:gd name="T27" fmla="*/ 2 h 31"/>
                <a:gd name="T28" fmla="*/ 23 w 151"/>
                <a:gd name="T29" fmla="*/ 1 h 31"/>
                <a:gd name="T30" fmla="*/ 23 w 151"/>
                <a:gd name="T31" fmla="*/ 1 h 31"/>
                <a:gd name="T32" fmla="*/ 56 w 151"/>
                <a:gd name="T33" fmla="*/ 0 h 31"/>
                <a:gd name="T34" fmla="*/ 87 w 151"/>
                <a:gd name="T35" fmla="*/ 0 h 31"/>
                <a:gd name="T36" fmla="*/ 112 w 151"/>
                <a:gd name="T37" fmla="*/ 4 h 31"/>
                <a:gd name="T38" fmla="*/ 132 w 151"/>
                <a:gd name="T39" fmla="*/ 8 h 31"/>
                <a:gd name="T40" fmla="*/ 140 w 151"/>
                <a:gd name="T41" fmla="*/ 11 h 31"/>
                <a:gd name="T42" fmla="*/ 146 w 151"/>
                <a:gd name="T43" fmla="*/ 13 h 31"/>
                <a:gd name="T44" fmla="*/ 150 w 151"/>
                <a:gd name="T45" fmla="*/ 17 h 31"/>
                <a:gd name="T46" fmla="*/ 151 w 151"/>
                <a:gd name="T47" fmla="*/ 20 h 31"/>
                <a:gd name="T48" fmla="*/ 151 w 151"/>
                <a:gd name="T49" fmla="*/ 23 h 31"/>
                <a:gd name="T50" fmla="*/ 148 w 151"/>
                <a:gd name="T51" fmla="*/ 24 h 31"/>
                <a:gd name="T52" fmla="*/ 142 w 151"/>
                <a:gd name="T53" fmla="*/ 27 h 31"/>
                <a:gd name="T54" fmla="*/ 134 w 151"/>
                <a:gd name="T55" fmla="*/ 28 h 31"/>
                <a:gd name="T56" fmla="*/ 134 w 151"/>
                <a:gd name="T5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1" h="31">
                  <a:moveTo>
                    <a:pt x="134" y="28"/>
                  </a:moveTo>
                  <a:lnTo>
                    <a:pt x="134" y="28"/>
                  </a:lnTo>
                  <a:lnTo>
                    <a:pt x="120" y="29"/>
                  </a:lnTo>
                  <a:lnTo>
                    <a:pt x="107" y="31"/>
                  </a:lnTo>
                  <a:lnTo>
                    <a:pt x="77" y="29"/>
                  </a:lnTo>
                  <a:lnTo>
                    <a:pt x="51" y="27"/>
                  </a:lnTo>
                  <a:lnTo>
                    <a:pt x="27" y="21"/>
                  </a:lnTo>
                  <a:lnTo>
                    <a:pt x="9" y="16"/>
                  </a:lnTo>
                  <a:lnTo>
                    <a:pt x="2" y="12"/>
                  </a:lnTo>
                  <a:lnTo>
                    <a:pt x="0" y="9"/>
                  </a:lnTo>
                  <a:lnTo>
                    <a:pt x="0" y="8"/>
                  </a:lnTo>
                  <a:lnTo>
                    <a:pt x="0" y="6"/>
                  </a:lnTo>
                  <a:lnTo>
                    <a:pt x="4" y="5"/>
                  </a:lnTo>
                  <a:lnTo>
                    <a:pt x="12" y="2"/>
                  </a:lnTo>
                  <a:lnTo>
                    <a:pt x="23" y="1"/>
                  </a:lnTo>
                  <a:lnTo>
                    <a:pt x="23" y="1"/>
                  </a:lnTo>
                  <a:lnTo>
                    <a:pt x="56" y="0"/>
                  </a:lnTo>
                  <a:lnTo>
                    <a:pt x="87" y="0"/>
                  </a:lnTo>
                  <a:lnTo>
                    <a:pt x="112" y="4"/>
                  </a:lnTo>
                  <a:lnTo>
                    <a:pt x="132" y="8"/>
                  </a:lnTo>
                  <a:lnTo>
                    <a:pt x="140" y="11"/>
                  </a:lnTo>
                  <a:lnTo>
                    <a:pt x="146" y="13"/>
                  </a:lnTo>
                  <a:lnTo>
                    <a:pt x="150" y="17"/>
                  </a:lnTo>
                  <a:lnTo>
                    <a:pt x="151" y="20"/>
                  </a:lnTo>
                  <a:lnTo>
                    <a:pt x="151" y="23"/>
                  </a:lnTo>
                  <a:lnTo>
                    <a:pt x="148" y="24"/>
                  </a:lnTo>
                  <a:lnTo>
                    <a:pt x="142" y="27"/>
                  </a:lnTo>
                  <a:lnTo>
                    <a:pt x="134" y="28"/>
                  </a:lnTo>
                  <a:lnTo>
                    <a:pt x="134" y="28"/>
                  </a:lnTo>
                  <a:close/>
                </a:path>
              </a:pathLst>
            </a:custGeom>
            <a:solidFill>
              <a:srgbClr val="B9E0D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8" name="Freeform 847"/>
            <p:cNvSpPr/>
            <p:nvPr/>
          </p:nvSpPr>
          <p:spPr bwMode="auto">
            <a:xfrm>
              <a:off x="3770309" y="5124455"/>
              <a:ext cx="79375" cy="17463"/>
            </a:xfrm>
            <a:custGeom>
              <a:avLst/>
              <a:gdLst>
                <a:gd name="T0" fmla="*/ 134 w 151"/>
                <a:gd name="T1" fmla="*/ 29 h 32"/>
                <a:gd name="T2" fmla="*/ 134 w 151"/>
                <a:gd name="T3" fmla="*/ 29 h 32"/>
                <a:gd name="T4" fmla="*/ 120 w 151"/>
                <a:gd name="T5" fmla="*/ 30 h 32"/>
                <a:gd name="T6" fmla="*/ 106 w 151"/>
                <a:gd name="T7" fmla="*/ 32 h 32"/>
                <a:gd name="T8" fmla="*/ 77 w 151"/>
                <a:gd name="T9" fmla="*/ 30 h 32"/>
                <a:gd name="T10" fmla="*/ 49 w 151"/>
                <a:gd name="T11" fmla="*/ 26 h 32"/>
                <a:gd name="T12" fmla="*/ 25 w 151"/>
                <a:gd name="T13" fmla="*/ 22 h 32"/>
                <a:gd name="T14" fmla="*/ 8 w 151"/>
                <a:gd name="T15" fmla="*/ 16 h 32"/>
                <a:gd name="T16" fmla="*/ 2 w 151"/>
                <a:gd name="T17" fmla="*/ 13 h 32"/>
                <a:gd name="T18" fmla="*/ 0 w 151"/>
                <a:gd name="T19" fmla="*/ 10 h 32"/>
                <a:gd name="T20" fmla="*/ 0 w 151"/>
                <a:gd name="T21" fmla="*/ 9 h 32"/>
                <a:gd name="T22" fmla="*/ 0 w 151"/>
                <a:gd name="T23" fmla="*/ 8 h 32"/>
                <a:gd name="T24" fmla="*/ 4 w 151"/>
                <a:gd name="T25" fmla="*/ 5 h 32"/>
                <a:gd name="T26" fmla="*/ 10 w 151"/>
                <a:gd name="T27" fmla="*/ 4 h 32"/>
                <a:gd name="T28" fmla="*/ 21 w 151"/>
                <a:gd name="T29" fmla="*/ 2 h 32"/>
                <a:gd name="T30" fmla="*/ 21 w 151"/>
                <a:gd name="T31" fmla="*/ 2 h 32"/>
                <a:gd name="T32" fmla="*/ 56 w 151"/>
                <a:gd name="T33" fmla="*/ 0 h 32"/>
                <a:gd name="T34" fmla="*/ 85 w 151"/>
                <a:gd name="T35" fmla="*/ 1 h 32"/>
                <a:gd name="T36" fmla="*/ 112 w 151"/>
                <a:gd name="T37" fmla="*/ 5 h 32"/>
                <a:gd name="T38" fmla="*/ 132 w 151"/>
                <a:gd name="T39" fmla="*/ 9 h 32"/>
                <a:gd name="T40" fmla="*/ 140 w 151"/>
                <a:gd name="T41" fmla="*/ 12 h 32"/>
                <a:gd name="T42" fmla="*/ 146 w 151"/>
                <a:gd name="T43" fmla="*/ 14 h 32"/>
                <a:gd name="T44" fmla="*/ 150 w 151"/>
                <a:gd name="T45" fmla="*/ 17 h 32"/>
                <a:gd name="T46" fmla="*/ 151 w 151"/>
                <a:gd name="T47" fmla="*/ 20 h 32"/>
                <a:gd name="T48" fmla="*/ 150 w 151"/>
                <a:gd name="T49" fmla="*/ 22 h 32"/>
                <a:gd name="T50" fmla="*/ 147 w 151"/>
                <a:gd name="T51" fmla="*/ 25 h 32"/>
                <a:gd name="T52" fmla="*/ 142 w 151"/>
                <a:gd name="T53" fmla="*/ 28 h 32"/>
                <a:gd name="T54" fmla="*/ 134 w 151"/>
                <a:gd name="T55" fmla="*/ 29 h 32"/>
                <a:gd name="T56" fmla="*/ 134 w 151"/>
                <a:gd name="T57"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1" h="32">
                  <a:moveTo>
                    <a:pt x="134" y="29"/>
                  </a:moveTo>
                  <a:lnTo>
                    <a:pt x="134" y="29"/>
                  </a:lnTo>
                  <a:lnTo>
                    <a:pt x="120" y="30"/>
                  </a:lnTo>
                  <a:lnTo>
                    <a:pt x="106" y="32"/>
                  </a:lnTo>
                  <a:lnTo>
                    <a:pt x="77" y="30"/>
                  </a:lnTo>
                  <a:lnTo>
                    <a:pt x="49" y="26"/>
                  </a:lnTo>
                  <a:lnTo>
                    <a:pt x="25" y="22"/>
                  </a:lnTo>
                  <a:lnTo>
                    <a:pt x="8" y="16"/>
                  </a:lnTo>
                  <a:lnTo>
                    <a:pt x="2" y="13"/>
                  </a:lnTo>
                  <a:lnTo>
                    <a:pt x="0" y="10"/>
                  </a:lnTo>
                  <a:lnTo>
                    <a:pt x="0" y="9"/>
                  </a:lnTo>
                  <a:lnTo>
                    <a:pt x="0" y="8"/>
                  </a:lnTo>
                  <a:lnTo>
                    <a:pt x="4" y="5"/>
                  </a:lnTo>
                  <a:lnTo>
                    <a:pt x="10" y="4"/>
                  </a:lnTo>
                  <a:lnTo>
                    <a:pt x="21" y="2"/>
                  </a:lnTo>
                  <a:lnTo>
                    <a:pt x="21" y="2"/>
                  </a:lnTo>
                  <a:lnTo>
                    <a:pt x="56" y="0"/>
                  </a:lnTo>
                  <a:lnTo>
                    <a:pt x="85" y="1"/>
                  </a:lnTo>
                  <a:lnTo>
                    <a:pt x="112" y="5"/>
                  </a:lnTo>
                  <a:lnTo>
                    <a:pt x="132" y="9"/>
                  </a:lnTo>
                  <a:lnTo>
                    <a:pt x="140" y="12"/>
                  </a:lnTo>
                  <a:lnTo>
                    <a:pt x="146" y="14"/>
                  </a:lnTo>
                  <a:lnTo>
                    <a:pt x="150" y="17"/>
                  </a:lnTo>
                  <a:lnTo>
                    <a:pt x="151" y="20"/>
                  </a:lnTo>
                  <a:lnTo>
                    <a:pt x="150" y="22"/>
                  </a:lnTo>
                  <a:lnTo>
                    <a:pt x="147" y="25"/>
                  </a:lnTo>
                  <a:lnTo>
                    <a:pt x="142" y="28"/>
                  </a:lnTo>
                  <a:lnTo>
                    <a:pt x="134" y="29"/>
                  </a:lnTo>
                  <a:lnTo>
                    <a:pt x="134" y="29"/>
                  </a:lnTo>
                  <a:close/>
                </a:path>
              </a:pathLst>
            </a:custGeom>
            <a:solidFill>
              <a:srgbClr val="6CA6B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19" name="Freeform 848"/>
            <p:cNvSpPr/>
            <p:nvPr/>
          </p:nvSpPr>
          <p:spPr bwMode="auto">
            <a:xfrm>
              <a:off x="3770309" y="5116517"/>
              <a:ext cx="79375" cy="15875"/>
            </a:xfrm>
            <a:custGeom>
              <a:avLst/>
              <a:gdLst>
                <a:gd name="T0" fmla="*/ 134 w 151"/>
                <a:gd name="T1" fmla="*/ 29 h 31"/>
                <a:gd name="T2" fmla="*/ 134 w 151"/>
                <a:gd name="T3" fmla="*/ 29 h 31"/>
                <a:gd name="T4" fmla="*/ 120 w 151"/>
                <a:gd name="T5" fmla="*/ 31 h 31"/>
                <a:gd name="T6" fmla="*/ 106 w 151"/>
                <a:gd name="T7" fmla="*/ 31 h 31"/>
                <a:gd name="T8" fmla="*/ 77 w 151"/>
                <a:gd name="T9" fmla="*/ 31 h 31"/>
                <a:gd name="T10" fmla="*/ 49 w 151"/>
                <a:gd name="T11" fmla="*/ 27 h 31"/>
                <a:gd name="T12" fmla="*/ 25 w 151"/>
                <a:gd name="T13" fmla="*/ 21 h 31"/>
                <a:gd name="T14" fmla="*/ 8 w 151"/>
                <a:gd name="T15" fmla="*/ 16 h 31"/>
                <a:gd name="T16" fmla="*/ 2 w 151"/>
                <a:gd name="T17" fmla="*/ 13 h 31"/>
                <a:gd name="T18" fmla="*/ 0 w 151"/>
                <a:gd name="T19" fmla="*/ 11 h 31"/>
                <a:gd name="T20" fmla="*/ 0 w 151"/>
                <a:gd name="T21" fmla="*/ 9 h 31"/>
                <a:gd name="T22" fmla="*/ 0 w 151"/>
                <a:gd name="T23" fmla="*/ 8 h 31"/>
                <a:gd name="T24" fmla="*/ 4 w 151"/>
                <a:gd name="T25" fmla="*/ 5 h 31"/>
                <a:gd name="T26" fmla="*/ 10 w 151"/>
                <a:gd name="T27" fmla="*/ 4 h 31"/>
                <a:gd name="T28" fmla="*/ 21 w 151"/>
                <a:gd name="T29" fmla="*/ 1 h 31"/>
                <a:gd name="T30" fmla="*/ 21 w 151"/>
                <a:gd name="T31" fmla="*/ 1 h 31"/>
                <a:gd name="T32" fmla="*/ 56 w 151"/>
                <a:gd name="T33" fmla="*/ 0 h 31"/>
                <a:gd name="T34" fmla="*/ 85 w 151"/>
                <a:gd name="T35" fmla="*/ 1 h 31"/>
                <a:gd name="T36" fmla="*/ 112 w 151"/>
                <a:gd name="T37" fmla="*/ 4 h 31"/>
                <a:gd name="T38" fmla="*/ 132 w 151"/>
                <a:gd name="T39" fmla="*/ 9 h 31"/>
                <a:gd name="T40" fmla="*/ 140 w 151"/>
                <a:gd name="T41" fmla="*/ 12 h 31"/>
                <a:gd name="T42" fmla="*/ 146 w 151"/>
                <a:gd name="T43" fmla="*/ 15 h 31"/>
                <a:gd name="T44" fmla="*/ 150 w 151"/>
                <a:gd name="T45" fmla="*/ 17 h 31"/>
                <a:gd name="T46" fmla="*/ 151 w 151"/>
                <a:gd name="T47" fmla="*/ 20 h 31"/>
                <a:gd name="T48" fmla="*/ 150 w 151"/>
                <a:gd name="T49" fmla="*/ 23 h 31"/>
                <a:gd name="T50" fmla="*/ 147 w 151"/>
                <a:gd name="T51" fmla="*/ 25 h 31"/>
                <a:gd name="T52" fmla="*/ 142 w 151"/>
                <a:gd name="T53" fmla="*/ 28 h 31"/>
                <a:gd name="T54" fmla="*/ 134 w 151"/>
                <a:gd name="T55" fmla="*/ 29 h 31"/>
                <a:gd name="T56" fmla="*/ 134 w 151"/>
                <a:gd name="T5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1" h="31">
                  <a:moveTo>
                    <a:pt x="134" y="29"/>
                  </a:moveTo>
                  <a:lnTo>
                    <a:pt x="134" y="29"/>
                  </a:lnTo>
                  <a:lnTo>
                    <a:pt x="120" y="31"/>
                  </a:lnTo>
                  <a:lnTo>
                    <a:pt x="106" y="31"/>
                  </a:lnTo>
                  <a:lnTo>
                    <a:pt x="77" y="31"/>
                  </a:lnTo>
                  <a:lnTo>
                    <a:pt x="49" y="27"/>
                  </a:lnTo>
                  <a:lnTo>
                    <a:pt x="25" y="21"/>
                  </a:lnTo>
                  <a:lnTo>
                    <a:pt x="8" y="16"/>
                  </a:lnTo>
                  <a:lnTo>
                    <a:pt x="2" y="13"/>
                  </a:lnTo>
                  <a:lnTo>
                    <a:pt x="0" y="11"/>
                  </a:lnTo>
                  <a:lnTo>
                    <a:pt x="0" y="9"/>
                  </a:lnTo>
                  <a:lnTo>
                    <a:pt x="0" y="8"/>
                  </a:lnTo>
                  <a:lnTo>
                    <a:pt x="4" y="5"/>
                  </a:lnTo>
                  <a:lnTo>
                    <a:pt x="10" y="4"/>
                  </a:lnTo>
                  <a:lnTo>
                    <a:pt x="21" y="1"/>
                  </a:lnTo>
                  <a:lnTo>
                    <a:pt x="21" y="1"/>
                  </a:lnTo>
                  <a:lnTo>
                    <a:pt x="56" y="0"/>
                  </a:lnTo>
                  <a:lnTo>
                    <a:pt x="85" y="1"/>
                  </a:lnTo>
                  <a:lnTo>
                    <a:pt x="112" y="4"/>
                  </a:lnTo>
                  <a:lnTo>
                    <a:pt x="132" y="9"/>
                  </a:lnTo>
                  <a:lnTo>
                    <a:pt x="140" y="12"/>
                  </a:lnTo>
                  <a:lnTo>
                    <a:pt x="146" y="15"/>
                  </a:lnTo>
                  <a:lnTo>
                    <a:pt x="150" y="17"/>
                  </a:lnTo>
                  <a:lnTo>
                    <a:pt x="151" y="20"/>
                  </a:lnTo>
                  <a:lnTo>
                    <a:pt x="150" y="23"/>
                  </a:lnTo>
                  <a:lnTo>
                    <a:pt x="147" y="25"/>
                  </a:lnTo>
                  <a:lnTo>
                    <a:pt x="142" y="28"/>
                  </a:lnTo>
                  <a:lnTo>
                    <a:pt x="134" y="29"/>
                  </a:lnTo>
                  <a:lnTo>
                    <a:pt x="134" y="29"/>
                  </a:lnTo>
                  <a:close/>
                </a:path>
              </a:pathLst>
            </a:custGeom>
            <a:solidFill>
              <a:srgbClr val="B9E0D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0" name="Freeform 849"/>
            <p:cNvSpPr/>
            <p:nvPr/>
          </p:nvSpPr>
          <p:spPr bwMode="auto">
            <a:xfrm>
              <a:off x="3668710" y="4621216"/>
              <a:ext cx="63500" cy="30163"/>
            </a:xfrm>
            <a:custGeom>
              <a:avLst/>
              <a:gdLst>
                <a:gd name="T0" fmla="*/ 119 w 119"/>
                <a:gd name="T1" fmla="*/ 7 h 58"/>
                <a:gd name="T2" fmla="*/ 119 w 119"/>
                <a:gd name="T3" fmla="*/ 48 h 58"/>
                <a:gd name="T4" fmla="*/ 119 w 119"/>
                <a:gd name="T5" fmla="*/ 48 h 58"/>
                <a:gd name="T6" fmla="*/ 109 w 119"/>
                <a:gd name="T7" fmla="*/ 51 h 58"/>
                <a:gd name="T8" fmla="*/ 82 w 119"/>
                <a:gd name="T9" fmla="*/ 55 h 58"/>
                <a:gd name="T10" fmla="*/ 65 w 119"/>
                <a:gd name="T11" fmla="*/ 58 h 58"/>
                <a:gd name="T12" fmla="*/ 44 w 119"/>
                <a:gd name="T13" fmla="*/ 58 h 58"/>
                <a:gd name="T14" fmla="*/ 23 w 119"/>
                <a:gd name="T15" fmla="*/ 58 h 58"/>
                <a:gd name="T16" fmla="*/ 0 w 119"/>
                <a:gd name="T17" fmla="*/ 56 h 58"/>
                <a:gd name="T18" fmla="*/ 0 w 119"/>
                <a:gd name="T19" fmla="*/ 8 h 58"/>
                <a:gd name="T20" fmla="*/ 0 w 119"/>
                <a:gd name="T21" fmla="*/ 8 h 58"/>
                <a:gd name="T22" fmla="*/ 11 w 119"/>
                <a:gd name="T23" fmla="*/ 5 h 58"/>
                <a:gd name="T24" fmla="*/ 23 w 119"/>
                <a:gd name="T25" fmla="*/ 3 h 58"/>
                <a:gd name="T26" fmla="*/ 38 w 119"/>
                <a:gd name="T27" fmla="*/ 1 h 58"/>
                <a:gd name="T28" fmla="*/ 57 w 119"/>
                <a:gd name="T29" fmla="*/ 0 h 58"/>
                <a:gd name="T30" fmla="*/ 77 w 119"/>
                <a:gd name="T31" fmla="*/ 0 h 58"/>
                <a:gd name="T32" fmla="*/ 98 w 119"/>
                <a:gd name="T33" fmla="*/ 1 h 58"/>
                <a:gd name="T34" fmla="*/ 119 w 119"/>
                <a:gd name="T35" fmla="*/ 7 h 58"/>
                <a:gd name="T36" fmla="*/ 119 w 119"/>
                <a:gd name="T37" fmla="*/ 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9" h="58">
                  <a:moveTo>
                    <a:pt x="119" y="7"/>
                  </a:moveTo>
                  <a:lnTo>
                    <a:pt x="119" y="48"/>
                  </a:lnTo>
                  <a:lnTo>
                    <a:pt x="119" y="48"/>
                  </a:lnTo>
                  <a:lnTo>
                    <a:pt x="109" y="51"/>
                  </a:lnTo>
                  <a:lnTo>
                    <a:pt x="82" y="55"/>
                  </a:lnTo>
                  <a:lnTo>
                    <a:pt x="65" y="58"/>
                  </a:lnTo>
                  <a:lnTo>
                    <a:pt x="44" y="58"/>
                  </a:lnTo>
                  <a:lnTo>
                    <a:pt x="23" y="58"/>
                  </a:lnTo>
                  <a:lnTo>
                    <a:pt x="0" y="56"/>
                  </a:lnTo>
                  <a:lnTo>
                    <a:pt x="0" y="8"/>
                  </a:lnTo>
                  <a:lnTo>
                    <a:pt x="0" y="8"/>
                  </a:lnTo>
                  <a:lnTo>
                    <a:pt x="11" y="5"/>
                  </a:lnTo>
                  <a:lnTo>
                    <a:pt x="23" y="3"/>
                  </a:lnTo>
                  <a:lnTo>
                    <a:pt x="38" y="1"/>
                  </a:lnTo>
                  <a:lnTo>
                    <a:pt x="57" y="0"/>
                  </a:lnTo>
                  <a:lnTo>
                    <a:pt x="77" y="0"/>
                  </a:lnTo>
                  <a:lnTo>
                    <a:pt x="98" y="1"/>
                  </a:lnTo>
                  <a:lnTo>
                    <a:pt x="119" y="7"/>
                  </a:lnTo>
                  <a:lnTo>
                    <a:pt x="119" y="7"/>
                  </a:lnTo>
                  <a:close/>
                </a:path>
              </a:pathLst>
            </a:custGeom>
            <a:solidFill>
              <a:srgbClr val="5687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1" name="Freeform 850"/>
            <p:cNvSpPr/>
            <p:nvPr/>
          </p:nvSpPr>
          <p:spPr bwMode="auto">
            <a:xfrm>
              <a:off x="3681411" y="4645029"/>
              <a:ext cx="36513" cy="19050"/>
            </a:xfrm>
            <a:custGeom>
              <a:avLst/>
              <a:gdLst>
                <a:gd name="T0" fmla="*/ 71 w 71"/>
                <a:gd name="T1" fmla="*/ 0 h 36"/>
                <a:gd name="T2" fmla="*/ 71 w 71"/>
                <a:gd name="T3" fmla="*/ 30 h 36"/>
                <a:gd name="T4" fmla="*/ 71 w 71"/>
                <a:gd name="T5" fmla="*/ 30 h 36"/>
                <a:gd name="T6" fmla="*/ 64 w 71"/>
                <a:gd name="T7" fmla="*/ 32 h 36"/>
                <a:gd name="T8" fmla="*/ 48 w 71"/>
                <a:gd name="T9" fmla="*/ 34 h 36"/>
                <a:gd name="T10" fmla="*/ 25 w 71"/>
                <a:gd name="T11" fmla="*/ 36 h 36"/>
                <a:gd name="T12" fmla="*/ 12 w 71"/>
                <a:gd name="T13" fmla="*/ 36 h 36"/>
                <a:gd name="T14" fmla="*/ 0 w 71"/>
                <a:gd name="T15" fmla="*/ 34 h 36"/>
                <a:gd name="T16" fmla="*/ 0 w 71"/>
                <a:gd name="T17" fmla="*/ 1 h 36"/>
                <a:gd name="T18" fmla="*/ 71 w 71"/>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36">
                  <a:moveTo>
                    <a:pt x="71" y="0"/>
                  </a:moveTo>
                  <a:lnTo>
                    <a:pt x="71" y="30"/>
                  </a:lnTo>
                  <a:lnTo>
                    <a:pt x="71" y="30"/>
                  </a:lnTo>
                  <a:lnTo>
                    <a:pt x="64" y="32"/>
                  </a:lnTo>
                  <a:lnTo>
                    <a:pt x="48" y="34"/>
                  </a:lnTo>
                  <a:lnTo>
                    <a:pt x="25" y="36"/>
                  </a:lnTo>
                  <a:lnTo>
                    <a:pt x="12" y="36"/>
                  </a:lnTo>
                  <a:lnTo>
                    <a:pt x="0" y="34"/>
                  </a:lnTo>
                  <a:lnTo>
                    <a:pt x="0" y="1"/>
                  </a:lnTo>
                  <a:lnTo>
                    <a:pt x="71" y="0"/>
                  </a:lnTo>
                  <a:close/>
                </a:path>
              </a:pathLst>
            </a:custGeom>
            <a:solidFill>
              <a:srgbClr val="5687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2" name="Freeform 851"/>
            <p:cNvSpPr/>
            <p:nvPr/>
          </p:nvSpPr>
          <p:spPr bwMode="auto">
            <a:xfrm>
              <a:off x="3681411" y="4649791"/>
              <a:ext cx="36513" cy="11113"/>
            </a:xfrm>
            <a:custGeom>
              <a:avLst/>
              <a:gdLst>
                <a:gd name="T0" fmla="*/ 71 w 71"/>
                <a:gd name="T1" fmla="*/ 0 h 21"/>
                <a:gd name="T2" fmla="*/ 71 w 71"/>
                <a:gd name="T3" fmla="*/ 0 h 21"/>
                <a:gd name="T4" fmla="*/ 46 w 71"/>
                <a:gd name="T5" fmla="*/ 2 h 21"/>
                <a:gd name="T6" fmla="*/ 23 w 71"/>
                <a:gd name="T7" fmla="*/ 4 h 21"/>
                <a:gd name="T8" fmla="*/ 0 w 71"/>
                <a:gd name="T9" fmla="*/ 4 h 21"/>
                <a:gd name="T10" fmla="*/ 0 w 71"/>
                <a:gd name="T11" fmla="*/ 21 h 21"/>
                <a:gd name="T12" fmla="*/ 71 w 71"/>
                <a:gd name="T13" fmla="*/ 10 h 21"/>
                <a:gd name="T14" fmla="*/ 71 w 71"/>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1">
                  <a:moveTo>
                    <a:pt x="71" y="0"/>
                  </a:moveTo>
                  <a:lnTo>
                    <a:pt x="71" y="0"/>
                  </a:lnTo>
                  <a:lnTo>
                    <a:pt x="46" y="2"/>
                  </a:lnTo>
                  <a:lnTo>
                    <a:pt x="23" y="4"/>
                  </a:lnTo>
                  <a:lnTo>
                    <a:pt x="0" y="4"/>
                  </a:lnTo>
                  <a:lnTo>
                    <a:pt x="0" y="21"/>
                  </a:lnTo>
                  <a:lnTo>
                    <a:pt x="71" y="10"/>
                  </a:lnTo>
                  <a:lnTo>
                    <a:pt x="71" y="0"/>
                  </a:lnTo>
                  <a:close/>
                </a:path>
              </a:pathLst>
            </a:custGeom>
            <a:solidFill>
              <a:srgbClr val="455E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3" name="Freeform 852"/>
            <p:cNvSpPr/>
            <p:nvPr/>
          </p:nvSpPr>
          <p:spPr bwMode="auto">
            <a:xfrm>
              <a:off x="3668711" y="4621216"/>
              <a:ext cx="63500" cy="7938"/>
            </a:xfrm>
            <a:custGeom>
              <a:avLst/>
              <a:gdLst>
                <a:gd name="T0" fmla="*/ 119 w 119"/>
                <a:gd name="T1" fmla="*/ 8 h 16"/>
                <a:gd name="T2" fmla="*/ 119 w 119"/>
                <a:gd name="T3" fmla="*/ 8 h 16"/>
                <a:gd name="T4" fmla="*/ 110 w 119"/>
                <a:gd name="T5" fmla="*/ 5 h 16"/>
                <a:gd name="T6" fmla="*/ 98 w 119"/>
                <a:gd name="T7" fmla="*/ 2 h 16"/>
                <a:gd name="T8" fmla="*/ 83 w 119"/>
                <a:gd name="T9" fmla="*/ 1 h 16"/>
                <a:gd name="T10" fmla="*/ 66 w 119"/>
                <a:gd name="T11" fmla="*/ 0 h 16"/>
                <a:gd name="T12" fmla="*/ 46 w 119"/>
                <a:gd name="T13" fmla="*/ 0 h 16"/>
                <a:gd name="T14" fmla="*/ 24 w 119"/>
                <a:gd name="T15" fmla="*/ 2 h 16"/>
                <a:gd name="T16" fmla="*/ 0 w 119"/>
                <a:gd name="T17" fmla="*/ 9 h 16"/>
                <a:gd name="T18" fmla="*/ 0 w 119"/>
                <a:gd name="T19" fmla="*/ 9 h 16"/>
                <a:gd name="T20" fmla="*/ 12 w 119"/>
                <a:gd name="T21" fmla="*/ 10 h 16"/>
                <a:gd name="T22" fmla="*/ 40 w 119"/>
                <a:gd name="T23" fmla="*/ 14 h 16"/>
                <a:gd name="T24" fmla="*/ 59 w 119"/>
                <a:gd name="T25" fmla="*/ 16 h 16"/>
                <a:gd name="T26" fmla="*/ 79 w 119"/>
                <a:gd name="T27" fmla="*/ 14 h 16"/>
                <a:gd name="T28" fmla="*/ 99 w 119"/>
                <a:gd name="T29" fmla="*/ 12 h 16"/>
                <a:gd name="T30" fmla="*/ 119 w 119"/>
                <a:gd name="T31" fmla="*/ 8 h 16"/>
                <a:gd name="T32" fmla="*/ 119 w 119"/>
                <a:gd name="T3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9" h="16">
                  <a:moveTo>
                    <a:pt x="119" y="8"/>
                  </a:moveTo>
                  <a:lnTo>
                    <a:pt x="119" y="8"/>
                  </a:lnTo>
                  <a:lnTo>
                    <a:pt x="110" y="5"/>
                  </a:lnTo>
                  <a:lnTo>
                    <a:pt x="98" y="2"/>
                  </a:lnTo>
                  <a:lnTo>
                    <a:pt x="83" y="1"/>
                  </a:lnTo>
                  <a:lnTo>
                    <a:pt x="66" y="0"/>
                  </a:lnTo>
                  <a:lnTo>
                    <a:pt x="46" y="0"/>
                  </a:lnTo>
                  <a:lnTo>
                    <a:pt x="24" y="2"/>
                  </a:lnTo>
                  <a:lnTo>
                    <a:pt x="0" y="9"/>
                  </a:lnTo>
                  <a:lnTo>
                    <a:pt x="0" y="9"/>
                  </a:lnTo>
                  <a:lnTo>
                    <a:pt x="12" y="10"/>
                  </a:lnTo>
                  <a:lnTo>
                    <a:pt x="40" y="14"/>
                  </a:lnTo>
                  <a:lnTo>
                    <a:pt x="59" y="16"/>
                  </a:lnTo>
                  <a:lnTo>
                    <a:pt x="79" y="14"/>
                  </a:lnTo>
                  <a:lnTo>
                    <a:pt x="99" y="12"/>
                  </a:lnTo>
                  <a:lnTo>
                    <a:pt x="119" y="8"/>
                  </a:lnTo>
                  <a:lnTo>
                    <a:pt x="119" y="8"/>
                  </a:lnTo>
                  <a:close/>
                </a:path>
              </a:pathLst>
            </a:custGeom>
            <a:solidFill>
              <a:srgbClr val="455E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4" name="Freeform 853"/>
            <p:cNvSpPr/>
            <p:nvPr/>
          </p:nvSpPr>
          <p:spPr bwMode="auto">
            <a:xfrm>
              <a:off x="3779836" y="4497390"/>
              <a:ext cx="28575" cy="7938"/>
            </a:xfrm>
            <a:custGeom>
              <a:avLst/>
              <a:gdLst>
                <a:gd name="T0" fmla="*/ 56 w 56"/>
                <a:gd name="T1" fmla="*/ 8 h 16"/>
                <a:gd name="T2" fmla="*/ 56 w 56"/>
                <a:gd name="T3" fmla="*/ 8 h 16"/>
                <a:gd name="T4" fmla="*/ 52 w 56"/>
                <a:gd name="T5" fmla="*/ 5 h 16"/>
                <a:gd name="T6" fmla="*/ 47 w 56"/>
                <a:gd name="T7" fmla="*/ 4 h 16"/>
                <a:gd name="T8" fmla="*/ 40 w 56"/>
                <a:gd name="T9" fmla="*/ 1 h 16"/>
                <a:gd name="T10" fmla="*/ 32 w 56"/>
                <a:gd name="T11" fmla="*/ 0 h 16"/>
                <a:gd name="T12" fmla="*/ 23 w 56"/>
                <a:gd name="T13" fmla="*/ 1 h 16"/>
                <a:gd name="T14" fmla="*/ 12 w 56"/>
                <a:gd name="T15" fmla="*/ 2 h 16"/>
                <a:gd name="T16" fmla="*/ 0 w 56"/>
                <a:gd name="T17" fmla="*/ 8 h 16"/>
                <a:gd name="T18" fmla="*/ 0 w 56"/>
                <a:gd name="T19" fmla="*/ 8 h 16"/>
                <a:gd name="T20" fmla="*/ 4 w 56"/>
                <a:gd name="T21" fmla="*/ 10 h 16"/>
                <a:gd name="T22" fmla="*/ 10 w 56"/>
                <a:gd name="T23" fmla="*/ 13 h 16"/>
                <a:gd name="T24" fmla="*/ 15 w 56"/>
                <a:gd name="T25" fmla="*/ 14 h 16"/>
                <a:gd name="T26" fmla="*/ 23 w 56"/>
                <a:gd name="T27" fmla="*/ 16 h 16"/>
                <a:gd name="T28" fmla="*/ 32 w 56"/>
                <a:gd name="T29" fmla="*/ 16 h 16"/>
                <a:gd name="T30" fmla="*/ 43 w 56"/>
                <a:gd name="T31" fmla="*/ 13 h 16"/>
                <a:gd name="T32" fmla="*/ 56 w 56"/>
                <a:gd name="T33" fmla="*/ 8 h 16"/>
                <a:gd name="T34" fmla="*/ 56 w 56"/>
                <a:gd name="T35"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16">
                  <a:moveTo>
                    <a:pt x="56" y="8"/>
                  </a:moveTo>
                  <a:lnTo>
                    <a:pt x="56" y="8"/>
                  </a:lnTo>
                  <a:lnTo>
                    <a:pt x="52" y="5"/>
                  </a:lnTo>
                  <a:lnTo>
                    <a:pt x="47" y="4"/>
                  </a:lnTo>
                  <a:lnTo>
                    <a:pt x="40" y="1"/>
                  </a:lnTo>
                  <a:lnTo>
                    <a:pt x="32" y="0"/>
                  </a:lnTo>
                  <a:lnTo>
                    <a:pt x="23" y="1"/>
                  </a:lnTo>
                  <a:lnTo>
                    <a:pt x="12" y="2"/>
                  </a:lnTo>
                  <a:lnTo>
                    <a:pt x="0" y="8"/>
                  </a:lnTo>
                  <a:lnTo>
                    <a:pt x="0" y="8"/>
                  </a:lnTo>
                  <a:lnTo>
                    <a:pt x="4" y="10"/>
                  </a:lnTo>
                  <a:lnTo>
                    <a:pt x="10" y="13"/>
                  </a:lnTo>
                  <a:lnTo>
                    <a:pt x="15" y="14"/>
                  </a:lnTo>
                  <a:lnTo>
                    <a:pt x="23" y="16"/>
                  </a:lnTo>
                  <a:lnTo>
                    <a:pt x="32" y="16"/>
                  </a:lnTo>
                  <a:lnTo>
                    <a:pt x="43" y="13"/>
                  </a:lnTo>
                  <a:lnTo>
                    <a:pt x="56" y="8"/>
                  </a:lnTo>
                  <a:lnTo>
                    <a:pt x="56" y="8"/>
                  </a:lnTo>
                  <a:close/>
                </a:path>
              </a:pathLst>
            </a:custGeom>
            <a:solidFill>
              <a:srgbClr val="456B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5" name="Freeform 854"/>
            <p:cNvSpPr/>
            <p:nvPr/>
          </p:nvSpPr>
          <p:spPr bwMode="auto">
            <a:xfrm>
              <a:off x="3795711" y="4502150"/>
              <a:ext cx="14288" cy="192088"/>
            </a:xfrm>
            <a:custGeom>
              <a:avLst/>
              <a:gdLst>
                <a:gd name="T0" fmla="*/ 24 w 27"/>
                <a:gd name="T1" fmla="*/ 0 h 364"/>
                <a:gd name="T2" fmla="*/ 0 w 27"/>
                <a:gd name="T3" fmla="*/ 9 h 364"/>
                <a:gd name="T4" fmla="*/ 0 w 27"/>
                <a:gd name="T5" fmla="*/ 364 h 364"/>
                <a:gd name="T6" fmla="*/ 27 w 27"/>
                <a:gd name="T7" fmla="*/ 351 h 364"/>
                <a:gd name="T8" fmla="*/ 24 w 27"/>
                <a:gd name="T9" fmla="*/ 0 h 364"/>
              </a:gdLst>
              <a:ahLst/>
              <a:cxnLst>
                <a:cxn ang="0">
                  <a:pos x="T0" y="T1"/>
                </a:cxn>
                <a:cxn ang="0">
                  <a:pos x="T2" y="T3"/>
                </a:cxn>
                <a:cxn ang="0">
                  <a:pos x="T4" y="T5"/>
                </a:cxn>
                <a:cxn ang="0">
                  <a:pos x="T6" y="T7"/>
                </a:cxn>
                <a:cxn ang="0">
                  <a:pos x="T8" y="T9"/>
                </a:cxn>
              </a:cxnLst>
              <a:rect l="0" t="0" r="r" b="b"/>
              <a:pathLst>
                <a:path w="27" h="364">
                  <a:moveTo>
                    <a:pt x="24" y="0"/>
                  </a:moveTo>
                  <a:lnTo>
                    <a:pt x="0" y="9"/>
                  </a:lnTo>
                  <a:lnTo>
                    <a:pt x="0" y="364"/>
                  </a:lnTo>
                  <a:lnTo>
                    <a:pt x="27" y="351"/>
                  </a:lnTo>
                  <a:lnTo>
                    <a:pt x="24" y="0"/>
                  </a:lnTo>
                  <a:close/>
                </a:path>
              </a:pathLst>
            </a:custGeom>
            <a:solidFill>
              <a:srgbClr val="81BAC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6" name="Freeform 855"/>
            <p:cNvSpPr/>
            <p:nvPr/>
          </p:nvSpPr>
          <p:spPr bwMode="auto">
            <a:xfrm>
              <a:off x="3702048" y="4624387"/>
              <a:ext cx="30163" cy="26988"/>
            </a:xfrm>
            <a:custGeom>
              <a:avLst/>
              <a:gdLst>
                <a:gd name="T0" fmla="*/ 56 w 56"/>
                <a:gd name="T1" fmla="*/ 0 h 51"/>
                <a:gd name="T2" fmla="*/ 56 w 56"/>
                <a:gd name="T3" fmla="*/ 0 h 51"/>
                <a:gd name="T4" fmla="*/ 51 w 56"/>
                <a:gd name="T5" fmla="*/ 1 h 51"/>
                <a:gd name="T6" fmla="*/ 39 w 56"/>
                <a:gd name="T7" fmla="*/ 4 h 51"/>
                <a:gd name="T8" fmla="*/ 22 w 56"/>
                <a:gd name="T9" fmla="*/ 6 h 51"/>
                <a:gd name="T10" fmla="*/ 11 w 56"/>
                <a:gd name="T11" fmla="*/ 8 h 51"/>
                <a:gd name="T12" fmla="*/ 0 w 56"/>
                <a:gd name="T13" fmla="*/ 8 h 51"/>
                <a:gd name="T14" fmla="*/ 0 w 56"/>
                <a:gd name="T15" fmla="*/ 51 h 51"/>
                <a:gd name="T16" fmla="*/ 0 w 56"/>
                <a:gd name="T17" fmla="*/ 51 h 51"/>
                <a:gd name="T18" fmla="*/ 18 w 56"/>
                <a:gd name="T19" fmla="*/ 49 h 51"/>
                <a:gd name="T20" fmla="*/ 36 w 56"/>
                <a:gd name="T21" fmla="*/ 47 h 51"/>
                <a:gd name="T22" fmla="*/ 56 w 56"/>
                <a:gd name="T23" fmla="*/ 41 h 51"/>
                <a:gd name="T24" fmla="*/ 56 w 56"/>
                <a:gd name="T2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1">
                  <a:moveTo>
                    <a:pt x="56" y="0"/>
                  </a:moveTo>
                  <a:lnTo>
                    <a:pt x="56" y="0"/>
                  </a:lnTo>
                  <a:lnTo>
                    <a:pt x="51" y="1"/>
                  </a:lnTo>
                  <a:lnTo>
                    <a:pt x="39" y="4"/>
                  </a:lnTo>
                  <a:lnTo>
                    <a:pt x="22" y="6"/>
                  </a:lnTo>
                  <a:lnTo>
                    <a:pt x="11" y="8"/>
                  </a:lnTo>
                  <a:lnTo>
                    <a:pt x="0" y="8"/>
                  </a:lnTo>
                  <a:lnTo>
                    <a:pt x="0" y="51"/>
                  </a:lnTo>
                  <a:lnTo>
                    <a:pt x="0" y="51"/>
                  </a:lnTo>
                  <a:lnTo>
                    <a:pt x="18" y="49"/>
                  </a:lnTo>
                  <a:lnTo>
                    <a:pt x="36" y="47"/>
                  </a:lnTo>
                  <a:lnTo>
                    <a:pt x="56" y="41"/>
                  </a:lnTo>
                  <a:lnTo>
                    <a:pt x="56" y="0"/>
                  </a:lnTo>
                  <a:close/>
                </a:path>
              </a:pathLst>
            </a:custGeom>
            <a:solidFill>
              <a:srgbClr val="81ADC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7" name="Freeform 856"/>
            <p:cNvSpPr/>
            <p:nvPr/>
          </p:nvSpPr>
          <p:spPr bwMode="auto">
            <a:xfrm>
              <a:off x="4056061" y="4546600"/>
              <a:ext cx="15875" cy="160338"/>
            </a:xfrm>
            <a:custGeom>
              <a:avLst/>
              <a:gdLst>
                <a:gd name="T0" fmla="*/ 1 w 28"/>
                <a:gd name="T1" fmla="*/ 284 h 305"/>
                <a:gd name="T2" fmla="*/ 0 w 28"/>
                <a:gd name="T3" fmla="*/ 7 h 305"/>
                <a:gd name="T4" fmla="*/ 13 w 28"/>
                <a:gd name="T5" fmla="*/ 0 h 305"/>
                <a:gd name="T6" fmla="*/ 28 w 28"/>
                <a:gd name="T7" fmla="*/ 305 h 305"/>
                <a:gd name="T8" fmla="*/ 1 w 28"/>
                <a:gd name="T9" fmla="*/ 284 h 305"/>
              </a:gdLst>
              <a:ahLst/>
              <a:cxnLst>
                <a:cxn ang="0">
                  <a:pos x="T0" y="T1"/>
                </a:cxn>
                <a:cxn ang="0">
                  <a:pos x="T2" y="T3"/>
                </a:cxn>
                <a:cxn ang="0">
                  <a:pos x="T4" y="T5"/>
                </a:cxn>
                <a:cxn ang="0">
                  <a:pos x="T6" y="T7"/>
                </a:cxn>
                <a:cxn ang="0">
                  <a:pos x="T8" y="T9"/>
                </a:cxn>
              </a:cxnLst>
              <a:rect l="0" t="0" r="r" b="b"/>
              <a:pathLst>
                <a:path w="28" h="305">
                  <a:moveTo>
                    <a:pt x="1" y="284"/>
                  </a:moveTo>
                  <a:lnTo>
                    <a:pt x="0" y="7"/>
                  </a:lnTo>
                  <a:lnTo>
                    <a:pt x="13" y="0"/>
                  </a:lnTo>
                  <a:lnTo>
                    <a:pt x="28" y="305"/>
                  </a:lnTo>
                  <a:lnTo>
                    <a:pt x="1" y="284"/>
                  </a:lnTo>
                  <a:close/>
                </a:path>
              </a:pathLst>
            </a:custGeom>
            <a:solidFill>
              <a:srgbClr val="81BAC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8" name="Freeform 857"/>
            <p:cNvSpPr/>
            <p:nvPr/>
          </p:nvSpPr>
          <p:spPr bwMode="auto">
            <a:xfrm>
              <a:off x="4041771" y="4541836"/>
              <a:ext cx="22225" cy="7938"/>
            </a:xfrm>
            <a:custGeom>
              <a:avLst/>
              <a:gdLst>
                <a:gd name="T0" fmla="*/ 41 w 41"/>
                <a:gd name="T1" fmla="*/ 7 h 14"/>
                <a:gd name="T2" fmla="*/ 41 w 41"/>
                <a:gd name="T3" fmla="*/ 7 h 14"/>
                <a:gd name="T4" fmla="*/ 38 w 41"/>
                <a:gd name="T5" fmla="*/ 4 h 14"/>
                <a:gd name="T6" fmla="*/ 29 w 41"/>
                <a:gd name="T7" fmla="*/ 2 h 14"/>
                <a:gd name="T8" fmla="*/ 24 w 41"/>
                <a:gd name="T9" fmla="*/ 0 h 14"/>
                <a:gd name="T10" fmla="*/ 16 w 41"/>
                <a:gd name="T11" fmla="*/ 0 h 14"/>
                <a:gd name="T12" fmla="*/ 8 w 41"/>
                <a:gd name="T13" fmla="*/ 2 h 14"/>
                <a:gd name="T14" fmla="*/ 0 w 41"/>
                <a:gd name="T15" fmla="*/ 6 h 14"/>
                <a:gd name="T16" fmla="*/ 0 w 41"/>
                <a:gd name="T17" fmla="*/ 6 h 14"/>
                <a:gd name="T18" fmla="*/ 2 w 41"/>
                <a:gd name="T19" fmla="*/ 8 h 14"/>
                <a:gd name="T20" fmla="*/ 5 w 41"/>
                <a:gd name="T21" fmla="*/ 11 h 14"/>
                <a:gd name="T22" fmla="*/ 9 w 41"/>
                <a:gd name="T23" fmla="*/ 12 h 14"/>
                <a:gd name="T24" fmla="*/ 16 w 41"/>
                <a:gd name="T25" fmla="*/ 14 h 14"/>
                <a:gd name="T26" fmla="*/ 22 w 41"/>
                <a:gd name="T27" fmla="*/ 14 h 14"/>
                <a:gd name="T28" fmla="*/ 32 w 41"/>
                <a:gd name="T29" fmla="*/ 12 h 14"/>
                <a:gd name="T30" fmla="*/ 41 w 41"/>
                <a:gd name="T31" fmla="*/ 7 h 14"/>
                <a:gd name="T32" fmla="*/ 41 w 41"/>
                <a:gd name="T33"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14">
                  <a:moveTo>
                    <a:pt x="41" y="7"/>
                  </a:moveTo>
                  <a:lnTo>
                    <a:pt x="41" y="7"/>
                  </a:lnTo>
                  <a:lnTo>
                    <a:pt x="38" y="4"/>
                  </a:lnTo>
                  <a:lnTo>
                    <a:pt x="29" y="2"/>
                  </a:lnTo>
                  <a:lnTo>
                    <a:pt x="24" y="0"/>
                  </a:lnTo>
                  <a:lnTo>
                    <a:pt x="16" y="0"/>
                  </a:lnTo>
                  <a:lnTo>
                    <a:pt x="8" y="2"/>
                  </a:lnTo>
                  <a:lnTo>
                    <a:pt x="0" y="6"/>
                  </a:lnTo>
                  <a:lnTo>
                    <a:pt x="0" y="6"/>
                  </a:lnTo>
                  <a:lnTo>
                    <a:pt x="2" y="8"/>
                  </a:lnTo>
                  <a:lnTo>
                    <a:pt x="5" y="11"/>
                  </a:lnTo>
                  <a:lnTo>
                    <a:pt x="9" y="12"/>
                  </a:lnTo>
                  <a:lnTo>
                    <a:pt x="16" y="14"/>
                  </a:lnTo>
                  <a:lnTo>
                    <a:pt x="22" y="14"/>
                  </a:lnTo>
                  <a:lnTo>
                    <a:pt x="32" y="12"/>
                  </a:lnTo>
                  <a:lnTo>
                    <a:pt x="41" y="7"/>
                  </a:lnTo>
                  <a:lnTo>
                    <a:pt x="41" y="7"/>
                  </a:lnTo>
                  <a:close/>
                </a:path>
              </a:pathLst>
            </a:custGeom>
            <a:solidFill>
              <a:srgbClr val="456B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229" name="Freeform 858"/>
            <p:cNvSpPr/>
            <p:nvPr/>
          </p:nvSpPr>
          <p:spPr bwMode="auto">
            <a:xfrm>
              <a:off x="4106863" y="4918076"/>
              <a:ext cx="201613" cy="157163"/>
            </a:xfrm>
            <a:custGeom>
              <a:avLst/>
              <a:gdLst>
                <a:gd name="T0" fmla="*/ 1 w 379"/>
                <a:gd name="T1" fmla="*/ 0 h 297"/>
                <a:gd name="T2" fmla="*/ 379 w 379"/>
                <a:gd name="T3" fmla="*/ 281 h 297"/>
                <a:gd name="T4" fmla="*/ 351 w 379"/>
                <a:gd name="T5" fmla="*/ 297 h 297"/>
                <a:gd name="T6" fmla="*/ 0 w 379"/>
                <a:gd name="T7" fmla="*/ 25 h 297"/>
                <a:gd name="T8" fmla="*/ 1 w 379"/>
                <a:gd name="T9" fmla="*/ 0 h 297"/>
              </a:gdLst>
              <a:ahLst/>
              <a:cxnLst>
                <a:cxn ang="0">
                  <a:pos x="T0" y="T1"/>
                </a:cxn>
                <a:cxn ang="0">
                  <a:pos x="T2" y="T3"/>
                </a:cxn>
                <a:cxn ang="0">
                  <a:pos x="T4" y="T5"/>
                </a:cxn>
                <a:cxn ang="0">
                  <a:pos x="T6" y="T7"/>
                </a:cxn>
                <a:cxn ang="0">
                  <a:pos x="T8" y="T9"/>
                </a:cxn>
              </a:cxnLst>
              <a:rect l="0" t="0" r="r" b="b"/>
              <a:pathLst>
                <a:path w="379" h="297">
                  <a:moveTo>
                    <a:pt x="1" y="0"/>
                  </a:moveTo>
                  <a:lnTo>
                    <a:pt x="379" y="281"/>
                  </a:lnTo>
                  <a:lnTo>
                    <a:pt x="351" y="297"/>
                  </a:lnTo>
                  <a:lnTo>
                    <a:pt x="0" y="25"/>
                  </a:lnTo>
                  <a:lnTo>
                    <a:pt x="1" y="0"/>
                  </a:lnTo>
                  <a:close/>
                </a:path>
              </a:pathLst>
            </a:custGeom>
            <a:solidFill>
              <a:srgbClr val="F6D1B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231" name="Title 1"/>
          <p:cNvSpPr txBox="1"/>
          <p:nvPr/>
        </p:nvSpPr>
        <p:spPr>
          <a:xfrm>
            <a:off x="8659048" y="2157045"/>
            <a:ext cx="1123895" cy="413547"/>
          </a:xfrm>
          <a:prstGeom prst="rect">
            <a:avLst/>
          </a:prstGeom>
        </p:spPr>
        <p:txBody>
          <a:bodyPr wrap="non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1800" spc="-150"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Product</a:t>
            </a:r>
            <a:endParaRPr lang="en-US" sz="1800" spc="-150"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233" name="Title 1"/>
          <p:cNvSpPr txBox="1"/>
          <p:nvPr/>
        </p:nvSpPr>
        <p:spPr>
          <a:xfrm>
            <a:off x="8659048" y="4310634"/>
            <a:ext cx="1123895" cy="413547"/>
          </a:xfrm>
          <a:prstGeom prst="rect">
            <a:avLst/>
          </a:prstGeom>
        </p:spPr>
        <p:txBody>
          <a:bodyPr wrap="non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1800" spc="-150"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Promotion</a:t>
            </a:r>
            <a:endParaRPr lang="en-US" sz="1800" spc="-150"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234" name="Rectangle 233"/>
          <p:cNvSpPr/>
          <p:nvPr/>
        </p:nvSpPr>
        <p:spPr>
          <a:xfrm>
            <a:off x="8659048" y="2567013"/>
            <a:ext cx="2596579" cy="646331"/>
          </a:xfrm>
          <a:prstGeom prst="rect">
            <a:avLst/>
          </a:prstGeom>
        </p:spPr>
        <p:txBody>
          <a:bodyPr wrap="square">
            <a:spAutoFit/>
          </a:bodyPr>
          <a:lstStyle/>
          <a:p>
            <a:pPr>
              <a:spcBef>
                <a:spcPts val="600"/>
              </a:spcBef>
              <a:buClr>
                <a:srgbClr val="E24848"/>
              </a:buClr>
              <a:defRPr/>
            </a:pPr>
            <a:r>
              <a:rPr lang="en-US" sz="1200" noProof="1">
                <a:solidFill>
                  <a:schemeClr val="tx1">
                    <a:lumMod val="85000"/>
                    <a:lumOff val="15000"/>
                  </a:schemeClr>
                </a:solidFill>
                <a:latin typeface="+mj-lt"/>
                <a:ea typeface="Roboto Light" panose="02000000000000000000" pitchFamily="2" charset="0"/>
                <a:cs typeface="Open Sans Light" panose="020B0306030504020204" pitchFamily="34" charset="0"/>
              </a:rPr>
              <a:t>Phasellus feugiat erat a nunc egestas pulvinar. In vitae magna ac nibh pretium malesuada</a:t>
            </a:r>
            <a:endParaRPr lang="en-US" sz="1200" noProof="1">
              <a:solidFill>
                <a:schemeClr val="tx1">
                  <a:lumMod val="85000"/>
                  <a:lumOff val="15000"/>
                </a:schemeClr>
              </a:solidFill>
              <a:latin typeface="+mj-lt"/>
              <a:ea typeface="Roboto Light" panose="02000000000000000000" pitchFamily="2" charset="0"/>
              <a:cs typeface="Open Sans Light" panose="020B0306030504020204" pitchFamily="34" charset="0"/>
            </a:endParaRPr>
          </a:p>
        </p:txBody>
      </p:sp>
      <p:sp>
        <p:nvSpPr>
          <p:cNvPr id="235" name="Rectangle 234"/>
          <p:cNvSpPr/>
          <p:nvPr/>
        </p:nvSpPr>
        <p:spPr>
          <a:xfrm>
            <a:off x="8659048" y="4733994"/>
            <a:ext cx="2596579" cy="646331"/>
          </a:xfrm>
          <a:prstGeom prst="rect">
            <a:avLst/>
          </a:prstGeom>
        </p:spPr>
        <p:txBody>
          <a:bodyPr wrap="square">
            <a:spAutoFit/>
          </a:bodyPr>
          <a:lstStyle/>
          <a:p>
            <a:pPr>
              <a:spcBef>
                <a:spcPts val="600"/>
              </a:spcBef>
              <a:buClr>
                <a:srgbClr val="E24848"/>
              </a:buClr>
              <a:defRPr/>
            </a:pPr>
            <a:r>
              <a:rPr lang="en-US" sz="1200" noProof="1">
                <a:solidFill>
                  <a:schemeClr val="tx1">
                    <a:lumMod val="85000"/>
                    <a:lumOff val="15000"/>
                  </a:schemeClr>
                </a:solidFill>
                <a:latin typeface="+mj-lt"/>
                <a:ea typeface="Roboto Light" panose="02000000000000000000" pitchFamily="2" charset="0"/>
                <a:cs typeface="Open Sans Light" panose="020B0306030504020204" pitchFamily="34" charset="0"/>
              </a:rPr>
              <a:t>Phasellus feugiat erat a nunc egestas pulvinar. In vitae magna ac nibh pretium malesuada</a:t>
            </a:r>
            <a:endParaRPr lang="en-US" sz="1200" noProof="1">
              <a:solidFill>
                <a:schemeClr val="tx1">
                  <a:lumMod val="85000"/>
                  <a:lumOff val="15000"/>
                </a:schemeClr>
              </a:solidFill>
              <a:latin typeface="+mj-lt"/>
              <a:ea typeface="Roboto Light" panose="02000000000000000000" pitchFamily="2" charset="0"/>
              <a:cs typeface="Open Sans Light" panose="020B0306030504020204" pitchFamily="34" charset="0"/>
            </a:endParaRPr>
          </a:p>
        </p:txBody>
      </p:sp>
      <p:sp>
        <p:nvSpPr>
          <p:cNvPr id="236" name="Title 1"/>
          <p:cNvSpPr txBox="1"/>
          <p:nvPr/>
        </p:nvSpPr>
        <p:spPr>
          <a:xfrm>
            <a:off x="2454487" y="2157045"/>
            <a:ext cx="1123895" cy="413547"/>
          </a:xfrm>
          <a:prstGeom prst="rect">
            <a:avLst/>
          </a:prstGeom>
        </p:spPr>
        <p:txBody>
          <a:bodyPr wrap="non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r"/>
            <a:r>
              <a:rPr lang="en-US" sz="1800" spc="-150"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Product</a:t>
            </a:r>
            <a:endParaRPr lang="en-US" sz="1800" spc="-150"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237" name="Title 1"/>
          <p:cNvSpPr txBox="1"/>
          <p:nvPr/>
        </p:nvSpPr>
        <p:spPr>
          <a:xfrm>
            <a:off x="2454487" y="4310634"/>
            <a:ext cx="1123895" cy="413547"/>
          </a:xfrm>
          <a:prstGeom prst="rect">
            <a:avLst/>
          </a:prstGeom>
        </p:spPr>
        <p:txBody>
          <a:bodyPr wrap="non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r"/>
            <a:r>
              <a:rPr lang="en-US" sz="1800" spc="-150"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Promotion</a:t>
            </a:r>
            <a:endParaRPr lang="en-US" sz="1800" spc="-150"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238" name="Rectangle 237"/>
          <p:cNvSpPr/>
          <p:nvPr/>
        </p:nvSpPr>
        <p:spPr>
          <a:xfrm>
            <a:off x="981803" y="2567013"/>
            <a:ext cx="2596579" cy="646331"/>
          </a:xfrm>
          <a:prstGeom prst="rect">
            <a:avLst/>
          </a:prstGeom>
        </p:spPr>
        <p:txBody>
          <a:bodyPr wrap="square">
            <a:spAutoFit/>
          </a:bodyPr>
          <a:lstStyle/>
          <a:p>
            <a:pPr algn="r">
              <a:spcBef>
                <a:spcPts val="600"/>
              </a:spcBef>
              <a:buClr>
                <a:srgbClr val="E24848"/>
              </a:buClr>
              <a:defRPr/>
            </a:pPr>
            <a:r>
              <a:rPr lang="en-US" sz="1200" noProof="1">
                <a:solidFill>
                  <a:schemeClr val="tx1">
                    <a:lumMod val="85000"/>
                    <a:lumOff val="15000"/>
                  </a:schemeClr>
                </a:solidFill>
                <a:latin typeface="+mj-lt"/>
                <a:ea typeface="Roboto Light" panose="02000000000000000000" pitchFamily="2" charset="0"/>
                <a:cs typeface="Open Sans Light" panose="020B0306030504020204" pitchFamily="34" charset="0"/>
              </a:rPr>
              <a:t>Phasellus feugiat erat a nunc egestas pulvinar. In vitae magna ac nibh pretium malesuada</a:t>
            </a:r>
            <a:endParaRPr lang="en-US" sz="1200" noProof="1">
              <a:solidFill>
                <a:schemeClr val="tx1">
                  <a:lumMod val="85000"/>
                  <a:lumOff val="15000"/>
                </a:schemeClr>
              </a:solidFill>
              <a:latin typeface="+mj-lt"/>
              <a:ea typeface="Roboto Light" panose="02000000000000000000" pitchFamily="2" charset="0"/>
              <a:cs typeface="Open Sans Light" panose="020B0306030504020204" pitchFamily="34" charset="0"/>
            </a:endParaRPr>
          </a:p>
        </p:txBody>
      </p:sp>
      <p:sp>
        <p:nvSpPr>
          <p:cNvPr id="239" name="Rectangle 238"/>
          <p:cNvSpPr/>
          <p:nvPr/>
        </p:nvSpPr>
        <p:spPr>
          <a:xfrm>
            <a:off x="981803" y="4733994"/>
            <a:ext cx="2596579" cy="646331"/>
          </a:xfrm>
          <a:prstGeom prst="rect">
            <a:avLst/>
          </a:prstGeom>
        </p:spPr>
        <p:txBody>
          <a:bodyPr wrap="square">
            <a:spAutoFit/>
          </a:bodyPr>
          <a:lstStyle/>
          <a:p>
            <a:pPr algn="r">
              <a:spcBef>
                <a:spcPts val="600"/>
              </a:spcBef>
              <a:buClr>
                <a:srgbClr val="E24848"/>
              </a:buClr>
              <a:defRPr/>
            </a:pPr>
            <a:r>
              <a:rPr lang="en-US" sz="1200" noProof="1">
                <a:solidFill>
                  <a:schemeClr val="tx1">
                    <a:lumMod val="85000"/>
                    <a:lumOff val="15000"/>
                  </a:schemeClr>
                </a:solidFill>
                <a:latin typeface="+mj-lt"/>
                <a:ea typeface="Roboto Light" panose="02000000000000000000" pitchFamily="2" charset="0"/>
                <a:cs typeface="Open Sans Light" panose="020B0306030504020204" pitchFamily="34" charset="0"/>
              </a:rPr>
              <a:t>Phasellus feugiat erat a nunc egestas pulvinar. In vitae magna ac nibh pretium malesuada</a:t>
            </a:r>
            <a:endParaRPr lang="en-US" sz="1200" noProof="1">
              <a:solidFill>
                <a:schemeClr val="tx1">
                  <a:lumMod val="85000"/>
                  <a:lumOff val="15000"/>
                </a:schemeClr>
              </a:solidFill>
              <a:latin typeface="+mj-lt"/>
              <a:ea typeface="Roboto Light" panose="02000000000000000000" pitchFamily="2" charset="0"/>
              <a:cs typeface="Open Sans Light" panose="020B0306030504020204" pitchFamily="34" charset="0"/>
            </a:endParaRPr>
          </a:p>
        </p:txBody>
      </p:sp>
    </p:spTree>
  </p:cSld>
  <p:clrMapOvr>
    <a:masterClrMapping/>
  </p:clrMapOvr>
  <p:transition spd="slow" advClick="0" advTm="0">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图片 30"/>
          <p:cNvPicPr>
            <a:picLocks noChangeAspect="1"/>
          </p:cNvPicPr>
          <p:nvPr/>
        </p:nvPicPr>
        <p:blipFill rotWithShape="1">
          <a:blip r:embed="rId1" cstate="screen"/>
          <a:srcRect/>
          <a:stretch>
            <a:fillRect/>
          </a:stretch>
        </p:blipFill>
        <p:spPr>
          <a:xfrm>
            <a:off x="6208" y="2200646"/>
            <a:ext cx="12185792" cy="3621355"/>
          </a:xfrm>
          <a:prstGeom prst="rect">
            <a:avLst/>
          </a:prstGeom>
        </p:spPr>
      </p:pic>
      <p:sp>
        <p:nvSpPr>
          <p:cNvPr id="17" name="Rectangle 16"/>
          <p:cNvSpPr/>
          <p:nvPr/>
        </p:nvSpPr>
        <p:spPr>
          <a:xfrm>
            <a:off x="0" y="2336799"/>
            <a:ext cx="4064000" cy="3315503"/>
          </a:xfrm>
          <a:prstGeom prst="rect">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p:cNvGrpSpPr/>
          <p:nvPr/>
        </p:nvGrpSpPr>
        <p:grpSpPr>
          <a:xfrm>
            <a:off x="3919551" y="453836"/>
            <a:ext cx="4352898" cy="907941"/>
            <a:chOff x="5150853" y="453836"/>
            <a:chExt cx="4352898" cy="907941"/>
          </a:xfrm>
        </p:grpSpPr>
        <p:sp>
          <p:nvSpPr>
            <p:cNvPr id="3" name="Title 1"/>
            <p:cNvSpPr txBox="1"/>
            <p:nvPr/>
          </p:nvSpPr>
          <p:spPr>
            <a:xfrm>
              <a:off x="5150853" y="453836"/>
              <a:ext cx="4352898"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3600" b="1" spc="-151" dirty="0">
                  <a:solidFill>
                    <a:schemeClr val="accent1"/>
                  </a:solidFill>
                  <a:latin typeface="Playfair Display" panose="00000500000000000000" pitchFamily="2" charset="0"/>
                  <a:ea typeface="Open Sans" panose="020B0606030504020204" pitchFamily="34" charset="0"/>
                  <a:cs typeface="Lato" panose="020F0502020204030203" pitchFamily="34" charset="0"/>
                </a:rPr>
                <a:t>Content</a:t>
              </a:r>
              <a:r>
                <a:rPr lang="en-US" sz="3600" b="1" spc="-151" dirty="0">
                  <a:solidFill>
                    <a:srgbClr val="FF3300"/>
                  </a:solidFill>
                  <a:latin typeface="Playfair Display" panose="00000500000000000000" pitchFamily="2" charset="0"/>
                  <a:ea typeface="Open Sans" panose="020B0606030504020204" pitchFamily="34" charset="0"/>
                  <a:cs typeface="Lato" panose="020F0502020204030203" pitchFamily="34" charset="0"/>
                </a:rPr>
                <a:t> </a:t>
              </a:r>
              <a:r>
                <a:rPr lang="en-US" sz="3600" spc="-151" dirty="0">
                  <a:solidFill>
                    <a:schemeClr val="tx1">
                      <a:lumMod val="75000"/>
                      <a:lumOff val="25000"/>
                    </a:schemeClr>
                  </a:solidFill>
                  <a:latin typeface="Playfair Display" panose="00000500000000000000" pitchFamily="2" charset="0"/>
                  <a:ea typeface="Open Sans" panose="020B0606030504020204" pitchFamily="34" charset="0"/>
                  <a:cs typeface="Lato" panose="020F0502020204030203" pitchFamily="34" charset="0"/>
                </a:rPr>
                <a:t>Mission </a:t>
              </a:r>
              <a:endParaRPr lang="en-US" sz="3600" spc="-151" dirty="0">
                <a:solidFill>
                  <a:schemeClr val="tx1">
                    <a:lumMod val="75000"/>
                    <a:lumOff val="2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4" name="Rectangle 3"/>
            <p:cNvSpPr/>
            <p:nvPr/>
          </p:nvSpPr>
          <p:spPr>
            <a:xfrm>
              <a:off x="6249297" y="1100167"/>
              <a:ext cx="2156010" cy="261610"/>
            </a:xfrm>
            <a:prstGeom prst="rect">
              <a:avLst/>
            </a:prstGeom>
          </p:spPr>
          <p:txBody>
            <a:bodyPr wrap="square">
              <a:spAutoFit/>
            </a:bodyPr>
            <a:lstStyle/>
            <a:p>
              <a:pPr algn="ctr">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grpSp>
      <p:cxnSp>
        <p:nvCxnSpPr>
          <p:cNvPr id="45" name="Straight Connector 44"/>
          <p:cNvCxnSpPr/>
          <p:nvPr/>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sp>
        <p:nvSpPr>
          <p:cNvPr id="7" name="Content Placeholder 2"/>
          <p:cNvSpPr txBox="1"/>
          <p:nvPr/>
        </p:nvSpPr>
        <p:spPr>
          <a:xfrm>
            <a:off x="313330" y="3028930"/>
            <a:ext cx="743751" cy="760431"/>
          </a:xfrm>
          <a:prstGeom prst="rect">
            <a:avLst/>
          </a:prstGeom>
        </p:spPr>
        <p:txBody>
          <a:bodyPr vert="horz" wrap="square" lIns="91440" tIns="45720" rIns="91440" bIns="45720" rtlCol="0" anchor="ctr">
            <a:noAutofit/>
          </a:bodyPr>
          <a:lstStyle>
            <a:defPPr>
              <a:defRPr lang="en-US"/>
            </a:defPPr>
            <a:lvl1pPr>
              <a:lnSpc>
                <a:spcPct val="90000"/>
              </a:lnSpc>
              <a:spcBef>
                <a:spcPct val="0"/>
              </a:spcBef>
              <a:buNone/>
              <a:defRPr sz="3600" b="1">
                <a:solidFill>
                  <a:schemeClr val="tx1">
                    <a:lumMod val="85000"/>
                    <a:lumOff val="15000"/>
                  </a:schemeClr>
                </a:solidFill>
                <a:latin typeface="Playfair Display" panose="00000500000000000000" pitchFamily="2" charset="0"/>
                <a:ea typeface="Roboto" panose="02000000000000000000" pitchFamily="2" charset="0"/>
                <a:cs typeface="Times New Roman" panose="02020603050405020304" pitchFamily="18" charset="0"/>
              </a:defRPr>
            </a:lvl1pPr>
          </a:lstStyle>
          <a:p>
            <a:r>
              <a:rPr lang="en-US" dirty="0">
                <a:solidFill>
                  <a:schemeClr val="bg1"/>
                </a:solidFill>
              </a:rPr>
              <a:t>01</a:t>
            </a:r>
            <a:endParaRPr lang="en-US" dirty="0">
              <a:solidFill>
                <a:schemeClr val="bg1"/>
              </a:solidFill>
            </a:endParaRPr>
          </a:p>
        </p:txBody>
      </p:sp>
      <p:sp>
        <p:nvSpPr>
          <p:cNvPr id="8" name="Content Placeholder 2"/>
          <p:cNvSpPr txBox="1"/>
          <p:nvPr/>
        </p:nvSpPr>
        <p:spPr>
          <a:xfrm>
            <a:off x="1273350" y="3018725"/>
            <a:ext cx="1916519" cy="760431"/>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id-ID" sz="1800" dirty="0">
                <a:solidFill>
                  <a:schemeClr val="bg1"/>
                </a:solidFill>
                <a:latin typeface="Playfair Display" panose="00000500000000000000" pitchFamily="2" charset="0"/>
                <a:ea typeface="Open Sans Light" panose="020B0306030504020204" pitchFamily="34" charset="0"/>
                <a:cs typeface="Lato" panose="020F0502020204030203" pitchFamily="34" charset="0"/>
              </a:rPr>
              <a:t>BEST SERVICE OF US</a:t>
            </a:r>
            <a:endParaRPr lang="id-ID" sz="1800" dirty="0">
              <a:solidFill>
                <a:schemeClr val="bg1"/>
              </a:solidFill>
              <a:latin typeface="Playfair Display" panose="00000500000000000000" pitchFamily="2" charset="0"/>
              <a:ea typeface="Open Sans Light" panose="020B0306030504020204" pitchFamily="34" charset="0"/>
              <a:cs typeface="Lato" panose="020F0502020204030203" pitchFamily="34" charset="0"/>
            </a:endParaRPr>
          </a:p>
        </p:txBody>
      </p:sp>
      <p:sp>
        <p:nvSpPr>
          <p:cNvPr id="9" name="Rounded Rectangle 8"/>
          <p:cNvSpPr/>
          <p:nvPr/>
        </p:nvSpPr>
        <p:spPr>
          <a:xfrm rot="17100000" flipV="1">
            <a:off x="848515" y="3398978"/>
            <a:ext cx="620169" cy="20331"/>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latin typeface="Neris Light" panose="00000400000000000000" pitchFamily="50" charset="0"/>
            </a:endParaRPr>
          </a:p>
        </p:txBody>
      </p:sp>
      <p:sp>
        <p:nvSpPr>
          <p:cNvPr id="19" name="Rectangle 18"/>
          <p:cNvSpPr/>
          <p:nvPr/>
        </p:nvSpPr>
        <p:spPr>
          <a:xfrm>
            <a:off x="4063276" y="2336799"/>
            <a:ext cx="4064000" cy="3315503"/>
          </a:xfrm>
          <a:prstGeom prst="rect">
            <a:avLst/>
          </a:pr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8128000" y="2336799"/>
            <a:ext cx="4064000" cy="3315503"/>
          </a:xfrm>
          <a:prstGeom prst="rect">
            <a:avLst/>
          </a:prstGeom>
          <a:solidFill>
            <a:schemeClr val="accent3">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1296454" y="3870049"/>
            <a:ext cx="2424645" cy="959980"/>
          </a:xfrm>
          <a:prstGeom prst="rect">
            <a:avLst/>
          </a:prstGeom>
        </p:spPr>
        <p:txBody>
          <a:bodyPr wrap="square" anchor="t">
            <a:noAutofit/>
          </a:bodyPr>
          <a:lstStyle/>
          <a:p>
            <a:pPr>
              <a:spcBef>
                <a:spcPts val="600"/>
              </a:spcBef>
              <a:buClr>
                <a:srgbClr val="E24848"/>
              </a:buClr>
              <a:defRPr/>
            </a:pPr>
            <a:r>
              <a:rPr lang="en-US" sz="1200" noProof="1">
                <a:solidFill>
                  <a:schemeClr val="bg1"/>
                </a:solidFill>
                <a:latin typeface="+mj-lt"/>
                <a:ea typeface="Open Sans Light" panose="020B0306030504020204" pitchFamily="34" charset="0"/>
                <a:cs typeface="Open Sans Light" panose="020B0306030504020204" pitchFamily="34" charset="0"/>
              </a:rPr>
              <a:t>Behavior we improving at something to. Evil true high lady roof men had open. To projection considered it precaution an melancholy or. </a:t>
            </a:r>
            <a:endParaRPr lang="en-US" sz="1200" noProof="1">
              <a:solidFill>
                <a:schemeClr val="bg1"/>
              </a:solidFill>
              <a:latin typeface="+mj-lt"/>
              <a:ea typeface="Open Sans Light" panose="020B0306030504020204" pitchFamily="34" charset="0"/>
              <a:cs typeface="Open Sans Light" panose="020B0306030504020204" pitchFamily="34" charset="0"/>
            </a:endParaRPr>
          </a:p>
        </p:txBody>
      </p:sp>
      <p:sp>
        <p:nvSpPr>
          <p:cNvPr id="22" name="Content Placeholder 2"/>
          <p:cNvSpPr txBox="1"/>
          <p:nvPr/>
        </p:nvSpPr>
        <p:spPr>
          <a:xfrm>
            <a:off x="4463219" y="3028930"/>
            <a:ext cx="743751" cy="760431"/>
          </a:xfrm>
          <a:prstGeom prst="rect">
            <a:avLst/>
          </a:prstGeom>
        </p:spPr>
        <p:txBody>
          <a:bodyPr vert="horz" wrap="square" lIns="91440" tIns="45720" rIns="91440" bIns="45720" rtlCol="0" anchor="ctr">
            <a:noAutofit/>
          </a:bodyPr>
          <a:lstStyle>
            <a:defPPr>
              <a:defRPr lang="en-US"/>
            </a:defPPr>
            <a:lvl1pPr>
              <a:lnSpc>
                <a:spcPct val="90000"/>
              </a:lnSpc>
              <a:spcBef>
                <a:spcPct val="0"/>
              </a:spcBef>
              <a:buNone/>
              <a:defRPr sz="3600" b="1">
                <a:solidFill>
                  <a:schemeClr val="tx1">
                    <a:lumMod val="85000"/>
                    <a:lumOff val="15000"/>
                  </a:schemeClr>
                </a:solidFill>
                <a:latin typeface="Playfair Display" panose="00000500000000000000" pitchFamily="2" charset="0"/>
                <a:ea typeface="Roboto" panose="02000000000000000000" pitchFamily="2" charset="0"/>
                <a:cs typeface="Times New Roman" panose="02020603050405020304" pitchFamily="18" charset="0"/>
              </a:defRPr>
            </a:lvl1pPr>
          </a:lstStyle>
          <a:p>
            <a:r>
              <a:rPr lang="en-US" dirty="0">
                <a:solidFill>
                  <a:schemeClr val="bg1"/>
                </a:solidFill>
              </a:rPr>
              <a:t>02</a:t>
            </a:r>
            <a:endParaRPr lang="en-US" dirty="0">
              <a:solidFill>
                <a:schemeClr val="bg1"/>
              </a:solidFill>
            </a:endParaRPr>
          </a:p>
        </p:txBody>
      </p:sp>
      <p:sp>
        <p:nvSpPr>
          <p:cNvPr id="23" name="Content Placeholder 2"/>
          <p:cNvSpPr txBox="1"/>
          <p:nvPr/>
        </p:nvSpPr>
        <p:spPr>
          <a:xfrm>
            <a:off x="5423239" y="3018725"/>
            <a:ext cx="1485561" cy="760431"/>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id-ID" sz="1800" dirty="0">
                <a:solidFill>
                  <a:schemeClr val="bg1"/>
                </a:solidFill>
                <a:latin typeface="Playfair Display" panose="00000500000000000000" pitchFamily="2" charset="0"/>
                <a:ea typeface="Open Sans Light" panose="020B0306030504020204" pitchFamily="34" charset="0"/>
                <a:cs typeface="Lato" panose="020F0502020204030203" pitchFamily="34" charset="0"/>
              </a:rPr>
              <a:t>SOCIAL NETWORK</a:t>
            </a:r>
            <a:endParaRPr lang="id-ID" sz="1800" dirty="0">
              <a:solidFill>
                <a:schemeClr val="bg1"/>
              </a:solidFill>
              <a:latin typeface="Playfair Display" panose="00000500000000000000" pitchFamily="2" charset="0"/>
              <a:ea typeface="Open Sans Light" panose="020B0306030504020204" pitchFamily="34" charset="0"/>
              <a:cs typeface="Lato" panose="020F0502020204030203" pitchFamily="34" charset="0"/>
            </a:endParaRPr>
          </a:p>
        </p:txBody>
      </p:sp>
      <p:sp>
        <p:nvSpPr>
          <p:cNvPr id="24" name="Rounded Rectangle 23"/>
          <p:cNvSpPr/>
          <p:nvPr/>
        </p:nvSpPr>
        <p:spPr>
          <a:xfrm rot="17100000" flipV="1">
            <a:off x="4998404" y="3398978"/>
            <a:ext cx="620169" cy="20331"/>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latin typeface="Neris Light" panose="00000400000000000000" pitchFamily="50" charset="0"/>
            </a:endParaRPr>
          </a:p>
        </p:txBody>
      </p:sp>
      <p:sp>
        <p:nvSpPr>
          <p:cNvPr id="25" name="Rectangle 24"/>
          <p:cNvSpPr/>
          <p:nvPr/>
        </p:nvSpPr>
        <p:spPr>
          <a:xfrm>
            <a:off x="5446343" y="3870049"/>
            <a:ext cx="2424645" cy="959980"/>
          </a:xfrm>
          <a:prstGeom prst="rect">
            <a:avLst/>
          </a:prstGeom>
        </p:spPr>
        <p:txBody>
          <a:bodyPr wrap="square" anchor="t">
            <a:noAutofit/>
          </a:bodyPr>
          <a:lstStyle/>
          <a:p>
            <a:pPr>
              <a:spcBef>
                <a:spcPts val="600"/>
              </a:spcBef>
              <a:buClr>
                <a:srgbClr val="E24848"/>
              </a:buClr>
              <a:defRPr/>
            </a:pPr>
            <a:r>
              <a:rPr lang="en-US" sz="1200" noProof="1">
                <a:solidFill>
                  <a:schemeClr val="bg1"/>
                </a:solidFill>
                <a:latin typeface="+mj-lt"/>
                <a:ea typeface="Open Sans Light" panose="020B0306030504020204" pitchFamily="34" charset="0"/>
                <a:cs typeface="Open Sans Light" panose="020B0306030504020204" pitchFamily="34" charset="0"/>
              </a:rPr>
              <a:t>Behavior we improving at something to. Evil true high lady roof men had open. To projection considered it precaution an melancholy or. </a:t>
            </a:r>
            <a:endParaRPr lang="en-US" sz="1200" noProof="1">
              <a:solidFill>
                <a:schemeClr val="bg1"/>
              </a:solidFill>
              <a:latin typeface="+mj-lt"/>
              <a:ea typeface="Open Sans Light" panose="020B0306030504020204" pitchFamily="34" charset="0"/>
              <a:cs typeface="Open Sans Light" panose="020B0306030504020204" pitchFamily="34" charset="0"/>
            </a:endParaRPr>
          </a:p>
        </p:txBody>
      </p:sp>
      <p:sp>
        <p:nvSpPr>
          <p:cNvPr id="26" name="Content Placeholder 2"/>
          <p:cNvSpPr txBox="1"/>
          <p:nvPr/>
        </p:nvSpPr>
        <p:spPr>
          <a:xfrm>
            <a:off x="8365239" y="3028930"/>
            <a:ext cx="743751" cy="760431"/>
          </a:xfrm>
          <a:prstGeom prst="rect">
            <a:avLst/>
          </a:prstGeom>
        </p:spPr>
        <p:txBody>
          <a:bodyPr vert="horz" wrap="square" lIns="91440" tIns="45720" rIns="91440" bIns="45720" rtlCol="0" anchor="ctr">
            <a:noAutofit/>
          </a:bodyPr>
          <a:lstStyle>
            <a:defPPr>
              <a:defRPr lang="en-US"/>
            </a:defPPr>
            <a:lvl1pPr>
              <a:lnSpc>
                <a:spcPct val="90000"/>
              </a:lnSpc>
              <a:spcBef>
                <a:spcPct val="0"/>
              </a:spcBef>
              <a:buNone/>
              <a:defRPr sz="3600" b="1">
                <a:solidFill>
                  <a:schemeClr val="tx1">
                    <a:lumMod val="85000"/>
                    <a:lumOff val="15000"/>
                  </a:schemeClr>
                </a:solidFill>
                <a:latin typeface="Playfair Display" panose="00000500000000000000" pitchFamily="2" charset="0"/>
                <a:ea typeface="Roboto" panose="02000000000000000000" pitchFamily="2" charset="0"/>
                <a:cs typeface="Times New Roman" panose="02020603050405020304" pitchFamily="18" charset="0"/>
              </a:defRPr>
            </a:lvl1pPr>
          </a:lstStyle>
          <a:p>
            <a:r>
              <a:rPr lang="en-US" dirty="0">
                <a:solidFill>
                  <a:schemeClr val="bg1"/>
                </a:solidFill>
              </a:rPr>
              <a:t>03</a:t>
            </a:r>
            <a:endParaRPr lang="en-US" dirty="0">
              <a:solidFill>
                <a:schemeClr val="bg1"/>
              </a:solidFill>
            </a:endParaRPr>
          </a:p>
        </p:txBody>
      </p:sp>
      <p:sp>
        <p:nvSpPr>
          <p:cNvPr id="27" name="Content Placeholder 2"/>
          <p:cNvSpPr txBox="1"/>
          <p:nvPr/>
        </p:nvSpPr>
        <p:spPr>
          <a:xfrm>
            <a:off x="9325259" y="3018725"/>
            <a:ext cx="1916519" cy="760431"/>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id-ID" sz="1800" dirty="0">
                <a:solidFill>
                  <a:schemeClr val="bg1"/>
                </a:solidFill>
                <a:latin typeface="Playfair Display" panose="00000500000000000000" pitchFamily="2" charset="0"/>
                <a:ea typeface="Open Sans Light" panose="020B0306030504020204" pitchFamily="34" charset="0"/>
                <a:cs typeface="Lato" panose="020F0502020204030203" pitchFamily="34" charset="0"/>
              </a:rPr>
              <a:t>BEST SERVICE ADVERTISING</a:t>
            </a:r>
            <a:endParaRPr lang="id-ID" sz="1800" dirty="0">
              <a:solidFill>
                <a:schemeClr val="bg1"/>
              </a:solidFill>
              <a:latin typeface="Playfair Display" panose="00000500000000000000" pitchFamily="2" charset="0"/>
              <a:ea typeface="Open Sans Light" panose="020B0306030504020204" pitchFamily="34" charset="0"/>
              <a:cs typeface="Lato" panose="020F0502020204030203" pitchFamily="34" charset="0"/>
            </a:endParaRPr>
          </a:p>
        </p:txBody>
      </p:sp>
      <p:sp>
        <p:nvSpPr>
          <p:cNvPr id="28" name="Rounded Rectangle 27"/>
          <p:cNvSpPr/>
          <p:nvPr/>
        </p:nvSpPr>
        <p:spPr>
          <a:xfrm rot="17100000" flipV="1">
            <a:off x="8900424" y="3398978"/>
            <a:ext cx="620169" cy="20331"/>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latin typeface="Neris Light" panose="00000400000000000000" pitchFamily="50" charset="0"/>
            </a:endParaRPr>
          </a:p>
        </p:txBody>
      </p:sp>
      <p:sp>
        <p:nvSpPr>
          <p:cNvPr id="29" name="Rectangle 28"/>
          <p:cNvSpPr/>
          <p:nvPr/>
        </p:nvSpPr>
        <p:spPr>
          <a:xfrm>
            <a:off x="9348363" y="3870049"/>
            <a:ext cx="2424645" cy="959980"/>
          </a:xfrm>
          <a:prstGeom prst="rect">
            <a:avLst/>
          </a:prstGeom>
        </p:spPr>
        <p:txBody>
          <a:bodyPr wrap="square" anchor="t">
            <a:noAutofit/>
          </a:bodyPr>
          <a:lstStyle/>
          <a:p>
            <a:pPr>
              <a:spcBef>
                <a:spcPts val="600"/>
              </a:spcBef>
              <a:buClr>
                <a:srgbClr val="E24848"/>
              </a:buClr>
              <a:defRPr/>
            </a:pPr>
            <a:r>
              <a:rPr lang="en-US" sz="1200" noProof="1">
                <a:solidFill>
                  <a:schemeClr val="bg1"/>
                </a:solidFill>
                <a:latin typeface="+mj-lt"/>
                <a:ea typeface="Open Sans Light" panose="020B0306030504020204" pitchFamily="34" charset="0"/>
                <a:cs typeface="Open Sans Light" panose="020B0306030504020204" pitchFamily="34" charset="0"/>
              </a:rPr>
              <a:t>Behavior we improving at something to. Evil true high lady roof men had open. To projection considered it precaution an melancholy or. </a:t>
            </a:r>
            <a:endParaRPr lang="en-US" sz="1200" noProof="1">
              <a:solidFill>
                <a:schemeClr val="bg1"/>
              </a:solidFill>
              <a:latin typeface="+mj-lt"/>
              <a:ea typeface="Open Sans Light" panose="020B0306030504020204" pitchFamily="34" charset="0"/>
              <a:cs typeface="Open Sans Light" panose="020B0306030504020204" pitchFamily="34" charset="0"/>
            </a:endParaRPr>
          </a:p>
        </p:txBody>
      </p:sp>
    </p:spTree>
  </p:cSld>
  <p:clrMapOvr>
    <a:masterClrMapping/>
  </p:clrMapOvr>
  <p:transition spd="slow" advClick="0" advTm="0">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p:nvPr/>
        </p:nvSpPr>
        <p:spPr>
          <a:xfrm>
            <a:off x="3919551" y="644336"/>
            <a:ext cx="4352898"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3600" b="1"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Our Analysis </a:t>
            </a:r>
            <a:r>
              <a:rPr lang="en-US" sz="3600" spc="-151" dirty="0">
                <a:solidFill>
                  <a:schemeClr val="accent1"/>
                </a:solidFill>
                <a:latin typeface="Playfair Display" panose="00000500000000000000" pitchFamily="2" charset="0"/>
                <a:ea typeface="Open Sans" panose="020B0606030504020204" pitchFamily="34" charset="0"/>
                <a:cs typeface="Lato" panose="020F0502020204030203" pitchFamily="34" charset="0"/>
              </a:rPr>
              <a:t>SWOT</a:t>
            </a:r>
            <a:endParaRPr lang="en-US" sz="3600" spc="-151" dirty="0">
              <a:solidFill>
                <a:schemeClr val="accent1"/>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4" name="Rectangle 3"/>
          <p:cNvSpPr/>
          <p:nvPr/>
        </p:nvSpPr>
        <p:spPr>
          <a:xfrm>
            <a:off x="5017995" y="1290667"/>
            <a:ext cx="2156010" cy="261610"/>
          </a:xfrm>
          <a:prstGeom prst="rect">
            <a:avLst/>
          </a:prstGeom>
        </p:spPr>
        <p:txBody>
          <a:bodyPr wrap="square">
            <a:spAutoFit/>
          </a:bodyPr>
          <a:lstStyle/>
          <a:p>
            <a:pPr algn="ctr">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sp>
        <p:nvSpPr>
          <p:cNvPr id="99" name="Oval 98"/>
          <p:cNvSpPr/>
          <p:nvPr/>
        </p:nvSpPr>
        <p:spPr bwMode="auto">
          <a:xfrm>
            <a:off x="4034026" y="1936998"/>
            <a:ext cx="3925340" cy="3925342"/>
          </a:xfrm>
          <a:prstGeom prst="ellipse">
            <a:avLst/>
          </a:prstGeom>
          <a:solidFill>
            <a:schemeClr val="bg1">
              <a:lumMod val="95000"/>
            </a:schemeClr>
          </a:solidFill>
          <a:ln w="9525" cap="flat" cmpd="sng" algn="ctr">
            <a:noFill/>
            <a:prstDash val="solid"/>
            <a:miter/>
            <a:headEnd type="none" w="med" len="med"/>
            <a:tailEnd type="none" w="med" len="med"/>
          </a:ln>
          <a:effectLst/>
        </p:spPr>
        <p:txBody>
          <a:bodyPr vert="horz" wrap="square" lIns="91440" tIns="45720" rIns="91440" bIns="45720" numCol="1" rtlCol="0" anchor="t" anchorCtr="0" compatLnSpc="1"/>
          <a:lstStyle/>
          <a:p>
            <a:pPr algn="ctr" fontAlgn="base">
              <a:spcBef>
                <a:spcPct val="0"/>
              </a:spcBef>
              <a:spcAft>
                <a:spcPct val="0"/>
              </a:spcAft>
            </a:pPr>
            <a:endParaRPr lang="id-ID" sz="1400">
              <a:latin typeface="Roboto Light" panose="02000000000000000000" pitchFamily="2" charset="0"/>
              <a:ea typeface="Roboto Light" panose="02000000000000000000" pitchFamily="2" charset="0"/>
            </a:endParaRPr>
          </a:p>
        </p:txBody>
      </p:sp>
      <p:sp>
        <p:nvSpPr>
          <p:cNvPr id="100" name="Oval 99"/>
          <p:cNvSpPr>
            <a:spLocks noChangeArrowheads="1"/>
          </p:cNvSpPr>
          <p:nvPr/>
        </p:nvSpPr>
        <p:spPr bwMode="auto">
          <a:xfrm>
            <a:off x="4223632" y="2126604"/>
            <a:ext cx="3546129" cy="3546130"/>
          </a:xfrm>
          <a:prstGeom prst="ellipse">
            <a:avLst/>
          </a:prstGeom>
          <a:noFill/>
          <a:ln w="95250" cap="rnd" cmpd="sng" algn="ctr">
            <a:solidFill>
              <a:schemeClr val="bg1">
                <a:lumMod val="85000"/>
              </a:schemeClr>
            </a:solidFill>
            <a:prstDash val="solid"/>
          </a:ln>
          <a:effectLst/>
        </p:spPr>
        <p:txBody>
          <a:bodyPr anchor="ctr"/>
          <a:lstStyle/>
          <a:p>
            <a:pPr indent="-342900" algn="ctr">
              <a:buFont typeface="Calibri" panose="020F0502020204030204" pitchFamily="34" charset="0"/>
              <a:buAutoNum type="arabicPeriod"/>
            </a:pPr>
            <a:endParaRPr lang="nb-NO" sz="1100">
              <a:solidFill>
                <a:srgbClr val="FFFFFF"/>
              </a:solidFill>
              <a:latin typeface="Roboto Light" panose="02000000000000000000" pitchFamily="2" charset="0"/>
              <a:ea typeface="Roboto Light" panose="02000000000000000000" pitchFamily="2" charset="0"/>
            </a:endParaRPr>
          </a:p>
        </p:txBody>
      </p:sp>
      <p:sp>
        <p:nvSpPr>
          <p:cNvPr id="101" name="Ellipse 5"/>
          <p:cNvSpPr>
            <a:spLocks noChangeArrowheads="1"/>
          </p:cNvSpPr>
          <p:nvPr/>
        </p:nvSpPr>
        <p:spPr bwMode="auto">
          <a:xfrm rot="5400000">
            <a:off x="7202420" y="4251122"/>
            <a:ext cx="1193316" cy="1199053"/>
          </a:xfrm>
          <a:prstGeom prst="ellipse">
            <a:avLst/>
          </a:prstGeom>
          <a:solidFill>
            <a:schemeClr val="accent1"/>
          </a:solidFill>
          <a:ln w="57150">
            <a:solidFill>
              <a:schemeClr val="bg1"/>
            </a:solidFill>
            <a:round/>
          </a:ln>
          <a:effectLst/>
        </p:spPr>
        <p:txBody>
          <a:bodyPr anchor="ctr"/>
          <a:lstStyle/>
          <a:p>
            <a:pPr algn="ctr">
              <a:defRPr/>
            </a:pPr>
            <a:endParaRPr lang="en-US" sz="1200">
              <a:solidFill>
                <a:schemeClr val="bg1"/>
              </a:solidFill>
              <a:latin typeface="Roboto Light" panose="02000000000000000000" pitchFamily="2" charset="0"/>
              <a:ea typeface="Roboto Light" panose="02000000000000000000" pitchFamily="2" charset="0"/>
              <a:cs typeface="Arial" panose="020B0604020202020204" pitchFamily="34" charset="0"/>
            </a:endParaRPr>
          </a:p>
        </p:txBody>
      </p:sp>
      <p:sp>
        <p:nvSpPr>
          <p:cNvPr id="104" name="Ellipse 5"/>
          <p:cNvSpPr>
            <a:spLocks noChangeArrowheads="1"/>
          </p:cNvSpPr>
          <p:nvPr/>
        </p:nvSpPr>
        <p:spPr bwMode="auto">
          <a:xfrm rot="5400000">
            <a:off x="6908485" y="2441775"/>
            <a:ext cx="1018756" cy="1023655"/>
          </a:xfrm>
          <a:prstGeom prst="ellipse">
            <a:avLst/>
          </a:prstGeom>
          <a:solidFill>
            <a:schemeClr val="accent2"/>
          </a:solidFill>
          <a:ln w="57150">
            <a:solidFill>
              <a:schemeClr val="bg1"/>
            </a:solidFill>
            <a:round/>
          </a:ln>
          <a:effectLst/>
        </p:spPr>
        <p:txBody>
          <a:bodyPr anchor="ctr"/>
          <a:lstStyle/>
          <a:p>
            <a:pPr algn="ctr"/>
            <a:endParaRPr lang="en-US" sz="1200">
              <a:solidFill>
                <a:schemeClr val="bg1"/>
              </a:solidFill>
              <a:latin typeface="Roboto Light" panose="02000000000000000000" pitchFamily="2" charset="0"/>
              <a:ea typeface="Roboto Light" panose="02000000000000000000" pitchFamily="2" charset="0"/>
              <a:cs typeface="Arial" panose="020B0604020202020204" pitchFamily="34" charset="0"/>
            </a:endParaRPr>
          </a:p>
        </p:txBody>
      </p:sp>
      <p:sp>
        <p:nvSpPr>
          <p:cNvPr id="107" name="Ellipse 5"/>
          <p:cNvSpPr>
            <a:spLocks noChangeArrowheads="1"/>
          </p:cNvSpPr>
          <p:nvPr/>
        </p:nvSpPr>
        <p:spPr bwMode="auto">
          <a:xfrm rot="5400000">
            <a:off x="3708086" y="4329458"/>
            <a:ext cx="1115169" cy="1120529"/>
          </a:xfrm>
          <a:prstGeom prst="ellipse">
            <a:avLst/>
          </a:prstGeom>
          <a:solidFill>
            <a:schemeClr val="accent2"/>
          </a:solidFill>
          <a:ln w="57150">
            <a:solidFill>
              <a:schemeClr val="bg1"/>
            </a:solidFill>
            <a:round/>
          </a:ln>
          <a:effectLst/>
        </p:spPr>
        <p:txBody>
          <a:bodyPr anchor="ctr"/>
          <a:lstStyle/>
          <a:p>
            <a:pPr algn="ctr"/>
            <a:endParaRPr lang="en-US" sz="1200">
              <a:solidFill>
                <a:schemeClr val="bg1"/>
              </a:solidFill>
              <a:latin typeface="Roboto Light" panose="02000000000000000000" pitchFamily="2" charset="0"/>
              <a:ea typeface="Roboto Light" panose="02000000000000000000" pitchFamily="2" charset="0"/>
              <a:cs typeface="Arial" panose="020B0604020202020204" pitchFamily="34" charset="0"/>
            </a:endParaRPr>
          </a:p>
        </p:txBody>
      </p:sp>
      <p:sp>
        <p:nvSpPr>
          <p:cNvPr id="110" name="Ellipse 5"/>
          <p:cNvSpPr>
            <a:spLocks noChangeArrowheads="1"/>
          </p:cNvSpPr>
          <p:nvPr/>
        </p:nvSpPr>
        <p:spPr bwMode="auto">
          <a:xfrm rot="5400000">
            <a:off x="3985205" y="2417529"/>
            <a:ext cx="1115169" cy="1120529"/>
          </a:xfrm>
          <a:prstGeom prst="ellipse">
            <a:avLst/>
          </a:prstGeom>
          <a:solidFill>
            <a:schemeClr val="accent1"/>
          </a:solidFill>
          <a:ln w="57150">
            <a:solidFill>
              <a:schemeClr val="bg1"/>
            </a:solidFill>
            <a:round/>
          </a:ln>
          <a:effectLst/>
        </p:spPr>
        <p:txBody>
          <a:bodyPr anchor="ctr"/>
          <a:lstStyle/>
          <a:p>
            <a:pPr algn="ctr"/>
            <a:endParaRPr lang="en-US" sz="1200">
              <a:solidFill>
                <a:schemeClr val="bg1"/>
              </a:solidFill>
              <a:latin typeface="Roboto Light" panose="02000000000000000000" pitchFamily="2" charset="0"/>
              <a:ea typeface="Roboto Light" panose="02000000000000000000" pitchFamily="2" charset="0"/>
              <a:cs typeface="Arial" panose="020B0604020202020204" pitchFamily="34" charset="0"/>
            </a:endParaRPr>
          </a:p>
        </p:txBody>
      </p:sp>
      <p:sp>
        <p:nvSpPr>
          <p:cNvPr id="140" name="Title 1"/>
          <p:cNvSpPr txBox="1"/>
          <p:nvPr/>
        </p:nvSpPr>
        <p:spPr>
          <a:xfrm>
            <a:off x="4194314" y="2554922"/>
            <a:ext cx="714734" cy="797359"/>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5400" dirty="0">
                <a:solidFill>
                  <a:schemeClr val="bg1"/>
                </a:solidFill>
                <a:latin typeface="Playfair Display" panose="00000500000000000000" pitchFamily="2" charset="0"/>
                <a:ea typeface="Open Sans" panose="020B0606030504020204" pitchFamily="34" charset="0"/>
                <a:cs typeface="Lato" panose="020F0502020204030203" pitchFamily="34" charset="0"/>
              </a:rPr>
              <a:t>S</a:t>
            </a:r>
            <a:endParaRPr lang="en-US" sz="5400" dirty="0">
              <a:solidFill>
                <a:schemeClr val="bg1"/>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141" name="Title 1"/>
          <p:cNvSpPr txBox="1"/>
          <p:nvPr/>
        </p:nvSpPr>
        <p:spPr>
          <a:xfrm>
            <a:off x="7435029" y="4416013"/>
            <a:ext cx="714734" cy="797359"/>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5400" dirty="0">
                <a:solidFill>
                  <a:schemeClr val="bg1"/>
                </a:solidFill>
                <a:latin typeface="Playfair Display" panose="00000500000000000000" pitchFamily="2" charset="0"/>
                <a:ea typeface="Open Sans" panose="020B0606030504020204" pitchFamily="34" charset="0"/>
                <a:cs typeface="Lato" panose="020F0502020204030203" pitchFamily="34" charset="0"/>
              </a:rPr>
              <a:t>O</a:t>
            </a:r>
            <a:endParaRPr lang="en-US" sz="5400" dirty="0">
              <a:solidFill>
                <a:schemeClr val="bg1"/>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142" name="Title 1"/>
          <p:cNvSpPr txBox="1"/>
          <p:nvPr/>
        </p:nvSpPr>
        <p:spPr>
          <a:xfrm>
            <a:off x="3929176" y="4491041"/>
            <a:ext cx="714734" cy="797359"/>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5400" dirty="0">
                <a:solidFill>
                  <a:schemeClr val="bg1"/>
                </a:solidFill>
                <a:latin typeface="Playfair Display" panose="00000500000000000000" pitchFamily="2" charset="0"/>
                <a:ea typeface="Open Sans" panose="020B0606030504020204" pitchFamily="34" charset="0"/>
                <a:cs typeface="Lato" panose="020F0502020204030203" pitchFamily="34" charset="0"/>
              </a:rPr>
              <a:t>T</a:t>
            </a:r>
            <a:endParaRPr lang="en-US" sz="5400" dirty="0">
              <a:solidFill>
                <a:schemeClr val="bg1"/>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143" name="Title 1"/>
          <p:cNvSpPr txBox="1"/>
          <p:nvPr/>
        </p:nvSpPr>
        <p:spPr>
          <a:xfrm>
            <a:off x="7084345" y="2546640"/>
            <a:ext cx="714734" cy="797359"/>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4800" dirty="0">
                <a:solidFill>
                  <a:schemeClr val="bg1"/>
                </a:solidFill>
                <a:latin typeface="Playfair Display" panose="00000500000000000000" pitchFamily="2" charset="0"/>
                <a:ea typeface="Open Sans" panose="020B0606030504020204" pitchFamily="34" charset="0"/>
                <a:cs typeface="Lato" panose="020F0502020204030203" pitchFamily="34" charset="0"/>
              </a:rPr>
              <a:t>W</a:t>
            </a:r>
            <a:endParaRPr lang="en-US" sz="4800" dirty="0">
              <a:solidFill>
                <a:schemeClr val="bg1"/>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144" name="Title 18"/>
          <p:cNvSpPr txBox="1"/>
          <p:nvPr/>
        </p:nvSpPr>
        <p:spPr>
          <a:xfrm>
            <a:off x="2688067" y="2317931"/>
            <a:ext cx="1088493" cy="307777"/>
          </a:xfrm>
          <a:prstGeom prst="rect">
            <a:avLst/>
          </a:prstGeom>
        </p:spPr>
        <p:txBody>
          <a:bodyPr wrap="square" anchor="t">
            <a:spAutoFit/>
          </a:bodyPr>
          <a:lstStyle>
            <a:defPPr>
              <a:defRPr lang="en-US"/>
            </a:defPPr>
            <a:lvl1pPr algn="r">
              <a:buClr>
                <a:srgbClr val="E24848"/>
              </a:buClr>
              <a:defRPr sz="140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ctr"/>
            <a:r>
              <a:rPr lang="id-ID"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Strengths</a:t>
            </a:r>
            <a:endParaRPr lang="id-ID"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145" name="Rectangle 144"/>
          <p:cNvSpPr/>
          <p:nvPr/>
        </p:nvSpPr>
        <p:spPr>
          <a:xfrm>
            <a:off x="1482265" y="2625708"/>
            <a:ext cx="2294295" cy="600164"/>
          </a:xfrm>
          <a:prstGeom prst="rect">
            <a:avLst/>
          </a:prstGeom>
        </p:spPr>
        <p:txBody>
          <a:bodyPr wrap="square">
            <a:spAutoFit/>
          </a:bodyPr>
          <a:lstStyle/>
          <a:p>
            <a:pPr algn="r">
              <a:buClr>
                <a:srgbClr val="E24848"/>
              </a:buClr>
              <a:defRPr/>
            </a:pPr>
            <a:r>
              <a:rPr lang="en-US" sz="11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endParaRPr lang="en-US" sz="1100"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sp>
        <p:nvSpPr>
          <p:cNvPr id="146" name="Title 18"/>
          <p:cNvSpPr txBox="1"/>
          <p:nvPr/>
        </p:nvSpPr>
        <p:spPr>
          <a:xfrm>
            <a:off x="8216832" y="2514391"/>
            <a:ext cx="1088493" cy="307777"/>
          </a:xfrm>
          <a:prstGeom prst="rect">
            <a:avLst/>
          </a:prstGeom>
        </p:spPr>
        <p:txBody>
          <a:bodyPr wrap="square" anchor="t">
            <a:spAutoFit/>
          </a:bodyPr>
          <a:lstStyle>
            <a:defPPr>
              <a:defRPr lang="en-US"/>
            </a:defPPr>
            <a:lvl1pPr algn="r">
              <a:buClr>
                <a:srgbClr val="E24848"/>
              </a:buClr>
              <a:defRPr sz="140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ctr"/>
            <a:r>
              <a:rPr lang="id-ID"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Weakness </a:t>
            </a:r>
            <a:endParaRPr lang="id-ID"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147" name="Title 18"/>
          <p:cNvSpPr txBox="1"/>
          <p:nvPr/>
        </p:nvSpPr>
        <p:spPr>
          <a:xfrm>
            <a:off x="8640990" y="4429917"/>
            <a:ext cx="1552620" cy="307777"/>
          </a:xfrm>
          <a:prstGeom prst="rect">
            <a:avLst/>
          </a:prstGeom>
        </p:spPr>
        <p:txBody>
          <a:bodyPr wrap="square" anchor="t">
            <a:spAutoFit/>
          </a:bodyPr>
          <a:lstStyle>
            <a:defPPr>
              <a:defRPr lang="en-US"/>
            </a:defPPr>
            <a:lvl1pPr algn="r">
              <a:buClr>
                <a:srgbClr val="E24848"/>
              </a:buClr>
              <a:defRPr sz="140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id-ID"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Opportunities</a:t>
            </a:r>
            <a:endParaRPr lang="id-ID"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148" name="Title 18"/>
          <p:cNvSpPr txBox="1"/>
          <p:nvPr/>
        </p:nvSpPr>
        <p:spPr>
          <a:xfrm>
            <a:off x="2525688" y="4429917"/>
            <a:ext cx="1088493" cy="307777"/>
          </a:xfrm>
          <a:prstGeom prst="rect">
            <a:avLst/>
          </a:prstGeom>
        </p:spPr>
        <p:txBody>
          <a:bodyPr wrap="square" anchor="t">
            <a:spAutoFit/>
          </a:bodyPr>
          <a:lstStyle>
            <a:defPPr>
              <a:defRPr lang="en-US"/>
            </a:defPPr>
            <a:lvl1pPr algn="r">
              <a:buClr>
                <a:srgbClr val="E24848"/>
              </a:buClr>
              <a:defRPr sz="140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ctr"/>
            <a:r>
              <a:rPr lang="id-ID"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Threats</a:t>
            </a:r>
            <a:endParaRPr lang="id-ID"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150" name="Rectangle 149"/>
          <p:cNvSpPr/>
          <p:nvPr/>
        </p:nvSpPr>
        <p:spPr>
          <a:xfrm>
            <a:off x="1246801" y="4723790"/>
            <a:ext cx="2294295" cy="600164"/>
          </a:xfrm>
          <a:prstGeom prst="rect">
            <a:avLst/>
          </a:prstGeom>
        </p:spPr>
        <p:txBody>
          <a:bodyPr wrap="square">
            <a:spAutoFit/>
          </a:bodyPr>
          <a:lstStyle/>
          <a:p>
            <a:pPr algn="r">
              <a:buClr>
                <a:srgbClr val="E24848"/>
              </a:buClr>
              <a:defRPr/>
            </a:pPr>
            <a:r>
              <a:rPr lang="en-US" sz="11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endParaRPr lang="en-US" sz="1100"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sp>
        <p:nvSpPr>
          <p:cNvPr id="152" name="Rectangle 151"/>
          <p:cNvSpPr/>
          <p:nvPr/>
        </p:nvSpPr>
        <p:spPr>
          <a:xfrm>
            <a:off x="8272449" y="2804351"/>
            <a:ext cx="2294295" cy="600164"/>
          </a:xfrm>
          <a:prstGeom prst="rect">
            <a:avLst/>
          </a:prstGeom>
        </p:spPr>
        <p:txBody>
          <a:bodyPr wrap="square">
            <a:spAutoFit/>
          </a:bodyPr>
          <a:lstStyle/>
          <a:p>
            <a:pPr>
              <a:buClr>
                <a:srgbClr val="E24848"/>
              </a:buClr>
              <a:defRPr/>
            </a:pPr>
            <a:r>
              <a:rPr lang="en-US" sz="11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endParaRPr lang="en-US" sz="1100"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sp>
        <p:nvSpPr>
          <p:cNvPr id="153" name="Rectangle 152"/>
          <p:cNvSpPr/>
          <p:nvPr/>
        </p:nvSpPr>
        <p:spPr>
          <a:xfrm>
            <a:off x="8640990" y="4714132"/>
            <a:ext cx="2294295" cy="600164"/>
          </a:xfrm>
          <a:prstGeom prst="rect">
            <a:avLst/>
          </a:prstGeom>
        </p:spPr>
        <p:txBody>
          <a:bodyPr wrap="square">
            <a:spAutoFit/>
          </a:bodyPr>
          <a:lstStyle/>
          <a:p>
            <a:pPr>
              <a:buClr>
                <a:srgbClr val="E24848"/>
              </a:buClr>
              <a:defRPr/>
            </a:pPr>
            <a:r>
              <a:rPr lang="en-US" sz="11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endParaRPr lang="en-US" sz="1100"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sp>
        <p:nvSpPr>
          <p:cNvPr id="154" name="Title 1"/>
          <p:cNvSpPr txBox="1"/>
          <p:nvPr/>
        </p:nvSpPr>
        <p:spPr>
          <a:xfrm>
            <a:off x="4988545" y="3970207"/>
            <a:ext cx="2032000"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3600" b="1"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SWOT</a:t>
            </a:r>
            <a:endParaRPr lang="en-US" sz="3600" b="1"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grpSp>
        <p:nvGrpSpPr>
          <p:cNvPr id="156" name="Group 155"/>
          <p:cNvGrpSpPr/>
          <p:nvPr/>
        </p:nvGrpSpPr>
        <p:grpSpPr>
          <a:xfrm>
            <a:off x="5659750" y="3044345"/>
            <a:ext cx="934638" cy="934632"/>
            <a:chOff x="5465763" y="2516188"/>
            <a:chExt cx="287337" cy="287337"/>
          </a:xfrm>
          <a:solidFill>
            <a:schemeClr val="accent1"/>
          </a:solidFill>
        </p:grpSpPr>
        <p:sp>
          <p:nvSpPr>
            <p:cNvPr id="157" name="Freeform 1139"/>
            <p:cNvSpPr>
              <a:spLocks noEditPoints="1"/>
            </p:cNvSpPr>
            <p:nvPr/>
          </p:nvSpPr>
          <p:spPr bwMode="auto">
            <a:xfrm>
              <a:off x="5465763" y="2516188"/>
              <a:ext cx="201613" cy="258763"/>
            </a:xfrm>
            <a:custGeom>
              <a:avLst/>
              <a:gdLst>
                <a:gd name="T0" fmla="*/ 350 w 506"/>
                <a:gd name="T1" fmla="*/ 12 h 651"/>
                <a:gd name="T2" fmla="*/ 495 w 506"/>
                <a:gd name="T3" fmla="*/ 157 h 651"/>
                <a:gd name="T4" fmla="*/ 350 w 506"/>
                <a:gd name="T5" fmla="*/ 157 h 651"/>
                <a:gd name="T6" fmla="*/ 350 w 506"/>
                <a:gd name="T7" fmla="*/ 12 h 651"/>
                <a:gd name="T8" fmla="*/ 506 w 506"/>
                <a:gd name="T9" fmla="*/ 341 h 651"/>
                <a:gd name="T10" fmla="*/ 506 w 506"/>
                <a:gd name="T11" fmla="*/ 157 h 651"/>
                <a:gd name="T12" fmla="*/ 505 w 506"/>
                <a:gd name="T13" fmla="*/ 153 h 651"/>
                <a:gd name="T14" fmla="*/ 503 w 506"/>
                <a:gd name="T15" fmla="*/ 148 h 651"/>
                <a:gd name="T16" fmla="*/ 358 w 506"/>
                <a:gd name="T17" fmla="*/ 4 h 651"/>
                <a:gd name="T18" fmla="*/ 354 w 506"/>
                <a:gd name="T19" fmla="*/ 1 h 651"/>
                <a:gd name="T20" fmla="*/ 350 w 506"/>
                <a:gd name="T21" fmla="*/ 0 h 651"/>
                <a:gd name="T22" fmla="*/ 12 w 506"/>
                <a:gd name="T23" fmla="*/ 0 h 651"/>
                <a:gd name="T24" fmla="*/ 8 w 506"/>
                <a:gd name="T25" fmla="*/ 1 h 651"/>
                <a:gd name="T26" fmla="*/ 4 w 506"/>
                <a:gd name="T27" fmla="*/ 4 h 651"/>
                <a:gd name="T28" fmla="*/ 1 w 506"/>
                <a:gd name="T29" fmla="*/ 8 h 651"/>
                <a:gd name="T30" fmla="*/ 0 w 506"/>
                <a:gd name="T31" fmla="*/ 12 h 651"/>
                <a:gd name="T32" fmla="*/ 0 w 506"/>
                <a:gd name="T33" fmla="*/ 638 h 651"/>
                <a:gd name="T34" fmla="*/ 1 w 506"/>
                <a:gd name="T35" fmla="*/ 644 h 651"/>
                <a:gd name="T36" fmla="*/ 4 w 506"/>
                <a:gd name="T37" fmla="*/ 648 h 651"/>
                <a:gd name="T38" fmla="*/ 8 w 506"/>
                <a:gd name="T39" fmla="*/ 650 h 651"/>
                <a:gd name="T40" fmla="*/ 12 w 506"/>
                <a:gd name="T41" fmla="*/ 651 h 651"/>
                <a:gd name="T42" fmla="*/ 369 w 506"/>
                <a:gd name="T43" fmla="*/ 651 h 651"/>
                <a:gd name="T44" fmla="*/ 362 w 506"/>
                <a:gd name="T45" fmla="*/ 638 h 651"/>
                <a:gd name="T46" fmla="*/ 356 w 506"/>
                <a:gd name="T47" fmla="*/ 626 h 651"/>
                <a:gd name="T48" fmla="*/ 351 w 506"/>
                <a:gd name="T49" fmla="*/ 613 h 651"/>
                <a:gd name="T50" fmla="*/ 346 w 506"/>
                <a:gd name="T51" fmla="*/ 600 h 651"/>
                <a:gd name="T52" fmla="*/ 343 w 506"/>
                <a:gd name="T53" fmla="*/ 585 h 651"/>
                <a:gd name="T54" fmla="*/ 340 w 506"/>
                <a:gd name="T55" fmla="*/ 571 h 651"/>
                <a:gd name="T56" fmla="*/ 339 w 506"/>
                <a:gd name="T57" fmla="*/ 557 h 651"/>
                <a:gd name="T58" fmla="*/ 338 w 506"/>
                <a:gd name="T59" fmla="*/ 543 h 651"/>
                <a:gd name="T60" fmla="*/ 339 w 506"/>
                <a:gd name="T61" fmla="*/ 523 h 651"/>
                <a:gd name="T62" fmla="*/ 341 w 506"/>
                <a:gd name="T63" fmla="*/ 506 h 651"/>
                <a:gd name="T64" fmla="*/ 345 w 506"/>
                <a:gd name="T65" fmla="*/ 488 h 651"/>
                <a:gd name="T66" fmla="*/ 351 w 506"/>
                <a:gd name="T67" fmla="*/ 471 h 651"/>
                <a:gd name="T68" fmla="*/ 357 w 506"/>
                <a:gd name="T69" fmla="*/ 455 h 651"/>
                <a:gd name="T70" fmla="*/ 366 w 506"/>
                <a:gd name="T71" fmla="*/ 439 h 651"/>
                <a:gd name="T72" fmla="*/ 375 w 506"/>
                <a:gd name="T73" fmla="*/ 424 h 651"/>
                <a:gd name="T74" fmla="*/ 387 w 506"/>
                <a:gd name="T75" fmla="*/ 410 h 651"/>
                <a:gd name="T76" fmla="*/ 398 w 506"/>
                <a:gd name="T77" fmla="*/ 398 h 651"/>
                <a:gd name="T78" fmla="*/ 411 w 506"/>
                <a:gd name="T79" fmla="*/ 386 h 651"/>
                <a:gd name="T80" fmla="*/ 424 w 506"/>
                <a:gd name="T81" fmla="*/ 375 h 651"/>
                <a:gd name="T82" fmla="*/ 440 w 506"/>
                <a:gd name="T83" fmla="*/ 365 h 651"/>
                <a:gd name="T84" fmla="*/ 455 w 506"/>
                <a:gd name="T85" fmla="*/ 357 h 651"/>
                <a:gd name="T86" fmla="*/ 471 w 506"/>
                <a:gd name="T87" fmla="*/ 351 h 651"/>
                <a:gd name="T88" fmla="*/ 488 w 506"/>
                <a:gd name="T89" fmla="*/ 345 h 651"/>
                <a:gd name="T90" fmla="*/ 506 w 506"/>
                <a:gd name="T91" fmla="*/ 341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6" h="651">
                  <a:moveTo>
                    <a:pt x="350" y="12"/>
                  </a:moveTo>
                  <a:lnTo>
                    <a:pt x="495" y="157"/>
                  </a:lnTo>
                  <a:lnTo>
                    <a:pt x="350" y="157"/>
                  </a:lnTo>
                  <a:lnTo>
                    <a:pt x="350" y="12"/>
                  </a:lnTo>
                  <a:close/>
                  <a:moveTo>
                    <a:pt x="506" y="341"/>
                  </a:moveTo>
                  <a:lnTo>
                    <a:pt x="506" y="157"/>
                  </a:lnTo>
                  <a:lnTo>
                    <a:pt x="505" y="153"/>
                  </a:lnTo>
                  <a:lnTo>
                    <a:pt x="503" y="148"/>
                  </a:lnTo>
                  <a:lnTo>
                    <a:pt x="358" y="4"/>
                  </a:lnTo>
                  <a:lnTo>
                    <a:pt x="354" y="1"/>
                  </a:lnTo>
                  <a:lnTo>
                    <a:pt x="350" y="0"/>
                  </a:lnTo>
                  <a:lnTo>
                    <a:pt x="12" y="0"/>
                  </a:lnTo>
                  <a:lnTo>
                    <a:pt x="8" y="1"/>
                  </a:lnTo>
                  <a:lnTo>
                    <a:pt x="4" y="4"/>
                  </a:lnTo>
                  <a:lnTo>
                    <a:pt x="1" y="8"/>
                  </a:lnTo>
                  <a:lnTo>
                    <a:pt x="0" y="12"/>
                  </a:lnTo>
                  <a:lnTo>
                    <a:pt x="0" y="638"/>
                  </a:lnTo>
                  <a:lnTo>
                    <a:pt x="1" y="644"/>
                  </a:lnTo>
                  <a:lnTo>
                    <a:pt x="4" y="648"/>
                  </a:lnTo>
                  <a:lnTo>
                    <a:pt x="8" y="650"/>
                  </a:lnTo>
                  <a:lnTo>
                    <a:pt x="12" y="651"/>
                  </a:lnTo>
                  <a:lnTo>
                    <a:pt x="369" y="651"/>
                  </a:lnTo>
                  <a:lnTo>
                    <a:pt x="362" y="638"/>
                  </a:lnTo>
                  <a:lnTo>
                    <a:pt x="356" y="626"/>
                  </a:lnTo>
                  <a:lnTo>
                    <a:pt x="351" y="613"/>
                  </a:lnTo>
                  <a:lnTo>
                    <a:pt x="346" y="600"/>
                  </a:lnTo>
                  <a:lnTo>
                    <a:pt x="343" y="585"/>
                  </a:lnTo>
                  <a:lnTo>
                    <a:pt x="340" y="571"/>
                  </a:lnTo>
                  <a:lnTo>
                    <a:pt x="339" y="557"/>
                  </a:lnTo>
                  <a:lnTo>
                    <a:pt x="338" y="543"/>
                  </a:lnTo>
                  <a:lnTo>
                    <a:pt x="339" y="523"/>
                  </a:lnTo>
                  <a:lnTo>
                    <a:pt x="341" y="506"/>
                  </a:lnTo>
                  <a:lnTo>
                    <a:pt x="345" y="488"/>
                  </a:lnTo>
                  <a:lnTo>
                    <a:pt x="351" y="471"/>
                  </a:lnTo>
                  <a:lnTo>
                    <a:pt x="357" y="455"/>
                  </a:lnTo>
                  <a:lnTo>
                    <a:pt x="366" y="439"/>
                  </a:lnTo>
                  <a:lnTo>
                    <a:pt x="375" y="424"/>
                  </a:lnTo>
                  <a:lnTo>
                    <a:pt x="387" y="410"/>
                  </a:lnTo>
                  <a:lnTo>
                    <a:pt x="398" y="398"/>
                  </a:lnTo>
                  <a:lnTo>
                    <a:pt x="411" y="386"/>
                  </a:lnTo>
                  <a:lnTo>
                    <a:pt x="424" y="375"/>
                  </a:lnTo>
                  <a:lnTo>
                    <a:pt x="440" y="365"/>
                  </a:lnTo>
                  <a:lnTo>
                    <a:pt x="455" y="357"/>
                  </a:lnTo>
                  <a:lnTo>
                    <a:pt x="471" y="351"/>
                  </a:lnTo>
                  <a:lnTo>
                    <a:pt x="488" y="345"/>
                  </a:lnTo>
                  <a:lnTo>
                    <a:pt x="506" y="34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1140"/>
            <p:cNvSpPr>
              <a:spLocks noEditPoints="1"/>
            </p:cNvSpPr>
            <p:nvPr/>
          </p:nvSpPr>
          <p:spPr bwMode="auto">
            <a:xfrm>
              <a:off x="5610225" y="2660650"/>
              <a:ext cx="142875" cy="142875"/>
            </a:xfrm>
            <a:custGeom>
              <a:avLst/>
              <a:gdLst>
                <a:gd name="T0" fmla="*/ 193 w 361"/>
                <a:gd name="T1" fmla="*/ 193 h 362"/>
                <a:gd name="T2" fmla="*/ 192 w 361"/>
                <a:gd name="T3" fmla="*/ 270 h 362"/>
                <a:gd name="T4" fmla="*/ 185 w 361"/>
                <a:gd name="T5" fmla="*/ 276 h 362"/>
                <a:gd name="T6" fmla="*/ 175 w 361"/>
                <a:gd name="T7" fmla="*/ 276 h 362"/>
                <a:gd name="T8" fmla="*/ 169 w 361"/>
                <a:gd name="T9" fmla="*/ 270 h 362"/>
                <a:gd name="T10" fmla="*/ 168 w 361"/>
                <a:gd name="T11" fmla="*/ 193 h 362"/>
                <a:gd name="T12" fmla="*/ 92 w 361"/>
                <a:gd name="T13" fmla="*/ 193 h 362"/>
                <a:gd name="T14" fmla="*/ 85 w 361"/>
                <a:gd name="T15" fmla="*/ 186 h 362"/>
                <a:gd name="T16" fmla="*/ 85 w 361"/>
                <a:gd name="T17" fmla="*/ 176 h 362"/>
                <a:gd name="T18" fmla="*/ 92 w 361"/>
                <a:gd name="T19" fmla="*/ 170 h 362"/>
                <a:gd name="T20" fmla="*/ 168 w 361"/>
                <a:gd name="T21" fmla="*/ 169 h 362"/>
                <a:gd name="T22" fmla="*/ 169 w 361"/>
                <a:gd name="T23" fmla="*/ 93 h 362"/>
                <a:gd name="T24" fmla="*/ 175 w 361"/>
                <a:gd name="T25" fmla="*/ 86 h 362"/>
                <a:gd name="T26" fmla="*/ 185 w 361"/>
                <a:gd name="T27" fmla="*/ 86 h 362"/>
                <a:gd name="T28" fmla="*/ 192 w 361"/>
                <a:gd name="T29" fmla="*/ 93 h 362"/>
                <a:gd name="T30" fmla="*/ 193 w 361"/>
                <a:gd name="T31" fmla="*/ 169 h 362"/>
                <a:gd name="T32" fmla="*/ 269 w 361"/>
                <a:gd name="T33" fmla="*/ 170 h 362"/>
                <a:gd name="T34" fmla="*/ 275 w 361"/>
                <a:gd name="T35" fmla="*/ 176 h 362"/>
                <a:gd name="T36" fmla="*/ 275 w 361"/>
                <a:gd name="T37" fmla="*/ 186 h 362"/>
                <a:gd name="T38" fmla="*/ 269 w 361"/>
                <a:gd name="T39" fmla="*/ 193 h 362"/>
                <a:gd name="T40" fmla="*/ 181 w 361"/>
                <a:gd name="T41" fmla="*/ 0 h 362"/>
                <a:gd name="T42" fmla="*/ 144 w 361"/>
                <a:gd name="T43" fmla="*/ 4 h 362"/>
                <a:gd name="T44" fmla="*/ 110 w 361"/>
                <a:gd name="T45" fmla="*/ 14 h 362"/>
                <a:gd name="T46" fmla="*/ 80 w 361"/>
                <a:gd name="T47" fmla="*/ 32 h 362"/>
                <a:gd name="T48" fmla="*/ 53 w 361"/>
                <a:gd name="T49" fmla="*/ 54 h 362"/>
                <a:gd name="T50" fmla="*/ 31 w 361"/>
                <a:gd name="T51" fmla="*/ 81 h 362"/>
                <a:gd name="T52" fmla="*/ 14 w 361"/>
                <a:gd name="T53" fmla="*/ 111 h 362"/>
                <a:gd name="T54" fmla="*/ 3 w 361"/>
                <a:gd name="T55" fmla="*/ 145 h 362"/>
                <a:gd name="T56" fmla="*/ 0 w 361"/>
                <a:gd name="T57" fmla="*/ 182 h 362"/>
                <a:gd name="T58" fmla="*/ 3 w 361"/>
                <a:gd name="T59" fmla="*/ 217 h 362"/>
                <a:gd name="T60" fmla="*/ 14 w 361"/>
                <a:gd name="T61" fmla="*/ 252 h 362"/>
                <a:gd name="T62" fmla="*/ 31 w 361"/>
                <a:gd name="T63" fmla="*/ 283 h 362"/>
                <a:gd name="T64" fmla="*/ 53 w 361"/>
                <a:gd name="T65" fmla="*/ 309 h 362"/>
                <a:gd name="T66" fmla="*/ 80 w 361"/>
                <a:gd name="T67" fmla="*/ 331 h 362"/>
                <a:gd name="T68" fmla="*/ 110 w 361"/>
                <a:gd name="T69" fmla="*/ 348 h 362"/>
                <a:gd name="T70" fmla="*/ 144 w 361"/>
                <a:gd name="T71" fmla="*/ 358 h 362"/>
                <a:gd name="T72" fmla="*/ 181 w 361"/>
                <a:gd name="T73" fmla="*/ 362 h 362"/>
                <a:gd name="T74" fmla="*/ 216 w 361"/>
                <a:gd name="T75" fmla="*/ 358 h 362"/>
                <a:gd name="T76" fmla="*/ 251 w 361"/>
                <a:gd name="T77" fmla="*/ 348 h 362"/>
                <a:gd name="T78" fmla="*/ 281 w 361"/>
                <a:gd name="T79" fmla="*/ 331 h 362"/>
                <a:gd name="T80" fmla="*/ 308 w 361"/>
                <a:gd name="T81" fmla="*/ 309 h 362"/>
                <a:gd name="T82" fmla="*/ 330 w 361"/>
                <a:gd name="T83" fmla="*/ 283 h 362"/>
                <a:gd name="T84" fmla="*/ 347 w 361"/>
                <a:gd name="T85" fmla="*/ 252 h 362"/>
                <a:gd name="T86" fmla="*/ 357 w 361"/>
                <a:gd name="T87" fmla="*/ 217 h 362"/>
                <a:gd name="T88" fmla="*/ 361 w 361"/>
                <a:gd name="T89" fmla="*/ 182 h 362"/>
                <a:gd name="T90" fmla="*/ 357 w 361"/>
                <a:gd name="T91" fmla="*/ 145 h 362"/>
                <a:gd name="T92" fmla="*/ 347 w 361"/>
                <a:gd name="T93" fmla="*/ 111 h 362"/>
                <a:gd name="T94" fmla="*/ 330 w 361"/>
                <a:gd name="T95" fmla="*/ 81 h 362"/>
                <a:gd name="T96" fmla="*/ 308 w 361"/>
                <a:gd name="T97" fmla="*/ 54 h 362"/>
                <a:gd name="T98" fmla="*/ 281 w 361"/>
                <a:gd name="T99" fmla="*/ 32 h 362"/>
                <a:gd name="T100" fmla="*/ 251 w 361"/>
                <a:gd name="T101" fmla="*/ 14 h 362"/>
                <a:gd name="T102" fmla="*/ 216 w 361"/>
                <a:gd name="T103" fmla="*/ 4 h 362"/>
                <a:gd name="T104" fmla="*/ 181 w 361"/>
                <a:gd name="T105"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1" h="362">
                  <a:moveTo>
                    <a:pt x="264" y="193"/>
                  </a:moveTo>
                  <a:lnTo>
                    <a:pt x="193" y="193"/>
                  </a:lnTo>
                  <a:lnTo>
                    <a:pt x="193" y="265"/>
                  </a:lnTo>
                  <a:lnTo>
                    <a:pt x="192" y="270"/>
                  </a:lnTo>
                  <a:lnTo>
                    <a:pt x="189" y="274"/>
                  </a:lnTo>
                  <a:lnTo>
                    <a:pt x="185" y="276"/>
                  </a:lnTo>
                  <a:lnTo>
                    <a:pt x="181" y="277"/>
                  </a:lnTo>
                  <a:lnTo>
                    <a:pt x="175" y="276"/>
                  </a:lnTo>
                  <a:lnTo>
                    <a:pt x="171" y="274"/>
                  </a:lnTo>
                  <a:lnTo>
                    <a:pt x="169" y="270"/>
                  </a:lnTo>
                  <a:lnTo>
                    <a:pt x="168" y="265"/>
                  </a:lnTo>
                  <a:lnTo>
                    <a:pt x="168" y="193"/>
                  </a:lnTo>
                  <a:lnTo>
                    <a:pt x="96" y="193"/>
                  </a:lnTo>
                  <a:lnTo>
                    <a:pt x="92" y="193"/>
                  </a:lnTo>
                  <a:lnTo>
                    <a:pt x="88" y="190"/>
                  </a:lnTo>
                  <a:lnTo>
                    <a:pt x="85" y="186"/>
                  </a:lnTo>
                  <a:lnTo>
                    <a:pt x="84" y="182"/>
                  </a:lnTo>
                  <a:lnTo>
                    <a:pt x="85" y="176"/>
                  </a:lnTo>
                  <a:lnTo>
                    <a:pt x="88" y="172"/>
                  </a:lnTo>
                  <a:lnTo>
                    <a:pt x="92" y="170"/>
                  </a:lnTo>
                  <a:lnTo>
                    <a:pt x="96" y="169"/>
                  </a:lnTo>
                  <a:lnTo>
                    <a:pt x="168" y="169"/>
                  </a:lnTo>
                  <a:lnTo>
                    <a:pt x="168" y="97"/>
                  </a:lnTo>
                  <a:lnTo>
                    <a:pt x="169" y="93"/>
                  </a:lnTo>
                  <a:lnTo>
                    <a:pt x="171" y="89"/>
                  </a:lnTo>
                  <a:lnTo>
                    <a:pt x="175" y="86"/>
                  </a:lnTo>
                  <a:lnTo>
                    <a:pt x="181" y="85"/>
                  </a:lnTo>
                  <a:lnTo>
                    <a:pt x="185" y="86"/>
                  </a:lnTo>
                  <a:lnTo>
                    <a:pt x="189" y="89"/>
                  </a:lnTo>
                  <a:lnTo>
                    <a:pt x="192" y="93"/>
                  </a:lnTo>
                  <a:lnTo>
                    <a:pt x="193" y="97"/>
                  </a:lnTo>
                  <a:lnTo>
                    <a:pt x="193" y="169"/>
                  </a:lnTo>
                  <a:lnTo>
                    <a:pt x="264" y="169"/>
                  </a:lnTo>
                  <a:lnTo>
                    <a:pt x="269" y="170"/>
                  </a:lnTo>
                  <a:lnTo>
                    <a:pt x="273" y="172"/>
                  </a:lnTo>
                  <a:lnTo>
                    <a:pt x="275" y="176"/>
                  </a:lnTo>
                  <a:lnTo>
                    <a:pt x="276" y="182"/>
                  </a:lnTo>
                  <a:lnTo>
                    <a:pt x="275" y="186"/>
                  </a:lnTo>
                  <a:lnTo>
                    <a:pt x="273" y="190"/>
                  </a:lnTo>
                  <a:lnTo>
                    <a:pt x="269" y="193"/>
                  </a:lnTo>
                  <a:lnTo>
                    <a:pt x="264" y="193"/>
                  </a:lnTo>
                  <a:close/>
                  <a:moveTo>
                    <a:pt x="181" y="0"/>
                  </a:moveTo>
                  <a:lnTo>
                    <a:pt x="162" y="1"/>
                  </a:lnTo>
                  <a:lnTo>
                    <a:pt x="144" y="4"/>
                  </a:lnTo>
                  <a:lnTo>
                    <a:pt x="126" y="8"/>
                  </a:lnTo>
                  <a:lnTo>
                    <a:pt x="110" y="14"/>
                  </a:lnTo>
                  <a:lnTo>
                    <a:pt x="94" y="23"/>
                  </a:lnTo>
                  <a:lnTo>
                    <a:pt x="80" y="32"/>
                  </a:lnTo>
                  <a:lnTo>
                    <a:pt x="65" y="42"/>
                  </a:lnTo>
                  <a:lnTo>
                    <a:pt x="53" y="54"/>
                  </a:lnTo>
                  <a:lnTo>
                    <a:pt x="41" y="66"/>
                  </a:lnTo>
                  <a:lnTo>
                    <a:pt x="31" y="81"/>
                  </a:lnTo>
                  <a:lnTo>
                    <a:pt x="21" y="96"/>
                  </a:lnTo>
                  <a:lnTo>
                    <a:pt x="14" y="111"/>
                  </a:lnTo>
                  <a:lnTo>
                    <a:pt x="8" y="128"/>
                  </a:lnTo>
                  <a:lnTo>
                    <a:pt x="3" y="145"/>
                  </a:lnTo>
                  <a:lnTo>
                    <a:pt x="1" y="163"/>
                  </a:lnTo>
                  <a:lnTo>
                    <a:pt x="0" y="182"/>
                  </a:lnTo>
                  <a:lnTo>
                    <a:pt x="1" y="200"/>
                  </a:lnTo>
                  <a:lnTo>
                    <a:pt x="3" y="217"/>
                  </a:lnTo>
                  <a:lnTo>
                    <a:pt x="8" y="235"/>
                  </a:lnTo>
                  <a:lnTo>
                    <a:pt x="14" y="252"/>
                  </a:lnTo>
                  <a:lnTo>
                    <a:pt x="21" y="267"/>
                  </a:lnTo>
                  <a:lnTo>
                    <a:pt x="31" y="283"/>
                  </a:lnTo>
                  <a:lnTo>
                    <a:pt x="41" y="296"/>
                  </a:lnTo>
                  <a:lnTo>
                    <a:pt x="53" y="309"/>
                  </a:lnTo>
                  <a:lnTo>
                    <a:pt x="65" y="320"/>
                  </a:lnTo>
                  <a:lnTo>
                    <a:pt x="80" y="331"/>
                  </a:lnTo>
                  <a:lnTo>
                    <a:pt x="94" y="340"/>
                  </a:lnTo>
                  <a:lnTo>
                    <a:pt x="110" y="348"/>
                  </a:lnTo>
                  <a:lnTo>
                    <a:pt x="126" y="354"/>
                  </a:lnTo>
                  <a:lnTo>
                    <a:pt x="144" y="358"/>
                  </a:lnTo>
                  <a:lnTo>
                    <a:pt x="162" y="361"/>
                  </a:lnTo>
                  <a:lnTo>
                    <a:pt x="181" y="362"/>
                  </a:lnTo>
                  <a:lnTo>
                    <a:pt x="199" y="361"/>
                  </a:lnTo>
                  <a:lnTo>
                    <a:pt x="216" y="358"/>
                  </a:lnTo>
                  <a:lnTo>
                    <a:pt x="234" y="354"/>
                  </a:lnTo>
                  <a:lnTo>
                    <a:pt x="251" y="348"/>
                  </a:lnTo>
                  <a:lnTo>
                    <a:pt x="266" y="340"/>
                  </a:lnTo>
                  <a:lnTo>
                    <a:pt x="281" y="331"/>
                  </a:lnTo>
                  <a:lnTo>
                    <a:pt x="295" y="320"/>
                  </a:lnTo>
                  <a:lnTo>
                    <a:pt x="308" y="309"/>
                  </a:lnTo>
                  <a:lnTo>
                    <a:pt x="319" y="296"/>
                  </a:lnTo>
                  <a:lnTo>
                    <a:pt x="330" y="283"/>
                  </a:lnTo>
                  <a:lnTo>
                    <a:pt x="340" y="267"/>
                  </a:lnTo>
                  <a:lnTo>
                    <a:pt x="347" y="252"/>
                  </a:lnTo>
                  <a:lnTo>
                    <a:pt x="353" y="235"/>
                  </a:lnTo>
                  <a:lnTo>
                    <a:pt x="357" y="217"/>
                  </a:lnTo>
                  <a:lnTo>
                    <a:pt x="360" y="200"/>
                  </a:lnTo>
                  <a:lnTo>
                    <a:pt x="361" y="182"/>
                  </a:lnTo>
                  <a:lnTo>
                    <a:pt x="360" y="163"/>
                  </a:lnTo>
                  <a:lnTo>
                    <a:pt x="357" y="145"/>
                  </a:lnTo>
                  <a:lnTo>
                    <a:pt x="353" y="128"/>
                  </a:lnTo>
                  <a:lnTo>
                    <a:pt x="347" y="111"/>
                  </a:lnTo>
                  <a:lnTo>
                    <a:pt x="340" y="96"/>
                  </a:lnTo>
                  <a:lnTo>
                    <a:pt x="330" y="81"/>
                  </a:lnTo>
                  <a:lnTo>
                    <a:pt x="319" y="66"/>
                  </a:lnTo>
                  <a:lnTo>
                    <a:pt x="308" y="54"/>
                  </a:lnTo>
                  <a:lnTo>
                    <a:pt x="295" y="42"/>
                  </a:lnTo>
                  <a:lnTo>
                    <a:pt x="281" y="32"/>
                  </a:lnTo>
                  <a:lnTo>
                    <a:pt x="266" y="23"/>
                  </a:lnTo>
                  <a:lnTo>
                    <a:pt x="251" y="14"/>
                  </a:lnTo>
                  <a:lnTo>
                    <a:pt x="234" y="8"/>
                  </a:lnTo>
                  <a:lnTo>
                    <a:pt x="216" y="4"/>
                  </a:lnTo>
                  <a:lnTo>
                    <a:pt x="199" y="1"/>
                  </a:lnTo>
                  <a:lnTo>
                    <a:pt x="181" y="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Tree>
  </p:cSld>
  <p:clrMapOvr>
    <a:masterClrMapping/>
  </p:clrMapOvr>
  <p:transition spd="slow" advClick="0" advTm="0">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p:nvPr/>
        </p:nvSpPr>
        <p:spPr>
          <a:xfrm>
            <a:off x="904902" y="644336"/>
            <a:ext cx="4352898"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3600" b="1" spc="-151" dirty="0">
                <a:solidFill>
                  <a:schemeClr val="accent1"/>
                </a:solidFill>
                <a:latin typeface="Playfair Display" panose="00000500000000000000" pitchFamily="2" charset="0"/>
                <a:ea typeface="Open Sans" panose="020B0606030504020204" pitchFamily="34" charset="0"/>
                <a:cs typeface="Lato" panose="020F0502020204030203" pitchFamily="34" charset="0"/>
              </a:rPr>
              <a:t>Strategy </a:t>
            </a:r>
            <a:r>
              <a:rPr lang="en-US" sz="3600" spc="-151" dirty="0">
                <a:solidFill>
                  <a:schemeClr val="tx1">
                    <a:lumMod val="75000"/>
                    <a:lumOff val="25000"/>
                  </a:schemeClr>
                </a:solidFill>
                <a:latin typeface="Playfair Display" panose="00000500000000000000" pitchFamily="2" charset="0"/>
                <a:ea typeface="Open Sans" panose="020B0606030504020204" pitchFamily="34" charset="0"/>
                <a:cs typeface="Lato" panose="020F0502020204030203" pitchFamily="34" charset="0"/>
              </a:rPr>
              <a:t>Infographic </a:t>
            </a:r>
            <a:endParaRPr lang="en-US" sz="3600" spc="-151" dirty="0">
              <a:solidFill>
                <a:schemeClr val="tx1">
                  <a:lumMod val="75000"/>
                  <a:lumOff val="2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4" name="Rectangle 3"/>
          <p:cNvSpPr/>
          <p:nvPr/>
        </p:nvSpPr>
        <p:spPr>
          <a:xfrm>
            <a:off x="958692" y="1290667"/>
            <a:ext cx="2156010" cy="261610"/>
          </a:xfrm>
          <a:prstGeom prst="rect">
            <a:avLst/>
          </a:prstGeom>
        </p:spPr>
        <p:txBody>
          <a:bodyPr wrap="square">
            <a:spAutoFit/>
          </a:bodyPr>
          <a:lstStyle/>
          <a:p>
            <a:pPr>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pic>
        <p:nvPicPr>
          <p:cNvPr id="7" name="图片占位符 6"/>
          <p:cNvPicPr>
            <a:picLocks noGrp="1" noChangeAspect="1"/>
          </p:cNvPicPr>
          <p:nvPr>
            <p:ph type="pic" sz="quarter" idx="23"/>
          </p:nvPr>
        </p:nvPicPr>
        <p:blipFill>
          <a:blip r:embed="rId2" cstate="screen"/>
          <a:srcRect/>
          <a:stretch>
            <a:fillRect/>
          </a:stretch>
        </p:blipFill>
        <p:spPr>
          <a:solidFill>
            <a:schemeClr val="bg1">
              <a:lumMod val="95000"/>
            </a:schemeClr>
          </a:solidFill>
        </p:spPr>
      </p:pic>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sp>
        <p:nvSpPr>
          <p:cNvPr id="9" name="Content Placeholder 2"/>
          <p:cNvSpPr txBox="1"/>
          <p:nvPr/>
        </p:nvSpPr>
        <p:spPr>
          <a:xfrm>
            <a:off x="5257800" y="4459586"/>
            <a:ext cx="600940" cy="523220"/>
          </a:xfrm>
          <a:prstGeom prst="rect">
            <a:avLst/>
          </a:prstGeom>
          <a:solidFill>
            <a:schemeClr val="accent2"/>
          </a:solidFill>
        </p:spPr>
        <p:txBody>
          <a:bodyPr vert="horz" wrap="square" lIns="91440" tIns="45720" rIns="91440" bIns="45720" rtlCol="0" anchor="t">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solidFill>
                  <a:schemeClr val="bg1"/>
                </a:solidFill>
                <a:latin typeface="Playfair Display" panose="00000500000000000000" pitchFamily="2" charset="0"/>
                <a:ea typeface="Open Sans SemiBold" panose="020B0706030804020204" pitchFamily="34" charset="0"/>
                <a:cs typeface="Lato" panose="020F0502020204030203" pitchFamily="34" charset="0"/>
              </a:rPr>
              <a:t>02</a:t>
            </a:r>
            <a:endParaRPr lang="en-US" dirty="0">
              <a:solidFill>
                <a:schemeClr val="bg1"/>
              </a:solidFill>
              <a:latin typeface="Playfair Display" panose="00000500000000000000" pitchFamily="2" charset="0"/>
              <a:ea typeface="Open Sans SemiBold" panose="020B0706030804020204" pitchFamily="34" charset="0"/>
              <a:cs typeface="Lato" panose="020F0502020204030203" pitchFamily="34" charset="0"/>
            </a:endParaRPr>
          </a:p>
        </p:txBody>
      </p:sp>
      <p:sp>
        <p:nvSpPr>
          <p:cNvPr id="10" name="Content Placeholder 2"/>
          <p:cNvSpPr txBox="1"/>
          <p:nvPr/>
        </p:nvSpPr>
        <p:spPr>
          <a:xfrm>
            <a:off x="5964496" y="4459586"/>
            <a:ext cx="1910143" cy="369332"/>
          </a:xfrm>
          <a:prstGeom prst="rect">
            <a:avLst/>
          </a:prstGeom>
          <a:noFill/>
        </p:spPr>
        <p:txBody>
          <a:bodyPr wrap="square">
            <a:spAutoFit/>
          </a:bodyPr>
          <a:lstStyle>
            <a:defPPr>
              <a:defRPr lang="en-US"/>
            </a:defPPr>
            <a:lvl1pPr>
              <a:defRPr sz="6600" spc="-15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1800" spc="0" dirty="0">
                <a:latin typeface="Playfair Display" panose="00000500000000000000" pitchFamily="2" charset="0"/>
                <a:cs typeface="Lato" panose="020F0502020204030203" pitchFamily="34" charset="0"/>
              </a:rPr>
              <a:t>Subtitle Here</a:t>
            </a:r>
            <a:endParaRPr lang="en-US" sz="1800" spc="0" dirty="0">
              <a:latin typeface="Playfair Display" panose="00000500000000000000" pitchFamily="2" charset="0"/>
              <a:cs typeface="Lato" panose="020F0502020204030203" pitchFamily="34" charset="0"/>
            </a:endParaRPr>
          </a:p>
        </p:txBody>
      </p:sp>
      <p:sp>
        <p:nvSpPr>
          <p:cNvPr id="11" name="Rectangle 10"/>
          <p:cNvSpPr/>
          <p:nvPr/>
        </p:nvSpPr>
        <p:spPr>
          <a:xfrm>
            <a:off x="5964496" y="4828918"/>
            <a:ext cx="2146816" cy="769441"/>
          </a:xfrm>
          <a:prstGeom prst="rect">
            <a:avLst/>
          </a:prstGeom>
        </p:spPr>
        <p:txBody>
          <a:bodyPr wrap="square">
            <a:spAutoFit/>
          </a:bodyPr>
          <a:lstStyle/>
          <a:p>
            <a:pPr>
              <a:buClr>
                <a:srgbClr val="E24848"/>
              </a:buClr>
              <a:defRPr/>
            </a:pPr>
            <a:r>
              <a:rPr lang="en-US" sz="1100" noProof="1">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endParaRPr lang="en-US" sz="1100" noProof="1">
              <a:latin typeface="+mj-lt"/>
              <a:ea typeface="Open Sans Light" panose="020B0306030504020204" pitchFamily="34" charset="0"/>
              <a:cs typeface="Open Sans Light" panose="020B0306030504020204" pitchFamily="34" charset="0"/>
            </a:endParaRPr>
          </a:p>
        </p:txBody>
      </p:sp>
      <p:sp>
        <p:nvSpPr>
          <p:cNvPr id="15" name="Content Placeholder 2"/>
          <p:cNvSpPr txBox="1"/>
          <p:nvPr/>
        </p:nvSpPr>
        <p:spPr>
          <a:xfrm>
            <a:off x="9096705" y="4459586"/>
            <a:ext cx="600940" cy="523220"/>
          </a:xfrm>
          <a:prstGeom prst="rect">
            <a:avLst/>
          </a:prstGeom>
          <a:solidFill>
            <a:schemeClr val="bg1">
              <a:lumMod val="50000"/>
            </a:schemeClr>
          </a:solidFill>
        </p:spPr>
        <p:txBody>
          <a:bodyPr vert="horz" wrap="square" lIns="91440" tIns="45720" rIns="91440" bIns="45720" rtlCol="0" anchor="t">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solidFill>
                  <a:schemeClr val="bg1"/>
                </a:solidFill>
                <a:latin typeface="Playfair Display" panose="00000500000000000000" pitchFamily="2" charset="0"/>
                <a:ea typeface="Open Sans SemiBold" panose="020B0706030804020204" pitchFamily="34" charset="0"/>
                <a:cs typeface="Lato" panose="020F0502020204030203" pitchFamily="34" charset="0"/>
              </a:rPr>
              <a:t>03</a:t>
            </a:r>
            <a:endParaRPr lang="en-US" dirty="0">
              <a:solidFill>
                <a:schemeClr val="bg1"/>
              </a:solidFill>
              <a:latin typeface="Playfair Display" panose="00000500000000000000" pitchFamily="2" charset="0"/>
              <a:ea typeface="Open Sans SemiBold" panose="020B0706030804020204" pitchFamily="34" charset="0"/>
              <a:cs typeface="Lato" panose="020F0502020204030203" pitchFamily="34" charset="0"/>
            </a:endParaRPr>
          </a:p>
        </p:txBody>
      </p:sp>
      <p:sp>
        <p:nvSpPr>
          <p:cNvPr id="16" name="Content Placeholder 2"/>
          <p:cNvSpPr txBox="1"/>
          <p:nvPr/>
        </p:nvSpPr>
        <p:spPr>
          <a:xfrm>
            <a:off x="9803401" y="4459586"/>
            <a:ext cx="1910143" cy="369332"/>
          </a:xfrm>
          <a:prstGeom prst="rect">
            <a:avLst/>
          </a:prstGeom>
          <a:noFill/>
        </p:spPr>
        <p:txBody>
          <a:bodyPr wrap="square">
            <a:spAutoFit/>
          </a:bodyPr>
          <a:lstStyle>
            <a:defPPr>
              <a:defRPr lang="en-US"/>
            </a:defPPr>
            <a:lvl1pPr>
              <a:defRPr sz="6600" spc="-15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1800" spc="0" dirty="0">
                <a:latin typeface="Playfair Display" panose="00000500000000000000" pitchFamily="2" charset="0"/>
                <a:cs typeface="Lato" panose="020F0502020204030203" pitchFamily="34" charset="0"/>
              </a:rPr>
              <a:t>Subtitle Here</a:t>
            </a:r>
            <a:endParaRPr lang="en-US" sz="1800" spc="0" dirty="0">
              <a:latin typeface="Playfair Display" panose="00000500000000000000" pitchFamily="2" charset="0"/>
              <a:cs typeface="Lato" panose="020F0502020204030203" pitchFamily="34" charset="0"/>
            </a:endParaRPr>
          </a:p>
        </p:txBody>
      </p:sp>
      <p:sp>
        <p:nvSpPr>
          <p:cNvPr id="17" name="Rectangle 16"/>
          <p:cNvSpPr/>
          <p:nvPr/>
        </p:nvSpPr>
        <p:spPr>
          <a:xfrm>
            <a:off x="9803401" y="4828918"/>
            <a:ext cx="2158105" cy="769441"/>
          </a:xfrm>
          <a:prstGeom prst="rect">
            <a:avLst/>
          </a:prstGeom>
        </p:spPr>
        <p:txBody>
          <a:bodyPr wrap="square">
            <a:spAutoFit/>
          </a:bodyPr>
          <a:lstStyle/>
          <a:p>
            <a:pPr>
              <a:buClr>
                <a:srgbClr val="E24848"/>
              </a:buClr>
              <a:defRPr/>
            </a:pPr>
            <a:r>
              <a:rPr lang="en-US" sz="1100" noProof="1">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endParaRPr lang="en-US" sz="1100" noProof="1">
              <a:latin typeface="+mj-lt"/>
              <a:ea typeface="Open Sans Light" panose="020B0306030504020204" pitchFamily="34" charset="0"/>
              <a:cs typeface="Open Sans Light" panose="020B0306030504020204" pitchFamily="34" charset="0"/>
            </a:endParaRPr>
          </a:p>
        </p:txBody>
      </p:sp>
      <p:graphicFrame>
        <p:nvGraphicFramePr>
          <p:cNvPr id="19" name="Chart 18"/>
          <p:cNvGraphicFramePr/>
          <p:nvPr/>
        </p:nvGraphicFramePr>
        <p:xfrm>
          <a:off x="958691" y="1764981"/>
          <a:ext cx="3929398" cy="2220291"/>
        </p:xfrm>
        <a:graphic>
          <a:graphicData uri="http://schemas.openxmlformats.org/drawingml/2006/chart">
            <c:chart xmlns:c="http://schemas.openxmlformats.org/drawingml/2006/chart" xmlns:r="http://schemas.openxmlformats.org/officeDocument/2006/relationships" r:id="rId1"/>
          </a:graphicData>
        </a:graphic>
      </p:graphicFrame>
      <p:sp>
        <p:nvSpPr>
          <p:cNvPr id="22" name="Content Placeholder 2"/>
          <p:cNvSpPr txBox="1"/>
          <p:nvPr/>
        </p:nvSpPr>
        <p:spPr>
          <a:xfrm>
            <a:off x="1209686" y="4459586"/>
            <a:ext cx="600940" cy="523220"/>
          </a:xfrm>
          <a:prstGeom prst="rect">
            <a:avLst/>
          </a:prstGeom>
          <a:solidFill>
            <a:schemeClr val="accent1"/>
          </a:solidFill>
        </p:spPr>
        <p:txBody>
          <a:bodyPr vert="horz" wrap="square" lIns="91440" tIns="45720" rIns="91440" bIns="45720" rtlCol="0" anchor="t">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solidFill>
                  <a:schemeClr val="bg1"/>
                </a:solidFill>
                <a:latin typeface="Playfair Display" panose="00000500000000000000" pitchFamily="2" charset="0"/>
                <a:ea typeface="Open Sans SemiBold" panose="020B0706030804020204" pitchFamily="34" charset="0"/>
                <a:cs typeface="Lato" panose="020F0502020204030203" pitchFamily="34" charset="0"/>
              </a:rPr>
              <a:t>01</a:t>
            </a:r>
            <a:endParaRPr lang="en-US" dirty="0">
              <a:solidFill>
                <a:schemeClr val="bg1"/>
              </a:solidFill>
              <a:latin typeface="Playfair Display" panose="00000500000000000000" pitchFamily="2" charset="0"/>
              <a:ea typeface="Open Sans SemiBold" panose="020B0706030804020204" pitchFamily="34" charset="0"/>
              <a:cs typeface="Lato" panose="020F0502020204030203" pitchFamily="34" charset="0"/>
            </a:endParaRPr>
          </a:p>
        </p:txBody>
      </p:sp>
      <p:sp>
        <p:nvSpPr>
          <p:cNvPr id="23" name="Content Placeholder 2"/>
          <p:cNvSpPr txBox="1"/>
          <p:nvPr/>
        </p:nvSpPr>
        <p:spPr>
          <a:xfrm>
            <a:off x="1916382" y="4459586"/>
            <a:ext cx="1910143" cy="369332"/>
          </a:xfrm>
          <a:prstGeom prst="rect">
            <a:avLst/>
          </a:prstGeom>
          <a:noFill/>
        </p:spPr>
        <p:txBody>
          <a:bodyPr wrap="square">
            <a:spAutoFit/>
          </a:bodyPr>
          <a:lstStyle>
            <a:defPPr>
              <a:defRPr lang="en-US"/>
            </a:defPPr>
            <a:lvl1pPr>
              <a:defRPr sz="6600" spc="-15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1800" spc="0" dirty="0">
                <a:latin typeface="Playfair Display" panose="00000500000000000000" pitchFamily="2" charset="0"/>
                <a:cs typeface="Lato" panose="020F0502020204030203" pitchFamily="34" charset="0"/>
              </a:rPr>
              <a:t>Subtitle Here</a:t>
            </a:r>
            <a:endParaRPr lang="en-US" sz="1800" spc="0" dirty="0">
              <a:latin typeface="Playfair Display" panose="00000500000000000000" pitchFamily="2" charset="0"/>
              <a:cs typeface="Lato" panose="020F0502020204030203" pitchFamily="34" charset="0"/>
            </a:endParaRPr>
          </a:p>
        </p:txBody>
      </p:sp>
      <p:sp>
        <p:nvSpPr>
          <p:cNvPr id="24" name="Rectangle 23"/>
          <p:cNvSpPr/>
          <p:nvPr/>
        </p:nvSpPr>
        <p:spPr>
          <a:xfrm>
            <a:off x="1916382" y="4828918"/>
            <a:ext cx="2146816" cy="769441"/>
          </a:xfrm>
          <a:prstGeom prst="rect">
            <a:avLst/>
          </a:prstGeom>
        </p:spPr>
        <p:txBody>
          <a:bodyPr wrap="square">
            <a:spAutoFit/>
          </a:bodyPr>
          <a:lstStyle/>
          <a:p>
            <a:pPr>
              <a:buClr>
                <a:srgbClr val="E24848"/>
              </a:buClr>
              <a:defRPr/>
            </a:pPr>
            <a:r>
              <a:rPr lang="en-US" sz="1100" noProof="1">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endParaRPr lang="en-US" sz="1100" noProof="1">
              <a:latin typeface="+mj-lt"/>
              <a:ea typeface="Open Sans Light" panose="020B0306030504020204" pitchFamily="34" charset="0"/>
              <a:cs typeface="Open Sans Light" panose="020B0306030504020204" pitchFamily="34" charset="0"/>
            </a:endParaRPr>
          </a:p>
        </p:txBody>
      </p:sp>
    </p:spTree>
  </p:cSld>
  <p:clrMapOvr>
    <a:masterClrMapping/>
  </p:clrMapOvr>
  <p:transition spd="slow" advClick="0" advTm="0">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Oval 45"/>
          <p:cNvSpPr/>
          <p:nvPr/>
        </p:nvSpPr>
        <p:spPr>
          <a:xfrm>
            <a:off x="8438962" y="2518541"/>
            <a:ext cx="2509960" cy="2509960"/>
          </a:xfrm>
          <a:prstGeom prst="ellipse">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p:cNvSpPr/>
          <p:nvPr/>
        </p:nvSpPr>
        <p:spPr>
          <a:xfrm>
            <a:off x="4929921" y="2518541"/>
            <a:ext cx="2509960" cy="2509960"/>
          </a:xfrm>
          <a:prstGeom prst="ellipse">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p:cNvSpPr/>
          <p:nvPr/>
        </p:nvSpPr>
        <p:spPr>
          <a:xfrm>
            <a:off x="1353349" y="2518541"/>
            <a:ext cx="2509960" cy="2509960"/>
          </a:xfrm>
          <a:prstGeom prst="ellipse">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p:cNvSpPr txBox="1"/>
          <p:nvPr/>
        </p:nvSpPr>
        <p:spPr>
          <a:xfrm>
            <a:off x="904902" y="644336"/>
            <a:ext cx="4352898"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3600" b="1" spc="-151" dirty="0">
                <a:solidFill>
                  <a:schemeClr val="accent1"/>
                </a:solidFill>
                <a:latin typeface="Playfair Display" panose="00000500000000000000" pitchFamily="2" charset="0"/>
                <a:ea typeface="Open Sans" panose="020B0606030504020204" pitchFamily="34" charset="0"/>
                <a:cs typeface="Lato" panose="020F0502020204030203" pitchFamily="34" charset="0"/>
              </a:rPr>
              <a:t>Our </a:t>
            </a:r>
            <a:r>
              <a:rPr lang="en-US" sz="3600" spc="-151" dirty="0">
                <a:solidFill>
                  <a:schemeClr val="tx1">
                    <a:lumMod val="75000"/>
                    <a:lumOff val="25000"/>
                  </a:schemeClr>
                </a:solidFill>
                <a:latin typeface="Playfair Display" panose="00000500000000000000" pitchFamily="2" charset="0"/>
                <a:ea typeface="Open Sans" panose="020B0606030504020204" pitchFamily="34" charset="0"/>
                <a:cs typeface="Lato" panose="020F0502020204030203" pitchFamily="34" charset="0"/>
              </a:rPr>
              <a:t>Team Work</a:t>
            </a:r>
            <a:endParaRPr lang="en-US" sz="3600" spc="-151" dirty="0">
              <a:solidFill>
                <a:schemeClr val="tx1">
                  <a:lumMod val="75000"/>
                  <a:lumOff val="2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4" name="Rectangle 3"/>
          <p:cNvSpPr/>
          <p:nvPr/>
        </p:nvSpPr>
        <p:spPr>
          <a:xfrm>
            <a:off x="958692" y="1290667"/>
            <a:ext cx="2156010" cy="261610"/>
          </a:xfrm>
          <a:prstGeom prst="rect">
            <a:avLst/>
          </a:prstGeom>
        </p:spPr>
        <p:txBody>
          <a:bodyPr wrap="square">
            <a:spAutoFit/>
          </a:bodyPr>
          <a:lstStyle/>
          <a:p>
            <a:pPr>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sp>
        <p:nvSpPr>
          <p:cNvPr id="20" name="Block Arc 19"/>
          <p:cNvSpPr/>
          <p:nvPr/>
        </p:nvSpPr>
        <p:spPr>
          <a:xfrm>
            <a:off x="1073250" y="2238442"/>
            <a:ext cx="3070159" cy="3070159"/>
          </a:xfrm>
          <a:prstGeom prst="blockArc">
            <a:avLst>
              <a:gd name="adj1" fmla="val 120209"/>
              <a:gd name="adj2" fmla="val 81705"/>
              <a:gd name="adj3" fmla="val 2467"/>
            </a:avLst>
          </a:prstGeom>
          <a:solidFill>
            <a:schemeClr val="accent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21" name="Rectangle 20"/>
          <p:cNvSpPr/>
          <p:nvPr/>
        </p:nvSpPr>
        <p:spPr>
          <a:xfrm>
            <a:off x="1487346" y="3753285"/>
            <a:ext cx="2241967" cy="931024"/>
          </a:xfrm>
          <a:prstGeom prst="rect">
            <a:avLst/>
          </a:prstGeom>
        </p:spPr>
        <p:txBody>
          <a:bodyPr wrap="square">
            <a:spAutoFit/>
          </a:bodyPr>
          <a:lstStyle/>
          <a:p>
            <a:pPr algn="ctr">
              <a:buClr>
                <a:srgbClr val="E24848"/>
              </a:buClr>
              <a:defRPr/>
            </a:pPr>
            <a:r>
              <a:rPr lang="en-US" sz="11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endParaRPr lang="en-US" sz="1100" noProof="1">
              <a:solidFill>
                <a:schemeClr val="tx1">
                  <a:lumMod val="65000"/>
                  <a:lumOff val="35000"/>
                </a:schemeClr>
              </a:solidFill>
              <a:latin typeface="+mj-lt"/>
              <a:ea typeface="Open Sans Light" panose="020B0306030504020204" pitchFamily="34" charset="0"/>
              <a:cs typeface="Open Sans Light" panose="020B0306030504020204" pitchFamily="34" charset="0"/>
            </a:endParaRPr>
          </a:p>
          <a:p>
            <a:pPr algn="ctr">
              <a:buClr>
                <a:srgbClr val="E24848"/>
              </a:buClr>
              <a:defRPr/>
            </a:pPr>
            <a:r>
              <a:rPr lang="en-US" sz="11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Aliquam erat volutpat. </a:t>
            </a:r>
            <a:endParaRPr lang="en-US" sz="1100" noProof="1">
              <a:solidFill>
                <a:schemeClr val="tx1">
                  <a:lumMod val="65000"/>
                  <a:lumOff val="35000"/>
                </a:schemeClr>
              </a:solidFill>
              <a:latin typeface="+mj-lt"/>
              <a:ea typeface="Open Sans Light" panose="020B0306030504020204" pitchFamily="34" charset="0"/>
              <a:cs typeface="Open Sans Light" panose="020B0306030504020204" pitchFamily="34" charset="0"/>
            </a:endParaRPr>
          </a:p>
        </p:txBody>
      </p:sp>
      <p:sp>
        <p:nvSpPr>
          <p:cNvPr id="25" name="Title 1"/>
          <p:cNvSpPr txBox="1"/>
          <p:nvPr/>
        </p:nvSpPr>
        <p:spPr>
          <a:xfrm>
            <a:off x="1559057" y="3318308"/>
            <a:ext cx="2098544" cy="413547"/>
          </a:xfrm>
          <a:prstGeom prst="rect">
            <a:avLst/>
          </a:prstGeom>
        </p:spPr>
        <p:txBody>
          <a:bodyPr wrap="non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1800"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Relationship</a:t>
            </a:r>
            <a:endParaRPr lang="en-US" sz="1800"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26" name="Block Arc 25"/>
          <p:cNvSpPr/>
          <p:nvPr/>
        </p:nvSpPr>
        <p:spPr>
          <a:xfrm>
            <a:off x="4649822" y="2238442"/>
            <a:ext cx="3070159" cy="3070159"/>
          </a:xfrm>
          <a:prstGeom prst="blockArc">
            <a:avLst>
              <a:gd name="adj1" fmla="val 120209"/>
              <a:gd name="adj2" fmla="val 81705"/>
              <a:gd name="adj3" fmla="val 2467"/>
            </a:avLst>
          </a:prstGeom>
          <a:solidFill>
            <a:schemeClr val="accent2"/>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27" name="Rectangle 26"/>
          <p:cNvSpPr/>
          <p:nvPr/>
        </p:nvSpPr>
        <p:spPr>
          <a:xfrm>
            <a:off x="5063918" y="3753285"/>
            <a:ext cx="2241967" cy="931024"/>
          </a:xfrm>
          <a:prstGeom prst="rect">
            <a:avLst/>
          </a:prstGeom>
        </p:spPr>
        <p:txBody>
          <a:bodyPr wrap="square">
            <a:spAutoFit/>
          </a:bodyPr>
          <a:lstStyle/>
          <a:p>
            <a:pPr algn="ctr">
              <a:buClr>
                <a:srgbClr val="E24848"/>
              </a:buClr>
              <a:defRPr/>
            </a:pPr>
            <a:r>
              <a:rPr lang="en-US" sz="11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endParaRPr lang="en-US" sz="1100" noProof="1">
              <a:solidFill>
                <a:schemeClr val="tx1">
                  <a:lumMod val="65000"/>
                  <a:lumOff val="35000"/>
                </a:schemeClr>
              </a:solidFill>
              <a:latin typeface="+mj-lt"/>
              <a:ea typeface="Open Sans Light" panose="020B0306030504020204" pitchFamily="34" charset="0"/>
              <a:cs typeface="Open Sans Light" panose="020B0306030504020204" pitchFamily="34" charset="0"/>
            </a:endParaRPr>
          </a:p>
          <a:p>
            <a:pPr algn="ctr">
              <a:buClr>
                <a:srgbClr val="E24848"/>
              </a:buClr>
              <a:defRPr/>
            </a:pPr>
            <a:r>
              <a:rPr lang="en-US" sz="11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Aliquam erat volutpat. </a:t>
            </a:r>
            <a:endParaRPr lang="en-US" sz="1100" noProof="1">
              <a:solidFill>
                <a:schemeClr val="tx1">
                  <a:lumMod val="65000"/>
                  <a:lumOff val="35000"/>
                </a:schemeClr>
              </a:solidFill>
              <a:latin typeface="+mj-lt"/>
              <a:ea typeface="Open Sans Light" panose="020B0306030504020204" pitchFamily="34" charset="0"/>
              <a:cs typeface="Open Sans Light" panose="020B0306030504020204" pitchFamily="34" charset="0"/>
            </a:endParaRPr>
          </a:p>
        </p:txBody>
      </p:sp>
      <p:sp>
        <p:nvSpPr>
          <p:cNvPr id="28" name="Title 1"/>
          <p:cNvSpPr txBox="1"/>
          <p:nvPr/>
        </p:nvSpPr>
        <p:spPr>
          <a:xfrm>
            <a:off x="5622954" y="3318308"/>
            <a:ext cx="1123895" cy="413547"/>
          </a:xfrm>
          <a:prstGeom prst="rect">
            <a:avLst/>
          </a:prstGeom>
        </p:spPr>
        <p:txBody>
          <a:bodyPr wrap="non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1800"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Promotion</a:t>
            </a:r>
            <a:endParaRPr lang="en-US" sz="1800"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29" name="Block Arc 28"/>
          <p:cNvSpPr/>
          <p:nvPr/>
        </p:nvSpPr>
        <p:spPr>
          <a:xfrm>
            <a:off x="8226394" y="2238442"/>
            <a:ext cx="3070159" cy="3070159"/>
          </a:xfrm>
          <a:prstGeom prst="blockArc">
            <a:avLst>
              <a:gd name="adj1" fmla="val 120209"/>
              <a:gd name="adj2" fmla="val 81705"/>
              <a:gd name="adj3" fmla="val 2467"/>
            </a:avLst>
          </a:prstGeom>
          <a:solidFill>
            <a:schemeClr val="accent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p>
        </p:txBody>
      </p:sp>
      <p:sp>
        <p:nvSpPr>
          <p:cNvPr id="30" name="Rectangle 29"/>
          <p:cNvSpPr/>
          <p:nvPr/>
        </p:nvSpPr>
        <p:spPr>
          <a:xfrm>
            <a:off x="8640492" y="3753285"/>
            <a:ext cx="2241967" cy="931024"/>
          </a:xfrm>
          <a:prstGeom prst="rect">
            <a:avLst/>
          </a:prstGeom>
        </p:spPr>
        <p:txBody>
          <a:bodyPr wrap="square">
            <a:spAutoFit/>
          </a:bodyPr>
          <a:lstStyle/>
          <a:p>
            <a:pPr algn="ctr">
              <a:buClr>
                <a:srgbClr val="E24848"/>
              </a:buClr>
              <a:defRPr/>
            </a:pPr>
            <a:r>
              <a:rPr lang="en-US" sz="11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endParaRPr lang="en-US" sz="1100" noProof="1">
              <a:solidFill>
                <a:schemeClr val="tx1">
                  <a:lumMod val="65000"/>
                  <a:lumOff val="35000"/>
                </a:schemeClr>
              </a:solidFill>
              <a:latin typeface="+mj-lt"/>
              <a:ea typeface="Open Sans Light" panose="020B0306030504020204" pitchFamily="34" charset="0"/>
              <a:cs typeface="Open Sans Light" panose="020B0306030504020204" pitchFamily="34" charset="0"/>
            </a:endParaRPr>
          </a:p>
          <a:p>
            <a:pPr algn="ctr">
              <a:buClr>
                <a:srgbClr val="E24848"/>
              </a:buClr>
              <a:defRPr/>
            </a:pPr>
            <a:r>
              <a:rPr lang="en-US" sz="11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Aliquam erat volutpat. </a:t>
            </a:r>
            <a:endParaRPr lang="en-US" sz="1100" noProof="1">
              <a:solidFill>
                <a:schemeClr val="tx1">
                  <a:lumMod val="65000"/>
                  <a:lumOff val="35000"/>
                </a:schemeClr>
              </a:solidFill>
              <a:latin typeface="+mj-lt"/>
              <a:ea typeface="Open Sans Light" panose="020B0306030504020204" pitchFamily="34" charset="0"/>
              <a:cs typeface="Open Sans Light" panose="020B0306030504020204" pitchFamily="34" charset="0"/>
            </a:endParaRPr>
          </a:p>
        </p:txBody>
      </p:sp>
      <p:sp>
        <p:nvSpPr>
          <p:cNvPr id="31" name="Title 1"/>
          <p:cNvSpPr txBox="1"/>
          <p:nvPr/>
        </p:nvSpPr>
        <p:spPr>
          <a:xfrm>
            <a:off x="9199527" y="3318308"/>
            <a:ext cx="1123895" cy="413547"/>
          </a:xfrm>
          <a:prstGeom prst="rect">
            <a:avLst/>
          </a:prstGeom>
        </p:spPr>
        <p:txBody>
          <a:bodyPr wrap="non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1800"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Market</a:t>
            </a:r>
            <a:endParaRPr lang="en-US" sz="1800"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grpSp>
        <p:nvGrpSpPr>
          <p:cNvPr id="38" name="Group 37"/>
          <p:cNvGrpSpPr/>
          <p:nvPr/>
        </p:nvGrpSpPr>
        <p:grpSpPr>
          <a:xfrm>
            <a:off x="2315433" y="2664302"/>
            <a:ext cx="542067" cy="482613"/>
            <a:chOff x="2128838" y="233363"/>
            <a:chExt cx="738188" cy="657224"/>
          </a:xfrm>
          <a:solidFill>
            <a:schemeClr val="tx1">
              <a:lumMod val="85000"/>
              <a:lumOff val="15000"/>
            </a:schemeClr>
          </a:solidFill>
        </p:grpSpPr>
        <p:sp>
          <p:nvSpPr>
            <p:cNvPr id="39" name="Freeform 26"/>
            <p:cNvSpPr>
              <a:spLocks noEditPoints="1"/>
            </p:cNvSpPr>
            <p:nvPr/>
          </p:nvSpPr>
          <p:spPr bwMode="auto">
            <a:xfrm>
              <a:off x="2174875" y="233363"/>
              <a:ext cx="219075" cy="219075"/>
            </a:xfrm>
            <a:custGeom>
              <a:avLst/>
              <a:gdLst>
                <a:gd name="T0" fmla="*/ 70 w 138"/>
                <a:gd name="T1" fmla="*/ 138 h 138"/>
                <a:gd name="T2" fmla="*/ 83 w 138"/>
                <a:gd name="T3" fmla="*/ 137 h 138"/>
                <a:gd name="T4" fmla="*/ 96 w 138"/>
                <a:gd name="T5" fmla="*/ 133 h 138"/>
                <a:gd name="T6" fmla="*/ 108 w 138"/>
                <a:gd name="T7" fmla="*/ 126 h 138"/>
                <a:gd name="T8" fmla="*/ 118 w 138"/>
                <a:gd name="T9" fmla="*/ 118 h 138"/>
                <a:gd name="T10" fmla="*/ 127 w 138"/>
                <a:gd name="T11" fmla="*/ 108 h 138"/>
                <a:gd name="T12" fmla="*/ 133 w 138"/>
                <a:gd name="T13" fmla="*/ 96 h 138"/>
                <a:gd name="T14" fmla="*/ 137 w 138"/>
                <a:gd name="T15" fmla="*/ 83 h 138"/>
                <a:gd name="T16" fmla="*/ 138 w 138"/>
                <a:gd name="T17" fmla="*/ 68 h 138"/>
                <a:gd name="T18" fmla="*/ 138 w 138"/>
                <a:gd name="T19" fmla="*/ 61 h 138"/>
                <a:gd name="T20" fmla="*/ 135 w 138"/>
                <a:gd name="T21" fmla="*/ 48 h 138"/>
                <a:gd name="T22" fmla="*/ 130 w 138"/>
                <a:gd name="T23" fmla="*/ 36 h 138"/>
                <a:gd name="T24" fmla="*/ 123 w 138"/>
                <a:gd name="T25" fmla="*/ 25 h 138"/>
                <a:gd name="T26" fmla="*/ 113 w 138"/>
                <a:gd name="T27" fmla="*/ 15 h 138"/>
                <a:gd name="T28" fmla="*/ 102 w 138"/>
                <a:gd name="T29" fmla="*/ 8 h 138"/>
                <a:gd name="T30" fmla="*/ 90 w 138"/>
                <a:gd name="T31" fmla="*/ 3 h 138"/>
                <a:gd name="T32" fmla="*/ 77 w 138"/>
                <a:gd name="T33" fmla="*/ 0 h 138"/>
                <a:gd name="T34" fmla="*/ 70 w 138"/>
                <a:gd name="T35" fmla="*/ 0 h 138"/>
                <a:gd name="T36" fmla="*/ 56 w 138"/>
                <a:gd name="T37" fmla="*/ 1 h 138"/>
                <a:gd name="T38" fmla="*/ 43 w 138"/>
                <a:gd name="T39" fmla="*/ 5 h 138"/>
                <a:gd name="T40" fmla="*/ 31 w 138"/>
                <a:gd name="T41" fmla="*/ 11 h 138"/>
                <a:gd name="T42" fmla="*/ 20 w 138"/>
                <a:gd name="T43" fmla="*/ 20 h 138"/>
                <a:gd name="T44" fmla="*/ 12 w 138"/>
                <a:gd name="T45" fmla="*/ 30 h 138"/>
                <a:gd name="T46" fmla="*/ 5 w 138"/>
                <a:gd name="T47" fmla="*/ 42 h 138"/>
                <a:gd name="T48" fmla="*/ 1 w 138"/>
                <a:gd name="T49" fmla="*/ 55 h 138"/>
                <a:gd name="T50" fmla="*/ 0 w 138"/>
                <a:gd name="T51" fmla="*/ 68 h 138"/>
                <a:gd name="T52" fmla="*/ 0 w 138"/>
                <a:gd name="T53" fmla="*/ 76 h 138"/>
                <a:gd name="T54" fmla="*/ 3 w 138"/>
                <a:gd name="T55" fmla="*/ 90 h 138"/>
                <a:gd name="T56" fmla="*/ 8 w 138"/>
                <a:gd name="T57" fmla="*/ 102 h 138"/>
                <a:gd name="T58" fmla="*/ 16 w 138"/>
                <a:gd name="T59" fmla="*/ 113 h 138"/>
                <a:gd name="T60" fmla="*/ 26 w 138"/>
                <a:gd name="T61" fmla="*/ 123 h 138"/>
                <a:gd name="T62" fmla="*/ 37 w 138"/>
                <a:gd name="T63" fmla="*/ 130 h 138"/>
                <a:gd name="T64" fmla="*/ 49 w 138"/>
                <a:gd name="T65" fmla="*/ 135 h 138"/>
                <a:gd name="T66" fmla="*/ 63 w 138"/>
                <a:gd name="T67" fmla="*/ 138 h 138"/>
                <a:gd name="T68" fmla="*/ 70 w 138"/>
                <a:gd name="T69" fmla="*/ 138 h 138"/>
                <a:gd name="T70" fmla="*/ 70 w 138"/>
                <a:gd name="T71" fmla="*/ 19 h 138"/>
                <a:gd name="T72" fmla="*/ 89 w 138"/>
                <a:gd name="T73" fmla="*/ 23 h 138"/>
                <a:gd name="T74" fmla="*/ 104 w 138"/>
                <a:gd name="T75" fmla="*/ 34 h 138"/>
                <a:gd name="T76" fmla="*/ 115 w 138"/>
                <a:gd name="T77" fmla="*/ 49 h 138"/>
                <a:gd name="T78" fmla="*/ 119 w 138"/>
                <a:gd name="T79" fmla="*/ 68 h 138"/>
                <a:gd name="T80" fmla="*/ 118 w 138"/>
                <a:gd name="T81" fmla="*/ 79 h 138"/>
                <a:gd name="T82" fmla="*/ 110 w 138"/>
                <a:gd name="T83" fmla="*/ 97 h 138"/>
                <a:gd name="T84" fmla="*/ 97 w 138"/>
                <a:gd name="T85" fmla="*/ 110 h 138"/>
                <a:gd name="T86" fmla="*/ 80 w 138"/>
                <a:gd name="T87" fmla="*/ 118 h 138"/>
                <a:gd name="T88" fmla="*/ 70 w 138"/>
                <a:gd name="T89" fmla="*/ 119 h 138"/>
                <a:gd name="T90" fmla="*/ 51 w 138"/>
                <a:gd name="T91" fmla="*/ 115 h 138"/>
                <a:gd name="T92" fmla="*/ 35 w 138"/>
                <a:gd name="T93" fmla="*/ 104 h 138"/>
                <a:gd name="T94" fmla="*/ 24 w 138"/>
                <a:gd name="T95" fmla="*/ 89 h 138"/>
                <a:gd name="T96" fmla="*/ 20 w 138"/>
                <a:gd name="T97" fmla="*/ 68 h 138"/>
                <a:gd name="T98" fmla="*/ 22 w 138"/>
                <a:gd name="T99" fmla="*/ 59 h 138"/>
                <a:gd name="T100" fmla="*/ 29 w 138"/>
                <a:gd name="T101" fmla="*/ 41 h 138"/>
                <a:gd name="T102" fmla="*/ 42 w 138"/>
                <a:gd name="T103" fmla="*/ 28 h 138"/>
                <a:gd name="T104" fmla="*/ 60 w 138"/>
                <a:gd name="T105" fmla="*/ 20 h 138"/>
                <a:gd name="T106" fmla="*/ 70 w 138"/>
                <a:gd name="T107" fmla="*/ 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8" h="138">
                  <a:moveTo>
                    <a:pt x="70" y="138"/>
                  </a:moveTo>
                  <a:lnTo>
                    <a:pt x="70" y="138"/>
                  </a:lnTo>
                  <a:lnTo>
                    <a:pt x="77" y="138"/>
                  </a:lnTo>
                  <a:lnTo>
                    <a:pt x="83" y="137"/>
                  </a:lnTo>
                  <a:lnTo>
                    <a:pt x="90" y="135"/>
                  </a:lnTo>
                  <a:lnTo>
                    <a:pt x="96" y="133"/>
                  </a:lnTo>
                  <a:lnTo>
                    <a:pt x="102" y="130"/>
                  </a:lnTo>
                  <a:lnTo>
                    <a:pt x="108" y="126"/>
                  </a:lnTo>
                  <a:lnTo>
                    <a:pt x="113" y="123"/>
                  </a:lnTo>
                  <a:lnTo>
                    <a:pt x="118" y="118"/>
                  </a:lnTo>
                  <a:lnTo>
                    <a:pt x="123" y="113"/>
                  </a:lnTo>
                  <a:lnTo>
                    <a:pt x="127" y="108"/>
                  </a:lnTo>
                  <a:lnTo>
                    <a:pt x="130" y="102"/>
                  </a:lnTo>
                  <a:lnTo>
                    <a:pt x="133" y="96"/>
                  </a:lnTo>
                  <a:lnTo>
                    <a:pt x="135" y="90"/>
                  </a:lnTo>
                  <a:lnTo>
                    <a:pt x="137" y="83"/>
                  </a:lnTo>
                  <a:lnTo>
                    <a:pt x="138" y="76"/>
                  </a:lnTo>
                  <a:lnTo>
                    <a:pt x="138" y="68"/>
                  </a:lnTo>
                  <a:lnTo>
                    <a:pt x="138" y="68"/>
                  </a:lnTo>
                  <a:lnTo>
                    <a:pt x="138" y="61"/>
                  </a:lnTo>
                  <a:lnTo>
                    <a:pt x="137" y="55"/>
                  </a:lnTo>
                  <a:lnTo>
                    <a:pt x="135" y="48"/>
                  </a:lnTo>
                  <a:lnTo>
                    <a:pt x="133" y="42"/>
                  </a:lnTo>
                  <a:lnTo>
                    <a:pt x="130" y="36"/>
                  </a:lnTo>
                  <a:lnTo>
                    <a:pt x="127" y="30"/>
                  </a:lnTo>
                  <a:lnTo>
                    <a:pt x="123" y="25"/>
                  </a:lnTo>
                  <a:lnTo>
                    <a:pt x="118" y="20"/>
                  </a:lnTo>
                  <a:lnTo>
                    <a:pt x="113" y="15"/>
                  </a:lnTo>
                  <a:lnTo>
                    <a:pt x="108" y="11"/>
                  </a:lnTo>
                  <a:lnTo>
                    <a:pt x="102" y="8"/>
                  </a:lnTo>
                  <a:lnTo>
                    <a:pt x="96" y="5"/>
                  </a:lnTo>
                  <a:lnTo>
                    <a:pt x="90" y="3"/>
                  </a:lnTo>
                  <a:lnTo>
                    <a:pt x="83" y="1"/>
                  </a:lnTo>
                  <a:lnTo>
                    <a:pt x="77" y="0"/>
                  </a:lnTo>
                  <a:lnTo>
                    <a:pt x="70" y="0"/>
                  </a:lnTo>
                  <a:lnTo>
                    <a:pt x="70" y="0"/>
                  </a:lnTo>
                  <a:lnTo>
                    <a:pt x="63" y="0"/>
                  </a:lnTo>
                  <a:lnTo>
                    <a:pt x="56" y="1"/>
                  </a:lnTo>
                  <a:lnTo>
                    <a:pt x="49" y="3"/>
                  </a:lnTo>
                  <a:lnTo>
                    <a:pt x="43" y="5"/>
                  </a:lnTo>
                  <a:lnTo>
                    <a:pt x="37" y="8"/>
                  </a:lnTo>
                  <a:lnTo>
                    <a:pt x="31" y="11"/>
                  </a:lnTo>
                  <a:lnTo>
                    <a:pt x="26" y="15"/>
                  </a:lnTo>
                  <a:lnTo>
                    <a:pt x="20" y="20"/>
                  </a:lnTo>
                  <a:lnTo>
                    <a:pt x="16" y="25"/>
                  </a:lnTo>
                  <a:lnTo>
                    <a:pt x="12" y="30"/>
                  </a:lnTo>
                  <a:lnTo>
                    <a:pt x="8" y="36"/>
                  </a:lnTo>
                  <a:lnTo>
                    <a:pt x="5" y="42"/>
                  </a:lnTo>
                  <a:lnTo>
                    <a:pt x="3" y="48"/>
                  </a:lnTo>
                  <a:lnTo>
                    <a:pt x="1" y="55"/>
                  </a:lnTo>
                  <a:lnTo>
                    <a:pt x="0" y="61"/>
                  </a:lnTo>
                  <a:lnTo>
                    <a:pt x="0" y="68"/>
                  </a:lnTo>
                  <a:lnTo>
                    <a:pt x="0" y="68"/>
                  </a:lnTo>
                  <a:lnTo>
                    <a:pt x="0" y="76"/>
                  </a:lnTo>
                  <a:lnTo>
                    <a:pt x="1" y="83"/>
                  </a:lnTo>
                  <a:lnTo>
                    <a:pt x="3" y="90"/>
                  </a:lnTo>
                  <a:lnTo>
                    <a:pt x="5" y="96"/>
                  </a:lnTo>
                  <a:lnTo>
                    <a:pt x="8" y="102"/>
                  </a:lnTo>
                  <a:lnTo>
                    <a:pt x="12" y="108"/>
                  </a:lnTo>
                  <a:lnTo>
                    <a:pt x="16" y="113"/>
                  </a:lnTo>
                  <a:lnTo>
                    <a:pt x="20" y="118"/>
                  </a:lnTo>
                  <a:lnTo>
                    <a:pt x="26" y="123"/>
                  </a:lnTo>
                  <a:lnTo>
                    <a:pt x="31" y="126"/>
                  </a:lnTo>
                  <a:lnTo>
                    <a:pt x="37" y="130"/>
                  </a:lnTo>
                  <a:lnTo>
                    <a:pt x="43" y="133"/>
                  </a:lnTo>
                  <a:lnTo>
                    <a:pt x="49" y="135"/>
                  </a:lnTo>
                  <a:lnTo>
                    <a:pt x="56" y="137"/>
                  </a:lnTo>
                  <a:lnTo>
                    <a:pt x="63" y="138"/>
                  </a:lnTo>
                  <a:lnTo>
                    <a:pt x="70" y="138"/>
                  </a:lnTo>
                  <a:lnTo>
                    <a:pt x="70" y="138"/>
                  </a:lnTo>
                  <a:close/>
                  <a:moveTo>
                    <a:pt x="70" y="19"/>
                  </a:moveTo>
                  <a:lnTo>
                    <a:pt x="70" y="19"/>
                  </a:lnTo>
                  <a:lnTo>
                    <a:pt x="80" y="20"/>
                  </a:lnTo>
                  <a:lnTo>
                    <a:pt x="89" y="23"/>
                  </a:lnTo>
                  <a:lnTo>
                    <a:pt x="97" y="28"/>
                  </a:lnTo>
                  <a:lnTo>
                    <a:pt x="104" y="34"/>
                  </a:lnTo>
                  <a:lnTo>
                    <a:pt x="110" y="41"/>
                  </a:lnTo>
                  <a:lnTo>
                    <a:pt x="115" y="49"/>
                  </a:lnTo>
                  <a:lnTo>
                    <a:pt x="118" y="59"/>
                  </a:lnTo>
                  <a:lnTo>
                    <a:pt x="119" y="68"/>
                  </a:lnTo>
                  <a:lnTo>
                    <a:pt x="119" y="68"/>
                  </a:lnTo>
                  <a:lnTo>
                    <a:pt x="118" y="79"/>
                  </a:lnTo>
                  <a:lnTo>
                    <a:pt x="115" y="89"/>
                  </a:lnTo>
                  <a:lnTo>
                    <a:pt x="110" y="97"/>
                  </a:lnTo>
                  <a:lnTo>
                    <a:pt x="104" y="104"/>
                  </a:lnTo>
                  <a:lnTo>
                    <a:pt x="97" y="110"/>
                  </a:lnTo>
                  <a:lnTo>
                    <a:pt x="89" y="115"/>
                  </a:lnTo>
                  <a:lnTo>
                    <a:pt x="80" y="118"/>
                  </a:lnTo>
                  <a:lnTo>
                    <a:pt x="70" y="119"/>
                  </a:lnTo>
                  <a:lnTo>
                    <a:pt x="70" y="119"/>
                  </a:lnTo>
                  <a:lnTo>
                    <a:pt x="60" y="118"/>
                  </a:lnTo>
                  <a:lnTo>
                    <a:pt x="51" y="115"/>
                  </a:lnTo>
                  <a:lnTo>
                    <a:pt x="42" y="110"/>
                  </a:lnTo>
                  <a:lnTo>
                    <a:pt x="35" y="104"/>
                  </a:lnTo>
                  <a:lnTo>
                    <a:pt x="29" y="97"/>
                  </a:lnTo>
                  <a:lnTo>
                    <a:pt x="24" y="89"/>
                  </a:lnTo>
                  <a:lnTo>
                    <a:pt x="22" y="79"/>
                  </a:lnTo>
                  <a:lnTo>
                    <a:pt x="20" y="68"/>
                  </a:lnTo>
                  <a:lnTo>
                    <a:pt x="20" y="68"/>
                  </a:lnTo>
                  <a:lnTo>
                    <a:pt x="22" y="59"/>
                  </a:lnTo>
                  <a:lnTo>
                    <a:pt x="24" y="49"/>
                  </a:lnTo>
                  <a:lnTo>
                    <a:pt x="29" y="41"/>
                  </a:lnTo>
                  <a:lnTo>
                    <a:pt x="35" y="34"/>
                  </a:lnTo>
                  <a:lnTo>
                    <a:pt x="42" y="28"/>
                  </a:lnTo>
                  <a:lnTo>
                    <a:pt x="51" y="23"/>
                  </a:lnTo>
                  <a:lnTo>
                    <a:pt x="60" y="20"/>
                  </a:lnTo>
                  <a:lnTo>
                    <a:pt x="70" y="19"/>
                  </a:lnTo>
                  <a:lnTo>
                    <a:pt x="70" y="1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350"/>
            </a:p>
          </p:txBody>
        </p:sp>
        <p:sp>
          <p:nvSpPr>
            <p:cNvPr id="40" name="Freeform 27"/>
            <p:cNvSpPr>
              <a:spLocks noEditPoints="1"/>
            </p:cNvSpPr>
            <p:nvPr/>
          </p:nvSpPr>
          <p:spPr bwMode="auto">
            <a:xfrm>
              <a:off x="2601913" y="233363"/>
              <a:ext cx="219075" cy="219075"/>
            </a:xfrm>
            <a:custGeom>
              <a:avLst/>
              <a:gdLst>
                <a:gd name="T0" fmla="*/ 70 w 138"/>
                <a:gd name="T1" fmla="*/ 138 h 138"/>
                <a:gd name="T2" fmla="*/ 83 w 138"/>
                <a:gd name="T3" fmla="*/ 137 h 138"/>
                <a:gd name="T4" fmla="*/ 96 w 138"/>
                <a:gd name="T5" fmla="*/ 133 h 138"/>
                <a:gd name="T6" fmla="*/ 108 w 138"/>
                <a:gd name="T7" fmla="*/ 126 h 138"/>
                <a:gd name="T8" fmla="*/ 118 w 138"/>
                <a:gd name="T9" fmla="*/ 118 h 138"/>
                <a:gd name="T10" fmla="*/ 127 w 138"/>
                <a:gd name="T11" fmla="*/ 108 h 138"/>
                <a:gd name="T12" fmla="*/ 133 w 138"/>
                <a:gd name="T13" fmla="*/ 96 h 138"/>
                <a:gd name="T14" fmla="*/ 137 w 138"/>
                <a:gd name="T15" fmla="*/ 83 h 138"/>
                <a:gd name="T16" fmla="*/ 138 w 138"/>
                <a:gd name="T17" fmla="*/ 68 h 138"/>
                <a:gd name="T18" fmla="*/ 138 w 138"/>
                <a:gd name="T19" fmla="*/ 61 h 138"/>
                <a:gd name="T20" fmla="*/ 135 w 138"/>
                <a:gd name="T21" fmla="*/ 48 h 138"/>
                <a:gd name="T22" fmla="*/ 130 w 138"/>
                <a:gd name="T23" fmla="*/ 36 h 138"/>
                <a:gd name="T24" fmla="*/ 123 w 138"/>
                <a:gd name="T25" fmla="*/ 25 h 138"/>
                <a:gd name="T26" fmla="*/ 113 w 138"/>
                <a:gd name="T27" fmla="*/ 15 h 138"/>
                <a:gd name="T28" fmla="*/ 102 w 138"/>
                <a:gd name="T29" fmla="*/ 8 h 138"/>
                <a:gd name="T30" fmla="*/ 90 w 138"/>
                <a:gd name="T31" fmla="*/ 3 h 138"/>
                <a:gd name="T32" fmla="*/ 77 w 138"/>
                <a:gd name="T33" fmla="*/ 0 h 138"/>
                <a:gd name="T34" fmla="*/ 70 w 138"/>
                <a:gd name="T35" fmla="*/ 0 h 138"/>
                <a:gd name="T36" fmla="*/ 56 w 138"/>
                <a:gd name="T37" fmla="*/ 1 h 138"/>
                <a:gd name="T38" fmla="*/ 42 w 138"/>
                <a:gd name="T39" fmla="*/ 5 h 138"/>
                <a:gd name="T40" fmla="*/ 30 w 138"/>
                <a:gd name="T41" fmla="*/ 11 h 138"/>
                <a:gd name="T42" fmla="*/ 20 w 138"/>
                <a:gd name="T43" fmla="*/ 20 h 138"/>
                <a:gd name="T44" fmla="*/ 12 w 138"/>
                <a:gd name="T45" fmla="*/ 30 h 138"/>
                <a:gd name="T46" fmla="*/ 5 w 138"/>
                <a:gd name="T47" fmla="*/ 42 h 138"/>
                <a:gd name="T48" fmla="*/ 1 w 138"/>
                <a:gd name="T49" fmla="*/ 55 h 138"/>
                <a:gd name="T50" fmla="*/ 0 w 138"/>
                <a:gd name="T51" fmla="*/ 68 h 138"/>
                <a:gd name="T52" fmla="*/ 0 w 138"/>
                <a:gd name="T53" fmla="*/ 76 h 138"/>
                <a:gd name="T54" fmla="*/ 3 w 138"/>
                <a:gd name="T55" fmla="*/ 90 h 138"/>
                <a:gd name="T56" fmla="*/ 8 w 138"/>
                <a:gd name="T57" fmla="*/ 102 h 138"/>
                <a:gd name="T58" fmla="*/ 16 w 138"/>
                <a:gd name="T59" fmla="*/ 113 h 138"/>
                <a:gd name="T60" fmla="*/ 25 w 138"/>
                <a:gd name="T61" fmla="*/ 123 h 138"/>
                <a:gd name="T62" fmla="*/ 36 w 138"/>
                <a:gd name="T63" fmla="*/ 130 h 138"/>
                <a:gd name="T64" fmla="*/ 49 w 138"/>
                <a:gd name="T65" fmla="*/ 135 h 138"/>
                <a:gd name="T66" fmla="*/ 63 w 138"/>
                <a:gd name="T67" fmla="*/ 138 h 138"/>
                <a:gd name="T68" fmla="*/ 70 w 138"/>
                <a:gd name="T69" fmla="*/ 138 h 138"/>
                <a:gd name="T70" fmla="*/ 70 w 138"/>
                <a:gd name="T71" fmla="*/ 19 h 138"/>
                <a:gd name="T72" fmla="*/ 89 w 138"/>
                <a:gd name="T73" fmla="*/ 23 h 138"/>
                <a:gd name="T74" fmla="*/ 104 w 138"/>
                <a:gd name="T75" fmla="*/ 34 h 138"/>
                <a:gd name="T76" fmla="*/ 115 w 138"/>
                <a:gd name="T77" fmla="*/ 49 h 138"/>
                <a:gd name="T78" fmla="*/ 119 w 138"/>
                <a:gd name="T79" fmla="*/ 68 h 138"/>
                <a:gd name="T80" fmla="*/ 118 w 138"/>
                <a:gd name="T81" fmla="*/ 79 h 138"/>
                <a:gd name="T82" fmla="*/ 110 w 138"/>
                <a:gd name="T83" fmla="*/ 97 h 138"/>
                <a:gd name="T84" fmla="*/ 97 w 138"/>
                <a:gd name="T85" fmla="*/ 110 h 138"/>
                <a:gd name="T86" fmla="*/ 79 w 138"/>
                <a:gd name="T87" fmla="*/ 118 h 138"/>
                <a:gd name="T88" fmla="*/ 70 w 138"/>
                <a:gd name="T89" fmla="*/ 119 h 138"/>
                <a:gd name="T90" fmla="*/ 50 w 138"/>
                <a:gd name="T91" fmla="*/ 115 h 138"/>
                <a:gd name="T92" fmla="*/ 34 w 138"/>
                <a:gd name="T93" fmla="*/ 104 h 138"/>
                <a:gd name="T94" fmla="*/ 23 w 138"/>
                <a:gd name="T95" fmla="*/ 89 h 138"/>
                <a:gd name="T96" fmla="*/ 20 w 138"/>
                <a:gd name="T97" fmla="*/ 68 h 138"/>
                <a:gd name="T98" fmla="*/ 21 w 138"/>
                <a:gd name="T99" fmla="*/ 59 h 138"/>
                <a:gd name="T100" fmla="*/ 28 w 138"/>
                <a:gd name="T101" fmla="*/ 41 h 138"/>
                <a:gd name="T102" fmla="*/ 41 w 138"/>
                <a:gd name="T103" fmla="*/ 28 h 138"/>
                <a:gd name="T104" fmla="*/ 60 w 138"/>
                <a:gd name="T105" fmla="*/ 20 h 138"/>
                <a:gd name="T106" fmla="*/ 70 w 138"/>
                <a:gd name="T107" fmla="*/ 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8" h="138">
                  <a:moveTo>
                    <a:pt x="70" y="138"/>
                  </a:moveTo>
                  <a:lnTo>
                    <a:pt x="70" y="138"/>
                  </a:lnTo>
                  <a:lnTo>
                    <a:pt x="77" y="138"/>
                  </a:lnTo>
                  <a:lnTo>
                    <a:pt x="83" y="137"/>
                  </a:lnTo>
                  <a:lnTo>
                    <a:pt x="90" y="135"/>
                  </a:lnTo>
                  <a:lnTo>
                    <a:pt x="96" y="133"/>
                  </a:lnTo>
                  <a:lnTo>
                    <a:pt x="102" y="130"/>
                  </a:lnTo>
                  <a:lnTo>
                    <a:pt x="108" y="126"/>
                  </a:lnTo>
                  <a:lnTo>
                    <a:pt x="113" y="123"/>
                  </a:lnTo>
                  <a:lnTo>
                    <a:pt x="118" y="118"/>
                  </a:lnTo>
                  <a:lnTo>
                    <a:pt x="123" y="113"/>
                  </a:lnTo>
                  <a:lnTo>
                    <a:pt x="127" y="108"/>
                  </a:lnTo>
                  <a:lnTo>
                    <a:pt x="130" y="102"/>
                  </a:lnTo>
                  <a:lnTo>
                    <a:pt x="133" y="96"/>
                  </a:lnTo>
                  <a:lnTo>
                    <a:pt x="135" y="90"/>
                  </a:lnTo>
                  <a:lnTo>
                    <a:pt x="137" y="83"/>
                  </a:lnTo>
                  <a:lnTo>
                    <a:pt x="138" y="76"/>
                  </a:lnTo>
                  <a:lnTo>
                    <a:pt x="138" y="68"/>
                  </a:lnTo>
                  <a:lnTo>
                    <a:pt x="138" y="68"/>
                  </a:lnTo>
                  <a:lnTo>
                    <a:pt x="138" y="61"/>
                  </a:lnTo>
                  <a:lnTo>
                    <a:pt x="137" y="55"/>
                  </a:lnTo>
                  <a:lnTo>
                    <a:pt x="135" y="48"/>
                  </a:lnTo>
                  <a:lnTo>
                    <a:pt x="133" y="42"/>
                  </a:lnTo>
                  <a:lnTo>
                    <a:pt x="130" y="36"/>
                  </a:lnTo>
                  <a:lnTo>
                    <a:pt x="127" y="30"/>
                  </a:lnTo>
                  <a:lnTo>
                    <a:pt x="123" y="25"/>
                  </a:lnTo>
                  <a:lnTo>
                    <a:pt x="118" y="20"/>
                  </a:lnTo>
                  <a:lnTo>
                    <a:pt x="113" y="15"/>
                  </a:lnTo>
                  <a:lnTo>
                    <a:pt x="108" y="11"/>
                  </a:lnTo>
                  <a:lnTo>
                    <a:pt x="102" y="8"/>
                  </a:lnTo>
                  <a:lnTo>
                    <a:pt x="96" y="5"/>
                  </a:lnTo>
                  <a:lnTo>
                    <a:pt x="90" y="3"/>
                  </a:lnTo>
                  <a:lnTo>
                    <a:pt x="83" y="1"/>
                  </a:lnTo>
                  <a:lnTo>
                    <a:pt x="77" y="0"/>
                  </a:lnTo>
                  <a:lnTo>
                    <a:pt x="70" y="0"/>
                  </a:lnTo>
                  <a:lnTo>
                    <a:pt x="70" y="0"/>
                  </a:lnTo>
                  <a:lnTo>
                    <a:pt x="63" y="0"/>
                  </a:lnTo>
                  <a:lnTo>
                    <a:pt x="56" y="1"/>
                  </a:lnTo>
                  <a:lnTo>
                    <a:pt x="49" y="3"/>
                  </a:lnTo>
                  <a:lnTo>
                    <a:pt x="42" y="5"/>
                  </a:lnTo>
                  <a:lnTo>
                    <a:pt x="36" y="8"/>
                  </a:lnTo>
                  <a:lnTo>
                    <a:pt x="30" y="11"/>
                  </a:lnTo>
                  <a:lnTo>
                    <a:pt x="25" y="15"/>
                  </a:lnTo>
                  <a:lnTo>
                    <a:pt x="20" y="20"/>
                  </a:lnTo>
                  <a:lnTo>
                    <a:pt x="16" y="25"/>
                  </a:lnTo>
                  <a:lnTo>
                    <a:pt x="12" y="30"/>
                  </a:lnTo>
                  <a:lnTo>
                    <a:pt x="8" y="36"/>
                  </a:lnTo>
                  <a:lnTo>
                    <a:pt x="5" y="42"/>
                  </a:lnTo>
                  <a:lnTo>
                    <a:pt x="3" y="48"/>
                  </a:lnTo>
                  <a:lnTo>
                    <a:pt x="1" y="55"/>
                  </a:lnTo>
                  <a:lnTo>
                    <a:pt x="0" y="61"/>
                  </a:lnTo>
                  <a:lnTo>
                    <a:pt x="0" y="68"/>
                  </a:lnTo>
                  <a:lnTo>
                    <a:pt x="0" y="68"/>
                  </a:lnTo>
                  <a:lnTo>
                    <a:pt x="0" y="76"/>
                  </a:lnTo>
                  <a:lnTo>
                    <a:pt x="1" y="83"/>
                  </a:lnTo>
                  <a:lnTo>
                    <a:pt x="3" y="90"/>
                  </a:lnTo>
                  <a:lnTo>
                    <a:pt x="5" y="96"/>
                  </a:lnTo>
                  <a:lnTo>
                    <a:pt x="8" y="102"/>
                  </a:lnTo>
                  <a:lnTo>
                    <a:pt x="12" y="108"/>
                  </a:lnTo>
                  <a:lnTo>
                    <a:pt x="16" y="113"/>
                  </a:lnTo>
                  <a:lnTo>
                    <a:pt x="20" y="118"/>
                  </a:lnTo>
                  <a:lnTo>
                    <a:pt x="25" y="123"/>
                  </a:lnTo>
                  <a:lnTo>
                    <a:pt x="30" y="126"/>
                  </a:lnTo>
                  <a:lnTo>
                    <a:pt x="36" y="130"/>
                  </a:lnTo>
                  <a:lnTo>
                    <a:pt x="42" y="133"/>
                  </a:lnTo>
                  <a:lnTo>
                    <a:pt x="49" y="135"/>
                  </a:lnTo>
                  <a:lnTo>
                    <a:pt x="56" y="137"/>
                  </a:lnTo>
                  <a:lnTo>
                    <a:pt x="63" y="138"/>
                  </a:lnTo>
                  <a:lnTo>
                    <a:pt x="70" y="138"/>
                  </a:lnTo>
                  <a:lnTo>
                    <a:pt x="70" y="138"/>
                  </a:lnTo>
                  <a:close/>
                  <a:moveTo>
                    <a:pt x="70" y="19"/>
                  </a:moveTo>
                  <a:lnTo>
                    <a:pt x="70" y="19"/>
                  </a:lnTo>
                  <a:lnTo>
                    <a:pt x="79" y="20"/>
                  </a:lnTo>
                  <a:lnTo>
                    <a:pt x="89" y="23"/>
                  </a:lnTo>
                  <a:lnTo>
                    <a:pt x="97" y="28"/>
                  </a:lnTo>
                  <a:lnTo>
                    <a:pt x="104" y="34"/>
                  </a:lnTo>
                  <a:lnTo>
                    <a:pt x="110" y="41"/>
                  </a:lnTo>
                  <a:lnTo>
                    <a:pt x="115" y="49"/>
                  </a:lnTo>
                  <a:lnTo>
                    <a:pt x="118" y="59"/>
                  </a:lnTo>
                  <a:lnTo>
                    <a:pt x="119" y="68"/>
                  </a:lnTo>
                  <a:lnTo>
                    <a:pt x="119" y="68"/>
                  </a:lnTo>
                  <a:lnTo>
                    <a:pt x="118" y="79"/>
                  </a:lnTo>
                  <a:lnTo>
                    <a:pt x="115" y="89"/>
                  </a:lnTo>
                  <a:lnTo>
                    <a:pt x="110" y="97"/>
                  </a:lnTo>
                  <a:lnTo>
                    <a:pt x="104" y="104"/>
                  </a:lnTo>
                  <a:lnTo>
                    <a:pt x="97" y="110"/>
                  </a:lnTo>
                  <a:lnTo>
                    <a:pt x="89" y="115"/>
                  </a:lnTo>
                  <a:lnTo>
                    <a:pt x="79" y="118"/>
                  </a:lnTo>
                  <a:lnTo>
                    <a:pt x="70" y="119"/>
                  </a:lnTo>
                  <a:lnTo>
                    <a:pt x="70" y="119"/>
                  </a:lnTo>
                  <a:lnTo>
                    <a:pt x="60" y="118"/>
                  </a:lnTo>
                  <a:lnTo>
                    <a:pt x="50" y="115"/>
                  </a:lnTo>
                  <a:lnTo>
                    <a:pt x="41" y="110"/>
                  </a:lnTo>
                  <a:lnTo>
                    <a:pt x="34" y="104"/>
                  </a:lnTo>
                  <a:lnTo>
                    <a:pt x="28" y="97"/>
                  </a:lnTo>
                  <a:lnTo>
                    <a:pt x="23" y="89"/>
                  </a:lnTo>
                  <a:lnTo>
                    <a:pt x="21" y="79"/>
                  </a:lnTo>
                  <a:lnTo>
                    <a:pt x="20" y="68"/>
                  </a:lnTo>
                  <a:lnTo>
                    <a:pt x="20" y="68"/>
                  </a:lnTo>
                  <a:lnTo>
                    <a:pt x="21" y="59"/>
                  </a:lnTo>
                  <a:lnTo>
                    <a:pt x="23" y="49"/>
                  </a:lnTo>
                  <a:lnTo>
                    <a:pt x="28" y="41"/>
                  </a:lnTo>
                  <a:lnTo>
                    <a:pt x="34" y="34"/>
                  </a:lnTo>
                  <a:lnTo>
                    <a:pt x="41" y="28"/>
                  </a:lnTo>
                  <a:lnTo>
                    <a:pt x="50" y="23"/>
                  </a:lnTo>
                  <a:lnTo>
                    <a:pt x="60" y="20"/>
                  </a:lnTo>
                  <a:lnTo>
                    <a:pt x="70" y="19"/>
                  </a:lnTo>
                  <a:lnTo>
                    <a:pt x="70" y="1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350"/>
            </a:p>
          </p:txBody>
        </p:sp>
        <p:sp>
          <p:nvSpPr>
            <p:cNvPr id="41" name="Freeform 28"/>
            <p:cNvSpPr>
              <a:spLocks noEditPoints="1"/>
            </p:cNvSpPr>
            <p:nvPr/>
          </p:nvSpPr>
          <p:spPr bwMode="auto">
            <a:xfrm>
              <a:off x="2128838" y="463550"/>
              <a:ext cx="738188" cy="427037"/>
            </a:xfrm>
            <a:custGeom>
              <a:avLst/>
              <a:gdLst>
                <a:gd name="T0" fmla="*/ 434 w 465"/>
                <a:gd name="T1" fmla="*/ 10 h 269"/>
                <a:gd name="T2" fmla="*/ 408 w 465"/>
                <a:gd name="T3" fmla="*/ 1 h 269"/>
                <a:gd name="T4" fmla="*/ 373 w 465"/>
                <a:gd name="T5" fmla="*/ 2 h 269"/>
                <a:gd name="T6" fmla="*/ 340 w 465"/>
                <a:gd name="T7" fmla="*/ 15 h 269"/>
                <a:gd name="T8" fmla="*/ 305 w 465"/>
                <a:gd name="T9" fmla="*/ 50 h 269"/>
                <a:gd name="T10" fmla="*/ 175 w 465"/>
                <a:gd name="T11" fmla="*/ 79 h 269"/>
                <a:gd name="T12" fmla="*/ 150 w 465"/>
                <a:gd name="T13" fmla="*/ 37 h 269"/>
                <a:gd name="T14" fmla="*/ 118 w 465"/>
                <a:gd name="T15" fmla="*/ 11 h 269"/>
                <a:gd name="T16" fmla="*/ 84 w 465"/>
                <a:gd name="T17" fmla="*/ 0 h 269"/>
                <a:gd name="T18" fmla="*/ 51 w 465"/>
                <a:gd name="T19" fmla="*/ 2 h 269"/>
                <a:gd name="T20" fmla="*/ 26 w 465"/>
                <a:gd name="T21" fmla="*/ 13 h 269"/>
                <a:gd name="T22" fmla="*/ 14 w 465"/>
                <a:gd name="T23" fmla="*/ 26 h 269"/>
                <a:gd name="T24" fmla="*/ 1 w 465"/>
                <a:gd name="T25" fmla="*/ 75 h 269"/>
                <a:gd name="T26" fmla="*/ 1 w 465"/>
                <a:gd name="T27" fmla="*/ 135 h 269"/>
                <a:gd name="T28" fmla="*/ 3 w 465"/>
                <a:gd name="T29" fmla="*/ 266 h 269"/>
                <a:gd name="T30" fmla="*/ 173 w 465"/>
                <a:gd name="T31" fmla="*/ 269 h 269"/>
                <a:gd name="T32" fmla="*/ 182 w 465"/>
                <a:gd name="T33" fmla="*/ 259 h 269"/>
                <a:gd name="T34" fmla="*/ 207 w 465"/>
                <a:gd name="T35" fmla="*/ 194 h 269"/>
                <a:gd name="T36" fmla="*/ 223 w 465"/>
                <a:gd name="T37" fmla="*/ 197 h 269"/>
                <a:gd name="T38" fmla="*/ 238 w 465"/>
                <a:gd name="T39" fmla="*/ 197 h 269"/>
                <a:gd name="T40" fmla="*/ 254 w 465"/>
                <a:gd name="T41" fmla="*/ 196 h 269"/>
                <a:gd name="T42" fmla="*/ 283 w 465"/>
                <a:gd name="T43" fmla="*/ 259 h 269"/>
                <a:gd name="T44" fmla="*/ 289 w 465"/>
                <a:gd name="T45" fmla="*/ 268 h 269"/>
                <a:gd name="T46" fmla="*/ 459 w 465"/>
                <a:gd name="T47" fmla="*/ 268 h 269"/>
                <a:gd name="T48" fmla="*/ 465 w 465"/>
                <a:gd name="T49" fmla="*/ 135 h 269"/>
                <a:gd name="T50" fmla="*/ 465 w 465"/>
                <a:gd name="T51" fmla="*/ 89 h 269"/>
                <a:gd name="T52" fmla="*/ 456 w 465"/>
                <a:gd name="T53" fmla="*/ 37 h 269"/>
                <a:gd name="T54" fmla="*/ 444 w 465"/>
                <a:gd name="T55" fmla="*/ 18 h 269"/>
                <a:gd name="T56" fmla="*/ 238 w 465"/>
                <a:gd name="T57" fmla="*/ 172 h 269"/>
                <a:gd name="T58" fmla="*/ 225 w 465"/>
                <a:gd name="T59" fmla="*/ 177 h 269"/>
                <a:gd name="T60" fmla="*/ 98 w 465"/>
                <a:gd name="T61" fmla="*/ 116 h 269"/>
                <a:gd name="T62" fmla="*/ 54 w 465"/>
                <a:gd name="T63" fmla="*/ 70 h 269"/>
                <a:gd name="T64" fmla="*/ 44 w 465"/>
                <a:gd name="T65" fmla="*/ 75 h 269"/>
                <a:gd name="T66" fmla="*/ 84 w 465"/>
                <a:gd name="T67" fmla="*/ 130 h 269"/>
                <a:gd name="T68" fmla="*/ 163 w 465"/>
                <a:gd name="T69" fmla="*/ 249 h 269"/>
                <a:gd name="T70" fmla="*/ 20 w 465"/>
                <a:gd name="T71" fmla="*/ 120 h 269"/>
                <a:gd name="T72" fmla="*/ 22 w 465"/>
                <a:gd name="T73" fmla="*/ 68 h 269"/>
                <a:gd name="T74" fmla="*/ 35 w 465"/>
                <a:gd name="T75" fmla="*/ 32 h 269"/>
                <a:gd name="T76" fmla="*/ 62 w 465"/>
                <a:gd name="T77" fmla="*/ 20 h 269"/>
                <a:gd name="T78" fmla="*/ 90 w 465"/>
                <a:gd name="T79" fmla="*/ 21 h 269"/>
                <a:gd name="T80" fmla="*/ 117 w 465"/>
                <a:gd name="T81" fmla="*/ 33 h 269"/>
                <a:gd name="T82" fmla="*/ 152 w 465"/>
                <a:gd name="T83" fmla="*/ 78 h 269"/>
                <a:gd name="T84" fmla="*/ 163 w 465"/>
                <a:gd name="T85" fmla="*/ 95 h 269"/>
                <a:gd name="T86" fmla="*/ 241 w 465"/>
                <a:gd name="T87" fmla="*/ 138 h 269"/>
                <a:gd name="T88" fmla="*/ 247 w 465"/>
                <a:gd name="T89" fmla="*/ 151 h 269"/>
                <a:gd name="T90" fmla="*/ 244 w 465"/>
                <a:gd name="T91" fmla="*/ 165 h 269"/>
                <a:gd name="T92" fmla="*/ 445 w 465"/>
                <a:gd name="T93" fmla="*/ 249 h 269"/>
                <a:gd name="T94" fmla="*/ 379 w 465"/>
                <a:gd name="T95" fmla="*/ 132 h 269"/>
                <a:gd name="T96" fmla="*/ 422 w 465"/>
                <a:gd name="T97" fmla="*/ 83 h 269"/>
                <a:gd name="T98" fmla="*/ 419 w 465"/>
                <a:gd name="T99" fmla="*/ 72 h 269"/>
                <a:gd name="T100" fmla="*/ 405 w 465"/>
                <a:gd name="T101" fmla="*/ 73 h 269"/>
                <a:gd name="T102" fmla="*/ 265 w 465"/>
                <a:gd name="T103" fmla="*/ 163 h 269"/>
                <a:gd name="T104" fmla="*/ 265 w 465"/>
                <a:gd name="T105" fmla="*/ 141 h 269"/>
                <a:gd name="T106" fmla="*/ 253 w 465"/>
                <a:gd name="T107" fmla="*/ 122 h 269"/>
                <a:gd name="T108" fmla="*/ 307 w 465"/>
                <a:gd name="T109" fmla="*/ 90 h 269"/>
                <a:gd name="T110" fmla="*/ 328 w 465"/>
                <a:gd name="T111" fmla="*/ 53 h 269"/>
                <a:gd name="T112" fmla="*/ 362 w 465"/>
                <a:gd name="T113" fmla="*/ 26 h 269"/>
                <a:gd name="T114" fmla="*/ 392 w 465"/>
                <a:gd name="T115" fmla="*/ 20 h 269"/>
                <a:gd name="T116" fmla="*/ 423 w 465"/>
                <a:gd name="T117" fmla="*/ 26 h 269"/>
                <a:gd name="T118" fmla="*/ 439 w 465"/>
                <a:gd name="T119" fmla="*/ 46 h 269"/>
                <a:gd name="T120" fmla="*/ 445 w 465"/>
                <a:gd name="T121" fmla="*/ 92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5" h="269">
                  <a:moveTo>
                    <a:pt x="444" y="18"/>
                  </a:moveTo>
                  <a:lnTo>
                    <a:pt x="444" y="18"/>
                  </a:lnTo>
                  <a:lnTo>
                    <a:pt x="439" y="13"/>
                  </a:lnTo>
                  <a:lnTo>
                    <a:pt x="434" y="10"/>
                  </a:lnTo>
                  <a:lnTo>
                    <a:pt x="428" y="7"/>
                  </a:lnTo>
                  <a:lnTo>
                    <a:pt x="422" y="4"/>
                  </a:lnTo>
                  <a:lnTo>
                    <a:pt x="415" y="2"/>
                  </a:lnTo>
                  <a:lnTo>
                    <a:pt x="408" y="1"/>
                  </a:lnTo>
                  <a:lnTo>
                    <a:pt x="392" y="0"/>
                  </a:lnTo>
                  <a:lnTo>
                    <a:pt x="392" y="0"/>
                  </a:lnTo>
                  <a:lnTo>
                    <a:pt x="382" y="0"/>
                  </a:lnTo>
                  <a:lnTo>
                    <a:pt x="373" y="2"/>
                  </a:lnTo>
                  <a:lnTo>
                    <a:pt x="365" y="4"/>
                  </a:lnTo>
                  <a:lnTo>
                    <a:pt x="356" y="7"/>
                  </a:lnTo>
                  <a:lnTo>
                    <a:pt x="349" y="11"/>
                  </a:lnTo>
                  <a:lnTo>
                    <a:pt x="340" y="15"/>
                  </a:lnTo>
                  <a:lnTo>
                    <a:pt x="333" y="20"/>
                  </a:lnTo>
                  <a:lnTo>
                    <a:pt x="327" y="25"/>
                  </a:lnTo>
                  <a:lnTo>
                    <a:pt x="315" y="37"/>
                  </a:lnTo>
                  <a:lnTo>
                    <a:pt x="305" y="50"/>
                  </a:lnTo>
                  <a:lnTo>
                    <a:pt x="297" y="65"/>
                  </a:lnTo>
                  <a:lnTo>
                    <a:pt x="290" y="79"/>
                  </a:lnTo>
                  <a:lnTo>
                    <a:pt x="233" y="110"/>
                  </a:lnTo>
                  <a:lnTo>
                    <a:pt x="175" y="79"/>
                  </a:lnTo>
                  <a:lnTo>
                    <a:pt x="175" y="79"/>
                  </a:lnTo>
                  <a:lnTo>
                    <a:pt x="168" y="65"/>
                  </a:lnTo>
                  <a:lnTo>
                    <a:pt x="160" y="50"/>
                  </a:lnTo>
                  <a:lnTo>
                    <a:pt x="150" y="37"/>
                  </a:lnTo>
                  <a:lnTo>
                    <a:pt x="138" y="25"/>
                  </a:lnTo>
                  <a:lnTo>
                    <a:pt x="132" y="20"/>
                  </a:lnTo>
                  <a:lnTo>
                    <a:pt x="125" y="15"/>
                  </a:lnTo>
                  <a:lnTo>
                    <a:pt x="118" y="11"/>
                  </a:lnTo>
                  <a:lnTo>
                    <a:pt x="110" y="7"/>
                  </a:lnTo>
                  <a:lnTo>
                    <a:pt x="101" y="4"/>
                  </a:lnTo>
                  <a:lnTo>
                    <a:pt x="93" y="2"/>
                  </a:lnTo>
                  <a:lnTo>
                    <a:pt x="84" y="0"/>
                  </a:lnTo>
                  <a:lnTo>
                    <a:pt x="74" y="0"/>
                  </a:lnTo>
                  <a:lnTo>
                    <a:pt x="74" y="0"/>
                  </a:lnTo>
                  <a:lnTo>
                    <a:pt x="58" y="1"/>
                  </a:lnTo>
                  <a:lnTo>
                    <a:pt x="51" y="2"/>
                  </a:lnTo>
                  <a:lnTo>
                    <a:pt x="43" y="4"/>
                  </a:lnTo>
                  <a:lnTo>
                    <a:pt x="37" y="7"/>
                  </a:lnTo>
                  <a:lnTo>
                    <a:pt x="31" y="10"/>
                  </a:lnTo>
                  <a:lnTo>
                    <a:pt x="26" y="13"/>
                  </a:lnTo>
                  <a:lnTo>
                    <a:pt x="21" y="18"/>
                  </a:lnTo>
                  <a:lnTo>
                    <a:pt x="21" y="18"/>
                  </a:lnTo>
                  <a:lnTo>
                    <a:pt x="18" y="22"/>
                  </a:lnTo>
                  <a:lnTo>
                    <a:pt x="14" y="26"/>
                  </a:lnTo>
                  <a:lnTo>
                    <a:pt x="9" y="37"/>
                  </a:lnTo>
                  <a:lnTo>
                    <a:pt x="5" y="48"/>
                  </a:lnTo>
                  <a:lnTo>
                    <a:pt x="3" y="60"/>
                  </a:lnTo>
                  <a:lnTo>
                    <a:pt x="1" y="75"/>
                  </a:lnTo>
                  <a:lnTo>
                    <a:pt x="1" y="89"/>
                  </a:lnTo>
                  <a:lnTo>
                    <a:pt x="0" y="120"/>
                  </a:lnTo>
                  <a:lnTo>
                    <a:pt x="0" y="120"/>
                  </a:lnTo>
                  <a:lnTo>
                    <a:pt x="1" y="135"/>
                  </a:lnTo>
                  <a:lnTo>
                    <a:pt x="1" y="259"/>
                  </a:lnTo>
                  <a:lnTo>
                    <a:pt x="1" y="259"/>
                  </a:lnTo>
                  <a:lnTo>
                    <a:pt x="1" y="263"/>
                  </a:lnTo>
                  <a:lnTo>
                    <a:pt x="3" y="266"/>
                  </a:lnTo>
                  <a:lnTo>
                    <a:pt x="7" y="268"/>
                  </a:lnTo>
                  <a:lnTo>
                    <a:pt x="10" y="269"/>
                  </a:lnTo>
                  <a:lnTo>
                    <a:pt x="173" y="269"/>
                  </a:lnTo>
                  <a:lnTo>
                    <a:pt x="173" y="269"/>
                  </a:lnTo>
                  <a:lnTo>
                    <a:pt x="176" y="268"/>
                  </a:lnTo>
                  <a:lnTo>
                    <a:pt x="179" y="266"/>
                  </a:lnTo>
                  <a:lnTo>
                    <a:pt x="182" y="263"/>
                  </a:lnTo>
                  <a:lnTo>
                    <a:pt x="182" y="259"/>
                  </a:lnTo>
                  <a:lnTo>
                    <a:pt x="182" y="182"/>
                  </a:lnTo>
                  <a:lnTo>
                    <a:pt x="202" y="192"/>
                  </a:lnTo>
                  <a:lnTo>
                    <a:pt x="202" y="192"/>
                  </a:lnTo>
                  <a:lnTo>
                    <a:pt x="207" y="194"/>
                  </a:lnTo>
                  <a:lnTo>
                    <a:pt x="212" y="196"/>
                  </a:lnTo>
                  <a:lnTo>
                    <a:pt x="218" y="197"/>
                  </a:lnTo>
                  <a:lnTo>
                    <a:pt x="223" y="197"/>
                  </a:lnTo>
                  <a:lnTo>
                    <a:pt x="223" y="197"/>
                  </a:lnTo>
                  <a:lnTo>
                    <a:pt x="228" y="197"/>
                  </a:lnTo>
                  <a:lnTo>
                    <a:pt x="233" y="196"/>
                  </a:lnTo>
                  <a:lnTo>
                    <a:pt x="233" y="196"/>
                  </a:lnTo>
                  <a:lnTo>
                    <a:pt x="238" y="197"/>
                  </a:lnTo>
                  <a:lnTo>
                    <a:pt x="243" y="197"/>
                  </a:lnTo>
                  <a:lnTo>
                    <a:pt x="243" y="197"/>
                  </a:lnTo>
                  <a:lnTo>
                    <a:pt x="249" y="197"/>
                  </a:lnTo>
                  <a:lnTo>
                    <a:pt x="254" y="196"/>
                  </a:lnTo>
                  <a:lnTo>
                    <a:pt x="259" y="194"/>
                  </a:lnTo>
                  <a:lnTo>
                    <a:pt x="264" y="192"/>
                  </a:lnTo>
                  <a:lnTo>
                    <a:pt x="283" y="182"/>
                  </a:lnTo>
                  <a:lnTo>
                    <a:pt x="283" y="259"/>
                  </a:lnTo>
                  <a:lnTo>
                    <a:pt x="283" y="259"/>
                  </a:lnTo>
                  <a:lnTo>
                    <a:pt x="284" y="263"/>
                  </a:lnTo>
                  <a:lnTo>
                    <a:pt x="286" y="266"/>
                  </a:lnTo>
                  <a:lnTo>
                    <a:pt x="289" y="268"/>
                  </a:lnTo>
                  <a:lnTo>
                    <a:pt x="293" y="269"/>
                  </a:lnTo>
                  <a:lnTo>
                    <a:pt x="455" y="269"/>
                  </a:lnTo>
                  <a:lnTo>
                    <a:pt x="455" y="269"/>
                  </a:lnTo>
                  <a:lnTo>
                    <a:pt x="459" y="268"/>
                  </a:lnTo>
                  <a:lnTo>
                    <a:pt x="462" y="266"/>
                  </a:lnTo>
                  <a:lnTo>
                    <a:pt x="464" y="263"/>
                  </a:lnTo>
                  <a:lnTo>
                    <a:pt x="465" y="259"/>
                  </a:lnTo>
                  <a:lnTo>
                    <a:pt x="465" y="135"/>
                  </a:lnTo>
                  <a:lnTo>
                    <a:pt x="465" y="135"/>
                  </a:lnTo>
                  <a:lnTo>
                    <a:pt x="465" y="120"/>
                  </a:lnTo>
                  <a:lnTo>
                    <a:pt x="465" y="120"/>
                  </a:lnTo>
                  <a:lnTo>
                    <a:pt x="465" y="89"/>
                  </a:lnTo>
                  <a:lnTo>
                    <a:pt x="464" y="75"/>
                  </a:lnTo>
                  <a:lnTo>
                    <a:pt x="462" y="60"/>
                  </a:lnTo>
                  <a:lnTo>
                    <a:pt x="460" y="48"/>
                  </a:lnTo>
                  <a:lnTo>
                    <a:pt x="456" y="37"/>
                  </a:lnTo>
                  <a:lnTo>
                    <a:pt x="451" y="26"/>
                  </a:lnTo>
                  <a:lnTo>
                    <a:pt x="447" y="22"/>
                  </a:lnTo>
                  <a:lnTo>
                    <a:pt x="444" y="18"/>
                  </a:lnTo>
                  <a:lnTo>
                    <a:pt x="444" y="18"/>
                  </a:lnTo>
                  <a:close/>
                  <a:moveTo>
                    <a:pt x="244" y="165"/>
                  </a:moveTo>
                  <a:lnTo>
                    <a:pt x="244" y="165"/>
                  </a:lnTo>
                  <a:lnTo>
                    <a:pt x="241" y="169"/>
                  </a:lnTo>
                  <a:lnTo>
                    <a:pt x="238" y="172"/>
                  </a:lnTo>
                  <a:lnTo>
                    <a:pt x="234" y="174"/>
                  </a:lnTo>
                  <a:lnTo>
                    <a:pt x="230" y="176"/>
                  </a:lnTo>
                  <a:lnTo>
                    <a:pt x="230" y="176"/>
                  </a:lnTo>
                  <a:lnTo>
                    <a:pt x="225" y="177"/>
                  </a:lnTo>
                  <a:lnTo>
                    <a:pt x="221" y="177"/>
                  </a:lnTo>
                  <a:lnTo>
                    <a:pt x="216" y="176"/>
                  </a:lnTo>
                  <a:lnTo>
                    <a:pt x="212" y="175"/>
                  </a:lnTo>
                  <a:lnTo>
                    <a:pt x="98" y="116"/>
                  </a:lnTo>
                  <a:lnTo>
                    <a:pt x="61" y="73"/>
                  </a:lnTo>
                  <a:lnTo>
                    <a:pt x="61" y="73"/>
                  </a:lnTo>
                  <a:lnTo>
                    <a:pt x="58" y="71"/>
                  </a:lnTo>
                  <a:lnTo>
                    <a:pt x="54" y="70"/>
                  </a:lnTo>
                  <a:lnTo>
                    <a:pt x="51" y="70"/>
                  </a:lnTo>
                  <a:lnTo>
                    <a:pt x="46" y="72"/>
                  </a:lnTo>
                  <a:lnTo>
                    <a:pt x="46" y="72"/>
                  </a:lnTo>
                  <a:lnTo>
                    <a:pt x="44" y="75"/>
                  </a:lnTo>
                  <a:lnTo>
                    <a:pt x="43" y="79"/>
                  </a:lnTo>
                  <a:lnTo>
                    <a:pt x="43" y="83"/>
                  </a:lnTo>
                  <a:lnTo>
                    <a:pt x="45" y="86"/>
                  </a:lnTo>
                  <a:lnTo>
                    <a:pt x="84" y="130"/>
                  </a:lnTo>
                  <a:lnTo>
                    <a:pt x="84" y="130"/>
                  </a:lnTo>
                  <a:lnTo>
                    <a:pt x="87" y="132"/>
                  </a:lnTo>
                  <a:lnTo>
                    <a:pt x="163" y="172"/>
                  </a:lnTo>
                  <a:lnTo>
                    <a:pt x="163" y="249"/>
                  </a:lnTo>
                  <a:lnTo>
                    <a:pt x="20" y="249"/>
                  </a:lnTo>
                  <a:lnTo>
                    <a:pt x="20" y="135"/>
                  </a:lnTo>
                  <a:lnTo>
                    <a:pt x="20" y="135"/>
                  </a:lnTo>
                  <a:lnTo>
                    <a:pt x="20" y="120"/>
                  </a:lnTo>
                  <a:lnTo>
                    <a:pt x="20" y="120"/>
                  </a:lnTo>
                  <a:lnTo>
                    <a:pt x="20" y="92"/>
                  </a:lnTo>
                  <a:lnTo>
                    <a:pt x="21" y="80"/>
                  </a:lnTo>
                  <a:lnTo>
                    <a:pt x="22" y="68"/>
                  </a:lnTo>
                  <a:lnTo>
                    <a:pt x="24" y="56"/>
                  </a:lnTo>
                  <a:lnTo>
                    <a:pt x="26" y="46"/>
                  </a:lnTo>
                  <a:lnTo>
                    <a:pt x="30" y="38"/>
                  </a:lnTo>
                  <a:lnTo>
                    <a:pt x="35" y="32"/>
                  </a:lnTo>
                  <a:lnTo>
                    <a:pt x="35" y="32"/>
                  </a:lnTo>
                  <a:lnTo>
                    <a:pt x="42" y="26"/>
                  </a:lnTo>
                  <a:lnTo>
                    <a:pt x="52" y="23"/>
                  </a:lnTo>
                  <a:lnTo>
                    <a:pt x="62" y="20"/>
                  </a:lnTo>
                  <a:lnTo>
                    <a:pt x="74" y="20"/>
                  </a:lnTo>
                  <a:lnTo>
                    <a:pt x="74" y="20"/>
                  </a:lnTo>
                  <a:lnTo>
                    <a:pt x="82" y="20"/>
                  </a:lnTo>
                  <a:lnTo>
                    <a:pt x="90" y="21"/>
                  </a:lnTo>
                  <a:lnTo>
                    <a:pt x="97" y="23"/>
                  </a:lnTo>
                  <a:lnTo>
                    <a:pt x="104" y="26"/>
                  </a:lnTo>
                  <a:lnTo>
                    <a:pt x="110" y="29"/>
                  </a:lnTo>
                  <a:lnTo>
                    <a:pt x="117" y="33"/>
                  </a:lnTo>
                  <a:lnTo>
                    <a:pt x="128" y="42"/>
                  </a:lnTo>
                  <a:lnTo>
                    <a:pt x="138" y="53"/>
                  </a:lnTo>
                  <a:lnTo>
                    <a:pt x="146" y="65"/>
                  </a:lnTo>
                  <a:lnTo>
                    <a:pt x="152" y="78"/>
                  </a:lnTo>
                  <a:lnTo>
                    <a:pt x="158" y="90"/>
                  </a:lnTo>
                  <a:lnTo>
                    <a:pt x="158" y="90"/>
                  </a:lnTo>
                  <a:lnTo>
                    <a:pt x="160" y="93"/>
                  </a:lnTo>
                  <a:lnTo>
                    <a:pt x="163" y="95"/>
                  </a:lnTo>
                  <a:lnTo>
                    <a:pt x="234" y="132"/>
                  </a:lnTo>
                  <a:lnTo>
                    <a:pt x="234" y="132"/>
                  </a:lnTo>
                  <a:lnTo>
                    <a:pt x="238" y="135"/>
                  </a:lnTo>
                  <a:lnTo>
                    <a:pt x="241" y="138"/>
                  </a:lnTo>
                  <a:lnTo>
                    <a:pt x="244" y="142"/>
                  </a:lnTo>
                  <a:lnTo>
                    <a:pt x="246" y="146"/>
                  </a:lnTo>
                  <a:lnTo>
                    <a:pt x="246" y="146"/>
                  </a:lnTo>
                  <a:lnTo>
                    <a:pt x="247" y="151"/>
                  </a:lnTo>
                  <a:lnTo>
                    <a:pt x="247" y="156"/>
                  </a:lnTo>
                  <a:lnTo>
                    <a:pt x="246" y="160"/>
                  </a:lnTo>
                  <a:lnTo>
                    <a:pt x="244" y="165"/>
                  </a:lnTo>
                  <a:lnTo>
                    <a:pt x="244" y="165"/>
                  </a:lnTo>
                  <a:close/>
                  <a:moveTo>
                    <a:pt x="445" y="120"/>
                  </a:moveTo>
                  <a:lnTo>
                    <a:pt x="445" y="120"/>
                  </a:lnTo>
                  <a:lnTo>
                    <a:pt x="445" y="135"/>
                  </a:lnTo>
                  <a:lnTo>
                    <a:pt x="445" y="249"/>
                  </a:lnTo>
                  <a:lnTo>
                    <a:pt x="303" y="249"/>
                  </a:lnTo>
                  <a:lnTo>
                    <a:pt x="303" y="172"/>
                  </a:lnTo>
                  <a:lnTo>
                    <a:pt x="379" y="132"/>
                  </a:lnTo>
                  <a:lnTo>
                    <a:pt x="379" y="132"/>
                  </a:lnTo>
                  <a:lnTo>
                    <a:pt x="382" y="130"/>
                  </a:lnTo>
                  <a:lnTo>
                    <a:pt x="420" y="86"/>
                  </a:lnTo>
                  <a:lnTo>
                    <a:pt x="420" y="86"/>
                  </a:lnTo>
                  <a:lnTo>
                    <a:pt x="422" y="83"/>
                  </a:lnTo>
                  <a:lnTo>
                    <a:pt x="422" y="79"/>
                  </a:lnTo>
                  <a:lnTo>
                    <a:pt x="421" y="75"/>
                  </a:lnTo>
                  <a:lnTo>
                    <a:pt x="419" y="72"/>
                  </a:lnTo>
                  <a:lnTo>
                    <a:pt x="419" y="72"/>
                  </a:lnTo>
                  <a:lnTo>
                    <a:pt x="415" y="70"/>
                  </a:lnTo>
                  <a:lnTo>
                    <a:pt x="412" y="70"/>
                  </a:lnTo>
                  <a:lnTo>
                    <a:pt x="408" y="71"/>
                  </a:lnTo>
                  <a:lnTo>
                    <a:pt x="405" y="73"/>
                  </a:lnTo>
                  <a:lnTo>
                    <a:pt x="368" y="116"/>
                  </a:lnTo>
                  <a:lnTo>
                    <a:pt x="263" y="170"/>
                  </a:lnTo>
                  <a:lnTo>
                    <a:pt x="263" y="170"/>
                  </a:lnTo>
                  <a:lnTo>
                    <a:pt x="265" y="163"/>
                  </a:lnTo>
                  <a:lnTo>
                    <a:pt x="266" y="155"/>
                  </a:lnTo>
                  <a:lnTo>
                    <a:pt x="266" y="148"/>
                  </a:lnTo>
                  <a:lnTo>
                    <a:pt x="265" y="141"/>
                  </a:lnTo>
                  <a:lnTo>
                    <a:pt x="265" y="141"/>
                  </a:lnTo>
                  <a:lnTo>
                    <a:pt x="263" y="135"/>
                  </a:lnTo>
                  <a:lnTo>
                    <a:pt x="260" y="131"/>
                  </a:lnTo>
                  <a:lnTo>
                    <a:pt x="257" y="126"/>
                  </a:lnTo>
                  <a:lnTo>
                    <a:pt x="253" y="122"/>
                  </a:lnTo>
                  <a:lnTo>
                    <a:pt x="302" y="95"/>
                  </a:lnTo>
                  <a:lnTo>
                    <a:pt x="302" y="95"/>
                  </a:lnTo>
                  <a:lnTo>
                    <a:pt x="305" y="93"/>
                  </a:lnTo>
                  <a:lnTo>
                    <a:pt x="307" y="90"/>
                  </a:lnTo>
                  <a:lnTo>
                    <a:pt x="307" y="90"/>
                  </a:lnTo>
                  <a:lnTo>
                    <a:pt x="313" y="78"/>
                  </a:lnTo>
                  <a:lnTo>
                    <a:pt x="319" y="65"/>
                  </a:lnTo>
                  <a:lnTo>
                    <a:pt x="328" y="53"/>
                  </a:lnTo>
                  <a:lnTo>
                    <a:pt x="337" y="42"/>
                  </a:lnTo>
                  <a:lnTo>
                    <a:pt x="350" y="33"/>
                  </a:lnTo>
                  <a:lnTo>
                    <a:pt x="356" y="29"/>
                  </a:lnTo>
                  <a:lnTo>
                    <a:pt x="362" y="26"/>
                  </a:lnTo>
                  <a:lnTo>
                    <a:pt x="369" y="23"/>
                  </a:lnTo>
                  <a:lnTo>
                    <a:pt x="376" y="21"/>
                  </a:lnTo>
                  <a:lnTo>
                    <a:pt x="384" y="20"/>
                  </a:lnTo>
                  <a:lnTo>
                    <a:pt x="392" y="20"/>
                  </a:lnTo>
                  <a:lnTo>
                    <a:pt x="392" y="20"/>
                  </a:lnTo>
                  <a:lnTo>
                    <a:pt x="404" y="20"/>
                  </a:lnTo>
                  <a:lnTo>
                    <a:pt x="414" y="23"/>
                  </a:lnTo>
                  <a:lnTo>
                    <a:pt x="423" y="26"/>
                  </a:lnTo>
                  <a:lnTo>
                    <a:pt x="430" y="32"/>
                  </a:lnTo>
                  <a:lnTo>
                    <a:pt x="430" y="32"/>
                  </a:lnTo>
                  <a:lnTo>
                    <a:pt x="435" y="38"/>
                  </a:lnTo>
                  <a:lnTo>
                    <a:pt x="439" y="46"/>
                  </a:lnTo>
                  <a:lnTo>
                    <a:pt x="441" y="56"/>
                  </a:lnTo>
                  <a:lnTo>
                    <a:pt x="443" y="68"/>
                  </a:lnTo>
                  <a:lnTo>
                    <a:pt x="444" y="80"/>
                  </a:lnTo>
                  <a:lnTo>
                    <a:pt x="445" y="92"/>
                  </a:lnTo>
                  <a:lnTo>
                    <a:pt x="445" y="120"/>
                  </a:lnTo>
                  <a:lnTo>
                    <a:pt x="445" y="1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350"/>
            </a:p>
          </p:txBody>
        </p:sp>
      </p:grpSp>
      <p:sp>
        <p:nvSpPr>
          <p:cNvPr id="42" name="Freeform 60"/>
          <p:cNvSpPr>
            <a:spLocks noEditPoints="1"/>
          </p:cNvSpPr>
          <p:nvPr/>
        </p:nvSpPr>
        <p:spPr bwMode="auto">
          <a:xfrm>
            <a:off x="5989405" y="2689715"/>
            <a:ext cx="457200" cy="457200"/>
          </a:xfrm>
          <a:custGeom>
            <a:avLst/>
            <a:gdLst>
              <a:gd name="T0" fmla="*/ 600 w 1152"/>
              <a:gd name="T1" fmla="*/ 944 h 1153"/>
              <a:gd name="T2" fmla="*/ 578 w 1152"/>
              <a:gd name="T3" fmla="*/ 940 h 1153"/>
              <a:gd name="T4" fmla="*/ 908 w 1152"/>
              <a:gd name="T5" fmla="*/ 1066 h 1153"/>
              <a:gd name="T6" fmla="*/ 367 w 1152"/>
              <a:gd name="T7" fmla="*/ 868 h 1153"/>
              <a:gd name="T8" fmla="*/ 1049 w 1152"/>
              <a:gd name="T9" fmla="*/ 137 h 1153"/>
              <a:gd name="T10" fmla="*/ 367 w 1152"/>
              <a:gd name="T11" fmla="*/ 868 h 1153"/>
              <a:gd name="T12" fmla="*/ 947 w 1152"/>
              <a:gd name="T13" fmla="*/ 193 h 1153"/>
              <a:gd name="T14" fmla="*/ 336 w 1152"/>
              <a:gd name="T15" fmla="*/ 838 h 1153"/>
              <a:gd name="T16" fmla="*/ 113 w 1152"/>
              <a:gd name="T17" fmla="*/ 749 h 1153"/>
              <a:gd name="T18" fmla="*/ 1131 w 1152"/>
              <a:gd name="T19" fmla="*/ 4 h 1153"/>
              <a:gd name="T20" fmla="*/ 1121 w 1152"/>
              <a:gd name="T21" fmla="*/ 1 h 1153"/>
              <a:gd name="T22" fmla="*/ 1110 w 1152"/>
              <a:gd name="T23" fmla="*/ 1 h 1153"/>
              <a:gd name="T24" fmla="*/ 1101 w 1152"/>
              <a:gd name="T25" fmla="*/ 5 h 1153"/>
              <a:gd name="T26" fmla="*/ 16 w 1152"/>
              <a:gd name="T27" fmla="*/ 727 h 1153"/>
              <a:gd name="T28" fmla="*/ 9 w 1152"/>
              <a:gd name="T29" fmla="*/ 734 h 1153"/>
              <a:gd name="T30" fmla="*/ 3 w 1152"/>
              <a:gd name="T31" fmla="*/ 741 h 1153"/>
              <a:gd name="T32" fmla="*/ 0 w 1152"/>
              <a:gd name="T33" fmla="*/ 751 h 1153"/>
              <a:gd name="T34" fmla="*/ 0 w 1152"/>
              <a:gd name="T35" fmla="*/ 761 h 1153"/>
              <a:gd name="T36" fmla="*/ 2 w 1152"/>
              <a:gd name="T37" fmla="*/ 770 h 1153"/>
              <a:gd name="T38" fmla="*/ 8 w 1152"/>
              <a:gd name="T39" fmla="*/ 779 h 1153"/>
              <a:gd name="T40" fmla="*/ 14 w 1152"/>
              <a:gd name="T41" fmla="*/ 785 h 1153"/>
              <a:gd name="T42" fmla="*/ 23 w 1152"/>
              <a:gd name="T43" fmla="*/ 790 h 1153"/>
              <a:gd name="T44" fmla="*/ 436 w 1152"/>
              <a:gd name="T45" fmla="*/ 1134 h 1153"/>
              <a:gd name="T46" fmla="*/ 443 w 1152"/>
              <a:gd name="T47" fmla="*/ 1142 h 1153"/>
              <a:gd name="T48" fmla="*/ 449 w 1152"/>
              <a:gd name="T49" fmla="*/ 1148 h 1153"/>
              <a:gd name="T50" fmla="*/ 458 w 1152"/>
              <a:gd name="T51" fmla="*/ 1152 h 1153"/>
              <a:gd name="T52" fmla="*/ 468 w 1152"/>
              <a:gd name="T53" fmla="*/ 1153 h 1153"/>
              <a:gd name="T54" fmla="*/ 473 w 1152"/>
              <a:gd name="T55" fmla="*/ 1153 h 1153"/>
              <a:gd name="T56" fmla="*/ 482 w 1152"/>
              <a:gd name="T57" fmla="*/ 1150 h 1153"/>
              <a:gd name="T58" fmla="*/ 489 w 1152"/>
              <a:gd name="T59" fmla="*/ 1145 h 1153"/>
              <a:gd name="T60" fmla="*/ 496 w 1152"/>
              <a:gd name="T61" fmla="*/ 1139 h 1153"/>
              <a:gd name="T62" fmla="*/ 573 w 1152"/>
              <a:gd name="T63" fmla="*/ 1010 h 1153"/>
              <a:gd name="T64" fmla="*/ 929 w 1152"/>
              <a:gd name="T65" fmla="*/ 1153 h 1153"/>
              <a:gd name="T66" fmla="*/ 941 w 1152"/>
              <a:gd name="T67" fmla="*/ 1153 h 1153"/>
              <a:gd name="T68" fmla="*/ 949 w 1152"/>
              <a:gd name="T69" fmla="*/ 1150 h 1153"/>
              <a:gd name="T70" fmla="*/ 960 w 1152"/>
              <a:gd name="T71" fmla="*/ 1143 h 1153"/>
              <a:gd name="T72" fmla="*/ 969 w 1152"/>
              <a:gd name="T73" fmla="*/ 1130 h 1153"/>
              <a:gd name="T74" fmla="*/ 1151 w 1152"/>
              <a:gd name="T75" fmla="*/ 42 h 1153"/>
              <a:gd name="T76" fmla="*/ 1151 w 1152"/>
              <a:gd name="T77" fmla="*/ 33 h 1153"/>
              <a:gd name="T78" fmla="*/ 1149 w 1152"/>
              <a:gd name="T79" fmla="*/ 22 h 1153"/>
              <a:gd name="T80" fmla="*/ 1144 w 1152"/>
              <a:gd name="T81" fmla="*/ 13 h 1153"/>
              <a:gd name="T82" fmla="*/ 1135 w 1152"/>
              <a:gd name="T83" fmla="*/ 7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52" h="1153">
                <a:moveTo>
                  <a:pt x="908" y="1066"/>
                </a:moveTo>
                <a:lnTo>
                  <a:pt x="600" y="944"/>
                </a:lnTo>
                <a:lnTo>
                  <a:pt x="590" y="941"/>
                </a:lnTo>
                <a:lnTo>
                  <a:pt x="578" y="940"/>
                </a:lnTo>
                <a:lnTo>
                  <a:pt x="1051" y="205"/>
                </a:lnTo>
                <a:lnTo>
                  <a:pt x="908" y="1066"/>
                </a:lnTo>
                <a:close/>
                <a:moveTo>
                  <a:pt x="367" y="868"/>
                </a:moveTo>
                <a:lnTo>
                  <a:pt x="367" y="868"/>
                </a:lnTo>
                <a:lnTo>
                  <a:pt x="366" y="866"/>
                </a:lnTo>
                <a:lnTo>
                  <a:pt x="1049" y="137"/>
                </a:lnTo>
                <a:lnTo>
                  <a:pt x="468" y="1042"/>
                </a:lnTo>
                <a:lnTo>
                  <a:pt x="367" y="868"/>
                </a:lnTo>
                <a:close/>
                <a:moveTo>
                  <a:pt x="113" y="749"/>
                </a:moveTo>
                <a:lnTo>
                  <a:pt x="947" y="193"/>
                </a:lnTo>
                <a:lnTo>
                  <a:pt x="340" y="842"/>
                </a:lnTo>
                <a:lnTo>
                  <a:pt x="336" y="838"/>
                </a:lnTo>
                <a:lnTo>
                  <a:pt x="332" y="836"/>
                </a:lnTo>
                <a:lnTo>
                  <a:pt x="113" y="749"/>
                </a:lnTo>
                <a:close/>
                <a:moveTo>
                  <a:pt x="1135" y="7"/>
                </a:moveTo>
                <a:lnTo>
                  <a:pt x="1131" y="4"/>
                </a:lnTo>
                <a:lnTo>
                  <a:pt x="1126" y="2"/>
                </a:lnTo>
                <a:lnTo>
                  <a:pt x="1121" y="1"/>
                </a:lnTo>
                <a:lnTo>
                  <a:pt x="1116" y="0"/>
                </a:lnTo>
                <a:lnTo>
                  <a:pt x="1110" y="1"/>
                </a:lnTo>
                <a:lnTo>
                  <a:pt x="1106" y="2"/>
                </a:lnTo>
                <a:lnTo>
                  <a:pt x="1101" y="5"/>
                </a:lnTo>
                <a:lnTo>
                  <a:pt x="1096" y="7"/>
                </a:lnTo>
                <a:lnTo>
                  <a:pt x="16" y="727"/>
                </a:lnTo>
                <a:lnTo>
                  <a:pt x="12" y="730"/>
                </a:lnTo>
                <a:lnTo>
                  <a:pt x="9" y="734"/>
                </a:lnTo>
                <a:lnTo>
                  <a:pt x="5" y="737"/>
                </a:lnTo>
                <a:lnTo>
                  <a:pt x="3" y="741"/>
                </a:lnTo>
                <a:lnTo>
                  <a:pt x="2" y="745"/>
                </a:lnTo>
                <a:lnTo>
                  <a:pt x="0" y="751"/>
                </a:lnTo>
                <a:lnTo>
                  <a:pt x="0" y="755"/>
                </a:lnTo>
                <a:lnTo>
                  <a:pt x="0" y="761"/>
                </a:lnTo>
                <a:lnTo>
                  <a:pt x="1" y="765"/>
                </a:lnTo>
                <a:lnTo>
                  <a:pt x="2" y="770"/>
                </a:lnTo>
                <a:lnTo>
                  <a:pt x="4" y="775"/>
                </a:lnTo>
                <a:lnTo>
                  <a:pt x="8" y="779"/>
                </a:lnTo>
                <a:lnTo>
                  <a:pt x="11" y="782"/>
                </a:lnTo>
                <a:lnTo>
                  <a:pt x="14" y="785"/>
                </a:lnTo>
                <a:lnTo>
                  <a:pt x="18" y="788"/>
                </a:lnTo>
                <a:lnTo>
                  <a:pt x="23" y="790"/>
                </a:lnTo>
                <a:lnTo>
                  <a:pt x="305" y="903"/>
                </a:lnTo>
                <a:lnTo>
                  <a:pt x="436" y="1134"/>
                </a:lnTo>
                <a:lnTo>
                  <a:pt x="440" y="1139"/>
                </a:lnTo>
                <a:lnTo>
                  <a:pt x="443" y="1142"/>
                </a:lnTo>
                <a:lnTo>
                  <a:pt x="446" y="1145"/>
                </a:lnTo>
                <a:lnTo>
                  <a:pt x="449" y="1148"/>
                </a:lnTo>
                <a:lnTo>
                  <a:pt x="454" y="1149"/>
                </a:lnTo>
                <a:lnTo>
                  <a:pt x="458" y="1152"/>
                </a:lnTo>
                <a:lnTo>
                  <a:pt x="463" y="1153"/>
                </a:lnTo>
                <a:lnTo>
                  <a:pt x="468" y="1153"/>
                </a:lnTo>
                <a:lnTo>
                  <a:pt x="468" y="1153"/>
                </a:lnTo>
                <a:lnTo>
                  <a:pt x="473" y="1153"/>
                </a:lnTo>
                <a:lnTo>
                  <a:pt x="477" y="1152"/>
                </a:lnTo>
                <a:lnTo>
                  <a:pt x="482" y="1150"/>
                </a:lnTo>
                <a:lnTo>
                  <a:pt x="486" y="1148"/>
                </a:lnTo>
                <a:lnTo>
                  <a:pt x="489" y="1145"/>
                </a:lnTo>
                <a:lnTo>
                  <a:pt x="494" y="1143"/>
                </a:lnTo>
                <a:lnTo>
                  <a:pt x="496" y="1139"/>
                </a:lnTo>
                <a:lnTo>
                  <a:pt x="499" y="1135"/>
                </a:lnTo>
                <a:lnTo>
                  <a:pt x="573" y="1010"/>
                </a:lnTo>
                <a:lnTo>
                  <a:pt x="922" y="1150"/>
                </a:lnTo>
                <a:lnTo>
                  <a:pt x="929" y="1153"/>
                </a:lnTo>
                <a:lnTo>
                  <a:pt x="936" y="1153"/>
                </a:lnTo>
                <a:lnTo>
                  <a:pt x="941" y="1153"/>
                </a:lnTo>
                <a:lnTo>
                  <a:pt x="945" y="1152"/>
                </a:lnTo>
                <a:lnTo>
                  <a:pt x="949" y="1150"/>
                </a:lnTo>
                <a:lnTo>
                  <a:pt x="954" y="1148"/>
                </a:lnTo>
                <a:lnTo>
                  <a:pt x="960" y="1143"/>
                </a:lnTo>
                <a:lnTo>
                  <a:pt x="966" y="1138"/>
                </a:lnTo>
                <a:lnTo>
                  <a:pt x="969" y="1130"/>
                </a:lnTo>
                <a:lnTo>
                  <a:pt x="972" y="1122"/>
                </a:lnTo>
                <a:lnTo>
                  <a:pt x="1151" y="42"/>
                </a:lnTo>
                <a:lnTo>
                  <a:pt x="1152" y="37"/>
                </a:lnTo>
                <a:lnTo>
                  <a:pt x="1151" y="33"/>
                </a:lnTo>
                <a:lnTo>
                  <a:pt x="1150" y="27"/>
                </a:lnTo>
                <a:lnTo>
                  <a:pt x="1149" y="22"/>
                </a:lnTo>
                <a:lnTo>
                  <a:pt x="1147" y="18"/>
                </a:lnTo>
                <a:lnTo>
                  <a:pt x="1144" y="13"/>
                </a:lnTo>
                <a:lnTo>
                  <a:pt x="1139" y="10"/>
                </a:lnTo>
                <a:lnTo>
                  <a:pt x="1135" y="7"/>
                </a:ln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en-US"/>
          </a:p>
        </p:txBody>
      </p:sp>
      <p:sp>
        <p:nvSpPr>
          <p:cNvPr id="43" name="Freeform 131"/>
          <p:cNvSpPr>
            <a:spLocks noEditPoints="1"/>
          </p:cNvSpPr>
          <p:nvPr/>
        </p:nvSpPr>
        <p:spPr bwMode="auto">
          <a:xfrm>
            <a:off x="9578509" y="2689715"/>
            <a:ext cx="457200" cy="457200"/>
          </a:xfrm>
          <a:custGeom>
            <a:avLst/>
            <a:gdLst>
              <a:gd name="T0" fmla="*/ 161 w 1152"/>
              <a:gd name="T1" fmla="*/ 1032 h 1152"/>
              <a:gd name="T2" fmla="*/ 285 w 1152"/>
              <a:gd name="T3" fmla="*/ 982 h 1152"/>
              <a:gd name="T4" fmla="*/ 482 w 1152"/>
              <a:gd name="T5" fmla="*/ 946 h 1152"/>
              <a:gd name="T6" fmla="*/ 547 w 1152"/>
              <a:gd name="T7" fmla="*/ 969 h 1152"/>
              <a:gd name="T8" fmla="*/ 617 w 1152"/>
              <a:gd name="T9" fmla="*/ 966 h 1152"/>
              <a:gd name="T10" fmla="*/ 681 w 1152"/>
              <a:gd name="T11" fmla="*/ 938 h 1152"/>
              <a:gd name="T12" fmla="*/ 894 w 1152"/>
              <a:gd name="T13" fmla="*/ 992 h 1152"/>
              <a:gd name="T14" fmla="*/ 1027 w 1152"/>
              <a:gd name="T15" fmla="*/ 1049 h 1152"/>
              <a:gd name="T16" fmla="*/ 730 w 1152"/>
              <a:gd name="T17" fmla="*/ 842 h 1152"/>
              <a:gd name="T18" fmla="*/ 650 w 1152"/>
              <a:gd name="T19" fmla="*/ 912 h 1152"/>
              <a:gd name="T20" fmla="*/ 603 w 1152"/>
              <a:gd name="T21" fmla="*/ 928 h 1152"/>
              <a:gd name="T22" fmla="*/ 557 w 1152"/>
              <a:gd name="T23" fmla="*/ 930 h 1152"/>
              <a:gd name="T24" fmla="*/ 512 w 1152"/>
              <a:gd name="T25" fmla="*/ 917 h 1152"/>
              <a:gd name="T26" fmla="*/ 434 w 1152"/>
              <a:gd name="T27" fmla="*/ 857 h 1152"/>
              <a:gd name="T28" fmla="*/ 357 w 1152"/>
              <a:gd name="T29" fmla="*/ 741 h 1152"/>
              <a:gd name="T30" fmla="*/ 305 w 1152"/>
              <a:gd name="T31" fmla="*/ 598 h 1152"/>
              <a:gd name="T32" fmla="*/ 289 w 1152"/>
              <a:gd name="T33" fmla="*/ 447 h 1152"/>
              <a:gd name="T34" fmla="*/ 312 w 1152"/>
              <a:gd name="T35" fmla="*/ 301 h 1152"/>
              <a:gd name="T36" fmla="*/ 360 w 1152"/>
              <a:gd name="T37" fmla="*/ 195 h 1152"/>
              <a:gd name="T38" fmla="*/ 405 w 1152"/>
              <a:gd name="T39" fmla="*/ 140 h 1152"/>
              <a:gd name="T40" fmla="*/ 461 w 1152"/>
              <a:gd name="T41" fmla="*/ 99 h 1152"/>
              <a:gd name="T42" fmla="*/ 529 w 1152"/>
              <a:gd name="T43" fmla="*/ 76 h 1152"/>
              <a:gd name="T44" fmla="*/ 608 w 1152"/>
              <a:gd name="T45" fmla="*/ 74 h 1152"/>
              <a:gd name="T46" fmla="*/ 678 w 1152"/>
              <a:gd name="T47" fmla="*/ 94 h 1152"/>
              <a:gd name="T48" fmla="*/ 736 w 1152"/>
              <a:gd name="T49" fmla="*/ 131 h 1152"/>
              <a:gd name="T50" fmla="*/ 784 w 1152"/>
              <a:gd name="T51" fmla="*/ 183 h 1152"/>
              <a:gd name="T52" fmla="*/ 830 w 1152"/>
              <a:gd name="T53" fmla="*/ 273 h 1152"/>
              <a:gd name="T54" fmla="*/ 862 w 1152"/>
              <a:gd name="T55" fmla="*/ 418 h 1152"/>
              <a:gd name="T56" fmla="*/ 853 w 1152"/>
              <a:gd name="T57" fmla="*/ 568 h 1152"/>
              <a:gd name="T58" fmla="*/ 809 w 1152"/>
              <a:gd name="T59" fmla="*/ 712 h 1152"/>
              <a:gd name="T60" fmla="*/ 730 w 1152"/>
              <a:gd name="T61" fmla="*/ 842 h 1152"/>
              <a:gd name="T62" fmla="*/ 1024 w 1152"/>
              <a:gd name="T63" fmla="*/ 967 h 1152"/>
              <a:gd name="T64" fmla="*/ 889 w 1152"/>
              <a:gd name="T65" fmla="*/ 914 h 1152"/>
              <a:gd name="T66" fmla="*/ 812 w 1152"/>
              <a:gd name="T67" fmla="*/ 852 h 1152"/>
              <a:gd name="T68" fmla="*/ 866 w 1152"/>
              <a:gd name="T69" fmla="*/ 756 h 1152"/>
              <a:gd name="T70" fmla="*/ 923 w 1152"/>
              <a:gd name="T71" fmla="*/ 593 h 1152"/>
              <a:gd name="T72" fmla="*/ 936 w 1152"/>
              <a:gd name="T73" fmla="*/ 462 h 1152"/>
              <a:gd name="T74" fmla="*/ 916 w 1152"/>
              <a:gd name="T75" fmla="*/ 302 h 1152"/>
              <a:gd name="T76" fmla="*/ 876 w 1152"/>
              <a:gd name="T77" fmla="*/ 192 h 1152"/>
              <a:gd name="T78" fmla="*/ 831 w 1152"/>
              <a:gd name="T79" fmla="*/ 123 h 1152"/>
              <a:gd name="T80" fmla="*/ 765 w 1152"/>
              <a:gd name="T81" fmla="*/ 59 h 1152"/>
              <a:gd name="T82" fmla="*/ 686 w 1152"/>
              <a:gd name="T83" fmla="*/ 18 h 1152"/>
              <a:gd name="T84" fmla="*/ 595 w 1152"/>
              <a:gd name="T85" fmla="*/ 1 h 1152"/>
              <a:gd name="T86" fmla="*/ 501 w 1152"/>
              <a:gd name="T87" fmla="*/ 8 h 1152"/>
              <a:gd name="T88" fmla="*/ 417 w 1152"/>
              <a:gd name="T89" fmla="*/ 40 h 1152"/>
              <a:gd name="T90" fmla="*/ 345 w 1152"/>
              <a:gd name="T91" fmla="*/ 95 h 1152"/>
              <a:gd name="T92" fmla="*/ 292 w 1152"/>
              <a:gd name="T93" fmla="*/ 163 h 1152"/>
              <a:gd name="T94" fmla="*/ 257 w 1152"/>
              <a:gd name="T95" fmla="*/ 238 h 1152"/>
              <a:gd name="T96" fmla="*/ 220 w 1152"/>
              <a:gd name="T97" fmla="*/ 399 h 1152"/>
              <a:gd name="T98" fmla="*/ 220 w 1152"/>
              <a:gd name="T99" fmla="*/ 546 h 1152"/>
              <a:gd name="T100" fmla="*/ 262 w 1152"/>
              <a:gd name="T101" fmla="*/ 697 h 1152"/>
              <a:gd name="T102" fmla="*/ 317 w 1152"/>
              <a:gd name="T103" fmla="*/ 814 h 1152"/>
              <a:gd name="T104" fmla="*/ 330 w 1152"/>
              <a:gd name="T105" fmla="*/ 895 h 1152"/>
              <a:gd name="T106" fmla="*/ 177 w 1152"/>
              <a:gd name="T107" fmla="*/ 947 h 1152"/>
              <a:gd name="T108" fmla="*/ 41 w 1152"/>
              <a:gd name="T109" fmla="*/ 1015 h 1152"/>
              <a:gd name="T110" fmla="*/ 4 w 1152"/>
              <a:gd name="T111" fmla="*/ 1056 h 1152"/>
              <a:gd name="T112" fmla="*/ 7 w 1152"/>
              <a:gd name="T113" fmla="*/ 1112 h 1152"/>
              <a:gd name="T114" fmla="*/ 49 w 1152"/>
              <a:gd name="T115" fmla="*/ 1149 h 1152"/>
              <a:gd name="T116" fmla="*/ 1102 w 1152"/>
              <a:gd name="T117" fmla="*/ 1149 h 1152"/>
              <a:gd name="T118" fmla="*/ 1145 w 1152"/>
              <a:gd name="T119" fmla="*/ 1112 h 1152"/>
              <a:gd name="T120" fmla="*/ 1148 w 1152"/>
              <a:gd name="T121" fmla="*/ 1056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2" h="1152">
                <a:moveTo>
                  <a:pt x="72" y="1080"/>
                </a:moveTo>
                <a:lnTo>
                  <a:pt x="80" y="1075"/>
                </a:lnTo>
                <a:lnTo>
                  <a:pt x="97" y="1065"/>
                </a:lnTo>
                <a:lnTo>
                  <a:pt x="124" y="1050"/>
                </a:lnTo>
                <a:lnTo>
                  <a:pt x="161" y="1032"/>
                </a:lnTo>
                <a:lnTo>
                  <a:pt x="181" y="1022"/>
                </a:lnTo>
                <a:lnTo>
                  <a:pt x="205" y="1013"/>
                </a:lnTo>
                <a:lnTo>
                  <a:pt x="230" y="1003"/>
                </a:lnTo>
                <a:lnTo>
                  <a:pt x="257" y="992"/>
                </a:lnTo>
                <a:lnTo>
                  <a:pt x="285" y="982"/>
                </a:lnTo>
                <a:lnTo>
                  <a:pt x="316" y="974"/>
                </a:lnTo>
                <a:lnTo>
                  <a:pt x="347" y="965"/>
                </a:lnTo>
                <a:lnTo>
                  <a:pt x="381" y="958"/>
                </a:lnTo>
                <a:lnTo>
                  <a:pt x="471" y="938"/>
                </a:lnTo>
                <a:lnTo>
                  <a:pt x="482" y="946"/>
                </a:lnTo>
                <a:lnTo>
                  <a:pt x="495" y="952"/>
                </a:lnTo>
                <a:lnTo>
                  <a:pt x="507" y="958"/>
                </a:lnTo>
                <a:lnTo>
                  <a:pt x="520" y="963"/>
                </a:lnTo>
                <a:lnTo>
                  <a:pt x="534" y="966"/>
                </a:lnTo>
                <a:lnTo>
                  <a:pt x="547" y="969"/>
                </a:lnTo>
                <a:lnTo>
                  <a:pt x="561" y="972"/>
                </a:lnTo>
                <a:lnTo>
                  <a:pt x="576" y="972"/>
                </a:lnTo>
                <a:lnTo>
                  <a:pt x="590" y="972"/>
                </a:lnTo>
                <a:lnTo>
                  <a:pt x="605" y="969"/>
                </a:lnTo>
                <a:lnTo>
                  <a:pt x="617" y="966"/>
                </a:lnTo>
                <a:lnTo>
                  <a:pt x="632" y="963"/>
                </a:lnTo>
                <a:lnTo>
                  <a:pt x="644" y="958"/>
                </a:lnTo>
                <a:lnTo>
                  <a:pt x="657" y="952"/>
                </a:lnTo>
                <a:lnTo>
                  <a:pt x="669" y="946"/>
                </a:lnTo>
                <a:lnTo>
                  <a:pt x="681" y="938"/>
                </a:lnTo>
                <a:lnTo>
                  <a:pt x="771" y="958"/>
                </a:lnTo>
                <a:lnTo>
                  <a:pt x="804" y="965"/>
                </a:lnTo>
                <a:lnTo>
                  <a:pt x="836" y="974"/>
                </a:lnTo>
                <a:lnTo>
                  <a:pt x="866" y="982"/>
                </a:lnTo>
                <a:lnTo>
                  <a:pt x="894" y="992"/>
                </a:lnTo>
                <a:lnTo>
                  <a:pt x="921" y="1002"/>
                </a:lnTo>
                <a:lnTo>
                  <a:pt x="946" y="1012"/>
                </a:lnTo>
                <a:lnTo>
                  <a:pt x="970" y="1022"/>
                </a:lnTo>
                <a:lnTo>
                  <a:pt x="991" y="1031"/>
                </a:lnTo>
                <a:lnTo>
                  <a:pt x="1027" y="1049"/>
                </a:lnTo>
                <a:lnTo>
                  <a:pt x="1054" y="1065"/>
                </a:lnTo>
                <a:lnTo>
                  <a:pt x="1072" y="1075"/>
                </a:lnTo>
                <a:lnTo>
                  <a:pt x="1080" y="1080"/>
                </a:lnTo>
                <a:lnTo>
                  <a:pt x="72" y="1080"/>
                </a:lnTo>
                <a:close/>
                <a:moveTo>
                  <a:pt x="730" y="842"/>
                </a:moveTo>
                <a:lnTo>
                  <a:pt x="718" y="857"/>
                </a:lnTo>
                <a:lnTo>
                  <a:pt x="702" y="874"/>
                </a:lnTo>
                <a:lnTo>
                  <a:pt x="684" y="890"/>
                </a:lnTo>
                <a:lnTo>
                  <a:pt x="667" y="903"/>
                </a:lnTo>
                <a:lnTo>
                  <a:pt x="650" y="912"/>
                </a:lnTo>
                <a:lnTo>
                  <a:pt x="640" y="917"/>
                </a:lnTo>
                <a:lnTo>
                  <a:pt x="632" y="921"/>
                </a:lnTo>
                <a:lnTo>
                  <a:pt x="622" y="924"/>
                </a:lnTo>
                <a:lnTo>
                  <a:pt x="613" y="926"/>
                </a:lnTo>
                <a:lnTo>
                  <a:pt x="603" y="928"/>
                </a:lnTo>
                <a:lnTo>
                  <a:pt x="595" y="930"/>
                </a:lnTo>
                <a:lnTo>
                  <a:pt x="585" y="931"/>
                </a:lnTo>
                <a:lnTo>
                  <a:pt x="576" y="932"/>
                </a:lnTo>
                <a:lnTo>
                  <a:pt x="567" y="931"/>
                </a:lnTo>
                <a:lnTo>
                  <a:pt x="557" y="930"/>
                </a:lnTo>
                <a:lnTo>
                  <a:pt x="548" y="928"/>
                </a:lnTo>
                <a:lnTo>
                  <a:pt x="539" y="926"/>
                </a:lnTo>
                <a:lnTo>
                  <a:pt x="530" y="924"/>
                </a:lnTo>
                <a:lnTo>
                  <a:pt x="520" y="921"/>
                </a:lnTo>
                <a:lnTo>
                  <a:pt x="512" y="917"/>
                </a:lnTo>
                <a:lnTo>
                  <a:pt x="503" y="912"/>
                </a:lnTo>
                <a:lnTo>
                  <a:pt x="485" y="903"/>
                </a:lnTo>
                <a:lnTo>
                  <a:pt x="467" y="890"/>
                </a:lnTo>
                <a:lnTo>
                  <a:pt x="450" y="874"/>
                </a:lnTo>
                <a:lnTo>
                  <a:pt x="434" y="857"/>
                </a:lnTo>
                <a:lnTo>
                  <a:pt x="422" y="842"/>
                </a:lnTo>
                <a:lnTo>
                  <a:pt x="405" y="818"/>
                </a:lnTo>
                <a:lnTo>
                  <a:pt x="387" y="792"/>
                </a:lnTo>
                <a:lnTo>
                  <a:pt x="371" y="766"/>
                </a:lnTo>
                <a:lnTo>
                  <a:pt x="357" y="741"/>
                </a:lnTo>
                <a:lnTo>
                  <a:pt x="344" y="712"/>
                </a:lnTo>
                <a:lnTo>
                  <a:pt x="332" y="684"/>
                </a:lnTo>
                <a:lnTo>
                  <a:pt x="322" y="656"/>
                </a:lnTo>
                <a:lnTo>
                  <a:pt x="313" y="627"/>
                </a:lnTo>
                <a:lnTo>
                  <a:pt x="305" y="598"/>
                </a:lnTo>
                <a:lnTo>
                  <a:pt x="299" y="568"/>
                </a:lnTo>
                <a:lnTo>
                  <a:pt x="293" y="537"/>
                </a:lnTo>
                <a:lnTo>
                  <a:pt x="290" y="508"/>
                </a:lnTo>
                <a:lnTo>
                  <a:pt x="289" y="478"/>
                </a:lnTo>
                <a:lnTo>
                  <a:pt x="289" y="447"/>
                </a:lnTo>
                <a:lnTo>
                  <a:pt x="290" y="417"/>
                </a:lnTo>
                <a:lnTo>
                  <a:pt x="293" y="387"/>
                </a:lnTo>
                <a:lnTo>
                  <a:pt x="298" y="358"/>
                </a:lnTo>
                <a:lnTo>
                  <a:pt x="304" y="329"/>
                </a:lnTo>
                <a:lnTo>
                  <a:pt x="312" y="301"/>
                </a:lnTo>
                <a:lnTo>
                  <a:pt x="322" y="273"/>
                </a:lnTo>
                <a:lnTo>
                  <a:pt x="332" y="246"/>
                </a:lnTo>
                <a:lnTo>
                  <a:pt x="345" y="220"/>
                </a:lnTo>
                <a:lnTo>
                  <a:pt x="353" y="207"/>
                </a:lnTo>
                <a:lnTo>
                  <a:pt x="360" y="195"/>
                </a:lnTo>
                <a:lnTo>
                  <a:pt x="368" y="183"/>
                </a:lnTo>
                <a:lnTo>
                  <a:pt x="377" y="171"/>
                </a:lnTo>
                <a:lnTo>
                  <a:pt x="386" y="161"/>
                </a:lnTo>
                <a:lnTo>
                  <a:pt x="395" y="151"/>
                </a:lnTo>
                <a:lnTo>
                  <a:pt x="405" y="140"/>
                </a:lnTo>
                <a:lnTo>
                  <a:pt x="416" y="131"/>
                </a:lnTo>
                <a:lnTo>
                  <a:pt x="426" y="122"/>
                </a:lnTo>
                <a:lnTo>
                  <a:pt x="437" y="114"/>
                </a:lnTo>
                <a:lnTo>
                  <a:pt x="449" y="107"/>
                </a:lnTo>
                <a:lnTo>
                  <a:pt x="461" y="99"/>
                </a:lnTo>
                <a:lnTo>
                  <a:pt x="474" y="94"/>
                </a:lnTo>
                <a:lnTo>
                  <a:pt x="487" y="88"/>
                </a:lnTo>
                <a:lnTo>
                  <a:pt x="501" y="83"/>
                </a:lnTo>
                <a:lnTo>
                  <a:pt x="515" y="80"/>
                </a:lnTo>
                <a:lnTo>
                  <a:pt x="529" y="76"/>
                </a:lnTo>
                <a:lnTo>
                  <a:pt x="544" y="74"/>
                </a:lnTo>
                <a:lnTo>
                  <a:pt x="560" y="72"/>
                </a:lnTo>
                <a:lnTo>
                  <a:pt x="576" y="72"/>
                </a:lnTo>
                <a:lnTo>
                  <a:pt x="592" y="72"/>
                </a:lnTo>
                <a:lnTo>
                  <a:pt x="608" y="74"/>
                </a:lnTo>
                <a:lnTo>
                  <a:pt x="623" y="76"/>
                </a:lnTo>
                <a:lnTo>
                  <a:pt x="637" y="80"/>
                </a:lnTo>
                <a:lnTo>
                  <a:pt x="651" y="83"/>
                </a:lnTo>
                <a:lnTo>
                  <a:pt x="665" y="88"/>
                </a:lnTo>
                <a:lnTo>
                  <a:pt x="678" y="94"/>
                </a:lnTo>
                <a:lnTo>
                  <a:pt x="691" y="99"/>
                </a:lnTo>
                <a:lnTo>
                  <a:pt x="703" y="107"/>
                </a:lnTo>
                <a:lnTo>
                  <a:pt x="715" y="114"/>
                </a:lnTo>
                <a:lnTo>
                  <a:pt x="725" y="122"/>
                </a:lnTo>
                <a:lnTo>
                  <a:pt x="736" y="131"/>
                </a:lnTo>
                <a:lnTo>
                  <a:pt x="747" y="140"/>
                </a:lnTo>
                <a:lnTo>
                  <a:pt x="757" y="151"/>
                </a:lnTo>
                <a:lnTo>
                  <a:pt x="767" y="161"/>
                </a:lnTo>
                <a:lnTo>
                  <a:pt x="775" y="171"/>
                </a:lnTo>
                <a:lnTo>
                  <a:pt x="784" y="183"/>
                </a:lnTo>
                <a:lnTo>
                  <a:pt x="791" y="195"/>
                </a:lnTo>
                <a:lnTo>
                  <a:pt x="799" y="207"/>
                </a:lnTo>
                <a:lnTo>
                  <a:pt x="806" y="220"/>
                </a:lnTo>
                <a:lnTo>
                  <a:pt x="819" y="246"/>
                </a:lnTo>
                <a:lnTo>
                  <a:pt x="830" y="273"/>
                </a:lnTo>
                <a:lnTo>
                  <a:pt x="840" y="301"/>
                </a:lnTo>
                <a:lnTo>
                  <a:pt x="848" y="329"/>
                </a:lnTo>
                <a:lnTo>
                  <a:pt x="854" y="358"/>
                </a:lnTo>
                <a:lnTo>
                  <a:pt x="858" y="387"/>
                </a:lnTo>
                <a:lnTo>
                  <a:pt x="862" y="418"/>
                </a:lnTo>
                <a:lnTo>
                  <a:pt x="863" y="448"/>
                </a:lnTo>
                <a:lnTo>
                  <a:pt x="863" y="478"/>
                </a:lnTo>
                <a:lnTo>
                  <a:pt x="862" y="508"/>
                </a:lnTo>
                <a:lnTo>
                  <a:pt x="858" y="537"/>
                </a:lnTo>
                <a:lnTo>
                  <a:pt x="853" y="568"/>
                </a:lnTo>
                <a:lnTo>
                  <a:pt x="848" y="598"/>
                </a:lnTo>
                <a:lnTo>
                  <a:pt x="840" y="627"/>
                </a:lnTo>
                <a:lnTo>
                  <a:pt x="830" y="656"/>
                </a:lnTo>
                <a:lnTo>
                  <a:pt x="821" y="684"/>
                </a:lnTo>
                <a:lnTo>
                  <a:pt x="809" y="712"/>
                </a:lnTo>
                <a:lnTo>
                  <a:pt x="795" y="741"/>
                </a:lnTo>
                <a:lnTo>
                  <a:pt x="781" y="766"/>
                </a:lnTo>
                <a:lnTo>
                  <a:pt x="764" y="792"/>
                </a:lnTo>
                <a:lnTo>
                  <a:pt x="748" y="818"/>
                </a:lnTo>
                <a:lnTo>
                  <a:pt x="730" y="842"/>
                </a:lnTo>
                <a:close/>
                <a:moveTo>
                  <a:pt x="1120" y="1020"/>
                </a:moveTo>
                <a:lnTo>
                  <a:pt x="1111" y="1015"/>
                </a:lnTo>
                <a:lnTo>
                  <a:pt x="1093" y="1003"/>
                </a:lnTo>
                <a:lnTo>
                  <a:pt x="1062" y="987"/>
                </a:lnTo>
                <a:lnTo>
                  <a:pt x="1024" y="967"/>
                </a:lnTo>
                <a:lnTo>
                  <a:pt x="1001" y="957"/>
                </a:lnTo>
                <a:lnTo>
                  <a:pt x="976" y="947"/>
                </a:lnTo>
                <a:lnTo>
                  <a:pt x="949" y="936"/>
                </a:lnTo>
                <a:lnTo>
                  <a:pt x="920" y="925"/>
                </a:lnTo>
                <a:lnTo>
                  <a:pt x="889" y="914"/>
                </a:lnTo>
                <a:lnTo>
                  <a:pt x="856" y="905"/>
                </a:lnTo>
                <a:lnTo>
                  <a:pt x="822" y="895"/>
                </a:lnTo>
                <a:lnTo>
                  <a:pt x="786" y="887"/>
                </a:lnTo>
                <a:lnTo>
                  <a:pt x="799" y="869"/>
                </a:lnTo>
                <a:lnTo>
                  <a:pt x="812" y="852"/>
                </a:lnTo>
                <a:lnTo>
                  <a:pt x="824" y="833"/>
                </a:lnTo>
                <a:lnTo>
                  <a:pt x="835" y="814"/>
                </a:lnTo>
                <a:lnTo>
                  <a:pt x="845" y="795"/>
                </a:lnTo>
                <a:lnTo>
                  <a:pt x="856" y="775"/>
                </a:lnTo>
                <a:lnTo>
                  <a:pt x="866" y="756"/>
                </a:lnTo>
                <a:lnTo>
                  <a:pt x="875" y="736"/>
                </a:lnTo>
                <a:lnTo>
                  <a:pt x="890" y="697"/>
                </a:lnTo>
                <a:lnTo>
                  <a:pt x="904" y="661"/>
                </a:lnTo>
                <a:lnTo>
                  <a:pt x="914" y="625"/>
                </a:lnTo>
                <a:lnTo>
                  <a:pt x="923" y="593"/>
                </a:lnTo>
                <a:lnTo>
                  <a:pt x="927" y="571"/>
                </a:lnTo>
                <a:lnTo>
                  <a:pt x="932" y="546"/>
                </a:lnTo>
                <a:lnTo>
                  <a:pt x="934" y="519"/>
                </a:lnTo>
                <a:lnTo>
                  <a:pt x="936" y="491"/>
                </a:lnTo>
                <a:lnTo>
                  <a:pt x="936" y="462"/>
                </a:lnTo>
                <a:lnTo>
                  <a:pt x="935" y="431"/>
                </a:lnTo>
                <a:lnTo>
                  <a:pt x="932" y="399"/>
                </a:lnTo>
                <a:lnTo>
                  <a:pt x="929" y="367"/>
                </a:lnTo>
                <a:lnTo>
                  <a:pt x="923" y="334"/>
                </a:lnTo>
                <a:lnTo>
                  <a:pt x="916" y="302"/>
                </a:lnTo>
                <a:lnTo>
                  <a:pt x="906" y="270"/>
                </a:lnTo>
                <a:lnTo>
                  <a:pt x="895" y="238"/>
                </a:lnTo>
                <a:lnTo>
                  <a:pt x="890" y="222"/>
                </a:lnTo>
                <a:lnTo>
                  <a:pt x="883" y="207"/>
                </a:lnTo>
                <a:lnTo>
                  <a:pt x="876" y="192"/>
                </a:lnTo>
                <a:lnTo>
                  <a:pt x="868" y="178"/>
                </a:lnTo>
                <a:lnTo>
                  <a:pt x="859" y="163"/>
                </a:lnTo>
                <a:lnTo>
                  <a:pt x="851" y="150"/>
                </a:lnTo>
                <a:lnTo>
                  <a:pt x="841" y="136"/>
                </a:lnTo>
                <a:lnTo>
                  <a:pt x="831" y="123"/>
                </a:lnTo>
                <a:lnTo>
                  <a:pt x="819" y="108"/>
                </a:lnTo>
                <a:lnTo>
                  <a:pt x="806" y="95"/>
                </a:lnTo>
                <a:lnTo>
                  <a:pt x="794" y="82"/>
                </a:lnTo>
                <a:lnTo>
                  <a:pt x="779" y="70"/>
                </a:lnTo>
                <a:lnTo>
                  <a:pt x="765" y="59"/>
                </a:lnTo>
                <a:lnTo>
                  <a:pt x="750" y="48"/>
                </a:lnTo>
                <a:lnTo>
                  <a:pt x="735" y="40"/>
                </a:lnTo>
                <a:lnTo>
                  <a:pt x="719" y="31"/>
                </a:lnTo>
                <a:lnTo>
                  <a:pt x="703" y="23"/>
                </a:lnTo>
                <a:lnTo>
                  <a:pt x="686" y="18"/>
                </a:lnTo>
                <a:lnTo>
                  <a:pt x="668" y="13"/>
                </a:lnTo>
                <a:lnTo>
                  <a:pt x="651" y="8"/>
                </a:lnTo>
                <a:lnTo>
                  <a:pt x="633" y="4"/>
                </a:lnTo>
                <a:lnTo>
                  <a:pt x="614" y="2"/>
                </a:lnTo>
                <a:lnTo>
                  <a:pt x="595" y="1"/>
                </a:lnTo>
                <a:lnTo>
                  <a:pt x="576" y="0"/>
                </a:lnTo>
                <a:lnTo>
                  <a:pt x="557" y="1"/>
                </a:lnTo>
                <a:lnTo>
                  <a:pt x="538" y="2"/>
                </a:lnTo>
                <a:lnTo>
                  <a:pt x="519" y="4"/>
                </a:lnTo>
                <a:lnTo>
                  <a:pt x="501" y="8"/>
                </a:lnTo>
                <a:lnTo>
                  <a:pt x="484" y="13"/>
                </a:lnTo>
                <a:lnTo>
                  <a:pt x="466" y="18"/>
                </a:lnTo>
                <a:lnTo>
                  <a:pt x="449" y="23"/>
                </a:lnTo>
                <a:lnTo>
                  <a:pt x="433" y="31"/>
                </a:lnTo>
                <a:lnTo>
                  <a:pt x="417" y="40"/>
                </a:lnTo>
                <a:lnTo>
                  <a:pt x="401" y="48"/>
                </a:lnTo>
                <a:lnTo>
                  <a:pt x="386" y="59"/>
                </a:lnTo>
                <a:lnTo>
                  <a:pt x="372" y="70"/>
                </a:lnTo>
                <a:lnTo>
                  <a:pt x="358" y="82"/>
                </a:lnTo>
                <a:lnTo>
                  <a:pt x="345" y="95"/>
                </a:lnTo>
                <a:lnTo>
                  <a:pt x="332" y="108"/>
                </a:lnTo>
                <a:lnTo>
                  <a:pt x="320" y="123"/>
                </a:lnTo>
                <a:lnTo>
                  <a:pt x="311" y="136"/>
                </a:lnTo>
                <a:lnTo>
                  <a:pt x="301" y="150"/>
                </a:lnTo>
                <a:lnTo>
                  <a:pt x="292" y="163"/>
                </a:lnTo>
                <a:lnTo>
                  <a:pt x="284" y="178"/>
                </a:lnTo>
                <a:lnTo>
                  <a:pt x="276" y="192"/>
                </a:lnTo>
                <a:lnTo>
                  <a:pt x="270" y="207"/>
                </a:lnTo>
                <a:lnTo>
                  <a:pt x="262" y="222"/>
                </a:lnTo>
                <a:lnTo>
                  <a:pt x="257" y="238"/>
                </a:lnTo>
                <a:lnTo>
                  <a:pt x="246" y="270"/>
                </a:lnTo>
                <a:lnTo>
                  <a:pt x="236" y="302"/>
                </a:lnTo>
                <a:lnTo>
                  <a:pt x="230" y="334"/>
                </a:lnTo>
                <a:lnTo>
                  <a:pt x="223" y="367"/>
                </a:lnTo>
                <a:lnTo>
                  <a:pt x="220" y="399"/>
                </a:lnTo>
                <a:lnTo>
                  <a:pt x="217" y="431"/>
                </a:lnTo>
                <a:lnTo>
                  <a:pt x="216" y="462"/>
                </a:lnTo>
                <a:lnTo>
                  <a:pt x="217" y="491"/>
                </a:lnTo>
                <a:lnTo>
                  <a:pt x="218" y="519"/>
                </a:lnTo>
                <a:lnTo>
                  <a:pt x="220" y="546"/>
                </a:lnTo>
                <a:lnTo>
                  <a:pt x="224" y="571"/>
                </a:lnTo>
                <a:lnTo>
                  <a:pt x="229" y="593"/>
                </a:lnTo>
                <a:lnTo>
                  <a:pt x="237" y="625"/>
                </a:lnTo>
                <a:lnTo>
                  <a:pt x="248" y="661"/>
                </a:lnTo>
                <a:lnTo>
                  <a:pt x="262" y="697"/>
                </a:lnTo>
                <a:lnTo>
                  <a:pt x="277" y="736"/>
                </a:lnTo>
                <a:lnTo>
                  <a:pt x="287" y="756"/>
                </a:lnTo>
                <a:lnTo>
                  <a:pt x="296" y="775"/>
                </a:lnTo>
                <a:lnTo>
                  <a:pt x="306" y="795"/>
                </a:lnTo>
                <a:lnTo>
                  <a:pt x="317" y="814"/>
                </a:lnTo>
                <a:lnTo>
                  <a:pt x="328" y="833"/>
                </a:lnTo>
                <a:lnTo>
                  <a:pt x="340" y="852"/>
                </a:lnTo>
                <a:lnTo>
                  <a:pt x="353" y="869"/>
                </a:lnTo>
                <a:lnTo>
                  <a:pt x="366" y="887"/>
                </a:lnTo>
                <a:lnTo>
                  <a:pt x="330" y="895"/>
                </a:lnTo>
                <a:lnTo>
                  <a:pt x="296" y="905"/>
                </a:lnTo>
                <a:lnTo>
                  <a:pt x="263" y="914"/>
                </a:lnTo>
                <a:lnTo>
                  <a:pt x="232" y="925"/>
                </a:lnTo>
                <a:lnTo>
                  <a:pt x="204" y="936"/>
                </a:lnTo>
                <a:lnTo>
                  <a:pt x="177" y="947"/>
                </a:lnTo>
                <a:lnTo>
                  <a:pt x="151" y="957"/>
                </a:lnTo>
                <a:lnTo>
                  <a:pt x="128" y="967"/>
                </a:lnTo>
                <a:lnTo>
                  <a:pt x="89" y="987"/>
                </a:lnTo>
                <a:lnTo>
                  <a:pt x="60" y="1003"/>
                </a:lnTo>
                <a:lnTo>
                  <a:pt x="41" y="1015"/>
                </a:lnTo>
                <a:lnTo>
                  <a:pt x="32" y="1020"/>
                </a:lnTo>
                <a:lnTo>
                  <a:pt x="22" y="1028"/>
                </a:lnTo>
                <a:lnTo>
                  <a:pt x="15" y="1035"/>
                </a:lnTo>
                <a:lnTo>
                  <a:pt x="8" y="1045"/>
                </a:lnTo>
                <a:lnTo>
                  <a:pt x="4" y="1056"/>
                </a:lnTo>
                <a:lnTo>
                  <a:pt x="1" y="1067"/>
                </a:lnTo>
                <a:lnTo>
                  <a:pt x="0" y="1077"/>
                </a:lnTo>
                <a:lnTo>
                  <a:pt x="1" y="1089"/>
                </a:lnTo>
                <a:lnTo>
                  <a:pt x="3" y="1101"/>
                </a:lnTo>
                <a:lnTo>
                  <a:pt x="7" y="1112"/>
                </a:lnTo>
                <a:lnTo>
                  <a:pt x="14" y="1122"/>
                </a:lnTo>
                <a:lnTo>
                  <a:pt x="20" y="1130"/>
                </a:lnTo>
                <a:lnTo>
                  <a:pt x="29" y="1138"/>
                </a:lnTo>
                <a:lnTo>
                  <a:pt x="39" y="1143"/>
                </a:lnTo>
                <a:lnTo>
                  <a:pt x="49" y="1149"/>
                </a:lnTo>
                <a:lnTo>
                  <a:pt x="60" y="1151"/>
                </a:lnTo>
                <a:lnTo>
                  <a:pt x="72" y="1152"/>
                </a:lnTo>
                <a:lnTo>
                  <a:pt x="1080" y="1152"/>
                </a:lnTo>
                <a:lnTo>
                  <a:pt x="1092" y="1151"/>
                </a:lnTo>
                <a:lnTo>
                  <a:pt x="1102" y="1149"/>
                </a:lnTo>
                <a:lnTo>
                  <a:pt x="1113" y="1143"/>
                </a:lnTo>
                <a:lnTo>
                  <a:pt x="1123" y="1138"/>
                </a:lnTo>
                <a:lnTo>
                  <a:pt x="1132" y="1130"/>
                </a:lnTo>
                <a:lnTo>
                  <a:pt x="1139" y="1122"/>
                </a:lnTo>
                <a:lnTo>
                  <a:pt x="1145" y="1112"/>
                </a:lnTo>
                <a:lnTo>
                  <a:pt x="1149" y="1101"/>
                </a:lnTo>
                <a:lnTo>
                  <a:pt x="1151" y="1089"/>
                </a:lnTo>
                <a:lnTo>
                  <a:pt x="1152" y="1077"/>
                </a:lnTo>
                <a:lnTo>
                  <a:pt x="1151" y="1067"/>
                </a:lnTo>
                <a:lnTo>
                  <a:pt x="1148" y="1056"/>
                </a:lnTo>
                <a:lnTo>
                  <a:pt x="1143" y="1045"/>
                </a:lnTo>
                <a:lnTo>
                  <a:pt x="1137" y="1035"/>
                </a:lnTo>
                <a:lnTo>
                  <a:pt x="1129" y="1028"/>
                </a:lnTo>
                <a:lnTo>
                  <a:pt x="1120" y="1020"/>
                </a:lnTo>
                <a:close/>
              </a:path>
            </a:pathLst>
          </a:custGeom>
          <a:solidFill>
            <a:schemeClr val="tx1">
              <a:lumMod val="85000"/>
              <a:lumOff val="15000"/>
            </a:schemeClr>
          </a:solidFill>
          <a:ln>
            <a:noFill/>
          </a:ln>
        </p:spPr>
        <p:txBody>
          <a:bodyPr vert="horz" wrap="square" lIns="91440" tIns="45720" rIns="91440" bIns="45720" numCol="1" anchor="t" anchorCtr="0" compatLnSpc="1"/>
          <a:lstStyle/>
          <a:p>
            <a:endParaRPr lang="en-US"/>
          </a:p>
        </p:txBody>
      </p:sp>
    </p:spTree>
  </p:cSld>
  <p:clrMapOvr>
    <a:masterClrMapping/>
  </p:clrMapOvr>
  <p:transition spd="slow" advClick="0" advTm="0">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p:nvPr/>
        </p:nvSpPr>
        <p:spPr>
          <a:xfrm>
            <a:off x="904902" y="644336"/>
            <a:ext cx="4352898"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3600" b="1" spc="-151" dirty="0">
                <a:solidFill>
                  <a:schemeClr val="accent1"/>
                </a:solidFill>
                <a:latin typeface="Playfair Display" panose="00000500000000000000" pitchFamily="2" charset="0"/>
                <a:ea typeface="Open Sans" panose="020B0606030504020204" pitchFamily="34" charset="0"/>
                <a:cs typeface="Lato" panose="020F0502020204030203" pitchFamily="34" charset="0"/>
              </a:rPr>
              <a:t>Target </a:t>
            </a:r>
            <a:r>
              <a:rPr lang="en-US" sz="3600"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Market</a:t>
            </a:r>
            <a:endParaRPr lang="en-US" sz="3600"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4" name="Rectangle 3"/>
          <p:cNvSpPr/>
          <p:nvPr/>
        </p:nvSpPr>
        <p:spPr>
          <a:xfrm>
            <a:off x="958692" y="1290667"/>
            <a:ext cx="2156010" cy="261610"/>
          </a:xfrm>
          <a:prstGeom prst="rect">
            <a:avLst/>
          </a:prstGeom>
        </p:spPr>
        <p:txBody>
          <a:bodyPr wrap="square">
            <a:spAutoFit/>
          </a:bodyPr>
          <a:lstStyle/>
          <a:p>
            <a:pPr>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grpSp>
        <p:nvGrpSpPr>
          <p:cNvPr id="5" name="Group 18636"/>
          <p:cNvGrpSpPr/>
          <p:nvPr/>
        </p:nvGrpSpPr>
        <p:grpSpPr>
          <a:xfrm>
            <a:off x="2402994" y="2071430"/>
            <a:ext cx="7325952" cy="3704648"/>
            <a:chOff x="0" y="0"/>
            <a:chExt cx="16117093" cy="8150225"/>
          </a:xfrm>
          <a:solidFill>
            <a:schemeClr val="accent1"/>
          </a:solidFill>
        </p:grpSpPr>
        <p:sp>
          <p:nvSpPr>
            <p:cNvPr id="6" name="Shape 18630"/>
            <p:cNvSpPr/>
            <p:nvPr/>
          </p:nvSpPr>
          <p:spPr>
            <a:xfrm>
              <a:off x="6718300" y="114300"/>
              <a:ext cx="2523729" cy="2536429"/>
            </a:xfrm>
            <a:custGeom>
              <a:avLst/>
              <a:gdLst/>
              <a:ahLst/>
              <a:cxnLst>
                <a:cxn ang="0">
                  <a:pos x="wd2" y="hd2"/>
                </a:cxn>
                <a:cxn ang="5400000">
                  <a:pos x="wd2" y="hd2"/>
                </a:cxn>
                <a:cxn ang="10800000">
                  <a:pos x="wd2" y="hd2"/>
                </a:cxn>
                <a:cxn ang="16200000">
                  <a:pos x="wd2" y="hd2"/>
                </a:cxn>
              </a:cxnLst>
              <a:rect l="0" t="0" r="r" b="b"/>
              <a:pathLst>
                <a:path w="21600" h="21600" extrusionOk="0">
                  <a:moveTo>
                    <a:pt x="12867" y="0"/>
                  </a:moveTo>
                  <a:cubicBezTo>
                    <a:pt x="12665" y="0"/>
                    <a:pt x="12500" y="164"/>
                    <a:pt x="12500" y="365"/>
                  </a:cubicBezTo>
                  <a:cubicBezTo>
                    <a:pt x="12500" y="566"/>
                    <a:pt x="12665" y="727"/>
                    <a:pt x="12867" y="727"/>
                  </a:cubicBezTo>
                  <a:cubicBezTo>
                    <a:pt x="13069" y="727"/>
                    <a:pt x="13230" y="566"/>
                    <a:pt x="13230" y="365"/>
                  </a:cubicBezTo>
                  <a:cubicBezTo>
                    <a:pt x="13230" y="164"/>
                    <a:pt x="13069" y="0"/>
                    <a:pt x="12867" y="0"/>
                  </a:cubicBezTo>
                  <a:close/>
                  <a:moveTo>
                    <a:pt x="13954" y="0"/>
                  </a:moveTo>
                  <a:cubicBezTo>
                    <a:pt x="13752" y="0"/>
                    <a:pt x="13587" y="164"/>
                    <a:pt x="13587" y="365"/>
                  </a:cubicBezTo>
                  <a:cubicBezTo>
                    <a:pt x="13587" y="566"/>
                    <a:pt x="13752" y="727"/>
                    <a:pt x="13954" y="727"/>
                  </a:cubicBezTo>
                  <a:cubicBezTo>
                    <a:pt x="14156" y="727"/>
                    <a:pt x="14317" y="566"/>
                    <a:pt x="14317" y="365"/>
                  </a:cubicBezTo>
                  <a:cubicBezTo>
                    <a:pt x="14317" y="164"/>
                    <a:pt x="14156" y="0"/>
                    <a:pt x="13954" y="0"/>
                  </a:cubicBezTo>
                  <a:close/>
                  <a:moveTo>
                    <a:pt x="10693" y="1190"/>
                  </a:moveTo>
                  <a:cubicBezTo>
                    <a:pt x="10491" y="1190"/>
                    <a:pt x="10326" y="1354"/>
                    <a:pt x="10326" y="1555"/>
                  </a:cubicBezTo>
                  <a:cubicBezTo>
                    <a:pt x="10326" y="1755"/>
                    <a:pt x="10491" y="1916"/>
                    <a:pt x="10693" y="1916"/>
                  </a:cubicBezTo>
                  <a:cubicBezTo>
                    <a:pt x="10895" y="1916"/>
                    <a:pt x="11056" y="1755"/>
                    <a:pt x="11056" y="1555"/>
                  </a:cubicBezTo>
                  <a:cubicBezTo>
                    <a:pt x="11056" y="1354"/>
                    <a:pt x="10895" y="1190"/>
                    <a:pt x="10693" y="1190"/>
                  </a:cubicBezTo>
                  <a:close/>
                  <a:moveTo>
                    <a:pt x="11780" y="1190"/>
                  </a:moveTo>
                  <a:cubicBezTo>
                    <a:pt x="11578" y="1190"/>
                    <a:pt x="11413" y="1354"/>
                    <a:pt x="11413" y="1555"/>
                  </a:cubicBezTo>
                  <a:cubicBezTo>
                    <a:pt x="11413" y="1755"/>
                    <a:pt x="11578" y="1916"/>
                    <a:pt x="11780" y="1916"/>
                  </a:cubicBezTo>
                  <a:cubicBezTo>
                    <a:pt x="11982" y="1916"/>
                    <a:pt x="12143" y="1755"/>
                    <a:pt x="12143" y="1555"/>
                  </a:cubicBezTo>
                  <a:cubicBezTo>
                    <a:pt x="12143" y="1354"/>
                    <a:pt x="11982" y="1190"/>
                    <a:pt x="11780" y="1190"/>
                  </a:cubicBezTo>
                  <a:close/>
                  <a:moveTo>
                    <a:pt x="12867" y="1190"/>
                  </a:moveTo>
                  <a:cubicBezTo>
                    <a:pt x="12665" y="1190"/>
                    <a:pt x="12500" y="1354"/>
                    <a:pt x="12500" y="1555"/>
                  </a:cubicBezTo>
                  <a:cubicBezTo>
                    <a:pt x="12500" y="1755"/>
                    <a:pt x="12665" y="1916"/>
                    <a:pt x="12867" y="1916"/>
                  </a:cubicBezTo>
                  <a:cubicBezTo>
                    <a:pt x="13069" y="1916"/>
                    <a:pt x="13230" y="1755"/>
                    <a:pt x="13230" y="1555"/>
                  </a:cubicBezTo>
                  <a:cubicBezTo>
                    <a:pt x="13230" y="1354"/>
                    <a:pt x="13069" y="1190"/>
                    <a:pt x="12867" y="1190"/>
                  </a:cubicBezTo>
                  <a:close/>
                  <a:moveTo>
                    <a:pt x="13954" y="1190"/>
                  </a:moveTo>
                  <a:cubicBezTo>
                    <a:pt x="13752" y="1190"/>
                    <a:pt x="13587" y="1354"/>
                    <a:pt x="13587" y="1555"/>
                  </a:cubicBezTo>
                  <a:cubicBezTo>
                    <a:pt x="13587" y="1755"/>
                    <a:pt x="13752" y="1916"/>
                    <a:pt x="13954" y="1916"/>
                  </a:cubicBezTo>
                  <a:cubicBezTo>
                    <a:pt x="14156" y="1916"/>
                    <a:pt x="14317" y="1755"/>
                    <a:pt x="14317" y="1555"/>
                  </a:cubicBezTo>
                  <a:cubicBezTo>
                    <a:pt x="14317" y="1354"/>
                    <a:pt x="14156" y="1190"/>
                    <a:pt x="13954" y="1190"/>
                  </a:cubicBezTo>
                  <a:close/>
                  <a:moveTo>
                    <a:pt x="11780" y="4326"/>
                  </a:moveTo>
                  <a:cubicBezTo>
                    <a:pt x="11578" y="4326"/>
                    <a:pt x="11413" y="4490"/>
                    <a:pt x="11413" y="4691"/>
                  </a:cubicBezTo>
                  <a:cubicBezTo>
                    <a:pt x="11413" y="4892"/>
                    <a:pt x="11578" y="5056"/>
                    <a:pt x="11780" y="5056"/>
                  </a:cubicBezTo>
                  <a:cubicBezTo>
                    <a:pt x="11982" y="5056"/>
                    <a:pt x="12143" y="4892"/>
                    <a:pt x="12143" y="4691"/>
                  </a:cubicBezTo>
                  <a:cubicBezTo>
                    <a:pt x="12143" y="4490"/>
                    <a:pt x="11982" y="4326"/>
                    <a:pt x="11780" y="4326"/>
                  </a:cubicBezTo>
                  <a:close/>
                  <a:moveTo>
                    <a:pt x="12867" y="4326"/>
                  </a:moveTo>
                  <a:cubicBezTo>
                    <a:pt x="12665" y="4326"/>
                    <a:pt x="12500" y="4490"/>
                    <a:pt x="12500" y="4691"/>
                  </a:cubicBezTo>
                  <a:cubicBezTo>
                    <a:pt x="12500" y="4892"/>
                    <a:pt x="12665" y="5056"/>
                    <a:pt x="12867" y="5056"/>
                  </a:cubicBezTo>
                  <a:cubicBezTo>
                    <a:pt x="13069" y="5056"/>
                    <a:pt x="13230" y="4892"/>
                    <a:pt x="13230" y="4691"/>
                  </a:cubicBezTo>
                  <a:cubicBezTo>
                    <a:pt x="13230" y="4490"/>
                    <a:pt x="13069" y="4326"/>
                    <a:pt x="12867" y="4326"/>
                  </a:cubicBezTo>
                  <a:close/>
                  <a:moveTo>
                    <a:pt x="13954" y="4326"/>
                  </a:moveTo>
                  <a:cubicBezTo>
                    <a:pt x="13752" y="4326"/>
                    <a:pt x="13587" y="4490"/>
                    <a:pt x="13587" y="4691"/>
                  </a:cubicBezTo>
                  <a:cubicBezTo>
                    <a:pt x="13587" y="4892"/>
                    <a:pt x="13752" y="5056"/>
                    <a:pt x="13954" y="5056"/>
                  </a:cubicBezTo>
                  <a:cubicBezTo>
                    <a:pt x="14156" y="5056"/>
                    <a:pt x="14317" y="4892"/>
                    <a:pt x="14317" y="4691"/>
                  </a:cubicBezTo>
                  <a:cubicBezTo>
                    <a:pt x="14317" y="4490"/>
                    <a:pt x="14156" y="4326"/>
                    <a:pt x="13954" y="4326"/>
                  </a:cubicBezTo>
                  <a:close/>
                  <a:moveTo>
                    <a:pt x="14932" y="4326"/>
                  </a:moveTo>
                  <a:cubicBezTo>
                    <a:pt x="14730" y="4326"/>
                    <a:pt x="14565" y="4490"/>
                    <a:pt x="14565" y="4691"/>
                  </a:cubicBezTo>
                  <a:cubicBezTo>
                    <a:pt x="14565" y="4892"/>
                    <a:pt x="14730" y="5056"/>
                    <a:pt x="14932" y="5056"/>
                  </a:cubicBezTo>
                  <a:cubicBezTo>
                    <a:pt x="15134" y="5056"/>
                    <a:pt x="15296" y="4892"/>
                    <a:pt x="15296" y="4691"/>
                  </a:cubicBezTo>
                  <a:cubicBezTo>
                    <a:pt x="15296" y="4490"/>
                    <a:pt x="15134" y="4326"/>
                    <a:pt x="14932" y="4326"/>
                  </a:cubicBezTo>
                  <a:close/>
                  <a:moveTo>
                    <a:pt x="16019" y="4326"/>
                  </a:moveTo>
                  <a:cubicBezTo>
                    <a:pt x="15817" y="4326"/>
                    <a:pt x="15652" y="4490"/>
                    <a:pt x="15652" y="4691"/>
                  </a:cubicBezTo>
                  <a:cubicBezTo>
                    <a:pt x="15652" y="4892"/>
                    <a:pt x="15817" y="5056"/>
                    <a:pt x="16019" y="5056"/>
                  </a:cubicBezTo>
                  <a:cubicBezTo>
                    <a:pt x="16221" y="5056"/>
                    <a:pt x="16383" y="4892"/>
                    <a:pt x="16383" y="4691"/>
                  </a:cubicBezTo>
                  <a:cubicBezTo>
                    <a:pt x="16383" y="4490"/>
                    <a:pt x="16221" y="4326"/>
                    <a:pt x="16019" y="4326"/>
                  </a:cubicBezTo>
                  <a:close/>
                  <a:moveTo>
                    <a:pt x="16997" y="4326"/>
                  </a:moveTo>
                  <a:cubicBezTo>
                    <a:pt x="16796" y="4326"/>
                    <a:pt x="16631" y="4490"/>
                    <a:pt x="16631" y="4691"/>
                  </a:cubicBezTo>
                  <a:cubicBezTo>
                    <a:pt x="16631" y="4892"/>
                    <a:pt x="16796" y="5056"/>
                    <a:pt x="16997" y="5056"/>
                  </a:cubicBezTo>
                  <a:cubicBezTo>
                    <a:pt x="17199" y="5056"/>
                    <a:pt x="17361" y="4892"/>
                    <a:pt x="17361" y="4691"/>
                  </a:cubicBezTo>
                  <a:cubicBezTo>
                    <a:pt x="17361" y="4490"/>
                    <a:pt x="17199" y="4326"/>
                    <a:pt x="16997" y="4326"/>
                  </a:cubicBezTo>
                  <a:close/>
                  <a:moveTo>
                    <a:pt x="18084" y="4326"/>
                  </a:moveTo>
                  <a:cubicBezTo>
                    <a:pt x="17883" y="4326"/>
                    <a:pt x="17718" y="4490"/>
                    <a:pt x="17718" y="4691"/>
                  </a:cubicBezTo>
                  <a:cubicBezTo>
                    <a:pt x="17718" y="4892"/>
                    <a:pt x="17883" y="5056"/>
                    <a:pt x="18084" y="5056"/>
                  </a:cubicBezTo>
                  <a:cubicBezTo>
                    <a:pt x="18286" y="5056"/>
                    <a:pt x="18448" y="4892"/>
                    <a:pt x="18448" y="4691"/>
                  </a:cubicBezTo>
                  <a:cubicBezTo>
                    <a:pt x="18448" y="4490"/>
                    <a:pt x="18286" y="4326"/>
                    <a:pt x="18084" y="4326"/>
                  </a:cubicBezTo>
                  <a:close/>
                  <a:moveTo>
                    <a:pt x="10802" y="5299"/>
                  </a:moveTo>
                  <a:cubicBezTo>
                    <a:pt x="10600" y="5299"/>
                    <a:pt x="10435" y="5464"/>
                    <a:pt x="10435" y="5664"/>
                  </a:cubicBezTo>
                  <a:cubicBezTo>
                    <a:pt x="10435" y="5866"/>
                    <a:pt x="10600" y="6026"/>
                    <a:pt x="10802" y="6026"/>
                  </a:cubicBezTo>
                  <a:cubicBezTo>
                    <a:pt x="11003" y="6026"/>
                    <a:pt x="11165" y="5866"/>
                    <a:pt x="11165" y="5664"/>
                  </a:cubicBezTo>
                  <a:cubicBezTo>
                    <a:pt x="11165" y="5464"/>
                    <a:pt x="11003" y="5299"/>
                    <a:pt x="10802" y="5299"/>
                  </a:cubicBezTo>
                  <a:close/>
                  <a:moveTo>
                    <a:pt x="11780" y="5299"/>
                  </a:moveTo>
                  <a:cubicBezTo>
                    <a:pt x="11578" y="5299"/>
                    <a:pt x="11413" y="5464"/>
                    <a:pt x="11413" y="5664"/>
                  </a:cubicBezTo>
                  <a:cubicBezTo>
                    <a:pt x="11413" y="5865"/>
                    <a:pt x="11578" y="6026"/>
                    <a:pt x="11780" y="6026"/>
                  </a:cubicBezTo>
                  <a:cubicBezTo>
                    <a:pt x="11982" y="6026"/>
                    <a:pt x="12143" y="5865"/>
                    <a:pt x="12143" y="5664"/>
                  </a:cubicBezTo>
                  <a:cubicBezTo>
                    <a:pt x="12143" y="5464"/>
                    <a:pt x="11982" y="5299"/>
                    <a:pt x="11780" y="5299"/>
                  </a:cubicBezTo>
                  <a:close/>
                  <a:moveTo>
                    <a:pt x="12867" y="5299"/>
                  </a:moveTo>
                  <a:cubicBezTo>
                    <a:pt x="12665" y="5299"/>
                    <a:pt x="12500" y="5464"/>
                    <a:pt x="12500" y="5664"/>
                  </a:cubicBezTo>
                  <a:cubicBezTo>
                    <a:pt x="12500" y="5865"/>
                    <a:pt x="12665" y="6026"/>
                    <a:pt x="12867" y="6026"/>
                  </a:cubicBezTo>
                  <a:cubicBezTo>
                    <a:pt x="13069" y="6026"/>
                    <a:pt x="13230" y="5865"/>
                    <a:pt x="13230" y="5664"/>
                  </a:cubicBezTo>
                  <a:cubicBezTo>
                    <a:pt x="13230" y="5464"/>
                    <a:pt x="13069" y="5299"/>
                    <a:pt x="12867" y="5299"/>
                  </a:cubicBezTo>
                  <a:close/>
                  <a:moveTo>
                    <a:pt x="13954" y="5299"/>
                  </a:moveTo>
                  <a:cubicBezTo>
                    <a:pt x="13752" y="5299"/>
                    <a:pt x="13587" y="5464"/>
                    <a:pt x="13587" y="5664"/>
                  </a:cubicBezTo>
                  <a:cubicBezTo>
                    <a:pt x="13587" y="5865"/>
                    <a:pt x="13752" y="6026"/>
                    <a:pt x="13954" y="6026"/>
                  </a:cubicBezTo>
                  <a:cubicBezTo>
                    <a:pt x="14156" y="6026"/>
                    <a:pt x="14317" y="5865"/>
                    <a:pt x="14317" y="5664"/>
                  </a:cubicBezTo>
                  <a:cubicBezTo>
                    <a:pt x="14317" y="5464"/>
                    <a:pt x="14156" y="5299"/>
                    <a:pt x="13954" y="5299"/>
                  </a:cubicBezTo>
                  <a:close/>
                  <a:moveTo>
                    <a:pt x="14932" y="5299"/>
                  </a:moveTo>
                  <a:cubicBezTo>
                    <a:pt x="14730" y="5299"/>
                    <a:pt x="14565" y="5464"/>
                    <a:pt x="14565" y="5664"/>
                  </a:cubicBezTo>
                  <a:cubicBezTo>
                    <a:pt x="14565" y="5865"/>
                    <a:pt x="14730" y="6026"/>
                    <a:pt x="14932" y="6026"/>
                  </a:cubicBezTo>
                  <a:cubicBezTo>
                    <a:pt x="15134" y="6026"/>
                    <a:pt x="15296" y="5865"/>
                    <a:pt x="15296" y="5664"/>
                  </a:cubicBezTo>
                  <a:cubicBezTo>
                    <a:pt x="15296" y="5464"/>
                    <a:pt x="15134" y="5299"/>
                    <a:pt x="14932" y="5299"/>
                  </a:cubicBezTo>
                  <a:close/>
                  <a:moveTo>
                    <a:pt x="16019" y="5299"/>
                  </a:moveTo>
                  <a:cubicBezTo>
                    <a:pt x="15817" y="5299"/>
                    <a:pt x="15652" y="5464"/>
                    <a:pt x="15652" y="5664"/>
                  </a:cubicBezTo>
                  <a:cubicBezTo>
                    <a:pt x="15652" y="5865"/>
                    <a:pt x="15817" y="6026"/>
                    <a:pt x="16019" y="6026"/>
                  </a:cubicBezTo>
                  <a:cubicBezTo>
                    <a:pt x="16221" y="6026"/>
                    <a:pt x="16383" y="5865"/>
                    <a:pt x="16383" y="5664"/>
                  </a:cubicBezTo>
                  <a:cubicBezTo>
                    <a:pt x="16383" y="5464"/>
                    <a:pt x="16221" y="5299"/>
                    <a:pt x="16019" y="5299"/>
                  </a:cubicBezTo>
                  <a:close/>
                  <a:moveTo>
                    <a:pt x="16997" y="5299"/>
                  </a:moveTo>
                  <a:cubicBezTo>
                    <a:pt x="16796" y="5299"/>
                    <a:pt x="16631" y="5464"/>
                    <a:pt x="16631" y="5664"/>
                  </a:cubicBezTo>
                  <a:cubicBezTo>
                    <a:pt x="16631" y="5865"/>
                    <a:pt x="16796" y="6026"/>
                    <a:pt x="16997" y="6026"/>
                  </a:cubicBezTo>
                  <a:cubicBezTo>
                    <a:pt x="17199" y="6026"/>
                    <a:pt x="17361" y="5865"/>
                    <a:pt x="17361" y="5664"/>
                  </a:cubicBezTo>
                  <a:cubicBezTo>
                    <a:pt x="17361" y="5464"/>
                    <a:pt x="17199" y="5299"/>
                    <a:pt x="16997" y="5299"/>
                  </a:cubicBezTo>
                  <a:close/>
                  <a:moveTo>
                    <a:pt x="18084" y="5299"/>
                  </a:moveTo>
                  <a:cubicBezTo>
                    <a:pt x="17883" y="5299"/>
                    <a:pt x="17718" y="5464"/>
                    <a:pt x="17718" y="5664"/>
                  </a:cubicBezTo>
                  <a:cubicBezTo>
                    <a:pt x="17718" y="5865"/>
                    <a:pt x="17883" y="6026"/>
                    <a:pt x="18084" y="6026"/>
                  </a:cubicBezTo>
                  <a:cubicBezTo>
                    <a:pt x="18286" y="6026"/>
                    <a:pt x="18448" y="5865"/>
                    <a:pt x="18448" y="5664"/>
                  </a:cubicBezTo>
                  <a:cubicBezTo>
                    <a:pt x="18448" y="5464"/>
                    <a:pt x="18286" y="5299"/>
                    <a:pt x="18084" y="5299"/>
                  </a:cubicBezTo>
                  <a:close/>
                  <a:moveTo>
                    <a:pt x="19063" y="5299"/>
                  </a:moveTo>
                  <a:cubicBezTo>
                    <a:pt x="18861" y="5299"/>
                    <a:pt x="18696" y="5464"/>
                    <a:pt x="18696" y="5664"/>
                  </a:cubicBezTo>
                  <a:cubicBezTo>
                    <a:pt x="18696" y="5865"/>
                    <a:pt x="18861" y="6026"/>
                    <a:pt x="19063" y="6026"/>
                  </a:cubicBezTo>
                  <a:cubicBezTo>
                    <a:pt x="19264" y="6026"/>
                    <a:pt x="19426" y="5865"/>
                    <a:pt x="19426" y="5664"/>
                  </a:cubicBezTo>
                  <a:cubicBezTo>
                    <a:pt x="19426" y="5464"/>
                    <a:pt x="19264" y="5299"/>
                    <a:pt x="19063" y="5299"/>
                  </a:cubicBezTo>
                  <a:close/>
                  <a:moveTo>
                    <a:pt x="9715" y="6273"/>
                  </a:moveTo>
                  <a:cubicBezTo>
                    <a:pt x="9513" y="6273"/>
                    <a:pt x="9348" y="6437"/>
                    <a:pt x="9348" y="6638"/>
                  </a:cubicBezTo>
                  <a:cubicBezTo>
                    <a:pt x="9348" y="6839"/>
                    <a:pt x="9513" y="6999"/>
                    <a:pt x="9715" y="6999"/>
                  </a:cubicBezTo>
                  <a:cubicBezTo>
                    <a:pt x="9917" y="6999"/>
                    <a:pt x="10078" y="6839"/>
                    <a:pt x="10078" y="6638"/>
                  </a:cubicBezTo>
                  <a:cubicBezTo>
                    <a:pt x="10078" y="6437"/>
                    <a:pt x="9917" y="6273"/>
                    <a:pt x="9715" y="6273"/>
                  </a:cubicBezTo>
                  <a:close/>
                  <a:moveTo>
                    <a:pt x="10802" y="6273"/>
                  </a:moveTo>
                  <a:cubicBezTo>
                    <a:pt x="10600" y="6273"/>
                    <a:pt x="10435" y="6437"/>
                    <a:pt x="10435" y="6638"/>
                  </a:cubicBezTo>
                  <a:cubicBezTo>
                    <a:pt x="10435" y="6839"/>
                    <a:pt x="10600" y="6999"/>
                    <a:pt x="10802" y="6999"/>
                  </a:cubicBezTo>
                  <a:cubicBezTo>
                    <a:pt x="11003" y="6999"/>
                    <a:pt x="11165" y="6839"/>
                    <a:pt x="11165" y="6638"/>
                  </a:cubicBezTo>
                  <a:cubicBezTo>
                    <a:pt x="11165" y="6437"/>
                    <a:pt x="11003" y="6273"/>
                    <a:pt x="10802" y="6273"/>
                  </a:cubicBezTo>
                  <a:close/>
                  <a:moveTo>
                    <a:pt x="11780" y="6273"/>
                  </a:moveTo>
                  <a:cubicBezTo>
                    <a:pt x="11578" y="6273"/>
                    <a:pt x="11413" y="6437"/>
                    <a:pt x="11413" y="6638"/>
                  </a:cubicBezTo>
                  <a:cubicBezTo>
                    <a:pt x="11413" y="6839"/>
                    <a:pt x="11578" y="6999"/>
                    <a:pt x="11780" y="6999"/>
                  </a:cubicBezTo>
                  <a:cubicBezTo>
                    <a:pt x="11982" y="6999"/>
                    <a:pt x="12143" y="6839"/>
                    <a:pt x="12143" y="6638"/>
                  </a:cubicBezTo>
                  <a:cubicBezTo>
                    <a:pt x="12143" y="6437"/>
                    <a:pt x="11982" y="6273"/>
                    <a:pt x="11780" y="6273"/>
                  </a:cubicBezTo>
                  <a:close/>
                  <a:moveTo>
                    <a:pt x="12867" y="6273"/>
                  </a:moveTo>
                  <a:cubicBezTo>
                    <a:pt x="12665" y="6273"/>
                    <a:pt x="12500" y="6437"/>
                    <a:pt x="12500" y="6638"/>
                  </a:cubicBezTo>
                  <a:cubicBezTo>
                    <a:pt x="12500" y="6839"/>
                    <a:pt x="12665" y="6999"/>
                    <a:pt x="12867" y="6999"/>
                  </a:cubicBezTo>
                  <a:cubicBezTo>
                    <a:pt x="13069" y="6999"/>
                    <a:pt x="13230" y="6839"/>
                    <a:pt x="13230" y="6638"/>
                  </a:cubicBezTo>
                  <a:cubicBezTo>
                    <a:pt x="13230" y="6437"/>
                    <a:pt x="13069" y="6273"/>
                    <a:pt x="12867" y="6273"/>
                  </a:cubicBezTo>
                  <a:close/>
                  <a:moveTo>
                    <a:pt x="13954" y="6273"/>
                  </a:moveTo>
                  <a:cubicBezTo>
                    <a:pt x="13752" y="6273"/>
                    <a:pt x="13587" y="6437"/>
                    <a:pt x="13587" y="6638"/>
                  </a:cubicBezTo>
                  <a:cubicBezTo>
                    <a:pt x="13587" y="6839"/>
                    <a:pt x="13752" y="6999"/>
                    <a:pt x="13954" y="6999"/>
                  </a:cubicBezTo>
                  <a:cubicBezTo>
                    <a:pt x="14156" y="6999"/>
                    <a:pt x="14317" y="6839"/>
                    <a:pt x="14317" y="6638"/>
                  </a:cubicBezTo>
                  <a:cubicBezTo>
                    <a:pt x="14317" y="6437"/>
                    <a:pt x="14156" y="6273"/>
                    <a:pt x="13954" y="6273"/>
                  </a:cubicBezTo>
                  <a:close/>
                  <a:moveTo>
                    <a:pt x="14932" y="6273"/>
                  </a:moveTo>
                  <a:cubicBezTo>
                    <a:pt x="14730" y="6273"/>
                    <a:pt x="14565" y="6437"/>
                    <a:pt x="14565" y="6638"/>
                  </a:cubicBezTo>
                  <a:cubicBezTo>
                    <a:pt x="14565" y="6839"/>
                    <a:pt x="14730" y="6999"/>
                    <a:pt x="14932" y="6999"/>
                  </a:cubicBezTo>
                  <a:cubicBezTo>
                    <a:pt x="15134" y="6999"/>
                    <a:pt x="15296" y="6839"/>
                    <a:pt x="15296" y="6638"/>
                  </a:cubicBezTo>
                  <a:cubicBezTo>
                    <a:pt x="15296" y="6437"/>
                    <a:pt x="15134" y="6273"/>
                    <a:pt x="14932" y="6273"/>
                  </a:cubicBezTo>
                  <a:close/>
                  <a:moveTo>
                    <a:pt x="16019" y="6273"/>
                  </a:moveTo>
                  <a:cubicBezTo>
                    <a:pt x="15817" y="6273"/>
                    <a:pt x="15652" y="6437"/>
                    <a:pt x="15652" y="6638"/>
                  </a:cubicBezTo>
                  <a:cubicBezTo>
                    <a:pt x="15652" y="6839"/>
                    <a:pt x="15817" y="6999"/>
                    <a:pt x="16019" y="6999"/>
                  </a:cubicBezTo>
                  <a:cubicBezTo>
                    <a:pt x="16221" y="6999"/>
                    <a:pt x="16383" y="6839"/>
                    <a:pt x="16383" y="6638"/>
                  </a:cubicBezTo>
                  <a:cubicBezTo>
                    <a:pt x="16383" y="6437"/>
                    <a:pt x="16221" y="6273"/>
                    <a:pt x="16019" y="6273"/>
                  </a:cubicBezTo>
                  <a:close/>
                  <a:moveTo>
                    <a:pt x="16997" y="6273"/>
                  </a:moveTo>
                  <a:cubicBezTo>
                    <a:pt x="16796" y="6273"/>
                    <a:pt x="16631" y="6437"/>
                    <a:pt x="16631" y="6638"/>
                  </a:cubicBezTo>
                  <a:cubicBezTo>
                    <a:pt x="16631" y="6839"/>
                    <a:pt x="16796" y="6999"/>
                    <a:pt x="16997" y="6999"/>
                  </a:cubicBezTo>
                  <a:cubicBezTo>
                    <a:pt x="17199" y="6999"/>
                    <a:pt x="17361" y="6839"/>
                    <a:pt x="17361" y="6638"/>
                  </a:cubicBezTo>
                  <a:cubicBezTo>
                    <a:pt x="17361" y="6437"/>
                    <a:pt x="17199" y="6273"/>
                    <a:pt x="16997" y="6273"/>
                  </a:cubicBezTo>
                  <a:close/>
                  <a:moveTo>
                    <a:pt x="18084" y="6273"/>
                  </a:moveTo>
                  <a:cubicBezTo>
                    <a:pt x="17883" y="6273"/>
                    <a:pt x="17718" y="6437"/>
                    <a:pt x="17718" y="6638"/>
                  </a:cubicBezTo>
                  <a:cubicBezTo>
                    <a:pt x="17718" y="6839"/>
                    <a:pt x="17883" y="6999"/>
                    <a:pt x="18084" y="6999"/>
                  </a:cubicBezTo>
                  <a:cubicBezTo>
                    <a:pt x="18286" y="6999"/>
                    <a:pt x="18448" y="6839"/>
                    <a:pt x="18448" y="6638"/>
                  </a:cubicBezTo>
                  <a:cubicBezTo>
                    <a:pt x="18448" y="6437"/>
                    <a:pt x="18286" y="6273"/>
                    <a:pt x="18084" y="6273"/>
                  </a:cubicBezTo>
                  <a:close/>
                  <a:moveTo>
                    <a:pt x="20150" y="6273"/>
                  </a:moveTo>
                  <a:cubicBezTo>
                    <a:pt x="19948" y="6273"/>
                    <a:pt x="19783" y="6437"/>
                    <a:pt x="19783" y="6638"/>
                  </a:cubicBezTo>
                  <a:cubicBezTo>
                    <a:pt x="19783" y="6839"/>
                    <a:pt x="19948" y="6999"/>
                    <a:pt x="20150" y="6999"/>
                  </a:cubicBezTo>
                  <a:cubicBezTo>
                    <a:pt x="20352" y="6999"/>
                    <a:pt x="20513" y="6839"/>
                    <a:pt x="20513" y="6638"/>
                  </a:cubicBezTo>
                  <a:cubicBezTo>
                    <a:pt x="20513" y="6437"/>
                    <a:pt x="20352" y="6273"/>
                    <a:pt x="20150" y="6273"/>
                  </a:cubicBezTo>
                  <a:close/>
                  <a:moveTo>
                    <a:pt x="9715" y="7354"/>
                  </a:moveTo>
                  <a:cubicBezTo>
                    <a:pt x="9513" y="7354"/>
                    <a:pt x="9348" y="7518"/>
                    <a:pt x="9348" y="7719"/>
                  </a:cubicBezTo>
                  <a:cubicBezTo>
                    <a:pt x="9348" y="7920"/>
                    <a:pt x="9513" y="8081"/>
                    <a:pt x="9715" y="8081"/>
                  </a:cubicBezTo>
                  <a:cubicBezTo>
                    <a:pt x="9917" y="8081"/>
                    <a:pt x="10078" y="7920"/>
                    <a:pt x="10078" y="7719"/>
                  </a:cubicBezTo>
                  <a:cubicBezTo>
                    <a:pt x="10078" y="7518"/>
                    <a:pt x="9917" y="7354"/>
                    <a:pt x="9715" y="7354"/>
                  </a:cubicBezTo>
                  <a:close/>
                  <a:moveTo>
                    <a:pt x="10802" y="7354"/>
                  </a:moveTo>
                  <a:cubicBezTo>
                    <a:pt x="10600" y="7354"/>
                    <a:pt x="10435" y="7518"/>
                    <a:pt x="10435" y="7719"/>
                  </a:cubicBezTo>
                  <a:cubicBezTo>
                    <a:pt x="10435" y="7920"/>
                    <a:pt x="10600" y="8081"/>
                    <a:pt x="10802" y="8081"/>
                  </a:cubicBezTo>
                  <a:cubicBezTo>
                    <a:pt x="11003" y="8081"/>
                    <a:pt x="11165" y="7920"/>
                    <a:pt x="11165" y="7719"/>
                  </a:cubicBezTo>
                  <a:cubicBezTo>
                    <a:pt x="11165" y="7518"/>
                    <a:pt x="11003" y="7354"/>
                    <a:pt x="10802" y="7354"/>
                  </a:cubicBezTo>
                  <a:close/>
                  <a:moveTo>
                    <a:pt x="11780" y="7354"/>
                  </a:moveTo>
                  <a:cubicBezTo>
                    <a:pt x="11578" y="7354"/>
                    <a:pt x="11413" y="7518"/>
                    <a:pt x="11413" y="7719"/>
                  </a:cubicBezTo>
                  <a:cubicBezTo>
                    <a:pt x="11413" y="7920"/>
                    <a:pt x="11578" y="8081"/>
                    <a:pt x="11780" y="8081"/>
                  </a:cubicBezTo>
                  <a:cubicBezTo>
                    <a:pt x="11982" y="8081"/>
                    <a:pt x="12143" y="7920"/>
                    <a:pt x="12143" y="7719"/>
                  </a:cubicBezTo>
                  <a:cubicBezTo>
                    <a:pt x="12143" y="7518"/>
                    <a:pt x="11982" y="7354"/>
                    <a:pt x="11780" y="7354"/>
                  </a:cubicBezTo>
                  <a:close/>
                  <a:moveTo>
                    <a:pt x="13954" y="7354"/>
                  </a:moveTo>
                  <a:cubicBezTo>
                    <a:pt x="13752" y="7354"/>
                    <a:pt x="13587" y="7519"/>
                    <a:pt x="13587" y="7719"/>
                  </a:cubicBezTo>
                  <a:cubicBezTo>
                    <a:pt x="13587" y="7920"/>
                    <a:pt x="13752" y="8084"/>
                    <a:pt x="13954" y="8084"/>
                  </a:cubicBezTo>
                  <a:cubicBezTo>
                    <a:pt x="14156" y="8084"/>
                    <a:pt x="14317" y="7920"/>
                    <a:pt x="14317" y="7719"/>
                  </a:cubicBezTo>
                  <a:cubicBezTo>
                    <a:pt x="14317" y="7519"/>
                    <a:pt x="14156" y="7354"/>
                    <a:pt x="13954" y="7354"/>
                  </a:cubicBezTo>
                  <a:close/>
                  <a:moveTo>
                    <a:pt x="14932" y="7354"/>
                  </a:moveTo>
                  <a:cubicBezTo>
                    <a:pt x="14730" y="7354"/>
                    <a:pt x="14565" y="7519"/>
                    <a:pt x="14565" y="7719"/>
                  </a:cubicBezTo>
                  <a:cubicBezTo>
                    <a:pt x="14565" y="7920"/>
                    <a:pt x="14730" y="8084"/>
                    <a:pt x="14932" y="8084"/>
                  </a:cubicBezTo>
                  <a:cubicBezTo>
                    <a:pt x="15134" y="8084"/>
                    <a:pt x="15296" y="7920"/>
                    <a:pt x="15296" y="7719"/>
                  </a:cubicBezTo>
                  <a:cubicBezTo>
                    <a:pt x="15296" y="7519"/>
                    <a:pt x="15134" y="7354"/>
                    <a:pt x="14932" y="7354"/>
                  </a:cubicBezTo>
                  <a:close/>
                  <a:moveTo>
                    <a:pt x="16019" y="7354"/>
                  </a:moveTo>
                  <a:cubicBezTo>
                    <a:pt x="15817" y="7354"/>
                    <a:pt x="15652" y="7519"/>
                    <a:pt x="15652" y="7719"/>
                  </a:cubicBezTo>
                  <a:cubicBezTo>
                    <a:pt x="15652" y="7920"/>
                    <a:pt x="15817" y="8084"/>
                    <a:pt x="16019" y="8084"/>
                  </a:cubicBezTo>
                  <a:cubicBezTo>
                    <a:pt x="16221" y="8084"/>
                    <a:pt x="16383" y="7920"/>
                    <a:pt x="16383" y="7719"/>
                  </a:cubicBezTo>
                  <a:cubicBezTo>
                    <a:pt x="16383" y="7519"/>
                    <a:pt x="16221" y="7354"/>
                    <a:pt x="16019" y="7354"/>
                  </a:cubicBezTo>
                  <a:close/>
                  <a:moveTo>
                    <a:pt x="16997" y="7354"/>
                  </a:moveTo>
                  <a:cubicBezTo>
                    <a:pt x="16796" y="7354"/>
                    <a:pt x="16631" y="7519"/>
                    <a:pt x="16631" y="7719"/>
                  </a:cubicBezTo>
                  <a:cubicBezTo>
                    <a:pt x="16631" y="7920"/>
                    <a:pt x="16796" y="8084"/>
                    <a:pt x="16997" y="8084"/>
                  </a:cubicBezTo>
                  <a:cubicBezTo>
                    <a:pt x="17199" y="8084"/>
                    <a:pt x="17361" y="7920"/>
                    <a:pt x="17361" y="7719"/>
                  </a:cubicBezTo>
                  <a:cubicBezTo>
                    <a:pt x="17361" y="7519"/>
                    <a:pt x="17199" y="7354"/>
                    <a:pt x="16997" y="7354"/>
                  </a:cubicBezTo>
                  <a:close/>
                  <a:moveTo>
                    <a:pt x="18084" y="7354"/>
                  </a:moveTo>
                  <a:cubicBezTo>
                    <a:pt x="17883" y="7354"/>
                    <a:pt x="17718" y="7519"/>
                    <a:pt x="17718" y="7719"/>
                  </a:cubicBezTo>
                  <a:cubicBezTo>
                    <a:pt x="17718" y="7920"/>
                    <a:pt x="17883" y="8084"/>
                    <a:pt x="18084" y="8084"/>
                  </a:cubicBezTo>
                  <a:cubicBezTo>
                    <a:pt x="18286" y="8084"/>
                    <a:pt x="18448" y="7920"/>
                    <a:pt x="18448" y="7719"/>
                  </a:cubicBezTo>
                  <a:cubicBezTo>
                    <a:pt x="18448" y="7519"/>
                    <a:pt x="18286" y="7354"/>
                    <a:pt x="18084" y="7354"/>
                  </a:cubicBezTo>
                  <a:close/>
                  <a:moveTo>
                    <a:pt x="19063" y="7354"/>
                  </a:moveTo>
                  <a:cubicBezTo>
                    <a:pt x="18861" y="7354"/>
                    <a:pt x="18696" y="7519"/>
                    <a:pt x="18696" y="7719"/>
                  </a:cubicBezTo>
                  <a:cubicBezTo>
                    <a:pt x="18696" y="7920"/>
                    <a:pt x="18861" y="8084"/>
                    <a:pt x="19063" y="8084"/>
                  </a:cubicBezTo>
                  <a:cubicBezTo>
                    <a:pt x="19264" y="8084"/>
                    <a:pt x="19426" y="7920"/>
                    <a:pt x="19426" y="7719"/>
                  </a:cubicBezTo>
                  <a:cubicBezTo>
                    <a:pt x="19426" y="7519"/>
                    <a:pt x="19264" y="7354"/>
                    <a:pt x="19063" y="7354"/>
                  </a:cubicBezTo>
                  <a:close/>
                  <a:moveTo>
                    <a:pt x="20150" y="7354"/>
                  </a:moveTo>
                  <a:cubicBezTo>
                    <a:pt x="19948" y="7354"/>
                    <a:pt x="19783" y="7519"/>
                    <a:pt x="19783" y="7719"/>
                  </a:cubicBezTo>
                  <a:cubicBezTo>
                    <a:pt x="19783" y="7920"/>
                    <a:pt x="19948" y="8084"/>
                    <a:pt x="20150" y="8084"/>
                  </a:cubicBezTo>
                  <a:cubicBezTo>
                    <a:pt x="20352" y="8084"/>
                    <a:pt x="20513" y="7920"/>
                    <a:pt x="20513" y="7719"/>
                  </a:cubicBezTo>
                  <a:cubicBezTo>
                    <a:pt x="20513" y="7519"/>
                    <a:pt x="20352" y="7354"/>
                    <a:pt x="20150" y="7354"/>
                  </a:cubicBezTo>
                  <a:close/>
                  <a:moveTo>
                    <a:pt x="7650" y="7462"/>
                  </a:moveTo>
                  <a:cubicBezTo>
                    <a:pt x="7448" y="7462"/>
                    <a:pt x="7283" y="7627"/>
                    <a:pt x="7283" y="7828"/>
                  </a:cubicBezTo>
                  <a:cubicBezTo>
                    <a:pt x="7283" y="8028"/>
                    <a:pt x="7448" y="8189"/>
                    <a:pt x="7650" y="8189"/>
                  </a:cubicBezTo>
                  <a:cubicBezTo>
                    <a:pt x="7852" y="8189"/>
                    <a:pt x="8013" y="8028"/>
                    <a:pt x="8013" y="7828"/>
                  </a:cubicBezTo>
                  <a:cubicBezTo>
                    <a:pt x="8013" y="7627"/>
                    <a:pt x="7852" y="7462"/>
                    <a:pt x="7650" y="7462"/>
                  </a:cubicBezTo>
                  <a:close/>
                  <a:moveTo>
                    <a:pt x="8628" y="7462"/>
                  </a:moveTo>
                  <a:cubicBezTo>
                    <a:pt x="8426" y="7462"/>
                    <a:pt x="8261" y="7627"/>
                    <a:pt x="8261" y="7828"/>
                  </a:cubicBezTo>
                  <a:cubicBezTo>
                    <a:pt x="8261" y="8028"/>
                    <a:pt x="8426" y="8189"/>
                    <a:pt x="8628" y="8189"/>
                  </a:cubicBezTo>
                  <a:cubicBezTo>
                    <a:pt x="8830" y="8189"/>
                    <a:pt x="8991" y="8028"/>
                    <a:pt x="8991" y="7828"/>
                  </a:cubicBezTo>
                  <a:cubicBezTo>
                    <a:pt x="8991" y="7627"/>
                    <a:pt x="8830" y="7462"/>
                    <a:pt x="8628" y="7462"/>
                  </a:cubicBezTo>
                  <a:close/>
                  <a:moveTo>
                    <a:pt x="7541" y="8436"/>
                  </a:moveTo>
                  <a:cubicBezTo>
                    <a:pt x="7339" y="8436"/>
                    <a:pt x="7174" y="8600"/>
                    <a:pt x="7174" y="8801"/>
                  </a:cubicBezTo>
                  <a:cubicBezTo>
                    <a:pt x="7174" y="9002"/>
                    <a:pt x="7339" y="9163"/>
                    <a:pt x="7541" y="9163"/>
                  </a:cubicBezTo>
                  <a:cubicBezTo>
                    <a:pt x="7743" y="9163"/>
                    <a:pt x="7904" y="9002"/>
                    <a:pt x="7904" y="8801"/>
                  </a:cubicBezTo>
                  <a:cubicBezTo>
                    <a:pt x="7904" y="8600"/>
                    <a:pt x="7743" y="8436"/>
                    <a:pt x="7541" y="8436"/>
                  </a:cubicBezTo>
                  <a:close/>
                  <a:moveTo>
                    <a:pt x="8628" y="8436"/>
                  </a:moveTo>
                  <a:cubicBezTo>
                    <a:pt x="8426" y="8436"/>
                    <a:pt x="8261" y="8600"/>
                    <a:pt x="8261" y="8801"/>
                  </a:cubicBezTo>
                  <a:cubicBezTo>
                    <a:pt x="8261" y="9002"/>
                    <a:pt x="8426" y="9163"/>
                    <a:pt x="8628" y="9163"/>
                  </a:cubicBezTo>
                  <a:cubicBezTo>
                    <a:pt x="8830" y="9163"/>
                    <a:pt x="8991" y="9002"/>
                    <a:pt x="8991" y="8801"/>
                  </a:cubicBezTo>
                  <a:cubicBezTo>
                    <a:pt x="8991" y="8600"/>
                    <a:pt x="8830" y="8436"/>
                    <a:pt x="8628" y="8436"/>
                  </a:cubicBezTo>
                  <a:close/>
                  <a:moveTo>
                    <a:pt x="9715" y="8436"/>
                  </a:moveTo>
                  <a:cubicBezTo>
                    <a:pt x="9513" y="8436"/>
                    <a:pt x="9348" y="8600"/>
                    <a:pt x="9348" y="8801"/>
                  </a:cubicBezTo>
                  <a:cubicBezTo>
                    <a:pt x="9348" y="9002"/>
                    <a:pt x="9513" y="9163"/>
                    <a:pt x="9715" y="9163"/>
                  </a:cubicBezTo>
                  <a:cubicBezTo>
                    <a:pt x="9917" y="9163"/>
                    <a:pt x="10078" y="9002"/>
                    <a:pt x="10078" y="8801"/>
                  </a:cubicBezTo>
                  <a:cubicBezTo>
                    <a:pt x="10078" y="8600"/>
                    <a:pt x="9917" y="8436"/>
                    <a:pt x="9715" y="8436"/>
                  </a:cubicBezTo>
                  <a:close/>
                  <a:moveTo>
                    <a:pt x="10802" y="8436"/>
                  </a:moveTo>
                  <a:cubicBezTo>
                    <a:pt x="10600" y="8436"/>
                    <a:pt x="10435" y="8600"/>
                    <a:pt x="10435" y="8801"/>
                  </a:cubicBezTo>
                  <a:cubicBezTo>
                    <a:pt x="10435" y="9002"/>
                    <a:pt x="10600" y="9163"/>
                    <a:pt x="10802" y="9163"/>
                  </a:cubicBezTo>
                  <a:cubicBezTo>
                    <a:pt x="11003" y="9163"/>
                    <a:pt x="11165" y="9002"/>
                    <a:pt x="11165" y="8801"/>
                  </a:cubicBezTo>
                  <a:cubicBezTo>
                    <a:pt x="11165" y="8600"/>
                    <a:pt x="11003" y="8436"/>
                    <a:pt x="10802" y="8436"/>
                  </a:cubicBezTo>
                  <a:close/>
                  <a:moveTo>
                    <a:pt x="11780" y="8436"/>
                  </a:moveTo>
                  <a:cubicBezTo>
                    <a:pt x="11578" y="8436"/>
                    <a:pt x="11413" y="8600"/>
                    <a:pt x="11413" y="8801"/>
                  </a:cubicBezTo>
                  <a:cubicBezTo>
                    <a:pt x="11413" y="9002"/>
                    <a:pt x="11578" y="9163"/>
                    <a:pt x="11780" y="9163"/>
                  </a:cubicBezTo>
                  <a:cubicBezTo>
                    <a:pt x="11982" y="9163"/>
                    <a:pt x="12143" y="9002"/>
                    <a:pt x="12143" y="8801"/>
                  </a:cubicBezTo>
                  <a:cubicBezTo>
                    <a:pt x="12143" y="8600"/>
                    <a:pt x="11982" y="8436"/>
                    <a:pt x="11780" y="8436"/>
                  </a:cubicBezTo>
                  <a:close/>
                  <a:moveTo>
                    <a:pt x="13845" y="8436"/>
                  </a:moveTo>
                  <a:cubicBezTo>
                    <a:pt x="13644" y="8436"/>
                    <a:pt x="13478" y="8600"/>
                    <a:pt x="13478" y="8801"/>
                  </a:cubicBezTo>
                  <a:cubicBezTo>
                    <a:pt x="13478" y="9002"/>
                    <a:pt x="13644" y="9163"/>
                    <a:pt x="13845" y="9163"/>
                  </a:cubicBezTo>
                  <a:cubicBezTo>
                    <a:pt x="14047" y="9163"/>
                    <a:pt x="14209" y="9002"/>
                    <a:pt x="14209" y="8801"/>
                  </a:cubicBezTo>
                  <a:cubicBezTo>
                    <a:pt x="14209" y="8600"/>
                    <a:pt x="14047" y="8436"/>
                    <a:pt x="13845" y="8436"/>
                  </a:cubicBezTo>
                  <a:close/>
                  <a:moveTo>
                    <a:pt x="14932" y="8436"/>
                  </a:moveTo>
                  <a:cubicBezTo>
                    <a:pt x="14730" y="8436"/>
                    <a:pt x="14565" y="8600"/>
                    <a:pt x="14565" y="8801"/>
                  </a:cubicBezTo>
                  <a:cubicBezTo>
                    <a:pt x="14565" y="9002"/>
                    <a:pt x="14730" y="9163"/>
                    <a:pt x="14932" y="9163"/>
                  </a:cubicBezTo>
                  <a:cubicBezTo>
                    <a:pt x="15134" y="9163"/>
                    <a:pt x="15296" y="9002"/>
                    <a:pt x="15296" y="8801"/>
                  </a:cubicBezTo>
                  <a:cubicBezTo>
                    <a:pt x="15296" y="8600"/>
                    <a:pt x="15134" y="8436"/>
                    <a:pt x="14932" y="8436"/>
                  </a:cubicBezTo>
                  <a:close/>
                  <a:moveTo>
                    <a:pt x="16019" y="8436"/>
                  </a:moveTo>
                  <a:cubicBezTo>
                    <a:pt x="15817" y="8436"/>
                    <a:pt x="15652" y="8600"/>
                    <a:pt x="15652" y="8801"/>
                  </a:cubicBezTo>
                  <a:cubicBezTo>
                    <a:pt x="15652" y="9002"/>
                    <a:pt x="15817" y="9163"/>
                    <a:pt x="16019" y="9163"/>
                  </a:cubicBezTo>
                  <a:cubicBezTo>
                    <a:pt x="16221" y="9163"/>
                    <a:pt x="16383" y="9002"/>
                    <a:pt x="16383" y="8801"/>
                  </a:cubicBezTo>
                  <a:cubicBezTo>
                    <a:pt x="16383" y="8600"/>
                    <a:pt x="16221" y="8436"/>
                    <a:pt x="16019" y="8436"/>
                  </a:cubicBezTo>
                  <a:close/>
                  <a:moveTo>
                    <a:pt x="16997" y="8436"/>
                  </a:moveTo>
                  <a:cubicBezTo>
                    <a:pt x="16795" y="8436"/>
                    <a:pt x="16631" y="8600"/>
                    <a:pt x="16631" y="8801"/>
                  </a:cubicBezTo>
                  <a:cubicBezTo>
                    <a:pt x="16631" y="9002"/>
                    <a:pt x="16795" y="9163"/>
                    <a:pt x="16997" y="9163"/>
                  </a:cubicBezTo>
                  <a:cubicBezTo>
                    <a:pt x="17199" y="9163"/>
                    <a:pt x="17361" y="9002"/>
                    <a:pt x="17361" y="8801"/>
                  </a:cubicBezTo>
                  <a:cubicBezTo>
                    <a:pt x="17361" y="8600"/>
                    <a:pt x="17199" y="8436"/>
                    <a:pt x="16997" y="8436"/>
                  </a:cubicBezTo>
                  <a:close/>
                  <a:moveTo>
                    <a:pt x="18084" y="8436"/>
                  </a:moveTo>
                  <a:cubicBezTo>
                    <a:pt x="17883" y="8436"/>
                    <a:pt x="17718" y="8600"/>
                    <a:pt x="17718" y="8801"/>
                  </a:cubicBezTo>
                  <a:cubicBezTo>
                    <a:pt x="17718" y="9002"/>
                    <a:pt x="17883" y="9163"/>
                    <a:pt x="18084" y="9163"/>
                  </a:cubicBezTo>
                  <a:cubicBezTo>
                    <a:pt x="18286" y="9163"/>
                    <a:pt x="18448" y="9002"/>
                    <a:pt x="18448" y="8801"/>
                  </a:cubicBezTo>
                  <a:cubicBezTo>
                    <a:pt x="18448" y="8600"/>
                    <a:pt x="18286" y="8436"/>
                    <a:pt x="18084" y="8436"/>
                  </a:cubicBezTo>
                  <a:close/>
                  <a:moveTo>
                    <a:pt x="19063" y="8436"/>
                  </a:moveTo>
                  <a:cubicBezTo>
                    <a:pt x="18861" y="8436"/>
                    <a:pt x="18696" y="8600"/>
                    <a:pt x="18696" y="8801"/>
                  </a:cubicBezTo>
                  <a:cubicBezTo>
                    <a:pt x="18696" y="9002"/>
                    <a:pt x="18861" y="9163"/>
                    <a:pt x="19063" y="9163"/>
                  </a:cubicBezTo>
                  <a:cubicBezTo>
                    <a:pt x="19264" y="9163"/>
                    <a:pt x="19426" y="9002"/>
                    <a:pt x="19426" y="8801"/>
                  </a:cubicBezTo>
                  <a:cubicBezTo>
                    <a:pt x="19426" y="8600"/>
                    <a:pt x="19264" y="8436"/>
                    <a:pt x="19063" y="8436"/>
                  </a:cubicBezTo>
                  <a:close/>
                  <a:moveTo>
                    <a:pt x="20150" y="8436"/>
                  </a:moveTo>
                  <a:cubicBezTo>
                    <a:pt x="19948" y="8436"/>
                    <a:pt x="19783" y="8600"/>
                    <a:pt x="19783" y="8801"/>
                  </a:cubicBezTo>
                  <a:cubicBezTo>
                    <a:pt x="19783" y="9001"/>
                    <a:pt x="19948" y="9163"/>
                    <a:pt x="20150" y="9163"/>
                  </a:cubicBezTo>
                  <a:cubicBezTo>
                    <a:pt x="20352" y="9163"/>
                    <a:pt x="20513" y="9001"/>
                    <a:pt x="20513" y="8801"/>
                  </a:cubicBezTo>
                  <a:cubicBezTo>
                    <a:pt x="20513" y="8600"/>
                    <a:pt x="20352" y="8436"/>
                    <a:pt x="20150" y="8436"/>
                  </a:cubicBezTo>
                  <a:close/>
                  <a:moveTo>
                    <a:pt x="9715" y="9517"/>
                  </a:moveTo>
                  <a:cubicBezTo>
                    <a:pt x="9513" y="9517"/>
                    <a:pt x="9348" y="9681"/>
                    <a:pt x="9348" y="9882"/>
                  </a:cubicBezTo>
                  <a:cubicBezTo>
                    <a:pt x="9348" y="10083"/>
                    <a:pt x="9513" y="10244"/>
                    <a:pt x="9715" y="10244"/>
                  </a:cubicBezTo>
                  <a:cubicBezTo>
                    <a:pt x="9917" y="10244"/>
                    <a:pt x="10078" y="10083"/>
                    <a:pt x="10078" y="9882"/>
                  </a:cubicBezTo>
                  <a:cubicBezTo>
                    <a:pt x="10078" y="9681"/>
                    <a:pt x="9917" y="9517"/>
                    <a:pt x="9715" y="9517"/>
                  </a:cubicBezTo>
                  <a:close/>
                  <a:moveTo>
                    <a:pt x="10802" y="9517"/>
                  </a:moveTo>
                  <a:cubicBezTo>
                    <a:pt x="10600" y="9517"/>
                    <a:pt x="10435" y="9681"/>
                    <a:pt x="10435" y="9882"/>
                  </a:cubicBezTo>
                  <a:cubicBezTo>
                    <a:pt x="10435" y="10083"/>
                    <a:pt x="10600" y="10244"/>
                    <a:pt x="10802" y="10244"/>
                  </a:cubicBezTo>
                  <a:cubicBezTo>
                    <a:pt x="11003" y="10244"/>
                    <a:pt x="11165" y="10083"/>
                    <a:pt x="11165" y="9882"/>
                  </a:cubicBezTo>
                  <a:cubicBezTo>
                    <a:pt x="11165" y="9681"/>
                    <a:pt x="11003" y="9517"/>
                    <a:pt x="10802" y="9517"/>
                  </a:cubicBezTo>
                  <a:close/>
                  <a:moveTo>
                    <a:pt x="14932" y="9517"/>
                  </a:moveTo>
                  <a:cubicBezTo>
                    <a:pt x="14730" y="9517"/>
                    <a:pt x="14565" y="9681"/>
                    <a:pt x="14565" y="9882"/>
                  </a:cubicBezTo>
                  <a:cubicBezTo>
                    <a:pt x="14565" y="10083"/>
                    <a:pt x="14730" y="10244"/>
                    <a:pt x="14932" y="10244"/>
                  </a:cubicBezTo>
                  <a:cubicBezTo>
                    <a:pt x="15134" y="10244"/>
                    <a:pt x="15296" y="10083"/>
                    <a:pt x="15296" y="9882"/>
                  </a:cubicBezTo>
                  <a:cubicBezTo>
                    <a:pt x="15296" y="9681"/>
                    <a:pt x="15134" y="9517"/>
                    <a:pt x="14932" y="9517"/>
                  </a:cubicBezTo>
                  <a:close/>
                  <a:moveTo>
                    <a:pt x="16019" y="9517"/>
                  </a:moveTo>
                  <a:cubicBezTo>
                    <a:pt x="15817" y="9517"/>
                    <a:pt x="15652" y="9681"/>
                    <a:pt x="15652" y="9882"/>
                  </a:cubicBezTo>
                  <a:cubicBezTo>
                    <a:pt x="15652" y="10083"/>
                    <a:pt x="15817" y="10244"/>
                    <a:pt x="16019" y="10244"/>
                  </a:cubicBezTo>
                  <a:cubicBezTo>
                    <a:pt x="16221" y="10244"/>
                    <a:pt x="16383" y="10083"/>
                    <a:pt x="16383" y="9882"/>
                  </a:cubicBezTo>
                  <a:cubicBezTo>
                    <a:pt x="16383" y="9681"/>
                    <a:pt x="16221" y="9517"/>
                    <a:pt x="16019" y="9517"/>
                  </a:cubicBezTo>
                  <a:close/>
                  <a:moveTo>
                    <a:pt x="16997" y="9517"/>
                  </a:moveTo>
                  <a:cubicBezTo>
                    <a:pt x="16795" y="9517"/>
                    <a:pt x="16631" y="9681"/>
                    <a:pt x="16631" y="9882"/>
                  </a:cubicBezTo>
                  <a:cubicBezTo>
                    <a:pt x="16631" y="10083"/>
                    <a:pt x="16795" y="10244"/>
                    <a:pt x="16997" y="10244"/>
                  </a:cubicBezTo>
                  <a:cubicBezTo>
                    <a:pt x="17199" y="10244"/>
                    <a:pt x="17361" y="10083"/>
                    <a:pt x="17361" y="9882"/>
                  </a:cubicBezTo>
                  <a:cubicBezTo>
                    <a:pt x="17361" y="9681"/>
                    <a:pt x="17199" y="9517"/>
                    <a:pt x="16997" y="9517"/>
                  </a:cubicBezTo>
                  <a:close/>
                  <a:moveTo>
                    <a:pt x="18084" y="9517"/>
                  </a:moveTo>
                  <a:cubicBezTo>
                    <a:pt x="17883" y="9517"/>
                    <a:pt x="17718" y="9681"/>
                    <a:pt x="17718" y="9882"/>
                  </a:cubicBezTo>
                  <a:cubicBezTo>
                    <a:pt x="17718" y="10083"/>
                    <a:pt x="17883" y="10244"/>
                    <a:pt x="18084" y="10244"/>
                  </a:cubicBezTo>
                  <a:cubicBezTo>
                    <a:pt x="18286" y="10244"/>
                    <a:pt x="18448" y="10083"/>
                    <a:pt x="18448" y="9882"/>
                  </a:cubicBezTo>
                  <a:cubicBezTo>
                    <a:pt x="18448" y="9681"/>
                    <a:pt x="18286" y="9517"/>
                    <a:pt x="18084" y="9517"/>
                  </a:cubicBezTo>
                  <a:close/>
                  <a:moveTo>
                    <a:pt x="19063" y="9517"/>
                  </a:moveTo>
                  <a:cubicBezTo>
                    <a:pt x="18861" y="9517"/>
                    <a:pt x="18696" y="9681"/>
                    <a:pt x="18696" y="9882"/>
                  </a:cubicBezTo>
                  <a:cubicBezTo>
                    <a:pt x="18696" y="10083"/>
                    <a:pt x="18861" y="10244"/>
                    <a:pt x="19063" y="10244"/>
                  </a:cubicBezTo>
                  <a:cubicBezTo>
                    <a:pt x="19264" y="10244"/>
                    <a:pt x="19426" y="10083"/>
                    <a:pt x="19426" y="9882"/>
                  </a:cubicBezTo>
                  <a:cubicBezTo>
                    <a:pt x="19426" y="9681"/>
                    <a:pt x="19264" y="9517"/>
                    <a:pt x="19063" y="9517"/>
                  </a:cubicBezTo>
                  <a:close/>
                  <a:moveTo>
                    <a:pt x="20150" y="9517"/>
                  </a:moveTo>
                  <a:cubicBezTo>
                    <a:pt x="19948" y="9517"/>
                    <a:pt x="19783" y="9682"/>
                    <a:pt x="19783" y="9882"/>
                  </a:cubicBezTo>
                  <a:cubicBezTo>
                    <a:pt x="19783" y="10083"/>
                    <a:pt x="19948" y="10244"/>
                    <a:pt x="20150" y="10244"/>
                  </a:cubicBezTo>
                  <a:cubicBezTo>
                    <a:pt x="20352" y="10244"/>
                    <a:pt x="20513" y="10083"/>
                    <a:pt x="20513" y="9882"/>
                  </a:cubicBezTo>
                  <a:cubicBezTo>
                    <a:pt x="20513" y="9682"/>
                    <a:pt x="20352" y="9517"/>
                    <a:pt x="20150" y="9517"/>
                  </a:cubicBezTo>
                  <a:close/>
                  <a:moveTo>
                    <a:pt x="3519" y="10491"/>
                  </a:moveTo>
                  <a:cubicBezTo>
                    <a:pt x="3317" y="10491"/>
                    <a:pt x="3152" y="10655"/>
                    <a:pt x="3152" y="10856"/>
                  </a:cubicBezTo>
                  <a:cubicBezTo>
                    <a:pt x="3152" y="11057"/>
                    <a:pt x="3317" y="11217"/>
                    <a:pt x="3519" y="11217"/>
                  </a:cubicBezTo>
                  <a:cubicBezTo>
                    <a:pt x="3721" y="11217"/>
                    <a:pt x="3883" y="11057"/>
                    <a:pt x="3883" y="10856"/>
                  </a:cubicBezTo>
                  <a:cubicBezTo>
                    <a:pt x="3883" y="10655"/>
                    <a:pt x="3721" y="10491"/>
                    <a:pt x="3519" y="10491"/>
                  </a:cubicBezTo>
                  <a:close/>
                  <a:moveTo>
                    <a:pt x="8628" y="10491"/>
                  </a:moveTo>
                  <a:cubicBezTo>
                    <a:pt x="8426" y="10491"/>
                    <a:pt x="8261" y="10655"/>
                    <a:pt x="8261" y="10856"/>
                  </a:cubicBezTo>
                  <a:cubicBezTo>
                    <a:pt x="8261" y="11057"/>
                    <a:pt x="8426" y="11217"/>
                    <a:pt x="8628" y="11217"/>
                  </a:cubicBezTo>
                  <a:cubicBezTo>
                    <a:pt x="8830" y="11217"/>
                    <a:pt x="8991" y="11057"/>
                    <a:pt x="8991" y="10856"/>
                  </a:cubicBezTo>
                  <a:cubicBezTo>
                    <a:pt x="8991" y="10655"/>
                    <a:pt x="8830" y="10491"/>
                    <a:pt x="8628" y="10491"/>
                  </a:cubicBezTo>
                  <a:close/>
                  <a:moveTo>
                    <a:pt x="9715" y="10491"/>
                  </a:moveTo>
                  <a:cubicBezTo>
                    <a:pt x="9513" y="10491"/>
                    <a:pt x="9348" y="10655"/>
                    <a:pt x="9348" y="10856"/>
                  </a:cubicBezTo>
                  <a:cubicBezTo>
                    <a:pt x="9348" y="11057"/>
                    <a:pt x="9513" y="11217"/>
                    <a:pt x="9715" y="11217"/>
                  </a:cubicBezTo>
                  <a:cubicBezTo>
                    <a:pt x="9917" y="11217"/>
                    <a:pt x="10078" y="11057"/>
                    <a:pt x="10078" y="10856"/>
                  </a:cubicBezTo>
                  <a:cubicBezTo>
                    <a:pt x="10078" y="10655"/>
                    <a:pt x="9917" y="10491"/>
                    <a:pt x="9715" y="10491"/>
                  </a:cubicBezTo>
                  <a:close/>
                  <a:moveTo>
                    <a:pt x="10802" y="10491"/>
                  </a:moveTo>
                  <a:cubicBezTo>
                    <a:pt x="10600" y="10491"/>
                    <a:pt x="10435" y="10655"/>
                    <a:pt x="10435" y="10856"/>
                  </a:cubicBezTo>
                  <a:cubicBezTo>
                    <a:pt x="10435" y="11057"/>
                    <a:pt x="10600" y="11217"/>
                    <a:pt x="10802" y="11217"/>
                  </a:cubicBezTo>
                  <a:cubicBezTo>
                    <a:pt x="11003" y="11217"/>
                    <a:pt x="11165" y="11057"/>
                    <a:pt x="11165" y="10856"/>
                  </a:cubicBezTo>
                  <a:cubicBezTo>
                    <a:pt x="11165" y="10655"/>
                    <a:pt x="11003" y="10491"/>
                    <a:pt x="10802" y="10491"/>
                  </a:cubicBezTo>
                  <a:close/>
                  <a:moveTo>
                    <a:pt x="13845" y="10491"/>
                  </a:moveTo>
                  <a:cubicBezTo>
                    <a:pt x="13644" y="10491"/>
                    <a:pt x="13478" y="10655"/>
                    <a:pt x="13478" y="10856"/>
                  </a:cubicBezTo>
                  <a:cubicBezTo>
                    <a:pt x="13478" y="11057"/>
                    <a:pt x="13644" y="11217"/>
                    <a:pt x="13845" y="11217"/>
                  </a:cubicBezTo>
                  <a:cubicBezTo>
                    <a:pt x="14047" y="11217"/>
                    <a:pt x="14209" y="11057"/>
                    <a:pt x="14209" y="10856"/>
                  </a:cubicBezTo>
                  <a:cubicBezTo>
                    <a:pt x="14209" y="10655"/>
                    <a:pt x="14047" y="10491"/>
                    <a:pt x="13845" y="10491"/>
                  </a:cubicBezTo>
                  <a:close/>
                  <a:moveTo>
                    <a:pt x="14932" y="10491"/>
                  </a:moveTo>
                  <a:cubicBezTo>
                    <a:pt x="14730" y="10491"/>
                    <a:pt x="14565" y="10655"/>
                    <a:pt x="14565" y="10856"/>
                  </a:cubicBezTo>
                  <a:cubicBezTo>
                    <a:pt x="14565" y="11057"/>
                    <a:pt x="14730" y="11217"/>
                    <a:pt x="14932" y="11217"/>
                  </a:cubicBezTo>
                  <a:cubicBezTo>
                    <a:pt x="15134" y="11217"/>
                    <a:pt x="15296" y="11057"/>
                    <a:pt x="15296" y="10856"/>
                  </a:cubicBezTo>
                  <a:cubicBezTo>
                    <a:pt x="15296" y="10655"/>
                    <a:pt x="15134" y="10491"/>
                    <a:pt x="14932" y="10491"/>
                  </a:cubicBezTo>
                  <a:close/>
                  <a:moveTo>
                    <a:pt x="16019" y="10491"/>
                  </a:moveTo>
                  <a:cubicBezTo>
                    <a:pt x="15817" y="10491"/>
                    <a:pt x="15652" y="10655"/>
                    <a:pt x="15652" y="10856"/>
                  </a:cubicBezTo>
                  <a:cubicBezTo>
                    <a:pt x="15652" y="11057"/>
                    <a:pt x="15817" y="11217"/>
                    <a:pt x="16019" y="11217"/>
                  </a:cubicBezTo>
                  <a:cubicBezTo>
                    <a:pt x="16221" y="11217"/>
                    <a:pt x="16383" y="11057"/>
                    <a:pt x="16383" y="10856"/>
                  </a:cubicBezTo>
                  <a:cubicBezTo>
                    <a:pt x="16383" y="10655"/>
                    <a:pt x="16221" y="10491"/>
                    <a:pt x="16019" y="10491"/>
                  </a:cubicBezTo>
                  <a:close/>
                  <a:moveTo>
                    <a:pt x="16997" y="10491"/>
                  </a:moveTo>
                  <a:cubicBezTo>
                    <a:pt x="16795" y="10491"/>
                    <a:pt x="16631" y="10655"/>
                    <a:pt x="16631" y="10856"/>
                  </a:cubicBezTo>
                  <a:cubicBezTo>
                    <a:pt x="16631" y="11057"/>
                    <a:pt x="16795" y="11217"/>
                    <a:pt x="16997" y="11217"/>
                  </a:cubicBezTo>
                  <a:cubicBezTo>
                    <a:pt x="17199" y="11217"/>
                    <a:pt x="17361" y="11057"/>
                    <a:pt x="17361" y="10856"/>
                  </a:cubicBezTo>
                  <a:cubicBezTo>
                    <a:pt x="17361" y="10655"/>
                    <a:pt x="17199" y="10491"/>
                    <a:pt x="16997" y="10491"/>
                  </a:cubicBezTo>
                  <a:close/>
                  <a:moveTo>
                    <a:pt x="18084" y="10491"/>
                  </a:moveTo>
                  <a:cubicBezTo>
                    <a:pt x="17883" y="10491"/>
                    <a:pt x="17718" y="10655"/>
                    <a:pt x="17718" y="10856"/>
                  </a:cubicBezTo>
                  <a:cubicBezTo>
                    <a:pt x="17718" y="11057"/>
                    <a:pt x="17883" y="11217"/>
                    <a:pt x="18084" y="11217"/>
                  </a:cubicBezTo>
                  <a:cubicBezTo>
                    <a:pt x="18286" y="11217"/>
                    <a:pt x="18448" y="11057"/>
                    <a:pt x="18448" y="10856"/>
                  </a:cubicBezTo>
                  <a:cubicBezTo>
                    <a:pt x="18448" y="10655"/>
                    <a:pt x="18286" y="10491"/>
                    <a:pt x="18084" y="10491"/>
                  </a:cubicBezTo>
                  <a:close/>
                  <a:moveTo>
                    <a:pt x="19063" y="10491"/>
                  </a:moveTo>
                  <a:cubicBezTo>
                    <a:pt x="18861" y="10491"/>
                    <a:pt x="18696" y="10655"/>
                    <a:pt x="18696" y="10856"/>
                  </a:cubicBezTo>
                  <a:cubicBezTo>
                    <a:pt x="18696" y="11057"/>
                    <a:pt x="18861" y="11217"/>
                    <a:pt x="19063" y="11217"/>
                  </a:cubicBezTo>
                  <a:cubicBezTo>
                    <a:pt x="19264" y="11217"/>
                    <a:pt x="19426" y="11057"/>
                    <a:pt x="19426" y="10856"/>
                  </a:cubicBezTo>
                  <a:cubicBezTo>
                    <a:pt x="19426" y="10655"/>
                    <a:pt x="19264" y="10491"/>
                    <a:pt x="19063" y="10491"/>
                  </a:cubicBezTo>
                  <a:close/>
                  <a:moveTo>
                    <a:pt x="20150" y="10491"/>
                  </a:moveTo>
                  <a:cubicBezTo>
                    <a:pt x="19948" y="10491"/>
                    <a:pt x="19783" y="10655"/>
                    <a:pt x="19783" y="10856"/>
                  </a:cubicBezTo>
                  <a:cubicBezTo>
                    <a:pt x="19783" y="11057"/>
                    <a:pt x="19948" y="11217"/>
                    <a:pt x="20150" y="11217"/>
                  </a:cubicBezTo>
                  <a:cubicBezTo>
                    <a:pt x="20351" y="11217"/>
                    <a:pt x="20513" y="11057"/>
                    <a:pt x="20513" y="10856"/>
                  </a:cubicBezTo>
                  <a:cubicBezTo>
                    <a:pt x="20513" y="10655"/>
                    <a:pt x="20351" y="10491"/>
                    <a:pt x="20150" y="10491"/>
                  </a:cubicBezTo>
                  <a:close/>
                  <a:moveTo>
                    <a:pt x="21237" y="10491"/>
                  </a:moveTo>
                  <a:cubicBezTo>
                    <a:pt x="21034" y="10491"/>
                    <a:pt x="20870" y="10655"/>
                    <a:pt x="20870" y="10856"/>
                  </a:cubicBezTo>
                  <a:cubicBezTo>
                    <a:pt x="20870" y="11057"/>
                    <a:pt x="21034" y="11217"/>
                    <a:pt x="21237" y="11217"/>
                  </a:cubicBezTo>
                  <a:cubicBezTo>
                    <a:pt x="21438" y="11217"/>
                    <a:pt x="21600" y="11057"/>
                    <a:pt x="21600" y="10856"/>
                  </a:cubicBezTo>
                  <a:cubicBezTo>
                    <a:pt x="21600" y="10655"/>
                    <a:pt x="21438" y="10491"/>
                    <a:pt x="21237" y="10491"/>
                  </a:cubicBezTo>
                  <a:close/>
                  <a:moveTo>
                    <a:pt x="8628" y="11464"/>
                  </a:moveTo>
                  <a:cubicBezTo>
                    <a:pt x="8426" y="11464"/>
                    <a:pt x="8261" y="11628"/>
                    <a:pt x="8261" y="11829"/>
                  </a:cubicBezTo>
                  <a:cubicBezTo>
                    <a:pt x="8261" y="12030"/>
                    <a:pt x="8426" y="12191"/>
                    <a:pt x="8628" y="12191"/>
                  </a:cubicBezTo>
                  <a:cubicBezTo>
                    <a:pt x="8830" y="12191"/>
                    <a:pt x="8991" y="12030"/>
                    <a:pt x="8991" y="11829"/>
                  </a:cubicBezTo>
                  <a:cubicBezTo>
                    <a:pt x="8991" y="11628"/>
                    <a:pt x="8830" y="11464"/>
                    <a:pt x="8628" y="11464"/>
                  </a:cubicBezTo>
                  <a:close/>
                  <a:moveTo>
                    <a:pt x="9715" y="11464"/>
                  </a:moveTo>
                  <a:cubicBezTo>
                    <a:pt x="9513" y="11464"/>
                    <a:pt x="9348" y="11628"/>
                    <a:pt x="9348" y="11829"/>
                  </a:cubicBezTo>
                  <a:cubicBezTo>
                    <a:pt x="9348" y="12030"/>
                    <a:pt x="9513" y="12191"/>
                    <a:pt x="9715" y="12191"/>
                  </a:cubicBezTo>
                  <a:cubicBezTo>
                    <a:pt x="9917" y="12191"/>
                    <a:pt x="10078" y="12030"/>
                    <a:pt x="10078" y="11829"/>
                  </a:cubicBezTo>
                  <a:cubicBezTo>
                    <a:pt x="10078" y="11628"/>
                    <a:pt x="9917" y="11464"/>
                    <a:pt x="9715" y="11464"/>
                  </a:cubicBezTo>
                  <a:close/>
                  <a:moveTo>
                    <a:pt x="10802" y="11464"/>
                  </a:moveTo>
                  <a:cubicBezTo>
                    <a:pt x="10600" y="11464"/>
                    <a:pt x="10435" y="11628"/>
                    <a:pt x="10435" y="11829"/>
                  </a:cubicBezTo>
                  <a:cubicBezTo>
                    <a:pt x="10435" y="12030"/>
                    <a:pt x="10600" y="12191"/>
                    <a:pt x="10802" y="12191"/>
                  </a:cubicBezTo>
                  <a:cubicBezTo>
                    <a:pt x="11003" y="12191"/>
                    <a:pt x="11165" y="12030"/>
                    <a:pt x="11165" y="11829"/>
                  </a:cubicBezTo>
                  <a:cubicBezTo>
                    <a:pt x="11165" y="11628"/>
                    <a:pt x="11003" y="11464"/>
                    <a:pt x="10802" y="11464"/>
                  </a:cubicBezTo>
                  <a:close/>
                  <a:moveTo>
                    <a:pt x="11780" y="11464"/>
                  </a:moveTo>
                  <a:cubicBezTo>
                    <a:pt x="11578" y="11464"/>
                    <a:pt x="11413" y="11628"/>
                    <a:pt x="11413" y="11829"/>
                  </a:cubicBezTo>
                  <a:cubicBezTo>
                    <a:pt x="11413" y="12030"/>
                    <a:pt x="11578" y="12191"/>
                    <a:pt x="11780" y="12191"/>
                  </a:cubicBezTo>
                  <a:cubicBezTo>
                    <a:pt x="11982" y="12191"/>
                    <a:pt x="12143" y="12030"/>
                    <a:pt x="12143" y="11829"/>
                  </a:cubicBezTo>
                  <a:cubicBezTo>
                    <a:pt x="12143" y="11628"/>
                    <a:pt x="11982" y="11464"/>
                    <a:pt x="11780" y="11464"/>
                  </a:cubicBezTo>
                  <a:close/>
                  <a:moveTo>
                    <a:pt x="12867" y="11464"/>
                  </a:moveTo>
                  <a:cubicBezTo>
                    <a:pt x="12665" y="11464"/>
                    <a:pt x="12500" y="11628"/>
                    <a:pt x="12500" y="11829"/>
                  </a:cubicBezTo>
                  <a:cubicBezTo>
                    <a:pt x="12500" y="12030"/>
                    <a:pt x="12665" y="12191"/>
                    <a:pt x="12867" y="12191"/>
                  </a:cubicBezTo>
                  <a:cubicBezTo>
                    <a:pt x="13069" y="12191"/>
                    <a:pt x="13230" y="12030"/>
                    <a:pt x="13230" y="11829"/>
                  </a:cubicBezTo>
                  <a:cubicBezTo>
                    <a:pt x="13230" y="11628"/>
                    <a:pt x="13069" y="11464"/>
                    <a:pt x="12867" y="11464"/>
                  </a:cubicBezTo>
                  <a:close/>
                  <a:moveTo>
                    <a:pt x="13845" y="11464"/>
                  </a:moveTo>
                  <a:cubicBezTo>
                    <a:pt x="13644" y="11464"/>
                    <a:pt x="13478" y="11628"/>
                    <a:pt x="13478" y="11829"/>
                  </a:cubicBezTo>
                  <a:cubicBezTo>
                    <a:pt x="13478" y="12030"/>
                    <a:pt x="13644" y="12191"/>
                    <a:pt x="13845" y="12191"/>
                  </a:cubicBezTo>
                  <a:cubicBezTo>
                    <a:pt x="14047" y="12191"/>
                    <a:pt x="14209" y="12030"/>
                    <a:pt x="14209" y="11829"/>
                  </a:cubicBezTo>
                  <a:cubicBezTo>
                    <a:pt x="14209" y="11628"/>
                    <a:pt x="14047" y="11464"/>
                    <a:pt x="13845" y="11464"/>
                  </a:cubicBezTo>
                  <a:close/>
                  <a:moveTo>
                    <a:pt x="14932" y="11464"/>
                  </a:moveTo>
                  <a:cubicBezTo>
                    <a:pt x="14730" y="11464"/>
                    <a:pt x="14565" y="11628"/>
                    <a:pt x="14565" y="11829"/>
                  </a:cubicBezTo>
                  <a:cubicBezTo>
                    <a:pt x="14565" y="12030"/>
                    <a:pt x="14730" y="12191"/>
                    <a:pt x="14932" y="12191"/>
                  </a:cubicBezTo>
                  <a:cubicBezTo>
                    <a:pt x="15134" y="12191"/>
                    <a:pt x="15296" y="12030"/>
                    <a:pt x="15296" y="11829"/>
                  </a:cubicBezTo>
                  <a:cubicBezTo>
                    <a:pt x="15296" y="11628"/>
                    <a:pt x="15134" y="11464"/>
                    <a:pt x="14932" y="11464"/>
                  </a:cubicBezTo>
                  <a:close/>
                  <a:moveTo>
                    <a:pt x="16019" y="11464"/>
                  </a:moveTo>
                  <a:cubicBezTo>
                    <a:pt x="15817" y="11464"/>
                    <a:pt x="15652" y="11628"/>
                    <a:pt x="15652" y="11829"/>
                  </a:cubicBezTo>
                  <a:cubicBezTo>
                    <a:pt x="15652" y="12030"/>
                    <a:pt x="15817" y="12191"/>
                    <a:pt x="16019" y="12191"/>
                  </a:cubicBezTo>
                  <a:cubicBezTo>
                    <a:pt x="16221" y="12191"/>
                    <a:pt x="16383" y="12030"/>
                    <a:pt x="16383" y="11829"/>
                  </a:cubicBezTo>
                  <a:cubicBezTo>
                    <a:pt x="16383" y="11628"/>
                    <a:pt x="16221" y="11464"/>
                    <a:pt x="16019" y="11464"/>
                  </a:cubicBezTo>
                  <a:close/>
                  <a:moveTo>
                    <a:pt x="16997" y="11464"/>
                  </a:moveTo>
                  <a:cubicBezTo>
                    <a:pt x="16795" y="11464"/>
                    <a:pt x="16631" y="11628"/>
                    <a:pt x="16631" y="11829"/>
                  </a:cubicBezTo>
                  <a:cubicBezTo>
                    <a:pt x="16631" y="12030"/>
                    <a:pt x="16795" y="12191"/>
                    <a:pt x="16997" y="12191"/>
                  </a:cubicBezTo>
                  <a:cubicBezTo>
                    <a:pt x="17199" y="12191"/>
                    <a:pt x="17361" y="12030"/>
                    <a:pt x="17361" y="11829"/>
                  </a:cubicBezTo>
                  <a:cubicBezTo>
                    <a:pt x="17361" y="11628"/>
                    <a:pt x="17199" y="11464"/>
                    <a:pt x="16997" y="11464"/>
                  </a:cubicBezTo>
                  <a:close/>
                  <a:moveTo>
                    <a:pt x="18084" y="11464"/>
                  </a:moveTo>
                  <a:cubicBezTo>
                    <a:pt x="17883" y="11464"/>
                    <a:pt x="17718" y="11628"/>
                    <a:pt x="17718" y="11829"/>
                  </a:cubicBezTo>
                  <a:cubicBezTo>
                    <a:pt x="17718" y="12030"/>
                    <a:pt x="17883" y="12191"/>
                    <a:pt x="18084" y="12191"/>
                  </a:cubicBezTo>
                  <a:cubicBezTo>
                    <a:pt x="18286" y="12191"/>
                    <a:pt x="18448" y="12030"/>
                    <a:pt x="18448" y="11829"/>
                  </a:cubicBezTo>
                  <a:cubicBezTo>
                    <a:pt x="18448" y="11628"/>
                    <a:pt x="18286" y="11464"/>
                    <a:pt x="18084" y="11464"/>
                  </a:cubicBezTo>
                  <a:close/>
                  <a:moveTo>
                    <a:pt x="19063" y="11464"/>
                  </a:moveTo>
                  <a:cubicBezTo>
                    <a:pt x="18861" y="11464"/>
                    <a:pt x="18696" y="11628"/>
                    <a:pt x="18696" y="11829"/>
                  </a:cubicBezTo>
                  <a:cubicBezTo>
                    <a:pt x="18696" y="12030"/>
                    <a:pt x="18861" y="12191"/>
                    <a:pt x="19063" y="12191"/>
                  </a:cubicBezTo>
                  <a:cubicBezTo>
                    <a:pt x="19264" y="12191"/>
                    <a:pt x="19426" y="12030"/>
                    <a:pt x="19426" y="11829"/>
                  </a:cubicBezTo>
                  <a:cubicBezTo>
                    <a:pt x="19426" y="11628"/>
                    <a:pt x="19264" y="11464"/>
                    <a:pt x="19063" y="11464"/>
                  </a:cubicBezTo>
                  <a:close/>
                  <a:moveTo>
                    <a:pt x="1345" y="11572"/>
                  </a:moveTo>
                  <a:cubicBezTo>
                    <a:pt x="1143" y="11572"/>
                    <a:pt x="978" y="11736"/>
                    <a:pt x="978" y="11937"/>
                  </a:cubicBezTo>
                  <a:cubicBezTo>
                    <a:pt x="978" y="12138"/>
                    <a:pt x="1143" y="12299"/>
                    <a:pt x="1345" y="12299"/>
                  </a:cubicBezTo>
                  <a:cubicBezTo>
                    <a:pt x="1547" y="12299"/>
                    <a:pt x="1709" y="12138"/>
                    <a:pt x="1709" y="11937"/>
                  </a:cubicBezTo>
                  <a:cubicBezTo>
                    <a:pt x="1709" y="11737"/>
                    <a:pt x="1547" y="11572"/>
                    <a:pt x="1345" y="11572"/>
                  </a:cubicBezTo>
                  <a:close/>
                  <a:moveTo>
                    <a:pt x="2323" y="11572"/>
                  </a:moveTo>
                  <a:cubicBezTo>
                    <a:pt x="2122" y="11572"/>
                    <a:pt x="1957" y="11736"/>
                    <a:pt x="1957" y="11937"/>
                  </a:cubicBezTo>
                  <a:cubicBezTo>
                    <a:pt x="1957" y="12138"/>
                    <a:pt x="2122" y="12299"/>
                    <a:pt x="2323" y="12299"/>
                  </a:cubicBezTo>
                  <a:cubicBezTo>
                    <a:pt x="2525" y="12299"/>
                    <a:pt x="2687" y="12138"/>
                    <a:pt x="2687" y="11937"/>
                  </a:cubicBezTo>
                  <a:cubicBezTo>
                    <a:pt x="2687" y="11737"/>
                    <a:pt x="2525" y="11572"/>
                    <a:pt x="2323" y="11572"/>
                  </a:cubicBezTo>
                  <a:close/>
                  <a:moveTo>
                    <a:pt x="4389" y="11572"/>
                  </a:moveTo>
                  <a:cubicBezTo>
                    <a:pt x="4187" y="11572"/>
                    <a:pt x="4022" y="11736"/>
                    <a:pt x="4022" y="11937"/>
                  </a:cubicBezTo>
                  <a:cubicBezTo>
                    <a:pt x="4022" y="12138"/>
                    <a:pt x="4187" y="12299"/>
                    <a:pt x="4389" y="12299"/>
                  </a:cubicBezTo>
                  <a:cubicBezTo>
                    <a:pt x="4590" y="12299"/>
                    <a:pt x="4752" y="12138"/>
                    <a:pt x="4752" y="11937"/>
                  </a:cubicBezTo>
                  <a:cubicBezTo>
                    <a:pt x="4752" y="11737"/>
                    <a:pt x="4590" y="11572"/>
                    <a:pt x="4389" y="11572"/>
                  </a:cubicBezTo>
                  <a:close/>
                  <a:moveTo>
                    <a:pt x="20150" y="11572"/>
                  </a:moveTo>
                  <a:cubicBezTo>
                    <a:pt x="19948" y="11572"/>
                    <a:pt x="19783" y="11736"/>
                    <a:pt x="19783" y="11937"/>
                  </a:cubicBezTo>
                  <a:cubicBezTo>
                    <a:pt x="19783" y="12138"/>
                    <a:pt x="19948" y="12299"/>
                    <a:pt x="20150" y="12299"/>
                  </a:cubicBezTo>
                  <a:cubicBezTo>
                    <a:pt x="20351" y="12299"/>
                    <a:pt x="20513" y="12138"/>
                    <a:pt x="20513" y="11937"/>
                  </a:cubicBezTo>
                  <a:cubicBezTo>
                    <a:pt x="20513" y="11736"/>
                    <a:pt x="20351" y="11572"/>
                    <a:pt x="20150" y="11572"/>
                  </a:cubicBezTo>
                  <a:close/>
                  <a:moveTo>
                    <a:pt x="21237" y="11572"/>
                  </a:moveTo>
                  <a:cubicBezTo>
                    <a:pt x="21034" y="11572"/>
                    <a:pt x="20870" y="11736"/>
                    <a:pt x="20870" y="11937"/>
                  </a:cubicBezTo>
                  <a:cubicBezTo>
                    <a:pt x="20870" y="12138"/>
                    <a:pt x="21034" y="12299"/>
                    <a:pt x="21237" y="12299"/>
                  </a:cubicBezTo>
                  <a:cubicBezTo>
                    <a:pt x="21438" y="12299"/>
                    <a:pt x="21600" y="12138"/>
                    <a:pt x="21600" y="11937"/>
                  </a:cubicBezTo>
                  <a:cubicBezTo>
                    <a:pt x="21600" y="11736"/>
                    <a:pt x="21438" y="11572"/>
                    <a:pt x="21237" y="11572"/>
                  </a:cubicBezTo>
                  <a:close/>
                  <a:moveTo>
                    <a:pt x="1236" y="12546"/>
                  </a:moveTo>
                  <a:cubicBezTo>
                    <a:pt x="1034" y="12546"/>
                    <a:pt x="870" y="12710"/>
                    <a:pt x="870" y="12911"/>
                  </a:cubicBezTo>
                  <a:cubicBezTo>
                    <a:pt x="870" y="13111"/>
                    <a:pt x="1034" y="13272"/>
                    <a:pt x="1236" y="13272"/>
                  </a:cubicBezTo>
                  <a:cubicBezTo>
                    <a:pt x="1438" y="13272"/>
                    <a:pt x="1600" y="13111"/>
                    <a:pt x="1600" y="12911"/>
                  </a:cubicBezTo>
                  <a:cubicBezTo>
                    <a:pt x="1600" y="12710"/>
                    <a:pt x="1438" y="12546"/>
                    <a:pt x="1236" y="12546"/>
                  </a:cubicBezTo>
                  <a:close/>
                  <a:moveTo>
                    <a:pt x="3410" y="12546"/>
                  </a:moveTo>
                  <a:cubicBezTo>
                    <a:pt x="3209" y="12546"/>
                    <a:pt x="3044" y="12710"/>
                    <a:pt x="3044" y="12911"/>
                  </a:cubicBezTo>
                  <a:cubicBezTo>
                    <a:pt x="3044" y="13111"/>
                    <a:pt x="3209" y="13272"/>
                    <a:pt x="3410" y="13272"/>
                  </a:cubicBezTo>
                  <a:cubicBezTo>
                    <a:pt x="3612" y="13272"/>
                    <a:pt x="3774" y="13111"/>
                    <a:pt x="3774" y="12911"/>
                  </a:cubicBezTo>
                  <a:cubicBezTo>
                    <a:pt x="3774" y="12710"/>
                    <a:pt x="3612" y="12546"/>
                    <a:pt x="3410" y="12546"/>
                  </a:cubicBezTo>
                  <a:close/>
                  <a:moveTo>
                    <a:pt x="4497" y="12546"/>
                  </a:moveTo>
                  <a:cubicBezTo>
                    <a:pt x="4295" y="12546"/>
                    <a:pt x="4130" y="12710"/>
                    <a:pt x="4130" y="12911"/>
                  </a:cubicBezTo>
                  <a:cubicBezTo>
                    <a:pt x="4130" y="13111"/>
                    <a:pt x="4295" y="13272"/>
                    <a:pt x="4497" y="13272"/>
                  </a:cubicBezTo>
                  <a:cubicBezTo>
                    <a:pt x="4699" y="13272"/>
                    <a:pt x="4861" y="13111"/>
                    <a:pt x="4861" y="12911"/>
                  </a:cubicBezTo>
                  <a:cubicBezTo>
                    <a:pt x="4861" y="12710"/>
                    <a:pt x="4699" y="12546"/>
                    <a:pt x="4497" y="12546"/>
                  </a:cubicBezTo>
                  <a:close/>
                  <a:moveTo>
                    <a:pt x="6563" y="12546"/>
                  </a:moveTo>
                  <a:cubicBezTo>
                    <a:pt x="6361" y="12546"/>
                    <a:pt x="6196" y="12710"/>
                    <a:pt x="6196" y="12911"/>
                  </a:cubicBezTo>
                  <a:cubicBezTo>
                    <a:pt x="6196" y="13112"/>
                    <a:pt x="6361" y="13272"/>
                    <a:pt x="6563" y="13272"/>
                  </a:cubicBezTo>
                  <a:cubicBezTo>
                    <a:pt x="6764" y="13272"/>
                    <a:pt x="6926" y="13112"/>
                    <a:pt x="6926" y="12911"/>
                  </a:cubicBezTo>
                  <a:cubicBezTo>
                    <a:pt x="6926" y="12710"/>
                    <a:pt x="6764" y="12546"/>
                    <a:pt x="6563" y="12546"/>
                  </a:cubicBezTo>
                  <a:close/>
                  <a:moveTo>
                    <a:pt x="7650" y="12546"/>
                  </a:moveTo>
                  <a:cubicBezTo>
                    <a:pt x="7448" y="12546"/>
                    <a:pt x="7283" y="12710"/>
                    <a:pt x="7283" y="12911"/>
                  </a:cubicBezTo>
                  <a:cubicBezTo>
                    <a:pt x="7283" y="13112"/>
                    <a:pt x="7448" y="13272"/>
                    <a:pt x="7650" y="13272"/>
                  </a:cubicBezTo>
                  <a:cubicBezTo>
                    <a:pt x="7851" y="13272"/>
                    <a:pt x="8013" y="13112"/>
                    <a:pt x="8013" y="12911"/>
                  </a:cubicBezTo>
                  <a:cubicBezTo>
                    <a:pt x="8013" y="12710"/>
                    <a:pt x="7851" y="12546"/>
                    <a:pt x="7650" y="12546"/>
                  </a:cubicBezTo>
                  <a:close/>
                  <a:moveTo>
                    <a:pt x="8628" y="12546"/>
                  </a:moveTo>
                  <a:cubicBezTo>
                    <a:pt x="8426" y="12546"/>
                    <a:pt x="8261" y="12710"/>
                    <a:pt x="8261" y="12911"/>
                  </a:cubicBezTo>
                  <a:cubicBezTo>
                    <a:pt x="8261" y="13112"/>
                    <a:pt x="8426" y="13272"/>
                    <a:pt x="8628" y="13272"/>
                  </a:cubicBezTo>
                  <a:cubicBezTo>
                    <a:pt x="8830" y="13272"/>
                    <a:pt x="8991" y="13112"/>
                    <a:pt x="8991" y="12911"/>
                  </a:cubicBezTo>
                  <a:cubicBezTo>
                    <a:pt x="8991" y="12710"/>
                    <a:pt x="8830" y="12546"/>
                    <a:pt x="8628" y="12546"/>
                  </a:cubicBezTo>
                  <a:close/>
                  <a:moveTo>
                    <a:pt x="9715" y="12546"/>
                  </a:moveTo>
                  <a:cubicBezTo>
                    <a:pt x="9513" y="12546"/>
                    <a:pt x="9348" y="12710"/>
                    <a:pt x="9348" y="12911"/>
                  </a:cubicBezTo>
                  <a:cubicBezTo>
                    <a:pt x="9348" y="13112"/>
                    <a:pt x="9513" y="13272"/>
                    <a:pt x="9715" y="13272"/>
                  </a:cubicBezTo>
                  <a:cubicBezTo>
                    <a:pt x="9917" y="13272"/>
                    <a:pt x="10078" y="13112"/>
                    <a:pt x="10078" y="12911"/>
                  </a:cubicBezTo>
                  <a:cubicBezTo>
                    <a:pt x="10078" y="12710"/>
                    <a:pt x="9917" y="12546"/>
                    <a:pt x="9715" y="12546"/>
                  </a:cubicBezTo>
                  <a:close/>
                  <a:moveTo>
                    <a:pt x="10802" y="12546"/>
                  </a:moveTo>
                  <a:cubicBezTo>
                    <a:pt x="10600" y="12546"/>
                    <a:pt x="10435" y="12710"/>
                    <a:pt x="10435" y="12911"/>
                  </a:cubicBezTo>
                  <a:cubicBezTo>
                    <a:pt x="10435" y="13112"/>
                    <a:pt x="10600" y="13272"/>
                    <a:pt x="10802" y="13272"/>
                  </a:cubicBezTo>
                  <a:cubicBezTo>
                    <a:pt x="11003" y="13272"/>
                    <a:pt x="11165" y="13112"/>
                    <a:pt x="11165" y="12911"/>
                  </a:cubicBezTo>
                  <a:cubicBezTo>
                    <a:pt x="11165" y="12710"/>
                    <a:pt x="11003" y="12546"/>
                    <a:pt x="10802" y="12546"/>
                  </a:cubicBezTo>
                  <a:close/>
                  <a:moveTo>
                    <a:pt x="11780" y="12546"/>
                  </a:moveTo>
                  <a:cubicBezTo>
                    <a:pt x="11578" y="12546"/>
                    <a:pt x="11413" y="12710"/>
                    <a:pt x="11413" y="12911"/>
                  </a:cubicBezTo>
                  <a:cubicBezTo>
                    <a:pt x="11413" y="13112"/>
                    <a:pt x="11578" y="13272"/>
                    <a:pt x="11780" y="13272"/>
                  </a:cubicBezTo>
                  <a:cubicBezTo>
                    <a:pt x="11982" y="13272"/>
                    <a:pt x="12143" y="13112"/>
                    <a:pt x="12143" y="12911"/>
                  </a:cubicBezTo>
                  <a:cubicBezTo>
                    <a:pt x="12143" y="12710"/>
                    <a:pt x="11982" y="12546"/>
                    <a:pt x="11780" y="12546"/>
                  </a:cubicBezTo>
                  <a:close/>
                  <a:moveTo>
                    <a:pt x="12867" y="12546"/>
                  </a:moveTo>
                  <a:cubicBezTo>
                    <a:pt x="12665" y="12546"/>
                    <a:pt x="12500" y="12710"/>
                    <a:pt x="12500" y="12911"/>
                  </a:cubicBezTo>
                  <a:cubicBezTo>
                    <a:pt x="12500" y="13112"/>
                    <a:pt x="12665" y="13272"/>
                    <a:pt x="12867" y="13272"/>
                  </a:cubicBezTo>
                  <a:cubicBezTo>
                    <a:pt x="13069" y="13272"/>
                    <a:pt x="13230" y="13112"/>
                    <a:pt x="13230" y="12911"/>
                  </a:cubicBezTo>
                  <a:cubicBezTo>
                    <a:pt x="13230" y="12710"/>
                    <a:pt x="13069" y="12546"/>
                    <a:pt x="12867" y="12546"/>
                  </a:cubicBezTo>
                  <a:close/>
                  <a:moveTo>
                    <a:pt x="13845" y="12546"/>
                  </a:moveTo>
                  <a:cubicBezTo>
                    <a:pt x="13644" y="12546"/>
                    <a:pt x="13478" y="12710"/>
                    <a:pt x="13478" y="12911"/>
                  </a:cubicBezTo>
                  <a:cubicBezTo>
                    <a:pt x="13478" y="13112"/>
                    <a:pt x="13644" y="13272"/>
                    <a:pt x="13845" y="13272"/>
                  </a:cubicBezTo>
                  <a:cubicBezTo>
                    <a:pt x="14047" y="13272"/>
                    <a:pt x="14209" y="13112"/>
                    <a:pt x="14209" y="12911"/>
                  </a:cubicBezTo>
                  <a:cubicBezTo>
                    <a:pt x="14209" y="12710"/>
                    <a:pt x="14047" y="12546"/>
                    <a:pt x="13845" y="12546"/>
                  </a:cubicBezTo>
                  <a:close/>
                  <a:moveTo>
                    <a:pt x="14932" y="12546"/>
                  </a:moveTo>
                  <a:cubicBezTo>
                    <a:pt x="14730" y="12546"/>
                    <a:pt x="14565" y="12710"/>
                    <a:pt x="14565" y="12911"/>
                  </a:cubicBezTo>
                  <a:cubicBezTo>
                    <a:pt x="14565" y="13112"/>
                    <a:pt x="14730" y="13272"/>
                    <a:pt x="14932" y="13272"/>
                  </a:cubicBezTo>
                  <a:cubicBezTo>
                    <a:pt x="15134" y="13272"/>
                    <a:pt x="15296" y="13112"/>
                    <a:pt x="15296" y="12911"/>
                  </a:cubicBezTo>
                  <a:cubicBezTo>
                    <a:pt x="15296" y="12710"/>
                    <a:pt x="15134" y="12546"/>
                    <a:pt x="14932" y="12546"/>
                  </a:cubicBezTo>
                  <a:close/>
                  <a:moveTo>
                    <a:pt x="16019" y="12546"/>
                  </a:moveTo>
                  <a:cubicBezTo>
                    <a:pt x="15817" y="12546"/>
                    <a:pt x="15652" y="12710"/>
                    <a:pt x="15652" y="12911"/>
                  </a:cubicBezTo>
                  <a:cubicBezTo>
                    <a:pt x="15652" y="13112"/>
                    <a:pt x="15817" y="13272"/>
                    <a:pt x="16019" y="13272"/>
                  </a:cubicBezTo>
                  <a:cubicBezTo>
                    <a:pt x="16221" y="13272"/>
                    <a:pt x="16383" y="13112"/>
                    <a:pt x="16383" y="12911"/>
                  </a:cubicBezTo>
                  <a:cubicBezTo>
                    <a:pt x="16383" y="12710"/>
                    <a:pt x="16221" y="12546"/>
                    <a:pt x="16019" y="12546"/>
                  </a:cubicBezTo>
                  <a:close/>
                  <a:moveTo>
                    <a:pt x="16997" y="12546"/>
                  </a:moveTo>
                  <a:cubicBezTo>
                    <a:pt x="16795" y="12546"/>
                    <a:pt x="16631" y="12710"/>
                    <a:pt x="16631" y="12911"/>
                  </a:cubicBezTo>
                  <a:cubicBezTo>
                    <a:pt x="16631" y="13112"/>
                    <a:pt x="16795" y="13272"/>
                    <a:pt x="16997" y="13272"/>
                  </a:cubicBezTo>
                  <a:cubicBezTo>
                    <a:pt x="17199" y="13272"/>
                    <a:pt x="17361" y="13112"/>
                    <a:pt x="17361" y="12911"/>
                  </a:cubicBezTo>
                  <a:cubicBezTo>
                    <a:pt x="17361" y="12710"/>
                    <a:pt x="17199" y="12546"/>
                    <a:pt x="16997" y="12546"/>
                  </a:cubicBezTo>
                  <a:close/>
                  <a:moveTo>
                    <a:pt x="18084" y="12546"/>
                  </a:moveTo>
                  <a:cubicBezTo>
                    <a:pt x="17883" y="12546"/>
                    <a:pt x="17718" y="12710"/>
                    <a:pt x="17718" y="12911"/>
                  </a:cubicBezTo>
                  <a:cubicBezTo>
                    <a:pt x="17718" y="13112"/>
                    <a:pt x="17883" y="13272"/>
                    <a:pt x="18084" y="13272"/>
                  </a:cubicBezTo>
                  <a:cubicBezTo>
                    <a:pt x="18286" y="13272"/>
                    <a:pt x="18448" y="13112"/>
                    <a:pt x="18448" y="12911"/>
                  </a:cubicBezTo>
                  <a:cubicBezTo>
                    <a:pt x="18448" y="12710"/>
                    <a:pt x="18286" y="12546"/>
                    <a:pt x="18084" y="12546"/>
                  </a:cubicBezTo>
                  <a:close/>
                  <a:moveTo>
                    <a:pt x="19063" y="12546"/>
                  </a:moveTo>
                  <a:cubicBezTo>
                    <a:pt x="18861" y="12546"/>
                    <a:pt x="18696" y="12710"/>
                    <a:pt x="18696" y="12911"/>
                  </a:cubicBezTo>
                  <a:cubicBezTo>
                    <a:pt x="18696" y="13112"/>
                    <a:pt x="18861" y="13272"/>
                    <a:pt x="19063" y="13272"/>
                  </a:cubicBezTo>
                  <a:cubicBezTo>
                    <a:pt x="19264" y="13272"/>
                    <a:pt x="19426" y="13112"/>
                    <a:pt x="19426" y="12911"/>
                  </a:cubicBezTo>
                  <a:cubicBezTo>
                    <a:pt x="19426" y="12710"/>
                    <a:pt x="19264" y="12546"/>
                    <a:pt x="19063" y="12546"/>
                  </a:cubicBezTo>
                  <a:close/>
                  <a:moveTo>
                    <a:pt x="20150" y="12654"/>
                  </a:moveTo>
                  <a:cubicBezTo>
                    <a:pt x="19948" y="12654"/>
                    <a:pt x="19783" y="12818"/>
                    <a:pt x="19783" y="13019"/>
                  </a:cubicBezTo>
                  <a:cubicBezTo>
                    <a:pt x="19783" y="13219"/>
                    <a:pt x="19948" y="13380"/>
                    <a:pt x="20150" y="13380"/>
                  </a:cubicBezTo>
                  <a:cubicBezTo>
                    <a:pt x="20351" y="13380"/>
                    <a:pt x="20513" y="13219"/>
                    <a:pt x="20513" y="13019"/>
                  </a:cubicBezTo>
                  <a:cubicBezTo>
                    <a:pt x="20513" y="12818"/>
                    <a:pt x="20351" y="12654"/>
                    <a:pt x="20150" y="12654"/>
                  </a:cubicBezTo>
                  <a:close/>
                  <a:moveTo>
                    <a:pt x="8628" y="13519"/>
                  </a:moveTo>
                  <a:cubicBezTo>
                    <a:pt x="8426" y="13519"/>
                    <a:pt x="8261" y="13683"/>
                    <a:pt x="8261" y="13884"/>
                  </a:cubicBezTo>
                  <a:cubicBezTo>
                    <a:pt x="8261" y="14085"/>
                    <a:pt x="8426" y="14249"/>
                    <a:pt x="8628" y="14249"/>
                  </a:cubicBezTo>
                  <a:cubicBezTo>
                    <a:pt x="8830" y="14249"/>
                    <a:pt x="8991" y="14085"/>
                    <a:pt x="8991" y="13884"/>
                  </a:cubicBezTo>
                  <a:cubicBezTo>
                    <a:pt x="8991" y="13683"/>
                    <a:pt x="8830" y="13519"/>
                    <a:pt x="8628" y="13519"/>
                  </a:cubicBezTo>
                  <a:close/>
                  <a:moveTo>
                    <a:pt x="9715" y="13519"/>
                  </a:moveTo>
                  <a:cubicBezTo>
                    <a:pt x="9513" y="13519"/>
                    <a:pt x="9348" y="13683"/>
                    <a:pt x="9348" y="13884"/>
                  </a:cubicBezTo>
                  <a:cubicBezTo>
                    <a:pt x="9348" y="14085"/>
                    <a:pt x="9513" y="14249"/>
                    <a:pt x="9715" y="14249"/>
                  </a:cubicBezTo>
                  <a:cubicBezTo>
                    <a:pt x="9917" y="14249"/>
                    <a:pt x="10078" y="14085"/>
                    <a:pt x="10078" y="13884"/>
                  </a:cubicBezTo>
                  <a:cubicBezTo>
                    <a:pt x="10078" y="13683"/>
                    <a:pt x="9917" y="13519"/>
                    <a:pt x="9715" y="13519"/>
                  </a:cubicBezTo>
                  <a:close/>
                  <a:moveTo>
                    <a:pt x="10802" y="13519"/>
                  </a:moveTo>
                  <a:cubicBezTo>
                    <a:pt x="10600" y="13519"/>
                    <a:pt x="10435" y="13683"/>
                    <a:pt x="10435" y="13884"/>
                  </a:cubicBezTo>
                  <a:cubicBezTo>
                    <a:pt x="10435" y="14085"/>
                    <a:pt x="10600" y="14249"/>
                    <a:pt x="10802" y="14249"/>
                  </a:cubicBezTo>
                  <a:cubicBezTo>
                    <a:pt x="11003" y="14249"/>
                    <a:pt x="11165" y="14085"/>
                    <a:pt x="11165" y="13884"/>
                  </a:cubicBezTo>
                  <a:cubicBezTo>
                    <a:pt x="11165" y="13683"/>
                    <a:pt x="11003" y="13519"/>
                    <a:pt x="10802" y="13519"/>
                  </a:cubicBezTo>
                  <a:close/>
                  <a:moveTo>
                    <a:pt x="11780" y="13519"/>
                  </a:moveTo>
                  <a:cubicBezTo>
                    <a:pt x="11578" y="13519"/>
                    <a:pt x="11413" y="13683"/>
                    <a:pt x="11413" y="13884"/>
                  </a:cubicBezTo>
                  <a:cubicBezTo>
                    <a:pt x="11413" y="14085"/>
                    <a:pt x="11578" y="14249"/>
                    <a:pt x="11780" y="14249"/>
                  </a:cubicBezTo>
                  <a:cubicBezTo>
                    <a:pt x="11982" y="14249"/>
                    <a:pt x="12143" y="14085"/>
                    <a:pt x="12143" y="13884"/>
                  </a:cubicBezTo>
                  <a:cubicBezTo>
                    <a:pt x="12143" y="13683"/>
                    <a:pt x="11982" y="13519"/>
                    <a:pt x="11780" y="13519"/>
                  </a:cubicBezTo>
                  <a:close/>
                  <a:moveTo>
                    <a:pt x="12867" y="13519"/>
                  </a:moveTo>
                  <a:cubicBezTo>
                    <a:pt x="12665" y="13519"/>
                    <a:pt x="12500" y="13683"/>
                    <a:pt x="12500" y="13884"/>
                  </a:cubicBezTo>
                  <a:cubicBezTo>
                    <a:pt x="12500" y="14085"/>
                    <a:pt x="12665" y="14249"/>
                    <a:pt x="12867" y="14249"/>
                  </a:cubicBezTo>
                  <a:cubicBezTo>
                    <a:pt x="13069" y="14249"/>
                    <a:pt x="13230" y="14085"/>
                    <a:pt x="13230" y="13884"/>
                  </a:cubicBezTo>
                  <a:cubicBezTo>
                    <a:pt x="13230" y="13683"/>
                    <a:pt x="13069" y="13519"/>
                    <a:pt x="12867" y="13519"/>
                  </a:cubicBezTo>
                  <a:close/>
                  <a:moveTo>
                    <a:pt x="13845" y="13519"/>
                  </a:moveTo>
                  <a:cubicBezTo>
                    <a:pt x="13644" y="13519"/>
                    <a:pt x="13478" y="13683"/>
                    <a:pt x="13478" y="13884"/>
                  </a:cubicBezTo>
                  <a:cubicBezTo>
                    <a:pt x="13478" y="14085"/>
                    <a:pt x="13644" y="14249"/>
                    <a:pt x="13845" y="14249"/>
                  </a:cubicBezTo>
                  <a:cubicBezTo>
                    <a:pt x="14047" y="14249"/>
                    <a:pt x="14209" y="14085"/>
                    <a:pt x="14209" y="13884"/>
                  </a:cubicBezTo>
                  <a:cubicBezTo>
                    <a:pt x="14209" y="13683"/>
                    <a:pt x="14047" y="13519"/>
                    <a:pt x="13845" y="13519"/>
                  </a:cubicBezTo>
                  <a:close/>
                  <a:moveTo>
                    <a:pt x="14932" y="13519"/>
                  </a:moveTo>
                  <a:cubicBezTo>
                    <a:pt x="14730" y="13519"/>
                    <a:pt x="14565" y="13683"/>
                    <a:pt x="14565" y="13884"/>
                  </a:cubicBezTo>
                  <a:cubicBezTo>
                    <a:pt x="14565" y="14085"/>
                    <a:pt x="14730" y="14249"/>
                    <a:pt x="14932" y="14249"/>
                  </a:cubicBezTo>
                  <a:cubicBezTo>
                    <a:pt x="15134" y="14249"/>
                    <a:pt x="15296" y="14085"/>
                    <a:pt x="15296" y="13884"/>
                  </a:cubicBezTo>
                  <a:cubicBezTo>
                    <a:pt x="15296" y="13683"/>
                    <a:pt x="15134" y="13519"/>
                    <a:pt x="14932" y="13519"/>
                  </a:cubicBezTo>
                  <a:close/>
                  <a:moveTo>
                    <a:pt x="16019" y="13519"/>
                  </a:moveTo>
                  <a:cubicBezTo>
                    <a:pt x="15817" y="13519"/>
                    <a:pt x="15652" y="13683"/>
                    <a:pt x="15652" y="13884"/>
                  </a:cubicBezTo>
                  <a:cubicBezTo>
                    <a:pt x="15652" y="14085"/>
                    <a:pt x="15817" y="14249"/>
                    <a:pt x="16019" y="14249"/>
                  </a:cubicBezTo>
                  <a:cubicBezTo>
                    <a:pt x="16221" y="14249"/>
                    <a:pt x="16383" y="14085"/>
                    <a:pt x="16383" y="13884"/>
                  </a:cubicBezTo>
                  <a:cubicBezTo>
                    <a:pt x="16383" y="13683"/>
                    <a:pt x="16221" y="13519"/>
                    <a:pt x="16019" y="13519"/>
                  </a:cubicBezTo>
                  <a:close/>
                  <a:moveTo>
                    <a:pt x="16997" y="13519"/>
                  </a:moveTo>
                  <a:cubicBezTo>
                    <a:pt x="16795" y="13519"/>
                    <a:pt x="16631" y="13683"/>
                    <a:pt x="16631" y="13884"/>
                  </a:cubicBezTo>
                  <a:cubicBezTo>
                    <a:pt x="16631" y="14085"/>
                    <a:pt x="16795" y="14249"/>
                    <a:pt x="16997" y="14249"/>
                  </a:cubicBezTo>
                  <a:cubicBezTo>
                    <a:pt x="17199" y="14249"/>
                    <a:pt x="17361" y="14085"/>
                    <a:pt x="17361" y="13884"/>
                  </a:cubicBezTo>
                  <a:cubicBezTo>
                    <a:pt x="17361" y="13683"/>
                    <a:pt x="17199" y="13519"/>
                    <a:pt x="16997" y="13519"/>
                  </a:cubicBezTo>
                  <a:close/>
                  <a:moveTo>
                    <a:pt x="18084" y="13519"/>
                  </a:moveTo>
                  <a:cubicBezTo>
                    <a:pt x="17883" y="13519"/>
                    <a:pt x="17718" y="13683"/>
                    <a:pt x="17718" y="13884"/>
                  </a:cubicBezTo>
                  <a:cubicBezTo>
                    <a:pt x="17718" y="14085"/>
                    <a:pt x="17883" y="14249"/>
                    <a:pt x="18084" y="14249"/>
                  </a:cubicBezTo>
                  <a:cubicBezTo>
                    <a:pt x="18286" y="14249"/>
                    <a:pt x="18448" y="14085"/>
                    <a:pt x="18448" y="13884"/>
                  </a:cubicBezTo>
                  <a:cubicBezTo>
                    <a:pt x="18448" y="13683"/>
                    <a:pt x="18286" y="13519"/>
                    <a:pt x="18084" y="13519"/>
                  </a:cubicBezTo>
                  <a:close/>
                  <a:moveTo>
                    <a:pt x="19063" y="13519"/>
                  </a:moveTo>
                  <a:cubicBezTo>
                    <a:pt x="18861" y="13519"/>
                    <a:pt x="18696" y="13683"/>
                    <a:pt x="18696" y="13884"/>
                  </a:cubicBezTo>
                  <a:cubicBezTo>
                    <a:pt x="18696" y="14085"/>
                    <a:pt x="18861" y="14249"/>
                    <a:pt x="19063" y="14249"/>
                  </a:cubicBezTo>
                  <a:cubicBezTo>
                    <a:pt x="19264" y="14249"/>
                    <a:pt x="19426" y="14085"/>
                    <a:pt x="19426" y="13884"/>
                  </a:cubicBezTo>
                  <a:cubicBezTo>
                    <a:pt x="19426" y="13683"/>
                    <a:pt x="19264" y="13519"/>
                    <a:pt x="19063" y="13519"/>
                  </a:cubicBezTo>
                  <a:close/>
                  <a:moveTo>
                    <a:pt x="20150" y="13519"/>
                  </a:moveTo>
                  <a:cubicBezTo>
                    <a:pt x="19948" y="13519"/>
                    <a:pt x="19783" y="13683"/>
                    <a:pt x="19783" y="13884"/>
                  </a:cubicBezTo>
                  <a:cubicBezTo>
                    <a:pt x="19783" y="14085"/>
                    <a:pt x="19948" y="14249"/>
                    <a:pt x="20150" y="14249"/>
                  </a:cubicBezTo>
                  <a:cubicBezTo>
                    <a:pt x="20352" y="14249"/>
                    <a:pt x="20513" y="14085"/>
                    <a:pt x="20513" y="13884"/>
                  </a:cubicBezTo>
                  <a:cubicBezTo>
                    <a:pt x="20513" y="13683"/>
                    <a:pt x="20352" y="13519"/>
                    <a:pt x="20150" y="13519"/>
                  </a:cubicBezTo>
                  <a:close/>
                  <a:moveTo>
                    <a:pt x="5476" y="13627"/>
                  </a:moveTo>
                  <a:cubicBezTo>
                    <a:pt x="5273" y="13627"/>
                    <a:pt x="5109" y="13791"/>
                    <a:pt x="5109" y="13992"/>
                  </a:cubicBezTo>
                  <a:cubicBezTo>
                    <a:pt x="5109" y="14193"/>
                    <a:pt x="5273" y="14357"/>
                    <a:pt x="5476" y="14357"/>
                  </a:cubicBezTo>
                  <a:cubicBezTo>
                    <a:pt x="5677" y="14357"/>
                    <a:pt x="5839" y="14193"/>
                    <a:pt x="5839" y="13992"/>
                  </a:cubicBezTo>
                  <a:cubicBezTo>
                    <a:pt x="5839" y="13791"/>
                    <a:pt x="5677" y="13627"/>
                    <a:pt x="5476" y="13627"/>
                  </a:cubicBezTo>
                  <a:close/>
                  <a:moveTo>
                    <a:pt x="6454" y="13627"/>
                  </a:moveTo>
                  <a:cubicBezTo>
                    <a:pt x="6252" y="13627"/>
                    <a:pt x="6087" y="13791"/>
                    <a:pt x="6087" y="13992"/>
                  </a:cubicBezTo>
                  <a:cubicBezTo>
                    <a:pt x="6087" y="14193"/>
                    <a:pt x="6252" y="14357"/>
                    <a:pt x="6454" y="14357"/>
                  </a:cubicBezTo>
                  <a:cubicBezTo>
                    <a:pt x="6656" y="14357"/>
                    <a:pt x="6817" y="14193"/>
                    <a:pt x="6817" y="13992"/>
                  </a:cubicBezTo>
                  <a:cubicBezTo>
                    <a:pt x="6817" y="13791"/>
                    <a:pt x="6656" y="13627"/>
                    <a:pt x="6454" y="13627"/>
                  </a:cubicBezTo>
                  <a:close/>
                  <a:moveTo>
                    <a:pt x="7541" y="13627"/>
                  </a:moveTo>
                  <a:cubicBezTo>
                    <a:pt x="7339" y="13627"/>
                    <a:pt x="7174" y="13791"/>
                    <a:pt x="7174" y="13992"/>
                  </a:cubicBezTo>
                  <a:cubicBezTo>
                    <a:pt x="7174" y="14193"/>
                    <a:pt x="7339" y="14357"/>
                    <a:pt x="7541" y="14357"/>
                  </a:cubicBezTo>
                  <a:cubicBezTo>
                    <a:pt x="7743" y="14357"/>
                    <a:pt x="7904" y="14193"/>
                    <a:pt x="7904" y="13992"/>
                  </a:cubicBezTo>
                  <a:cubicBezTo>
                    <a:pt x="7904" y="13791"/>
                    <a:pt x="7743" y="13627"/>
                    <a:pt x="7541" y="13627"/>
                  </a:cubicBezTo>
                  <a:close/>
                  <a:moveTo>
                    <a:pt x="8628" y="14601"/>
                  </a:moveTo>
                  <a:cubicBezTo>
                    <a:pt x="8426" y="14601"/>
                    <a:pt x="8261" y="14765"/>
                    <a:pt x="8261" y="14966"/>
                  </a:cubicBezTo>
                  <a:cubicBezTo>
                    <a:pt x="8261" y="15166"/>
                    <a:pt x="8426" y="15327"/>
                    <a:pt x="8628" y="15327"/>
                  </a:cubicBezTo>
                  <a:cubicBezTo>
                    <a:pt x="8830" y="15327"/>
                    <a:pt x="8991" y="15166"/>
                    <a:pt x="8991" y="14966"/>
                  </a:cubicBezTo>
                  <a:cubicBezTo>
                    <a:pt x="8991" y="14765"/>
                    <a:pt x="8830" y="14601"/>
                    <a:pt x="8628" y="14601"/>
                  </a:cubicBezTo>
                  <a:close/>
                  <a:moveTo>
                    <a:pt x="9715" y="14601"/>
                  </a:moveTo>
                  <a:cubicBezTo>
                    <a:pt x="9513" y="14601"/>
                    <a:pt x="9348" y="14765"/>
                    <a:pt x="9348" y="14966"/>
                  </a:cubicBezTo>
                  <a:cubicBezTo>
                    <a:pt x="9348" y="15166"/>
                    <a:pt x="9513" y="15327"/>
                    <a:pt x="9715" y="15327"/>
                  </a:cubicBezTo>
                  <a:cubicBezTo>
                    <a:pt x="9917" y="15327"/>
                    <a:pt x="10078" y="15166"/>
                    <a:pt x="10078" y="14966"/>
                  </a:cubicBezTo>
                  <a:cubicBezTo>
                    <a:pt x="10078" y="14765"/>
                    <a:pt x="9917" y="14601"/>
                    <a:pt x="9715" y="14601"/>
                  </a:cubicBezTo>
                  <a:close/>
                  <a:moveTo>
                    <a:pt x="10802" y="14601"/>
                  </a:moveTo>
                  <a:cubicBezTo>
                    <a:pt x="10600" y="14601"/>
                    <a:pt x="10435" y="14765"/>
                    <a:pt x="10435" y="14966"/>
                  </a:cubicBezTo>
                  <a:cubicBezTo>
                    <a:pt x="10435" y="15166"/>
                    <a:pt x="10600" y="15327"/>
                    <a:pt x="10802" y="15327"/>
                  </a:cubicBezTo>
                  <a:cubicBezTo>
                    <a:pt x="11003" y="15327"/>
                    <a:pt x="11165" y="15166"/>
                    <a:pt x="11165" y="14966"/>
                  </a:cubicBezTo>
                  <a:cubicBezTo>
                    <a:pt x="11165" y="14765"/>
                    <a:pt x="11003" y="14601"/>
                    <a:pt x="10802" y="14601"/>
                  </a:cubicBezTo>
                  <a:close/>
                  <a:moveTo>
                    <a:pt x="11780" y="14601"/>
                  </a:moveTo>
                  <a:cubicBezTo>
                    <a:pt x="11578" y="14601"/>
                    <a:pt x="11413" y="14765"/>
                    <a:pt x="11413" y="14966"/>
                  </a:cubicBezTo>
                  <a:cubicBezTo>
                    <a:pt x="11413" y="15166"/>
                    <a:pt x="11578" y="15327"/>
                    <a:pt x="11780" y="15327"/>
                  </a:cubicBezTo>
                  <a:cubicBezTo>
                    <a:pt x="11982" y="15327"/>
                    <a:pt x="12143" y="15166"/>
                    <a:pt x="12143" y="14966"/>
                  </a:cubicBezTo>
                  <a:cubicBezTo>
                    <a:pt x="12143" y="14765"/>
                    <a:pt x="11982" y="14601"/>
                    <a:pt x="11780" y="14601"/>
                  </a:cubicBezTo>
                  <a:close/>
                  <a:moveTo>
                    <a:pt x="12867" y="14601"/>
                  </a:moveTo>
                  <a:cubicBezTo>
                    <a:pt x="12665" y="14601"/>
                    <a:pt x="12500" y="14765"/>
                    <a:pt x="12500" y="14966"/>
                  </a:cubicBezTo>
                  <a:cubicBezTo>
                    <a:pt x="12500" y="15166"/>
                    <a:pt x="12665" y="15327"/>
                    <a:pt x="12867" y="15327"/>
                  </a:cubicBezTo>
                  <a:cubicBezTo>
                    <a:pt x="13069" y="15327"/>
                    <a:pt x="13230" y="15166"/>
                    <a:pt x="13230" y="14966"/>
                  </a:cubicBezTo>
                  <a:cubicBezTo>
                    <a:pt x="13230" y="14765"/>
                    <a:pt x="13069" y="14601"/>
                    <a:pt x="12867" y="14601"/>
                  </a:cubicBezTo>
                  <a:close/>
                  <a:moveTo>
                    <a:pt x="13845" y="14601"/>
                  </a:moveTo>
                  <a:cubicBezTo>
                    <a:pt x="13644" y="14601"/>
                    <a:pt x="13478" y="14765"/>
                    <a:pt x="13478" y="14966"/>
                  </a:cubicBezTo>
                  <a:cubicBezTo>
                    <a:pt x="13478" y="15166"/>
                    <a:pt x="13644" y="15327"/>
                    <a:pt x="13845" y="15327"/>
                  </a:cubicBezTo>
                  <a:cubicBezTo>
                    <a:pt x="14047" y="15327"/>
                    <a:pt x="14209" y="15166"/>
                    <a:pt x="14209" y="14966"/>
                  </a:cubicBezTo>
                  <a:cubicBezTo>
                    <a:pt x="14209" y="14765"/>
                    <a:pt x="14047" y="14601"/>
                    <a:pt x="13845" y="14601"/>
                  </a:cubicBezTo>
                  <a:close/>
                  <a:moveTo>
                    <a:pt x="14932" y="14601"/>
                  </a:moveTo>
                  <a:cubicBezTo>
                    <a:pt x="14730" y="14601"/>
                    <a:pt x="14565" y="14765"/>
                    <a:pt x="14565" y="14966"/>
                  </a:cubicBezTo>
                  <a:cubicBezTo>
                    <a:pt x="14565" y="15166"/>
                    <a:pt x="14730" y="15327"/>
                    <a:pt x="14932" y="15327"/>
                  </a:cubicBezTo>
                  <a:cubicBezTo>
                    <a:pt x="15134" y="15327"/>
                    <a:pt x="15296" y="15166"/>
                    <a:pt x="15296" y="14966"/>
                  </a:cubicBezTo>
                  <a:cubicBezTo>
                    <a:pt x="15296" y="14765"/>
                    <a:pt x="15134" y="14601"/>
                    <a:pt x="14932" y="14601"/>
                  </a:cubicBezTo>
                  <a:close/>
                  <a:moveTo>
                    <a:pt x="16019" y="14601"/>
                  </a:moveTo>
                  <a:cubicBezTo>
                    <a:pt x="15817" y="14601"/>
                    <a:pt x="15652" y="14765"/>
                    <a:pt x="15652" y="14966"/>
                  </a:cubicBezTo>
                  <a:cubicBezTo>
                    <a:pt x="15652" y="15166"/>
                    <a:pt x="15817" y="15327"/>
                    <a:pt x="16019" y="15327"/>
                  </a:cubicBezTo>
                  <a:cubicBezTo>
                    <a:pt x="16221" y="15327"/>
                    <a:pt x="16383" y="15166"/>
                    <a:pt x="16383" y="14966"/>
                  </a:cubicBezTo>
                  <a:cubicBezTo>
                    <a:pt x="16383" y="14765"/>
                    <a:pt x="16221" y="14601"/>
                    <a:pt x="16019" y="14601"/>
                  </a:cubicBezTo>
                  <a:close/>
                  <a:moveTo>
                    <a:pt x="16997" y="14601"/>
                  </a:moveTo>
                  <a:cubicBezTo>
                    <a:pt x="16795" y="14601"/>
                    <a:pt x="16631" y="14765"/>
                    <a:pt x="16631" y="14966"/>
                  </a:cubicBezTo>
                  <a:cubicBezTo>
                    <a:pt x="16631" y="15166"/>
                    <a:pt x="16795" y="15327"/>
                    <a:pt x="16997" y="15327"/>
                  </a:cubicBezTo>
                  <a:cubicBezTo>
                    <a:pt x="17199" y="15327"/>
                    <a:pt x="17361" y="15166"/>
                    <a:pt x="17361" y="14966"/>
                  </a:cubicBezTo>
                  <a:cubicBezTo>
                    <a:pt x="17361" y="14765"/>
                    <a:pt x="17199" y="14601"/>
                    <a:pt x="16997" y="14601"/>
                  </a:cubicBezTo>
                  <a:close/>
                  <a:moveTo>
                    <a:pt x="18084" y="14601"/>
                  </a:moveTo>
                  <a:cubicBezTo>
                    <a:pt x="17883" y="14601"/>
                    <a:pt x="17718" y="14765"/>
                    <a:pt x="17718" y="14966"/>
                  </a:cubicBezTo>
                  <a:cubicBezTo>
                    <a:pt x="17718" y="15166"/>
                    <a:pt x="17883" y="15327"/>
                    <a:pt x="18084" y="15327"/>
                  </a:cubicBezTo>
                  <a:cubicBezTo>
                    <a:pt x="18286" y="15327"/>
                    <a:pt x="18448" y="15166"/>
                    <a:pt x="18448" y="14966"/>
                  </a:cubicBezTo>
                  <a:cubicBezTo>
                    <a:pt x="18448" y="14765"/>
                    <a:pt x="18286" y="14601"/>
                    <a:pt x="18084" y="14601"/>
                  </a:cubicBezTo>
                  <a:close/>
                  <a:moveTo>
                    <a:pt x="19063" y="14601"/>
                  </a:moveTo>
                  <a:cubicBezTo>
                    <a:pt x="18861" y="14601"/>
                    <a:pt x="18696" y="14765"/>
                    <a:pt x="18696" y="14966"/>
                  </a:cubicBezTo>
                  <a:cubicBezTo>
                    <a:pt x="18696" y="15166"/>
                    <a:pt x="18861" y="15327"/>
                    <a:pt x="19063" y="15327"/>
                  </a:cubicBezTo>
                  <a:cubicBezTo>
                    <a:pt x="19264" y="15327"/>
                    <a:pt x="19426" y="15166"/>
                    <a:pt x="19426" y="14966"/>
                  </a:cubicBezTo>
                  <a:cubicBezTo>
                    <a:pt x="19426" y="14765"/>
                    <a:pt x="19264" y="14601"/>
                    <a:pt x="19063" y="14601"/>
                  </a:cubicBezTo>
                  <a:close/>
                  <a:moveTo>
                    <a:pt x="3410" y="14709"/>
                  </a:moveTo>
                  <a:cubicBezTo>
                    <a:pt x="3209" y="14709"/>
                    <a:pt x="3044" y="14873"/>
                    <a:pt x="3044" y="15074"/>
                  </a:cubicBezTo>
                  <a:cubicBezTo>
                    <a:pt x="3044" y="15275"/>
                    <a:pt x="3209" y="15435"/>
                    <a:pt x="3410" y="15435"/>
                  </a:cubicBezTo>
                  <a:cubicBezTo>
                    <a:pt x="3612" y="15435"/>
                    <a:pt x="3774" y="15275"/>
                    <a:pt x="3774" y="15074"/>
                  </a:cubicBezTo>
                  <a:cubicBezTo>
                    <a:pt x="3774" y="14873"/>
                    <a:pt x="3612" y="14709"/>
                    <a:pt x="3410" y="14709"/>
                  </a:cubicBezTo>
                  <a:close/>
                  <a:moveTo>
                    <a:pt x="4497" y="14709"/>
                  </a:moveTo>
                  <a:cubicBezTo>
                    <a:pt x="4295" y="14709"/>
                    <a:pt x="4130" y="14873"/>
                    <a:pt x="4130" y="15074"/>
                  </a:cubicBezTo>
                  <a:cubicBezTo>
                    <a:pt x="4130" y="15275"/>
                    <a:pt x="4295" y="15435"/>
                    <a:pt x="4497" y="15435"/>
                  </a:cubicBezTo>
                  <a:cubicBezTo>
                    <a:pt x="4699" y="15435"/>
                    <a:pt x="4861" y="15275"/>
                    <a:pt x="4861" y="15074"/>
                  </a:cubicBezTo>
                  <a:cubicBezTo>
                    <a:pt x="4861" y="14873"/>
                    <a:pt x="4699" y="14709"/>
                    <a:pt x="4497" y="14709"/>
                  </a:cubicBezTo>
                  <a:close/>
                  <a:moveTo>
                    <a:pt x="5476" y="14709"/>
                  </a:moveTo>
                  <a:cubicBezTo>
                    <a:pt x="5273" y="14709"/>
                    <a:pt x="5109" y="14873"/>
                    <a:pt x="5109" y="15074"/>
                  </a:cubicBezTo>
                  <a:cubicBezTo>
                    <a:pt x="5109" y="15275"/>
                    <a:pt x="5273" y="15435"/>
                    <a:pt x="5476" y="15435"/>
                  </a:cubicBezTo>
                  <a:cubicBezTo>
                    <a:pt x="5677" y="15435"/>
                    <a:pt x="5839" y="15275"/>
                    <a:pt x="5839" y="15074"/>
                  </a:cubicBezTo>
                  <a:cubicBezTo>
                    <a:pt x="5839" y="14873"/>
                    <a:pt x="5677" y="14709"/>
                    <a:pt x="5476" y="14709"/>
                  </a:cubicBezTo>
                  <a:close/>
                  <a:moveTo>
                    <a:pt x="6454" y="14709"/>
                  </a:moveTo>
                  <a:cubicBezTo>
                    <a:pt x="6252" y="14709"/>
                    <a:pt x="6087" y="14873"/>
                    <a:pt x="6087" y="15074"/>
                  </a:cubicBezTo>
                  <a:cubicBezTo>
                    <a:pt x="6087" y="15275"/>
                    <a:pt x="6252" y="15435"/>
                    <a:pt x="6454" y="15435"/>
                  </a:cubicBezTo>
                  <a:cubicBezTo>
                    <a:pt x="6656" y="15435"/>
                    <a:pt x="6817" y="15275"/>
                    <a:pt x="6817" y="15074"/>
                  </a:cubicBezTo>
                  <a:cubicBezTo>
                    <a:pt x="6817" y="14873"/>
                    <a:pt x="6656" y="14709"/>
                    <a:pt x="6454" y="14709"/>
                  </a:cubicBezTo>
                  <a:close/>
                  <a:moveTo>
                    <a:pt x="7541" y="14709"/>
                  </a:moveTo>
                  <a:cubicBezTo>
                    <a:pt x="7339" y="14709"/>
                    <a:pt x="7174" y="14873"/>
                    <a:pt x="7174" y="15074"/>
                  </a:cubicBezTo>
                  <a:cubicBezTo>
                    <a:pt x="7174" y="15275"/>
                    <a:pt x="7339" y="15435"/>
                    <a:pt x="7541" y="15435"/>
                  </a:cubicBezTo>
                  <a:cubicBezTo>
                    <a:pt x="7743" y="15435"/>
                    <a:pt x="7904" y="15275"/>
                    <a:pt x="7904" y="15074"/>
                  </a:cubicBezTo>
                  <a:cubicBezTo>
                    <a:pt x="7904" y="14873"/>
                    <a:pt x="7743" y="14709"/>
                    <a:pt x="7541" y="14709"/>
                  </a:cubicBezTo>
                  <a:close/>
                  <a:moveTo>
                    <a:pt x="20150" y="14709"/>
                  </a:moveTo>
                  <a:cubicBezTo>
                    <a:pt x="19948" y="14709"/>
                    <a:pt x="19783" y="14873"/>
                    <a:pt x="19783" y="15074"/>
                  </a:cubicBezTo>
                  <a:cubicBezTo>
                    <a:pt x="19783" y="15275"/>
                    <a:pt x="19948" y="15435"/>
                    <a:pt x="20150" y="15435"/>
                  </a:cubicBezTo>
                  <a:cubicBezTo>
                    <a:pt x="20352" y="15435"/>
                    <a:pt x="20513" y="15275"/>
                    <a:pt x="20513" y="15074"/>
                  </a:cubicBezTo>
                  <a:cubicBezTo>
                    <a:pt x="20513" y="14873"/>
                    <a:pt x="20352" y="14709"/>
                    <a:pt x="20150" y="14709"/>
                  </a:cubicBezTo>
                  <a:close/>
                  <a:moveTo>
                    <a:pt x="4497" y="15682"/>
                  </a:moveTo>
                  <a:cubicBezTo>
                    <a:pt x="4295" y="15682"/>
                    <a:pt x="4130" y="15846"/>
                    <a:pt x="4130" y="16047"/>
                  </a:cubicBezTo>
                  <a:cubicBezTo>
                    <a:pt x="4130" y="16248"/>
                    <a:pt x="4295" y="16409"/>
                    <a:pt x="4497" y="16409"/>
                  </a:cubicBezTo>
                  <a:cubicBezTo>
                    <a:pt x="4699" y="16409"/>
                    <a:pt x="4861" y="16248"/>
                    <a:pt x="4861" y="16047"/>
                  </a:cubicBezTo>
                  <a:cubicBezTo>
                    <a:pt x="4861" y="15846"/>
                    <a:pt x="4699" y="15682"/>
                    <a:pt x="4497" y="15682"/>
                  </a:cubicBezTo>
                  <a:close/>
                  <a:moveTo>
                    <a:pt x="5476" y="15682"/>
                  </a:moveTo>
                  <a:cubicBezTo>
                    <a:pt x="5273" y="15682"/>
                    <a:pt x="5109" y="15846"/>
                    <a:pt x="5109" y="16047"/>
                  </a:cubicBezTo>
                  <a:cubicBezTo>
                    <a:pt x="5109" y="16248"/>
                    <a:pt x="5273" y="16409"/>
                    <a:pt x="5476" y="16409"/>
                  </a:cubicBezTo>
                  <a:cubicBezTo>
                    <a:pt x="5677" y="16409"/>
                    <a:pt x="5839" y="16248"/>
                    <a:pt x="5839" y="16047"/>
                  </a:cubicBezTo>
                  <a:cubicBezTo>
                    <a:pt x="5839" y="15846"/>
                    <a:pt x="5677" y="15682"/>
                    <a:pt x="5476" y="15682"/>
                  </a:cubicBezTo>
                  <a:close/>
                  <a:moveTo>
                    <a:pt x="6454" y="15682"/>
                  </a:moveTo>
                  <a:cubicBezTo>
                    <a:pt x="6252" y="15682"/>
                    <a:pt x="6087" y="15846"/>
                    <a:pt x="6087" y="16047"/>
                  </a:cubicBezTo>
                  <a:cubicBezTo>
                    <a:pt x="6087" y="16248"/>
                    <a:pt x="6252" y="16409"/>
                    <a:pt x="6454" y="16409"/>
                  </a:cubicBezTo>
                  <a:cubicBezTo>
                    <a:pt x="6656" y="16409"/>
                    <a:pt x="6817" y="16248"/>
                    <a:pt x="6817" y="16047"/>
                  </a:cubicBezTo>
                  <a:cubicBezTo>
                    <a:pt x="6817" y="15846"/>
                    <a:pt x="6656" y="15682"/>
                    <a:pt x="6454" y="15682"/>
                  </a:cubicBezTo>
                  <a:close/>
                  <a:moveTo>
                    <a:pt x="7541" y="15682"/>
                  </a:moveTo>
                  <a:cubicBezTo>
                    <a:pt x="7339" y="15682"/>
                    <a:pt x="7174" y="15846"/>
                    <a:pt x="7174" y="16047"/>
                  </a:cubicBezTo>
                  <a:cubicBezTo>
                    <a:pt x="7174" y="16248"/>
                    <a:pt x="7339" y="16409"/>
                    <a:pt x="7541" y="16409"/>
                  </a:cubicBezTo>
                  <a:cubicBezTo>
                    <a:pt x="7743" y="16409"/>
                    <a:pt x="7904" y="16248"/>
                    <a:pt x="7904" y="16047"/>
                  </a:cubicBezTo>
                  <a:cubicBezTo>
                    <a:pt x="7904" y="15846"/>
                    <a:pt x="7743" y="15682"/>
                    <a:pt x="7541" y="15682"/>
                  </a:cubicBezTo>
                  <a:close/>
                  <a:moveTo>
                    <a:pt x="8628" y="15682"/>
                  </a:moveTo>
                  <a:cubicBezTo>
                    <a:pt x="8426" y="15682"/>
                    <a:pt x="8261" y="15846"/>
                    <a:pt x="8261" y="16047"/>
                  </a:cubicBezTo>
                  <a:cubicBezTo>
                    <a:pt x="8261" y="16248"/>
                    <a:pt x="8426" y="16409"/>
                    <a:pt x="8628" y="16409"/>
                  </a:cubicBezTo>
                  <a:cubicBezTo>
                    <a:pt x="8830" y="16409"/>
                    <a:pt x="8991" y="16248"/>
                    <a:pt x="8991" y="16047"/>
                  </a:cubicBezTo>
                  <a:cubicBezTo>
                    <a:pt x="8991" y="15846"/>
                    <a:pt x="8830" y="15682"/>
                    <a:pt x="8628" y="15682"/>
                  </a:cubicBezTo>
                  <a:close/>
                  <a:moveTo>
                    <a:pt x="9715" y="15682"/>
                  </a:moveTo>
                  <a:cubicBezTo>
                    <a:pt x="9513" y="15682"/>
                    <a:pt x="9348" y="15846"/>
                    <a:pt x="9348" y="16047"/>
                  </a:cubicBezTo>
                  <a:cubicBezTo>
                    <a:pt x="9348" y="16248"/>
                    <a:pt x="9513" y="16409"/>
                    <a:pt x="9715" y="16409"/>
                  </a:cubicBezTo>
                  <a:cubicBezTo>
                    <a:pt x="9917" y="16409"/>
                    <a:pt x="10078" y="16248"/>
                    <a:pt x="10078" y="16047"/>
                  </a:cubicBezTo>
                  <a:cubicBezTo>
                    <a:pt x="10078" y="15846"/>
                    <a:pt x="9917" y="15682"/>
                    <a:pt x="9715" y="15682"/>
                  </a:cubicBezTo>
                  <a:close/>
                  <a:moveTo>
                    <a:pt x="10802" y="15682"/>
                  </a:moveTo>
                  <a:cubicBezTo>
                    <a:pt x="10600" y="15682"/>
                    <a:pt x="10435" y="15846"/>
                    <a:pt x="10435" y="16047"/>
                  </a:cubicBezTo>
                  <a:cubicBezTo>
                    <a:pt x="10435" y="16248"/>
                    <a:pt x="10600" y="16409"/>
                    <a:pt x="10802" y="16409"/>
                  </a:cubicBezTo>
                  <a:cubicBezTo>
                    <a:pt x="11003" y="16409"/>
                    <a:pt x="11165" y="16248"/>
                    <a:pt x="11165" y="16047"/>
                  </a:cubicBezTo>
                  <a:cubicBezTo>
                    <a:pt x="11165" y="15846"/>
                    <a:pt x="11003" y="15682"/>
                    <a:pt x="10802" y="15682"/>
                  </a:cubicBezTo>
                  <a:close/>
                  <a:moveTo>
                    <a:pt x="11780" y="15682"/>
                  </a:moveTo>
                  <a:cubicBezTo>
                    <a:pt x="11578" y="15682"/>
                    <a:pt x="11413" y="15846"/>
                    <a:pt x="11413" y="16047"/>
                  </a:cubicBezTo>
                  <a:cubicBezTo>
                    <a:pt x="11413" y="16248"/>
                    <a:pt x="11578" y="16409"/>
                    <a:pt x="11780" y="16409"/>
                  </a:cubicBezTo>
                  <a:cubicBezTo>
                    <a:pt x="11982" y="16409"/>
                    <a:pt x="12143" y="16248"/>
                    <a:pt x="12143" y="16047"/>
                  </a:cubicBezTo>
                  <a:cubicBezTo>
                    <a:pt x="12143" y="15846"/>
                    <a:pt x="11982" y="15682"/>
                    <a:pt x="11780" y="15682"/>
                  </a:cubicBezTo>
                  <a:close/>
                  <a:moveTo>
                    <a:pt x="12867" y="15682"/>
                  </a:moveTo>
                  <a:cubicBezTo>
                    <a:pt x="12665" y="15682"/>
                    <a:pt x="12500" y="15846"/>
                    <a:pt x="12500" y="16047"/>
                  </a:cubicBezTo>
                  <a:cubicBezTo>
                    <a:pt x="12500" y="16248"/>
                    <a:pt x="12665" y="16409"/>
                    <a:pt x="12867" y="16409"/>
                  </a:cubicBezTo>
                  <a:cubicBezTo>
                    <a:pt x="13069" y="16409"/>
                    <a:pt x="13230" y="16248"/>
                    <a:pt x="13230" y="16047"/>
                  </a:cubicBezTo>
                  <a:cubicBezTo>
                    <a:pt x="13230" y="15846"/>
                    <a:pt x="13069" y="15682"/>
                    <a:pt x="12867" y="15682"/>
                  </a:cubicBezTo>
                  <a:close/>
                  <a:moveTo>
                    <a:pt x="13845" y="15682"/>
                  </a:moveTo>
                  <a:cubicBezTo>
                    <a:pt x="13644" y="15682"/>
                    <a:pt x="13478" y="15846"/>
                    <a:pt x="13478" y="16047"/>
                  </a:cubicBezTo>
                  <a:cubicBezTo>
                    <a:pt x="13478" y="16248"/>
                    <a:pt x="13644" y="16409"/>
                    <a:pt x="13845" y="16409"/>
                  </a:cubicBezTo>
                  <a:cubicBezTo>
                    <a:pt x="14047" y="16409"/>
                    <a:pt x="14209" y="16248"/>
                    <a:pt x="14209" y="16047"/>
                  </a:cubicBezTo>
                  <a:cubicBezTo>
                    <a:pt x="14209" y="15846"/>
                    <a:pt x="14047" y="15682"/>
                    <a:pt x="13845" y="15682"/>
                  </a:cubicBezTo>
                  <a:close/>
                  <a:moveTo>
                    <a:pt x="14932" y="15682"/>
                  </a:moveTo>
                  <a:cubicBezTo>
                    <a:pt x="14730" y="15682"/>
                    <a:pt x="14565" y="15846"/>
                    <a:pt x="14565" y="16047"/>
                  </a:cubicBezTo>
                  <a:cubicBezTo>
                    <a:pt x="14565" y="16248"/>
                    <a:pt x="14730" y="16409"/>
                    <a:pt x="14932" y="16409"/>
                  </a:cubicBezTo>
                  <a:cubicBezTo>
                    <a:pt x="15134" y="16409"/>
                    <a:pt x="15296" y="16248"/>
                    <a:pt x="15296" y="16047"/>
                  </a:cubicBezTo>
                  <a:cubicBezTo>
                    <a:pt x="15296" y="15846"/>
                    <a:pt x="15134" y="15682"/>
                    <a:pt x="14932" y="15682"/>
                  </a:cubicBezTo>
                  <a:close/>
                  <a:moveTo>
                    <a:pt x="16019" y="15682"/>
                  </a:moveTo>
                  <a:cubicBezTo>
                    <a:pt x="15817" y="15682"/>
                    <a:pt x="15652" y="15846"/>
                    <a:pt x="15652" y="16047"/>
                  </a:cubicBezTo>
                  <a:cubicBezTo>
                    <a:pt x="15652" y="16248"/>
                    <a:pt x="15817" y="16409"/>
                    <a:pt x="16019" y="16409"/>
                  </a:cubicBezTo>
                  <a:cubicBezTo>
                    <a:pt x="16221" y="16409"/>
                    <a:pt x="16383" y="16248"/>
                    <a:pt x="16383" y="16047"/>
                  </a:cubicBezTo>
                  <a:cubicBezTo>
                    <a:pt x="16383" y="15846"/>
                    <a:pt x="16221" y="15682"/>
                    <a:pt x="16019" y="15682"/>
                  </a:cubicBezTo>
                  <a:close/>
                  <a:moveTo>
                    <a:pt x="16997" y="15682"/>
                  </a:moveTo>
                  <a:cubicBezTo>
                    <a:pt x="16795" y="15682"/>
                    <a:pt x="16631" y="15846"/>
                    <a:pt x="16631" y="16047"/>
                  </a:cubicBezTo>
                  <a:cubicBezTo>
                    <a:pt x="16631" y="16248"/>
                    <a:pt x="16795" y="16409"/>
                    <a:pt x="16997" y="16409"/>
                  </a:cubicBezTo>
                  <a:cubicBezTo>
                    <a:pt x="17199" y="16409"/>
                    <a:pt x="17361" y="16248"/>
                    <a:pt x="17361" y="16047"/>
                  </a:cubicBezTo>
                  <a:cubicBezTo>
                    <a:pt x="17361" y="15846"/>
                    <a:pt x="17199" y="15682"/>
                    <a:pt x="16997" y="15682"/>
                  </a:cubicBezTo>
                  <a:close/>
                  <a:moveTo>
                    <a:pt x="19063" y="15682"/>
                  </a:moveTo>
                  <a:cubicBezTo>
                    <a:pt x="18861" y="15682"/>
                    <a:pt x="18696" y="15846"/>
                    <a:pt x="18696" y="16047"/>
                  </a:cubicBezTo>
                  <a:cubicBezTo>
                    <a:pt x="18696" y="16248"/>
                    <a:pt x="18861" y="16409"/>
                    <a:pt x="19063" y="16409"/>
                  </a:cubicBezTo>
                  <a:cubicBezTo>
                    <a:pt x="19264" y="16409"/>
                    <a:pt x="19426" y="16248"/>
                    <a:pt x="19426" y="16047"/>
                  </a:cubicBezTo>
                  <a:cubicBezTo>
                    <a:pt x="19426" y="15846"/>
                    <a:pt x="19264" y="15682"/>
                    <a:pt x="19063" y="15682"/>
                  </a:cubicBezTo>
                  <a:close/>
                  <a:moveTo>
                    <a:pt x="4497" y="16655"/>
                  </a:moveTo>
                  <a:cubicBezTo>
                    <a:pt x="4295" y="16655"/>
                    <a:pt x="4130" y="16820"/>
                    <a:pt x="4130" y="17020"/>
                  </a:cubicBezTo>
                  <a:cubicBezTo>
                    <a:pt x="4130" y="17221"/>
                    <a:pt x="4295" y="17382"/>
                    <a:pt x="4497" y="17382"/>
                  </a:cubicBezTo>
                  <a:cubicBezTo>
                    <a:pt x="4699" y="17382"/>
                    <a:pt x="4861" y="17221"/>
                    <a:pt x="4861" y="17020"/>
                  </a:cubicBezTo>
                  <a:cubicBezTo>
                    <a:pt x="4861" y="16820"/>
                    <a:pt x="4699" y="16655"/>
                    <a:pt x="4497" y="16655"/>
                  </a:cubicBezTo>
                  <a:close/>
                  <a:moveTo>
                    <a:pt x="5476" y="16655"/>
                  </a:moveTo>
                  <a:cubicBezTo>
                    <a:pt x="5273" y="16655"/>
                    <a:pt x="5109" y="16820"/>
                    <a:pt x="5109" y="17020"/>
                  </a:cubicBezTo>
                  <a:cubicBezTo>
                    <a:pt x="5109" y="17221"/>
                    <a:pt x="5273" y="17382"/>
                    <a:pt x="5476" y="17382"/>
                  </a:cubicBezTo>
                  <a:cubicBezTo>
                    <a:pt x="5677" y="17382"/>
                    <a:pt x="5839" y="17221"/>
                    <a:pt x="5839" y="17020"/>
                  </a:cubicBezTo>
                  <a:cubicBezTo>
                    <a:pt x="5839" y="16820"/>
                    <a:pt x="5677" y="16655"/>
                    <a:pt x="5476" y="16655"/>
                  </a:cubicBezTo>
                  <a:close/>
                  <a:moveTo>
                    <a:pt x="6454" y="16655"/>
                  </a:moveTo>
                  <a:cubicBezTo>
                    <a:pt x="6252" y="16655"/>
                    <a:pt x="6087" y="16820"/>
                    <a:pt x="6087" y="17020"/>
                  </a:cubicBezTo>
                  <a:cubicBezTo>
                    <a:pt x="6087" y="17221"/>
                    <a:pt x="6252" y="17382"/>
                    <a:pt x="6454" y="17382"/>
                  </a:cubicBezTo>
                  <a:cubicBezTo>
                    <a:pt x="6656" y="17382"/>
                    <a:pt x="6817" y="17221"/>
                    <a:pt x="6817" y="17020"/>
                  </a:cubicBezTo>
                  <a:cubicBezTo>
                    <a:pt x="6817" y="16820"/>
                    <a:pt x="6656" y="16655"/>
                    <a:pt x="6454" y="16655"/>
                  </a:cubicBezTo>
                  <a:close/>
                  <a:moveTo>
                    <a:pt x="7541" y="16655"/>
                  </a:moveTo>
                  <a:cubicBezTo>
                    <a:pt x="7339" y="16655"/>
                    <a:pt x="7174" y="16820"/>
                    <a:pt x="7174" y="17020"/>
                  </a:cubicBezTo>
                  <a:cubicBezTo>
                    <a:pt x="7174" y="17221"/>
                    <a:pt x="7339" y="17382"/>
                    <a:pt x="7541" y="17382"/>
                  </a:cubicBezTo>
                  <a:cubicBezTo>
                    <a:pt x="7743" y="17382"/>
                    <a:pt x="7904" y="17221"/>
                    <a:pt x="7904" y="17020"/>
                  </a:cubicBezTo>
                  <a:cubicBezTo>
                    <a:pt x="7904" y="16820"/>
                    <a:pt x="7743" y="16655"/>
                    <a:pt x="7541" y="16655"/>
                  </a:cubicBezTo>
                  <a:close/>
                  <a:moveTo>
                    <a:pt x="9715" y="16764"/>
                  </a:moveTo>
                  <a:cubicBezTo>
                    <a:pt x="9513" y="16764"/>
                    <a:pt x="9348" y="16928"/>
                    <a:pt x="9348" y="17129"/>
                  </a:cubicBezTo>
                  <a:cubicBezTo>
                    <a:pt x="9348" y="17329"/>
                    <a:pt x="9513" y="17490"/>
                    <a:pt x="9715" y="17490"/>
                  </a:cubicBezTo>
                  <a:cubicBezTo>
                    <a:pt x="9917" y="17490"/>
                    <a:pt x="10078" y="17329"/>
                    <a:pt x="10078" y="17129"/>
                  </a:cubicBezTo>
                  <a:cubicBezTo>
                    <a:pt x="10078" y="16928"/>
                    <a:pt x="9917" y="16764"/>
                    <a:pt x="9715" y="16764"/>
                  </a:cubicBezTo>
                  <a:close/>
                  <a:moveTo>
                    <a:pt x="11780" y="16764"/>
                  </a:moveTo>
                  <a:cubicBezTo>
                    <a:pt x="11578" y="16764"/>
                    <a:pt x="11413" y="16928"/>
                    <a:pt x="11413" y="17129"/>
                  </a:cubicBezTo>
                  <a:cubicBezTo>
                    <a:pt x="11413" y="17329"/>
                    <a:pt x="11578" y="17490"/>
                    <a:pt x="11780" y="17490"/>
                  </a:cubicBezTo>
                  <a:cubicBezTo>
                    <a:pt x="11982" y="17490"/>
                    <a:pt x="12143" y="17329"/>
                    <a:pt x="12143" y="17129"/>
                  </a:cubicBezTo>
                  <a:cubicBezTo>
                    <a:pt x="12143" y="16928"/>
                    <a:pt x="11982" y="16764"/>
                    <a:pt x="11780" y="16764"/>
                  </a:cubicBezTo>
                  <a:close/>
                  <a:moveTo>
                    <a:pt x="12867" y="16764"/>
                  </a:moveTo>
                  <a:cubicBezTo>
                    <a:pt x="12665" y="16764"/>
                    <a:pt x="12500" y="16928"/>
                    <a:pt x="12500" y="17129"/>
                  </a:cubicBezTo>
                  <a:cubicBezTo>
                    <a:pt x="12500" y="17329"/>
                    <a:pt x="12665" y="17490"/>
                    <a:pt x="12867" y="17490"/>
                  </a:cubicBezTo>
                  <a:cubicBezTo>
                    <a:pt x="13069" y="17490"/>
                    <a:pt x="13230" y="17329"/>
                    <a:pt x="13230" y="17129"/>
                  </a:cubicBezTo>
                  <a:cubicBezTo>
                    <a:pt x="13230" y="16928"/>
                    <a:pt x="13069" y="16764"/>
                    <a:pt x="12867" y="16764"/>
                  </a:cubicBezTo>
                  <a:close/>
                  <a:moveTo>
                    <a:pt x="13845" y="16764"/>
                  </a:moveTo>
                  <a:cubicBezTo>
                    <a:pt x="13644" y="16764"/>
                    <a:pt x="13478" y="16928"/>
                    <a:pt x="13478" y="17129"/>
                  </a:cubicBezTo>
                  <a:cubicBezTo>
                    <a:pt x="13478" y="17329"/>
                    <a:pt x="13644" y="17490"/>
                    <a:pt x="13845" y="17490"/>
                  </a:cubicBezTo>
                  <a:cubicBezTo>
                    <a:pt x="14047" y="17490"/>
                    <a:pt x="14209" y="17329"/>
                    <a:pt x="14209" y="17129"/>
                  </a:cubicBezTo>
                  <a:cubicBezTo>
                    <a:pt x="14209" y="16928"/>
                    <a:pt x="14047" y="16764"/>
                    <a:pt x="13845" y="16764"/>
                  </a:cubicBezTo>
                  <a:close/>
                  <a:moveTo>
                    <a:pt x="14932" y="16764"/>
                  </a:moveTo>
                  <a:cubicBezTo>
                    <a:pt x="14730" y="16764"/>
                    <a:pt x="14565" y="16928"/>
                    <a:pt x="14565" y="17129"/>
                  </a:cubicBezTo>
                  <a:cubicBezTo>
                    <a:pt x="14565" y="17329"/>
                    <a:pt x="14730" y="17490"/>
                    <a:pt x="14932" y="17490"/>
                  </a:cubicBezTo>
                  <a:cubicBezTo>
                    <a:pt x="15134" y="17490"/>
                    <a:pt x="15296" y="17329"/>
                    <a:pt x="15296" y="17129"/>
                  </a:cubicBezTo>
                  <a:cubicBezTo>
                    <a:pt x="15296" y="16928"/>
                    <a:pt x="15134" y="16764"/>
                    <a:pt x="14932" y="16764"/>
                  </a:cubicBezTo>
                  <a:close/>
                  <a:moveTo>
                    <a:pt x="16019" y="16764"/>
                  </a:moveTo>
                  <a:cubicBezTo>
                    <a:pt x="15817" y="16764"/>
                    <a:pt x="15652" y="16928"/>
                    <a:pt x="15652" y="17129"/>
                  </a:cubicBezTo>
                  <a:cubicBezTo>
                    <a:pt x="15652" y="17329"/>
                    <a:pt x="15817" y="17490"/>
                    <a:pt x="16019" y="17490"/>
                  </a:cubicBezTo>
                  <a:cubicBezTo>
                    <a:pt x="16221" y="17490"/>
                    <a:pt x="16383" y="17329"/>
                    <a:pt x="16383" y="17129"/>
                  </a:cubicBezTo>
                  <a:cubicBezTo>
                    <a:pt x="16383" y="16928"/>
                    <a:pt x="16221" y="16764"/>
                    <a:pt x="16019" y="16764"/>
                  </a:cubicBezTo>
                  <a:close/>
                  <a:moveTo>
                    <a:pt x="16997" y="16764"/>
                  </a:moveTo>
                  <a:cubicBezTo>
                    <a:pt x="16795" y="16764"/>
                    <a:pt x="16631" y="16928"/>
                    <a:pt x="16631" y="17129"/>
                  </a:cubicBezTo>
                  <a:cubicBezTo>
                    <a:pt x="16631" y="17329"/>
                    <a:pt x="16795" y="17490"/>
                    <a:pt x="16997" y="17490"/>
                  </a:cubicBezTo>
                  <a:cubicBezTo>
                    <a:pt x="17199" y="17490"/>
                    <a:pt x="17361" y="17329"/>
                    <a:pt x="17361" y="17129"/>
                  </a:cubicBezTo>
                  <a:cubicBezTo>
                    <a:pt x="17361" y="16928"/>
                    <a:pt x="17199" y="16764"/>
                    <a:pt x="16997" y="16764"/>
                  </a:cubicBezTo>
                  <a:close/>
                  <a:moveTo>
                    <a:pt x="1345" y="16872"/>
                  </a:moveTo>
                  <a:cubicBezTo>
                    <a:pt x="1143" y="16872"/>
                    <a:pt x="978" y="17036"/>
                    <a:pt x="978" y="17237"/>
                  </a:cubicBezTo>
                  <a:cubicBezTo>
                    <a:pt x="978" y="17438"/>
                    <a:pt x="1143" y="17598"/>
                    <a:pt x="1345" y="17598"/>
                  </a:cubicBezTo>
                  <a:cubicBezTo>
                    <a:pt x="1547" y="17598"/>
                    <a:pt x="1709" y="17438"/>
                    <a:pt x="1709" y="17237"/>
                  </a:cubicBezTo>
                  <a:cubicBezTo>
                    <a:pt x="1709" y="17036"/>
                    <a:pt x="1547" y="16872"/>
                    <a:pt x="1345" y="16872"/>
                  </a:cubicBezTo>
                  <a:close/>
                  <a:moveTo>
                    <a:pt x="2323" y="16872"/>
                  </a:moveTo>
                  <a:cubicBezTo>
                    <a:pt x="2121" y="16872"/>
                    <a:pt x="1957" y="17036"/>
                    <a:pt x="1957" y="17237"/>
                  </a:cubicBezTo>
                  <a:cubicBezTo>
                    <a:pt x="1957" y="17438"/>
                    <a:pt x="2121" y="17598"/>
                    <a:pt x="2323" y="17598"/>
                  </a:cubicBezTo>
                  <a:cubicBezTo>
                    <a:pt x="2525" y="17598"/>
                    <a:pt x="2687" y="17438"/>
                    <a:pt x="2687" y="17237"/>
                  </a:cubicBezTo>
                  <a:cubicBezTo>
                    <a:pt x="2687" y="17036"/>
                    <a:pt x="2525" y="16872"/>
                    <a:pt x="2323" y="16872"/>
                  </a:cubicBezTo>
                  <a:close/>
                  <a:moveTo>
                    <a:pt x="1345" y="17737"/>
                  </a:moveTo>
                  <a:cubicBezTo>
                    <a:pt x="1143" y="17737"/>
                    <a:pt x="978" y="17901"/>
                    <a:pt x="978" y="18102"/>
                  </a:cubicBezTo>
                  <a:cubicBezTo>
                    <a:pt x="978" y="18303"/>
                    <a:pt x="1143" y="18464"/>
                    <a:pt x="1345" y="18464"/>
                  </a:cubicBezTo>
                  <a:cubicBezTo>
                    <a:pt x="1547" y="18464"/>
                    <a:pt x="1709" y="18303"/>
                    <a:pt x="1709" y="18102"/>
                  </a:cubicBezTo>
                  <a:cubicBezTo>
                    <a:pt x="1709" y="17901"/>
                    <a:pt x="1547" y="17737"/>
                    <a:pt x="1345" y="17737"/>
                  </a:cubicBezTo>
                  <a:close/>
                  <a:moveTo>
                    <a:pt x="2323" y="17737"/>
                  </a:moveTo>
                  <a:cubicBezTo>
                    <a:pt x="2121" y="17737"/>
                    <a:pt x="1957" y="17901"/>
                    <a:pt x="1957" y="18102"/>
                  </a:cubicBezTo>
                  <a:cubicBezTo>
                    <a:pt x="1957" y="18303"/>
                    <a:pt x="2121" y="18464"/>
                    <a:pt x="2323" y="18464"/>
                  </a:cubicBezTo>
                  <a:cubicBezTo>
                    <a:pt x="2525" y="18464"/>
                    <a:pt x="2687" y="18303"/>
                    <a:pt x="2687" y="18102"/>
                  </a:cubicBezTo>
                  <a:cubicBezTo>
                    <a:pt x="2687" y="17901"/>
                    <a:pt x="2525" y="17737"/>
                    <a:pt x="2323" y="17737"/>
                  </a:cubicBezTo>
                  <a:close/>
                  <a:moveTo>
                    <a:pt x="3410" y="17737"/>
                  </a:moveTo>
                  <a:cubicBezTo>
                    <a:pt x="3209" y="17737"/>
                    <a:pt x="3043" y="17901"/>
                    <a:pt x="3044" y="18102"/>
                  </a:cubicBezTo>
                  <a:cubicBezTo>
                    <a:pt x="3044" y="18303"/>
                    <a:pt x="3209" y="18464"/>
                    <a:pt x="3410" y="18464"/>
                  </a:cubicBezTo>
                  <a:cubicBezTo>
                    <a:pt x="3612" y="18464"/>
                    <a:pt x="3774" y="18303"/>
                    <a:pt x="3774" y="18102"/>
                  </a:cubicBezTo>
                  <a:cubicBezTo>
                    <a:pt x="3774" y="17901"/>
                    <a:pt x="3612" y="17737"/>
                    <a:pt x="3410" y="17737"/>
                  </a:cubicBezTo>
                  <a:close/>
                  <a:moveTo>
                    <a:pt x="4497" y="17737"/>
                  </a:moveTo>
                  <a:cubicBezTo>
                    <a:pt x="4295" y="17737"/>
                    <a:pt x="4130" y="17901"/>
                    <a:pt x="4130" y="18102"/>
                  </a:cubicBezTo>
                  <a:cubicBezTo>
                    <a:pt x="4130" y="18303"/>
                    <a:pt x="4295" y="18464"/>
                    <a:pt x="4497" y="18464"/>
                  </a:cubicBezTo>
                  <a:cubicBezTo>
                    <a:pt x="4699" y="18464"/>
                    <a:pt x="4861" y="18303"/>
                    <a:pt x="4861" y="18102"/>
                  </a:cubicBezTo>
                  <a:cubicBezTo>
                    <a:pt x="4861" y="17901"/>
                    <a:pt x="4699" y="17737"/>
                    <a:pt x="4497" y="17737"/>
                  </a:cubicBezTo>
                  <a:close/>
                  <a:moveTo>
                    <a:pt x="5476" y="17737"/>
                  </a:moveTo>
                  <a:cubicBezTo>
                    <a:pt x="5273" y="17737"/>
                    <a:pt x="5109" y="17901"/>
                    <a:pt x="5109" y="18102"/>
                  </a:cubicBezTo>
                  <a:cubicBezTo>
                    <a:pt x="5109" y="18303"/>
                    <a:pt x="5273" y="18464"/>
                    <a:pt x="5476" y="18464"/>
                  </a:cubicBezTo>
                  <a:cubicBezTo>
                    <a:pt x="5677" y="18464"/>
                    <a:pt x="5839" y="18303"/>
                    <a:pt x="5839" y="18102"/>
                  </a:cubicBezTo>
                  <a:cubicBezTo>
                    <a:pt x="5839" y="17901"/>
                    <a:pt x="5677" y="17737"/>
                    <a:pt x="5476" y="17737"/>
                  </a:cubicBezTo>
                  <a:close/>
                  <a:moveTo>
                    <a:pt x="13845" y="17737"/>
                  </a:moveTo>
                  <a:cubicBezTo>
                    <a:pt x="13644" y="17737"/>
                    <a:pt x="13478" y="17902"/>
                    <a:pt x="13478" y="18102"/>
                  </a:cubicBezTo>
                  <a:cubicBezTo>
                    <a:pt x="13478" y="18303"/>
                    <a:pt x="13644" y="18464"/>
                    <a:pt x="13845" y="18464"/>
                  </a:cubicBezTo>
                  <a:cubicBezTo>
                    <a:pt x="14047" y="18464"/>
                    <a:pt x="14209" y="18303"/>
                    <a:pt x="14209" y="18102"/>
                  </a:cubicBezTo>
                  <a:cubicBezTo>
                    <a:pt x="14209" y="17902"/>
                    <a:pt x="14047" y="17737"/>
                    <a:pt x="13845" y="17737"/>
                  </a:cubicBezTo>
                  <a:close/>
                  <a:moveTo>
                    <a:pt x="14932" y="17737"/>
                  </a:moveTo>
                  <a:cubicBezTo>
                    <a:pt x="14730" y="17737"/>
                    <a:pt x="14565" y="17902"/>
                    <a:pt x="14565" y="18102"/>
                  </a:cubicBezTo>
                  <a:cubicBezTo>
                    <a:pt x="14565" y="18303"/>
                    <a:pt x="14730" y="18464"/>
                    <a:pt x="14932" y="18464"/>
                  </a:cubicBezTo>
                  <a:cubicBezTo>
                    <a:pt x="15134" y="18464"/>
                    <a:pt x="15296" y="18303"/>
                    <a:pt x="15296" y="18102"/>
                  </a:cubicBezTo>
                  <a:cubicBezTo>
                    <a:pt x="15296" y="17902"/>
                    <a:pt x="15134" y="17737"/>
                    <a:pt x="14932" y="17737"/>
                  </a:cubicBezTo>
                  <a:close/>
                  <a:moveTo>
                    <a:pt x="16019" y="17737"/>
                  </a:moveTo>
                  <a:cubicBezTo>
                    <a:pt x="15817" y="17737"/>
                    <a:pt x="15652" y="17902"/>
                    <a:pt x="15652" y="18102"/>
                  </a:cubicBezTo>
                  <a:cubicBezTo>
                    <a:pt x="15652" y="18303"/>
                    <a:pt x="15817" y="18464"/>
                    <a:pt x="16019" y="18464"/>
                  </a:cubicBezTo>
                  <a:cubicBezTo>
                    <a:pt x="16221" y="18464"/>
                    <a:pt x="16383" y="18303"/>
                    <a:pt x="16383" y="18102"/>
                  </a:cubicBezTo>
                  <a:cubicBezTo>
                    <a:pt x="16383" y="17902"/>
                    <a:pt x="16221" y="17737"/>
                    <a:pt x="16019" y="17737"/>
                  </a:cubicBezTo>
                  <a:close/>
                  <a:moveTo>
                    <a:pt x="16997" y="17737"/>
                  </a:moveTo>
                  <a:cubicBezTo>
                    <a:pt x="16795" y="17737"/>
                    <a:pt x="16631" y="17902"/>
                    <a:pt x="16631" y="18102"/>
                  </a:cubicBezTo>
                  <a:cubicBezTo>
                    <a:pt x="16631" y="18303"/>
                    <a:pt x="16795" y="18464"/>
                    <a:pt x="16997" y="18464"/>
                  </a:cubicBezTo>
                  <a:cubicBezTo>
                    <a:pt x="17199" y="18464"/>
                    <a:pt x="17361" y="18303"/>
                    <a:pt x="17361" y="18102"/>
                  </a:cubicBezTo>
                  <a:cubicBezTo>
                    <a:pt x="17361" y="17902"/>
                    <a:pt x="17199" y="17737"/>
                    <a:pt x="16997" y="17737"/>
                  </a:cubicBezTo>
                  <a:close/>
                  <a:moveTo>
                    <a:pt x="10802" y="17845"/>
                  </a:moveTo>
                  <a:cubicBezTo>
                    <a:pt x="10600" y="17845"/>
                    <a:pt x="10435" y="18010"/>
                    <a:pt x="10435" y="18210"/>
                  </a:cubicBezTo>
                  <a:cubicBezTo>
                    <a:pt x="10435" y="18411"/>
                    <a:pt x="10600" y="18575"/>
                    <a:pt x="10802" y="18575"/>
                  </a:cubicBezTo>
                  <a:cubicBezTo>
                    <a:pt x="11003" y="18575"/>
                    <a:pt x="11165" y="18411"/>
                    <a:pt x="11165" y="18210"/>
                  </a:cubicBezTo>
                  <a:cubicBezTo>
                    <a:pt x="11165" y="18010"/>
                    <a:pt x="11003" y="17845"/>
                    <a:pt x="10802" y="17845"/>
                  </a:cubicBezTo>
                  <a:close/>
                  <a:moveTo>
                    <a:pt x="367" y="18818"/>
                  </a:moveTo>
                  <a:cubicBezTo>
                    <a:pt x="165" y="18818"/>
                    <a:pt x="0" y="18983"/>
                    <a:pt x="0" y="19183"/>
                  </a:cubicBezTo>
                  <a:cubicBezTo>
                    <a:pt x="0" y="19384"/>
                    <a:pt x="165" y="19545"/>
                    <a:pt x="367" y="19545"/>
                  </a:cubicBezTo>
                  <a:cubicBezTo>
                    <a:pt x="569" y="19545"/>
                    <a:pt x="730" y="19384"/>
                    <a:pt x="730" y="19183"/>
                  </a:cubicBezTo>
                  <a:cubicBezTo>
                    <a:pt x="730" y="18983"/>
                    <a:pt x="569" y="18818"/>
                    <a:pt x="367" y="18818"/>
                  </a:cubicBezTo>
                  <a:close/>
                  <a:moveTo>
                    <a:pt x="1345" y="18818"/>
                  </a:moveTo>
                  <a:cubicBezTo>
                    <a:pt x="1143" y="18818"/>
                    <a:pt x="978" y="18983"/>
                    <a:pt x="978" y="19183"/>
                  </a:cubicBezTo>
                  <a:cubicBezTo>
                    <a:pt x="978" y="19384"/>
                    <a:pt x="1143" y="19545"/>
                    <a:pt x="1345" y="19545"/>
                  </a:cubicBezTo>
                  <a:cubicBezTo>
                    <a:pt x="1547" y="19545"/>
                    <a:pt x="1709" y="19384"/>
                    <a:pt x="1709" y="19183"/>
                  </a:cubicBezTo>
                  <a:cubicBezTo>
                    <a:pt x="1709" y="18983"/>
                    <a:pt x="1547" y="18818"/>
                    <a:pt x="1345" y="18818"/>
                  </a:cubicBezTo>
                  <a:close/>
                  <a:moveTo>
                    <a:pt x="2323" y="18818"/>
                  </a:moveTo>
                  <a:cubicBezTo>
                    <a:pt x="2121" y="18818"/>
                    <a:pt x="1957" y="18983"/>
                    <a:pt x="1957" y="19183"/>
                  </a:cubicBezTo>
                  <a:cubicBezTo>
                    <a:pt x="1957" y="19384"/>
                    <a:pt x="2121" y="19545"/>
                    <a:pt x="2323" y="19545"/>
                  </a:cubicBezTo>
                  <a:cubicBezTo>
                    <a:pt x="2525" y="19545"/>
                    <a:pt x="2687" y="19384"/>
                    <a:pt x="2687" y="19183"/>
                  </a:cubicBezTo>
                  <a:cubicBezTo>
                    <a:pt x="2687" y="18983"/>
                    <a:pt x="2525" y="18818"/>
                    <a:pt x="2323" y="18818"/>
                  </a:cubicBezTo>
                  <a:close/>
                  <a:moveTo>
                    <a:pt x="3410" y="18818"/>
                  </a:moveTo>
                  <a:cubicBezTo>
                    <a:pt x="3209" y="18818"/>
                    <a:pt x="3043" y="18983"/>
                    <a:pt x="3044" y="19183"/>
                  </a:cubicBezTo>
                  <a:cubicBezTo>
                    <a:pt x="3044" y="19384"/>
                    <a:pt x="3209" y="19545"/>
                    <a:pt x="3410" y="19545"/>
                  </a:cubicBezTo>
                  <a:cubicBezTo>
                    <a:pt x="3612" y="19545"/>
                    <a:pt x="3774" y="19384"/>
                    <a:pt x="3774" y="19183"/>
                  </a:cubicBezTo>
                  <a:cubicBezTo>
                    <a:pt x="3774" y="18983"/>
                    <a:pt x="3612" y="18818"/>
                    <a:pt x="3410" y="18818"/>
                  </a:cubicBezTo>
                  <a:close/>
                  <a:moveTo>
                    <a:pt x="4497" y="18818"/>
                  </a:moveTo>
                  <a:cubicBezTo>
                    <a:pt x="4295" y="18818"/>
                    <a:pt x="4130" y="18983"/>
                    <a:pt x="4130" y="19183"/>
                  </a:cubicBezTo>
                  <a:cubicBezTo>
                    <a:pt x="4130" y="19385"/>
                    <a:pt x="4295" y="19545"/>
                    <a:pt x="4497" y="19545"/>
                  </a:cubicBezTo>
                  <a:cubicBezTo>
                    <a:pt x="4699" y="19545"/>
                    <a:pt x="4861" y="19385"/>
                    <a:pt x="4861" y="19183"/>
                  </a:cubicBezTo>
                  <a:cubicBezTo>
                    <a:pt x="4861" y="18983"/>
                    <a:pt x="4699" y="18818"/>
                    <a:pt x="4497" y="18818"/>
                  </a:cubicBezTo>
                  <a:close/>
                  <a:moveTo>
                    <a:pt x="8628" y="18818"/>
                  </a:moveTo>
                  <a:cubicBezTo>
                    <a:pt x="8426" y="18818"/>
                    <a:pt x="8261" y="18983"/>
                    <a:pt x="8261" y="19183"/>
                  </a:cubicBezTo>
                  <a:cubicBezTo>
                    <a:pt x="8261" y="19385"/>
                    <a:pt x="8426" y="19545"/>
                    <a:pt x="8628" y="19545"/>
                  </a:cubicBezTo>
                  <a:cubicBezTo>
                    <a:pt x="8830" y="19545"/>
                    <a:pt x="8991" y="19385"/>
                    <a:pt x="8991" y="19183"/>
                  </a:cubicBezTo>
                  <a:cubicBezTo>
                    <a:pt x="8991" y="18983"/>
                    <a:pt x="8830" y="18818"/>
                    <a:pt x="8628" y="18818"/>
                  </a:cubicBezTo>
                  <a:close/>
                  <a:moveTo>
                    <a:pt x="11780" y="18818"/>
                  </a:moveTo>
                  <a:cubicBezTo>
                    <a:pt x="11578" y="18818"/>
                    <a:pt x="11413" y="18983"/>
                    <a:pt x="11413" y="19183"/>
                  </a:cubicBezTo>
                  <a:cubicBezTo>
                    <a:pt x="11413" y="19385"/>
                    <a:pt x="11578" y="19545"/>
                    <a:pt x="11780" y="19545"/>
                  </a:cubicBezTo>
                  <a:cubicBezTo>
                    <a:pt x="11982" y="19545"/>
                    <a:pt x="12143" y="19385"/>
                    <a:pt x="12143" y="19183"/>
                  </a:cubicBezTo>
                  <a:cubicBezTo>
                    <a:pt x="12143" y="18983"/>
                    <a:pt x="11982" y="18818"/>
                    <a:pt x="11780" y="18818"/>
                  </a:cubicBezTo>
                  <a:close/>
                  <a:moveTo>
                    <a:pt x="13845" y="18818"/>
                  </a:moveTo>
                  <a:cubicBezTo>
                    <a:pt x="13644" y="18818"/>
                    <a:pt x="13478" y="18983"/>
                    <a:pt x="13478" y="19183"/>
                  </a:cubicBezTo>
                  <a:cubicBezTo>
                    <a:pt x="13478" y="19385"/>
                    <a:pt x="13644" y="19545"/>
                    <a:pt x="13845" y="19545"/>
                  </a:cubicBezTo>
                  <a:cubicBezTo>
                    <a:pt x="14047" y="19545"/>
                    <a:pt x="14209" y="19385"/>
                    <a:pt x="14209" y="19183"/>
                  </a:cubicBezTo>
                  <a:cubicBezTo>
                    <a:pt x="14209" y="18983"/>
                    <a:pt x="14047" y="18818"/>
                    <a:pt x="13845" y="18818"/>
                  </a:cubicBezTo>
                  <a:close/>
                  <a:moveTo>
                    <a:pt x="1345" y="19792"/>
                  </a:moveTo>
                  <a:cubicBezTo>
                    <a:pt x="1143" y="19792"/>
                    <a:pt x="978" y="19956"/>
                    <a:pt x="978" y="20157"/>
                  </a:cubicBezTo>
                  <a:cubicBezTo>
                    <a:pt x="978" y="20358"/>
                    <a:pt x="1143" y="20518"/>
                    <a:pt x="1345" y="20518"/>
                  </a:cubicBezTo>
                  <a:cubicBezTo>
                    <a:pt x="1547" y="20518"/>
                    <a:pt x="1709" y="20358"/>
                    <a:pt x="1709" y="20157"/>
                  </a:cubicBezTo>
                  <a:cubicBezTo>
                    <a:pt x="1709" y="19956"/>
                    <a:pt x="1547" y="19792"/>
                    <a:pt x="1345" y="19792"/>
                  </a:cubicBezTo>
                  <a:close/>
                  <a:moveTo>
                    <a:pt x="2323" y="19792"/>
                  </a:moveTo>
                  <a:cubicBezTo>
                    <a:pt x="2121" y="19792"/>
                    <a:pt x="1957" y="19956"/>
                    <a:pt x="1957" y="20157"/>
                  </a:cubicBezTo>
                  <a:cubicBezTo>
                    <a:pt x="1957" y="20358"/>
                    <a:pt x="2121" y="20518"/>
                    <a:pt x="2323" y="20518"/>
                  </a:cubicBezTo>
                  <a:cubicBezTo>
                    <a:pt x="2525" y="20518"/>
                    <a:pt x="2687" y="20358"/>
                    <a:pt x="2687" y="20157"/>
                  </a:cubicBezTo>
                  <a:cubicBezTo>
                    <a:pt x="2687" y="19956"/>
                    <a:pt x="2525" y="19792"/>
                    <a:pt x="2323" y="19792"/>
                  </a:cubicBezTo>
                  <a:close/>
                  <a:moveTo>
                    <a:pt x="3410" y="19792"/>
                  </a:moveTo>
                  <a:cubicBezTo>
                    <a:pt x="3209" y="19792"/>
                    <a:pt x="3043" y="19956"/>
                    <a:pt x="3044" y="20157"/>
                  </a:cubicBezTo>
                  <a:cubicBezTo>
                    <a:pt x="3044" y="20358"/>
                    <a:pt x="3209" y="20518"/>
                    <a:pt x="3410" y="20518"/>
                  </a:cubicBezTo>
                  <a:cubicBezTo>
                    <a:pt x="3612" y="20518"/>
                    <a:pt x="3774" y="20358"/>
                    <a:pt x="3774" y="20157"/>
                  </a:cubicBezTo>
                  <a:cubicBezTo>
                    <a:pt x="3774" y="19956"/>
                    <a:pt x="3612" y="19792"/>
                    <a:pt x="3410" y="19792"/>
                  </a:cubicBezTo>
                  <a:close/>
                  <a:moveTo>
                    <a:pt x="14932" y="19792"/>
                  </a:moveTo>
                  <a:cubicBezTo>
                    <a:pt x="14730" y="19792"/>
                    <a:pt x="14565" y="19956"/>
                    <a:pt x="14565" y="20157"/>
                  </a:cubicBezTo>
                  <a:cubicBezTo>
                    <a:pt x="14565" y="20358"/>
                    <a:pt x="14730" y="20518"/>
                    <a:pt x="14932" y="20518"/>
                  </a:cubicBezTo>
                  <a:cubicBezTo>
                    <a:pt x="15134" y="20518"/>
                    <a:pt x="15296" y="20358"/>
                    <a:pt x="15296" y="20157"/>
                  </a:cubicBezTo>
                  <a:cubicBezTo>
                    <a:pt x="15296" y="19956"/>
                    <a:pt x="15134" y="19792"/>
                    <a:pt x="14932" y="19792"/>
                  </a:cubicBezTo>
                  <a:close/>
                  <a:moveTo>
                    <a:pt x="10693" y="19900"/>
                  </a:moveTo>
                  <a:cubicBezTo>
                    <a:pt x="10491" y="19900"/>
                    <a:pt x="10326" y="20065"/>
                    <a:pt x="10326" y="20265"/>
                  </a:cubicBezTo>
                  <a:cubicBezTo>
                    <a:pt x="10326" y="20466"/>
                    <a:pt x="10491" y="20630"/>
                    <a:pt x="10693" y="20630"/>
                  </a:cubicBezTo>
                  <a:cubicBezTo>
                    <a:pt x="10895" y="20630"/>
                    <a:pt x="11056" y="20466"/>
                    <a:pt x="11056" y="20265"/>
                  </a:cubicBezTo>
                  <a:cubicBezTo>
                    <a:pt x="11056" y="20065"/>
                    <a:pt x="10895" y="19900"/>
                    <a:pt x="10693" y="19900"/>
                  </a:cubicBezTo>
                  <a:close/>
                  <a:moveTo>
                    <a:pt x="16019" y="20873"/>
                  </a:moveTo>
                  <a:cubicBezTo>
                    <a:pt x="15817" y="20873"/>
                    <a:pt x="15652" y="21037"/>
                    <a:pt x="15652" y="21238"/>
                  </a:cubicBezTo>
                  <a:cubicBezTo>
                    <a:pt x="15652" y="21440"/>
                    <a:pt x="15817" y="21600"/>
                    <a:pt x="16019" y="21600"/>
                  </a:cubicBezTo>
                  <a:cubicBezTo>
                    <a:pt x="16221" y="21600"/>
                    <a:pt x="16383" y="21440"/>
                    <a:pt x="16383" y="21238"/>
                  </a:cubicBezTo>
                  <a:cubicBezTo>
                    <a:pt x="16383" y="21037"/>
                    <a:pt x="16221" y="20873"/>
                    <a:pt x="16019" y="20873"/>
                  </a:cubicBezTo>
                  <a:close/>
                </a:path>
              </a:pathLst>
            </a:custGeom>
            <a:grpFill/>
            <a:ln w="12700" cap="flat">
              <a:noFill/>
              <a:miter lim="400000"/>
            </a:ln>
            <a:effectLst/>
          </p:spPr>
          <p:txBody>
            <a:bodyPr wrap="square" lIns="19050" tIns="19050" rIns="19050" bIns="19050" numCol="1" anchor="ctr">
              <a:noAutofit/>
            </a:bodyP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7" name="Shape 18631"/>
            <p:cNvSpPr/>
            <p:nvPr/>
          </p:nvSpPr>
          <p:spPr>
            <a:xfrm>
              <a:off x="13423900" y="4876800"/>
              <a:ext cx="2693194" cy="2744391"/>
            </a:xfrm>
            <a:custGeom>
              <a:avLst/>
              <a:gdLst/>
              <a:ahLst/>
              <a:cxnLst>
                <a:cxn ang="0">
                  <a:pos x="wd2" y="hd2"/>
                </a:cxn>
                <a:cxn ang="5400000">
                  <a:pos x="wd2" y="hd2"/>
                </a:cxn>
                <a:cxn ang="10800000">
                  <a:pos x="wd2" y="hd2"/>
                </a:cxn>
                <a:cxn ang="16200000">
                  <a:pos x="wd2" y="hd2"/>
                </a:cxn>
              </a:cxnLst>
              <a:rect l="0" t="0" r="r" b="b"/>
              <a:pathLst>
                <a:path w="21600" h="21600" extrusionOk="0">
                  <a:moveTo>
                    <a:pt x="10122" y="0"/>
                  </a:moveTo>
                  <a:cubicBezTo>
                    <a:pt x="9933" y="0"/>
                    <a:pt x="9778" y="151"/>
                    <a:pt x="9778" y="337"/>
                  </a:cubicBezTo>
                  <a:cubicBezTo>
                    <a:pt x="9778" y="523"/>
                    <a:pt x="9933" y="672"/>
                    <a:pt x="10122" y="672"/>
                  </a:cubicBezTo>
                  <a:cubicBezTo>
                    <a:pt x="10311" y="672"/>
                    <a:pt x="10463" y="523"/>
                    <a:pt x="10463" y="337"/>
                  </a:cubicBezTo>
                  <a:cubicBezTo>
                    <a:pt x="10463" y="151"/>
                    <a:pt x="10311" y="0"/>
                    <a:pt x="10122" y="0"/>
                  </a:cubicBezTo>
                  <a:close/>
                  <a:moveTo>
                    <a:pt x="12057" y="0"/>
                  </a:moveTo>
                  <a:cubicBezTo>
                    <a:pt x="11868" y="0"/>
                    <a:pt x="11714" y="151"/>
                    <a:pt x="11714" y="337"/>
                  </a:cubicBezTo>
                  <a:cubicBezTo>
                    <a:pt x="11714" y="523"/>
                    <a:pt x="11868" y="672"/>
                    <a:pt x="12057" y="672"/>
                  </a:cubicBezTo>
                  <a:cubicBezTo>
                    <a:pt x="12247" y="672"/>
                    <a:pt x="12398" y="523"/>
                    <a:pt x="12398" y="337"/>
                  </a:cubicBezTo>
                  <a:cubicBezTo>
                    <a:pt x="12398" y="151"/>
                    <a:pt x="12247" y="0"/>
                    <a:pt x="12057" y="0"/>
                  </a:cubicBezTo>
                  <a:close/>
                  <a:moveTo>
                    <a:pt x="13076" y="0"/>
                  </a:moveTo>
                  <a:cubicBezTo>
                    <a:pt x="12886" y="0"/>
                    <a:pt x="12732" y="151"/>
                    <a:pt x="12732" y="337"/>
                  </a:cubicBezTo>
                  <a:cubicBezTo>
                    <a:pt x="12732" y="523"/>
                    <a:pt x="12886" y="672"/>
                    <a:pt x="13076" y="672"/>
                  </a:cubicBezTo>
                  <a:cubicBezTo>
                    <a:pt x="13265" y="672"/>
                    <a:pt x="13416" y="523"/>
                    <a:pt x="13416" y="337"/>
                  </a:cubicBezTo>
                  <a:cubicBezTo>
                    <a:pt x="13416" y="151"/>
                    <a:pt x="13265" y="0"/>
                    <a:pt x="13076" y="0"/>
                  </a:cubicBezTo>
                  <a:close/>
                  <a:moveTo>
                    <a:pt x="11141" y="1000"/>
                  </a:moveTo>
                  <a:cubicBezTo>
                    <a:pt x="10952" y="1000"/>
                    <a:pt x="10797" y="1152"/>
                    <a:pt x="10797" y="1337"/>
                  </a:cubicBezTo>
                  <a:cubicBezTo>
                    <a:pt x="10797" y="1523"/>
                    <a:pt x="10952" y="1671"/>
                    <a:pt x="11141" y="1671"/>
                  </a:cubicBezTo>
                  <a:cubicBezTo>
                    <a:pt x="11330" y="1671"/>
                    <a:pt x="11481" y="1523"/>
                    <a:pt x="11481" y="1337"/>
                  </a:cubicBezTo>
                  <a:cubicBezTo>
                    <a:pt x="11481" y="1152"/>
                    <a:pt x="11330" y="1000"/>
                    <a:pt x="11141" y="1000"/>
                  </a:cubicBezTo>
                  <a:close/>
                  <a:moveTo>
                    <a:pt x="12057" y="1000"/>
                  </a:moveTo>
                  <a:cubicBezTo>
                    <a:pt x="11868" y="1000"/>
                    <a:pt x="11714" y="1152"/>
                    <a:pt x="11714" y="1337"/>
                  </a:cubicBezTo>
                  <a:cubicBezTo>
                    <a:pt x="11714" y="1523"/>
                    <a:pt x="11868" y="1671"/>
                    <a:pt x="12057" y="1671"/>
                  </a:cubicBezTo>
                  <a:cubicBezTo>
                    <a:pt x="12247" y="1671"/>
                    <a:pt x="12398" y="1523"/>
                    <a:pt x="12398" y="1337"/>
                  </a:cubicBezTo>
                  <a:cubicBezTo>
                    <a:pt x="12398" y="1152"/>
                    <a:pt x="12247" y="1000"/>
                    <a:pt x="12057" y="1000"/>
                  </a:cubicBezTo>
                  <a:close/>
                  <a:moveTo>
                    <a:pt x="13076" y="1000"/>
                  </a:moveTo>
                  <a:cubicBezTo>
                    <a:pt x="12886" y="1000"/>
                    <a:pt x="12732" y="1152"/>
                    <a:pt x="12732" y="1337"/>
                  </a:cubicBezTo>
                  <a:cubicBezTo>
                    <a:pt x="12732" y="1523"/>
                    <a:pt x="12886" y="1671"/>
                    <a:pt x="13076" y="1671"/>
                  </a:cubicBezTo>
                  <a:cubicBezTo>
                    <a:pt x="13265" y="1671"/>
                    <a:pt x="13416" y="1523"/>
                    <a:pt x="13416" y="1337"/>
                  </a:cubicBezTo>
                  <a:cubicBezTo>
                    <a:pt x="13416" y="1152"/>
                    <a:pt x="13265" y="1000"/>
                    <a:pt x="13076" y="1000"/>
                  </a:cubicBezTo>
                  <a:close/>
                  <a:moveTo>
                    <a:pt x="13993" y="1000"/>
                  </a:moveTo>
                  <a:cubicBezTo>
                    <a:pt x="13803" y="1000"/>
                    <a:pt x="13649" y="1152"/>
                    <a:pt x="13649" y="1337"/>
                  </a:cubicBezTo>
                  <a:cubicBezTo>
                    <a:pt x="13649" y="1523"/>
                    <a:pt x="13803" y="1671"/>
                    <a:pt x="13993" y="1671"/>
                  </a:cubicBezTo>
                  <a:cubicBezTo>
                    <a:pt x="14182" y="1671"/>
                    <a:pt x="14333" y="1523"/>
                    <a:pt x="14333" y="1337"/>
                  </a:cubicBezTo>
                  <a:cubicBezTo>
                    <a:pt x="14333" y="1152"/>
                    <a:pt x="14182" y="1000"/>
                    <a:pt x="13993" y="1000"/>
                  </a:cubicBezTo>
                  <a:close/>
                  <a:moveTo>
                    <a:pt x="15011" y="1000"/>
                  </a:moveTo>
                  <a:cubicBezTo>
                    <a:pt x="14822" y="1000"/>
                    <a:pt x="14667" y="1152"/>
                    <a:pt x="14667" y="1337"/>
                  </a:cubicBezTo>
                  <a:cubicBezTo>
                    <a:pt x="14667" y="1523"/>
                    <a:pt x="14822" y="1671"/>
                    <a:pt x="15011" y="1671"/>
                  </a:cubicBezTo>
                  <a:cubicBezTo>
                    <a:pt x="15200" y="1671"/>
                    <a:pt x="15352" y="1523"/>
                    <a:pt x="15352" y="1337"/>
                  </a:cubicBezTo>
                  <a:cubicBezTo>
                    <a:pt x="15352" y="1152"/>
                    <a:pt x="15200" y="1000"/>
                    <a:pt x="15011" y="1000"/>
                  </a:cubicBezTo>
                  <a:close/>
                  <a:moveTo>
                    <a:pt x="18984" y="1000"/>
                  </a:moveTo>
                  <a:cubicBezTo>
                    <a:pt x="18795" y="1000"/>
                    <a:pt x="18640" y="1152"/>
                    <a:pt x="18640" y="1337"/>
                  </a:cubicBezTo>
                  <a:cubicBezTo>
                    <a:pt x="18640" y="1523"/>
                    <a:pt x="18795" y="1671"/>
                    <a:pt x="18984" y="1671"/>
                  </a:cubicBezTo>
                  <a:cubicBezTo>
                    <a:pt x="19173" y="1671"/>
                    <a:pt x="19324" y="1523"/>
                    <a:pt x="19324" y="1337"/>
                  </a:cubicBezTo>
                  <a:cubicBezTo>
                    <a:pt x="19324" y="1152"/>
                    <a:pt x="19173" y="1000"/>
                    <a:pt x="18984" y="1000"/>
                  </a:cubicBezTo>
                  <a:close/>
                  <a:moveTo>
                    <a:pt x="13076" y="1999"/>
                  </a:moveTo>
                  <a:cubicBezTo>
                    <a:pt x="12886" y="1999"/>
                    <a:pt x="12732" y="2151"/>
                    <a:pt x="12732" y="2336"/>
                  </a:cubicBezTo>
                  <a:cubicBezTo>
                    <a:pt x="12732" y="2522"/>
                    <a:pt x="12886" y="2671"/>
                    <a:pt x="13076" y="2671"/>
                  </a:cubicBezTo>
                  <a:cubicBezTo>
                    <a:pt x="13265" y="2671"/>
                    <a:pt x="13416" y="2522"/>
                    <a:pt x="13416" y="2336"/>
                  </a:cubicBezTo>
                  <a:cubicBezTo>
                    <a:pt x="13416" y="2151"/>
                    <a:pt x="13265" y="1999"/>
                    <a:pt x="13076" y="1999"/>
                  </a:cubicBezTo>
                  <a:close/>
                  <a:moveTo>
                    <a:pt x="13993" y="1999"/>
                  </a:moveTo>
                  <a:cubicBezTo>
                    <a:pt x="13803" y="1999"/>
                    <a:pt x="13649" y="2151"/>
                    <a:pt x="13649" y="2336"/>
                  </a:cubicBezTo>
                  <a:cubicBezTo>
                    <a:pt x="13649" y="2522"/>
                    <a:pt x="13803" y="2671"/>
                    <a:pt x="13993" y="2671"/>
                  </a:cubicBezTo>
                  <a:cubicBezTo>
                    <a:pt x="14182" y="2671"/>
                    <a:pt x="14333" y="2522"/>
                    <a:pt x="14333" y="2336"/>
                  </a:cubicBezTo>
                  <a:cubicBezTo>
                    <a:pt x="14333" y="2151"/>
                    <a:pt x="14182" y="1999"/>
                    <a:pt x="13993" y="1999"/>
                  </a:cubicBezTo>
                  <a:close/>
                  <a:moveTo>
                    <a:pt x="15011" y="1999"/>
                  </a:moveTo>
                  <a:cubicBezTo>
                    <a:pt x="14822" y="1999"/>
                    <a:pt x="14667" y="2151"/>
                    <a:pt x="14667" y="2336"/>
                  </a:cubicBezTo>
                  <a:cubicBezTo>
                    <a:pt x="14667" y="2522"/>
                    <a:pt x="14822" y="2671"/>
                    <a:pt x="15011" y="2671"/>
                  </a:cubicBezTo>
                  <a:cubicBezTo>
                    <a:pt x="15200" y="2671"/>
                    <a:pt x="15352" y="2522"/>
                    <a:pt x="15352" y="2336"/>
                  </a:cubicBezTo>
                  <a:cubicBezTo>
                    <a:pt x="15352" y="2151"/>
                    <a:pt x="15200" y="1999"/>
                    <a:pt x="15011" y="1999"/>
                  </a:cubicBezTo>
                  <a:close/>
                  <a:moveTo>
                    <a:pt x="16030" y="1999"/>
                  </a:moveTo>
                  <a:cubicBezTo>
                    <a:pt x="15841" y="1999"/>
                    <a:pt x="15686" y="2151"/>
                    <a:pt x="15686" y="2336"/>
                  </a:cubicBezTo>
                  <a:cubicBezTo>
                    <a:pt x="15686" y="2522"/>
                    <a:pt x="15841" y="2671"/>
                    <a:pt x="16030" y="2671"/>
                  </a:cubicBezTo>
                  <a:cubicBezTo>
                    <a:pt x="16219" y="2671"/>
                    <a:pt x="16370" y="2522"/>
                    <a:pt x="16370" y="2336"/>
                  </a:cubicBezTo>
                  <a:cubicBezTo>
                    <a:pt x="16370" y="2151"/>
                    <a:pt x="16219" y="1999"/>
                    <a:pt x="16030" y="1999"/>
                  </a:cubicBezTo>
                  <a:close/>
                  <a:moveTo>
                    <a:pt x="17965" y="1999"/>
                  </a:moveTo>
                  <a:cubicBezTo>
                    <a:pt x="17776" y="1999"/>
                    <a:pt x="17621" y="2151"/>
                    <a:pt x="17621" y="2336"/>
                  </a:cubicBezTo>
                  <a:cubicBezTo>
                    <a:pt x="17621" y="2522"/>
                    <a:pt x="17776" y="2671"/>
                    <a:pt x="17965" y="2671"/>
                  </a:cubicBezTo>
                  <a:cubicBezTo>
                    <a:pt x="18154" y="2671"/>
                    <a:pt x="18306" y="2522"/>
                    <a:pt x="18306" y="2336"/>
                  </a:cubicBezTo>
                  <a:cubicBezTo>
                    <a:pt x="18306" y="2151"/>
                    <a:pt x="18154" y="1999"/>
                    <a:pt x="17965" y="1999"/>
                  </a:cubicBezTo>
                  <a:close/>
                  <a:moveTo>
                    <a:pt x="19697" y="1999"/>
                  </a:moveTo>
                  <a:cubicBezTo>
                    <a:pt x="19507" y="1999"/>
                    <a:pt x="19353" y="2151"/>
                    <a:pt x="19353" y="2336"/>
                  </a:cubicBezTo>
                  <a:cubicBezTo>
                    <a:pt x="19353" y="2522"/>
                    <a:pt x="19507" y="2671"/>
                    <a:pt x="19697" y="2671"/>
                  </a:cubicBezTo>
                  <a:cubicBezTo>
                    <a:pt x="19886" y="2671"/>
                    <a:pt x="20037" y="2522"/>
                    <a:pt x="20037" y="2336"/>
                  </a:cubicBezTo>
                  <a:cubicBezTo>
                    <a:pt x="20037" y="2151"/>
                    <a:pt x="19886" y="1999"/>
                    <a:pt x="19697" y="1999"/>
                  </a:cubicBezTo>
                  <a:close/>
                  <a:moveTo>
                    <a:pt x="13076" y="2799"/>
                  </a:moveTo>
                  <a:cubicBezTo>
                    <a:pt x="12886" y="2799"/>
                    <a:pt x="12732" y="2951"/>
                    <a:pt x="12732" y="3136"/>
                  </a:cubicBezTo>
                  <a:cubicBezTo>
                    <a:pt x="12732" y="3322"/>
                    <a:pt x="12886" y="3473"/>
                    <a:pt x="13076" y="3473"/>
                  </a:cubicBezTo>
                  <a:cubicBezTo>
                    <a:pt x="13265" y="3473"/>
                    <a:pt x="13416" y="3322"/>
                    <a:pt x="13416" y="3136"/>
                  </a:cubicBezTo>
                  <a:cubicBezTo>
                    <a:pt x="13416" y="2951"/>
                    <a:pt x="13265" y="2799"/>
                    <a:pt x="13076" y="2799"/>
                  </a:cubicBezTo>
                  <a:close/>
                  <a:moveTo>
                    <a:pt x="13993" y="2799"/>
                  </a:moveTo>
                  <a:cubicBezTo>
                    <a:pt x="13803" y="2799"/>
                    <a:pt x="13649" y="2951"/>
                    <a:pt x="13649" y="3136"/>
                  </a:cubicBezTo>
                  <a:cubicBezTo>
                    <a:pt x="13649" y="3322"/>
                    <a:pt x="13803" y="3473"/>
                    <a:pt x="13993" y="3473"/>
                  </a:cubicBezTo>
                  <a:cubicBezTo>
                    <a:pt x="14182" y="3473"/>
                    <a:pt x="14333" y="3322"/>
                    <a:pt x="14333" y="3136"/>
                  </a:cubicBezTo>
                  <a:cubicBezTo>
                    <a:pt x="14333" y="2951"/>
                    <a:pt x="14182" y="2799"/>
                    <a:pt x="13993" y="2799"/>
                  </a:cubicBezTo>
                  <a:close/>
                  <a:moveTo>
                    <a:pt x="15011" y="2799"/>
                  </a:moveTo>
                  <a:cubicBezTo>
                    <a:pt x="14822" y="2799"/>
                    <a:pt x="14667" y="2951"/>
                    <a:pt x="14667" y="3136"/>
                  </a:cubicBezTo>
                  <a:cubicBezTo>
                    <a:pt x="14667" y="3322"/>
                    <a:pt x="14822" y="3473"/>
                    <a:pt x="15011" y="3473"/>
                  </a:cubicBezTo>
                  <a:cubicBezTo>
                    <a:pt x="15200" y="3473"/>
                    <a:pt x="15352" y="3322"/>
                    <a:pt x="15352" y="3136"/>
                  </a:cubicBezTo>
                  <a:cubicBezTo>
                    <a:pt x="15352" y="2951"/>
                    <a:pt x="15200" y="2799"/>
                    <a:pt x="15011" y="2799"/>
                  </a:cubicBezTo>
                  <a:close/>
                  <a:moveTo>
                    <a:pt x="16030" y="2799"/>
                  </a:moveTo>
                  <a:cubicBezTo>
                    <a:pt x="15841" y="2799"/>
                    <a:pt x="15686" y="2951"/>
                    <a:pt x="15686" y="3136"/>
                  </a:cubicBezTo>
                  <a:cubicBezTo>
                    <a:pt x="15686" y="3322"/>
                    <a:pt x="15841" y="3473"/>
                    <a:pt x="16030" y="3473"/>
                  </a:cubicBezTo>
                  <a:cubicBezTo>
                    <a:pt x="16219" y="3473"/>
                    <a:pt x="16370" y="3322"/>
                    <a:pt x="16370" y="3136"/>
                  </a:cubicBezTo>
                  <a:cubicBezTo>
                    <a:pt x="16370" y="2951"/>
                    <a:pt x="16219" y="2799"/>
                    <a:pt x="16030" y="2799"/>
                  </a:cubicBezTo>
                  <a:close/>
                  <a:moveTo>
                    <a:pt x="16946" y="2799"/>
                  </a:moveTo>
                  <a:cubicBezTo>
                    <a:pt x="16758" y="2799"/>
                    <a:pt x="16603" y="2951"/>
                    <a:pt x="16603" y="3136"/>
                  </a:cubicBezTo>
                  <a:cubicBezTo>
                    <a:pt x="16603" y="3322"/>
                    <a:pt x="16758" y="3473"/>
                    <a:pt x="16946" y="3473"/>
                  </a:cubicBezTo>
                  <a:cubicBezTo>
                    <a:pt x="17136" y="3473"/>
                    <a:pt x="17287" y="3322"/>
                    <a:pt x="17287" y="3136"/>
                  </a:cubicBezTo>
                  <a:cubicBezTo>
                    <a:pt x="17287" y="2951"/>
                    <a:pt x="17136" y="2799"/>
                    <a:pt x="16946" y="2799"/>
                  </a:cubicBezTo>
                  <a:close/>
                  <a:moveTo>
                    <a:pt x="6150" y="3898"/>
                  </a:moveTo>
                  <a:cubicBezTo>
                    <a:pt x="5960" y="3898"/>
                    <a:pt x="5806" y="4050"/>
                    <a:pt x="5806" y="4236"/>
                  </a:cubicBezTo>
                  <a:cubicBezTo>
                    <a:pt x="5806" y="4421"/>
                    <a:pt x="5960" y="4573"/>
                    <a:pt x="6150" y="4573"/>
                  </a:cubicBezTo>
                  <a:cubicBezTo>
                    <a:pt x="6338" y="4573"/>
                    <a:pt x="6490" y="4421"/>
                    <a:pt x="6490" y="4236"/>
                  </a:cubicBezTo>
                  <a:cubicBezTo>
                    <a:pt x="6490" y="4050"/>
                    <a:pt x="6338" y="3898"/>
                    <a:pt x="6150" y="3898"/>
                  </a:cubicBezTo>
                  <a:close/>
                  <a:moveTo>
                    <a:pt x="17048" y="3898"/>
                  </a:moveTo>
                  <a:cubicBezTo>
                    <a:pt x="16859" y="3898"/>
                    <a:pt x="16705" y="4050"/>
                    <a:pt x="16705" y="4236"/>
                  </a:cubicBezTo>
                  <a:cubicBezTo>
                    <a:pt x="16705" y="4421"/>
                    <a:pt x="16859" y="4573"/>
                    <a:pt x="17048" y="4573"/>
                  </a:cubicBezTo>
                  <a:cubicBezTo>
                    <a:pt x="17237" y="4573"/>
                    <a:pt x="17389" y="4421"/>
                    <a:pt x="17389" y="4236"/>
                  </a:cubicBezTo>
                  <a:cubicBezTo>
                    <a:pt x="17389" y="4050"/>
                    <a:pt x="17237" y="3898"/>
                    <a:pt x="17048" y="3898"/>
                  </a:cubicBezTo>
                  <a:close/>
                  <a:moveTo>
                    <a:pt x="18067" y="3898"/>
                  </a:moveTo>
                  <a:cubicBezTo>
                    <a:pt x="17878" y="3898"/>
                    <a:pt x="17723" y="4050"/>
                    <a:pt x="17723" y="4236"/>
                  </a:cubicBezTo>
                  <a:cubicBezTo>
                    <a:pt x="17723" y="4421"/>
                    <a:pt x="17878" y="4573"/>
                    <a:pt x="18067" y="4573"/>
                  </a:cubicBezTo>
                  <a:cubicBezTo>
                    <a:pt x="18256" y="4573"/>
                    <a:pt x="18407" y="4421"/>
                    <a:pt x="18407" y="4236"/>
                  </a:cubicBezTo>
                  <a:cubicBezTo>
                    <a:pt x="18407" y="4050"/>
                    <a:pt x="18256" y="3898"/>
                    <a:pt x="18067" y="3898"/>
                  </a:cubicBezTo>
                  <a:close/>
                  <a:moveTo>
                    <a:pt x="10122" y="4798"/>
                  </a:moveTo>
                  <a:cubicBezTo>
                    <a:pt x="9933" y="4798"/>
                    <a:pt x="9778" y="4950"/>
                    <a:pt x="9778" y="5135"/>
                  </a:cubicBezTo>
                  <a:cubicBezTo>
                    <a:pt x="9778" y="5320"/>
                    <a:pt x="9933" y="5470"/>
                    <a:pt x="10122" y="5470"/>
                  </a:cubicBezTo>
                  <a:cubicBezTo>
                    <a:pt x="10311" y="5470"/>
                    <a:pt x="10463" y="5320"/>
                    <a:pt x="10463" y="5135"/>
                  </a:cubicBezTo>
                  <a:cubicBezTo>
                    <a:pt x="10463" y="4950"/>
                    <a:pt x="10311" y="4798"/>
                    <a:pt x="10122" y="4798"/>
                  </a:cubicBezTo>
                  <a:close/>
                  <a:moveTo>
                    <a:pt x="11141" y="4798"/>
                  </a:moveTo>
                  <a:cubicBezTo>
                    <a:pt x="10952" y="4798"/>
                    <a:pt x="10797" y="4950"/>
                    <a:pt x="10797" y="5135"/>
                  </a:cubicBezTo>
                  <a:cubicBezTo>
                    <a:pt x="10797" y="5320"/>
                    <a:pt x="10952" y="5470"/>
                    <a:pt x="11141" y="5470"/>
                  </a:cubicBezTo>
                  <a:cubicBezTo>
                    <a:pt x="11329" y="5470"/>
                    <a:pt x="11481" y="5320"/>
                    <a:pt x="11481" y="5135"/>
                  </a:cubicBezTo>
                  <a:cubicBezTo>
                    <a:pt x="11481" y="4950"/>
                    <a:pt x="11329" y="4798"/>
                    <a:pt x="11141" y="4798"/>
                  </a:cubicBezTo>
                  <a:close/>
                  <a:moveTo>
                    <a:pt x="14094" y="4798"/>
                  </a:moveTo>
                  <a:cubicBezTo>
                    <a:pt x="13905" y="4798"/>
                    <a:pt x="13751" y="4950"/>
                    <a:pt x="13751" y="5135"/>
                  </a:cubicBezTo>
                  <a:cubicBezTo>
                    <a:pt x="13751" y="5320"/>
                    <a:pt x="13905" y="5470"/>
                    <a:pt x="14094" y="5470"/>
                  </a:cubicBezTo>
                  <a:cubicBezTo>
                    <a:pt x="14284" y="5470"/>
                    <a:pt x="14435" y="5320"/>
                    <a:pt x="14435" y="5135"/>
                  </a:cubicBezTo>
                  <a:cubicBezTo>
                    <a:pt x="14435" y="4950"/>
                    <a:pt x="14284" y="4798"/>
                    <a:pt x="14094" y="4798"/>
                  </a:cubicBezTo>
                  <a:close/>
                  <a:moveTo>
                    <a:pt x="7168" y="5797"/>
                  </a:moveTo>
                  <a:cubicBezTo>
                    <a:pt x="6979" y="5797"/>
                    <a:pt x="6824" y="5950"/>
                    <a:pt x="6824" y="6135"/>
                  </a:cubicBezTo>
                  <a:cubicBezTo>
                    <a:pt x="6824" y="6321"/>
                    <a:pt x="6979" y="6469"/>
                    <a:pt x="7168" y="6469"/>
                  </a:cubicBezTo>
                  <a:cubicBezTo>
                    <a:pt x="7358" y="6469"/>
                    <a:pt x="7509" y="6321"/>
                    <a:pt x="7509" y="6135"/>
                  </a:cubicBezTo>
                  <a:cubicBezTo>
                    <a:pt x="7509" y="5950"/>
                    <a:pt x="7358" y="5797"/>
                    <a:pt x="7168" y="5797"/>
                  </a:cubicBezTo>
                  <a:close/>
                  <a:moveTo>
                    <a:pt x="9103" y="5797"/>
                  </a:moveTo>
                  <a:cubicBezTo>
                    <a:pt x="8914" y="5797"/>
                    <a:pt x="8760" y="5950"/>
                    <a:pt x="8760" y="6135"/>
                  </a:cubicBezTo>
                  <a:cubicBezTo>
                    <a:pt x="8760" y="6321"/>
                    <a:pt x="8914" y="6469"/>
                    <a:pt x="9103" y="6469"/>
                  </a:cubicBezTo>
                  <a:cubicBezTo>
                    <a:pt x="9292" y="6469"/>
                    <a:pt x="9444" y="6321"/>
                    <a:pt x="9444" y="6135"/>
                  </a:cubicBezTo>
                  <a:cubicBezTo>
                    <a:pt x="9444" y="5950"/>
                    <a:pt x="9292" y="5797"/>
                    <a:pt x="9103" y="5797"/>
                  </a:cubicBezTo>
                  <a:close/>
                  <a:moveTo>
                    <a:pt x="10122" y="5797"/>
                  </a:moveTo>
                  <a:cubicBezTo>
                    <a:pt x="9933" y="5797"/>
                    <a:pt x="9778" y="5950"/>
                    <a:pt x="9778" y="6135"/>
                  </a:cubicBezTo>
                  <a:cubicBezTo>
                    <a:pt x="9778" y="6321"/>
                    <a:pt x="9933" y="6469"/>
                    <a:pt x="10122" y="6469"/>
                  </a:cubicBezTo>
                  <a:cubicBezTo>
                    <a:pt x="10311" y="6469"/>
                    <a:pt x="10463" y="6321"/>
                    <a:pt x="10463" y="6135"/>
                  </a:cubicBezTo>
                  <a:cubicBezTo>
                    <a:pt x="10463" y="5950"/>
                    <a:pt x="10311" y="5797"/>
                    <a:pt x="10122" y="5797"/>
                  </a:cubicBezTo>
                  <a:close/>
                  <a:moveTo>
                    <a:pt x="14094" y="5797"/>
                  </a:moveTo>
                  <a:cubicBezTo>
                    <a:pt x="13905" y="5797"/>
                    <a:pt x="13751" y="5950"/>
                    <a:pt x="13751" y="6135"/>
                  </a:cubicBezTo>
                  <a:cubicBezTo>
                    <a:pt x="13751" y="6321"/>
                    <a:pt x="13905" y="6469"/>
                    <a:pt x="14094" y="6469"/>
                  </a:cubicBezTo>
                  <a:cubicBezTo>
                    <a:pt x="14284" y="6469"/>
                    <a:pt x="14435" y="6321"/>
                    <a:pt x="14435" y="6135"/>
                  </a:cubicBezTo>
                  <a:cubicBezTo>
                    <a:pt x="14435" y="5950"/>
                    <a:pt x="14284" y="5797"/>
                    <a:pt x="14094" y="5797"/>
                  </a:cubicBezTo>
                  <a:close/>
                  <a:moveTo>
                    <a:pt x="15113" y="5797"/>
                  </a:moveTo>
                  <a:cubicBezTo>
                    <a:pt x="14924" y="5797"/>
                    <a:pt x="14769" y="5950"/>
                    <a:pt x="14769" y="6135"/>
                  </a:cubicBezTo>
                  <a:cubicBezTo>
                    <a:pt x="14769" y="6321"/>
                    <a:pt x="14924" y="6469"/>
                    <a:pt x="15113" y="6469"/>
                  </a:cubicBezTo>
                  <a:cubicBezTo>
                    <a:pt x="15302" y="6469"/>
                    <a:pt x="15454" y="6321"/>
                    <a:pt x="15454" y="6135"/>
                  </a:cubicBezTo>
                  <a:cubicBezTo>
                    <a:pt x="15454" y="5950"/>
                    <a:pt x="15302" y="5797"/>
                    <a:pt x="15113" y="5797"/>
                  </a:cubicBezTo>
                  <a:close/>
                  <a:moveTo>
                    <a:pt x="6150" y="6797"/>
                  </a:moveTo>
                  <a:cubicBezTo>
                    <a:pt x="5960" y="6797"/>
                    <a:pt x="5806" y="6949"/>
                    <a:pt x="5806" y="7134"/>
                  </a:cubicBezTo>
                  <a:cubicBezTo>
                    <a:pt x="5806" y="7319"/>
                    <a:pt x="5960" y="7469"/>
                    <a:pt x="6150" y="7469"/>
                  </a:cubicBezTo>
                  <a:cubicBezTo>
                    <a:pt x="6338" y="7469"/>
                    <a:pt x="6490" y="7319"/>
                    <a:pt x="6490" y="7134"/>
                  </a:cubicBezTo>
                  <a:cubicBezTo>
                    <a:pt x="6490" y="6949"/>
                    <a:pt x="6338" y="6797"/>
                    <a:pt x="6150" y="6797"/>
                  </a:cubicBezTo>
                  <a:close/>
                  <a:moveTo>
                    <a:pt x="7168" y="6797"/>
                  </a:moveTo>
                  <a:cubicBezTo>
                    <a:pt x="6979" y="6797"/>
                    <a:pt x="6824" y="6949"/>
                    <a:pt x="6824" y="7134"/>
                  </a:cubicBezTo>
                  <a:cubicBezTo>
                    <a:pt x="6824" y="7319"/>
                    <a:pt x="6979" y="7469"/>
                    <a:pt x="7168" y="7469"/>
                  </a:cubicBezTo>
                  <a:cubicBezTo>
                    <a:pt x="7358" y="7469"/>
                    <a:pt x="7509" y="7319"/>
                    <a:pt x="7509" y="7134"/>
                  </a:cubicBezTo>
                  <a:cubicBezTo>
                    <a:pt x="7509" y="6949"/>
                    <a:pt x="7358" y="6797"/>
                    <a:pt x="7168" y="6797"/>
                  </a:cubicBezTo>
                  <a:close/>
                  <a:moveTo>
                    <a:pt x="8187" y="6797"/>
                  </a:moveTo>
                  <a:cubicBezTo>
                    <a:pt x="7998" y="6797"/>
                    <a:pt x="7843" y="6949"/>
                    <a:pt x="7843" y="7134"/>
                  </a:cubicBezTo>
                  <a:cubicBezTo>
                    <a:pt x="7843" y="7319"/>
                    <a:pt x="7998" y="7469"/>
                    <a:pt x="8187" y="7469"/>
                  </a:cubicBezTo>
                  <a:cubicBezTo>
                    <a:pt x="8376" y="7469"/>
                    <a:pt x="8527" y="7319"/>
                    <a:pt x="8527" y="7134"/>
                  </a:cubicBezTo>
                  <a:cubicBezTo>
                    <a:pt x="8527" y="6949"/>
                    <a:pt x="8376" y="6797"/>
                    <a:pt x="8187" y="6797"/>
                  </a:cubicBezTo>
                  <a:close/>
                  <a:moveTo>
                    <a:pt x="9103" y="6797"/>
                  </a:moveTo>
                  <a:cubicBezTo>
                    <a:pt x="8914" y="6797"/>
                    <a:pt x="8760" y="6949"/>
                    <a:pt x="8760" y="7134"/>
                  </a:cubicBezTo>
                  <a:cubicBezTo>
                    <a:pt x="8760" y="7319"/>
                    <a:pt x="8914" y="7469"/>
                    <a:pt x="9103" y="7469"/>
                  </a:cubicBezTo>
                  <a:cubicBezTo>
                    <a:pt x="9292" y="7469"/>
                    <a:pt x="9444" y="7319"/>
                    <a:pt x="9444" y="7134"/>
                  </a:cubicBezTo>
                  <a:cubicBezTo>
                    <a:pt x="9444" y="6949"/>
                    <a:pt x="9292" y="6797"/>
                    <a:pt x="9103" y="6797"/>
                  </a:cubicBezTo>
                  <a:close/>
                  <a:moveTo>
                    <a:pt x="10122" y="6797"/>
                  </a:moveTo>
                  <a:cubicBezTo>
                    <a:pt x="9933" y="6797"/>
                    <a:pt x="9778" y="6949"/>
                    <a:pt x="9778" y="7134"/>
                  </a:cubicBezTo>
                  <a:cubicBezTo>
                    <a:pt x="9778" y="7319"/>
                    <a:pt x="9933" y="7469"/>
                    <a:pt x="10122" y="7469"/>
                  </a:cubicBezTo>
                  <a:cubicBezTo>
                    <a:pt x="10311" y="7469"/>
                    <a:pt x="10463" y="7319"/>
                    <a:pt x="10463" y="7134"/>
                  </a:cubicBezTo>
                  <a:cubicBezTo>
                    <a:pt x="10463" y="6949"/>
                    <a:pt x="10311" y="6797"/>
                    <a:pt x="10122" y="6797"/>
                  </a:cubicBezTo>
                  <a:close/>
                  <a:moveTo>
                    <a:pt x="11141" y="6797"/>
                  </a:moveTo>
                  <a:cubicBezTo>
                    <a:pt x="10952" y="6797"/>
                    <a:pt x="10797" y="6949"/>
                    <a:pt x="10797" y="7134"/>
                  </a:cubicBezTo>
                  <a:cubicBezTo>
                    <a:pt x="10797" y="7319"/>
                    <a:pt x="10952" y="7469"/>
                    <a:pt x="11141" y="7469"/>
                  </a:cubicBezTo>
                  <a:cubicBezTo>
                    <a:pt x="11329" y="7469"/>
                    <a:pt x="11481" y="7319"/>
                    <a:pt x="11481" y="7134"/>
                  </a:cubicBezTo>
                  <a:cubicBezTo>
                    <a:pt x="11481" y="6949"/>
                    <a:pt x="11329" y="6797"/>
                    <a:pt x="11141" y="6797"/>
                  </a:cubicBezTo>
                  <a:close/>
                  <a:moveTo>
                    <a:pt x="14094" y="6797"/>
                  </a:moveTo>
                  <a:cubicBezTo>
                    <a:pt x="13905" y="6797"/>
                    <a:pt x="13751" y="6949"/>
                    <a:pt x="13751" y="7134"/>
                  </a:cubicBezTo>
                  <a:cubicBezTo>
                    <a:pt x="13751" y="7319"/>
                    <a:pt x="13905" y="7469"/>
                    <a:pt x="14094" y="7469"/>
                  </a:cubicBezTo>
                  <a:cubicBezTo>
                    <a:pt x="14284" y="7469"/>
                    <a:pt x="14435" y="7319"/>
                    <a:pt x="14435" y="7134"/>
                  </a:cubicBezTo>
                  <a:cubicBezTo>
                    <a:pt x="14435" y="6949"/>
                    <a:pt x="14284" y="6797"/>
                    <a:pt x="14094" y="6797"/>
                  </a:cubicBezTo>
                  <a:close/>
                  <a:moveTo>
                    <a:pt x="15113" y="6797"/>
                  </a:moveTo>
                  <a:cubicBezTo>
                    <a:pt x="14924" y="6797"/>
                    <a:pt x="14769" y="6949"/>
                    <a:pt x="14769" y="7134"/>
                  </a:cubicBezTo>
                  <a:cubicBezTo>
                    <a:pt x="14769" y="7319"/>
                    <a:pt x="14924" y="7469"/>
                    <a:pt x="15113" y="7469"/>
                  </a:cubicBezTo>
                  <a:cubicBezTo>
                    <a:pt x="15302" y="7469"/>
                    <a:pt x="15454" y="7319"/>
                    <a:pt x="15454" y="7134"/>
                  </a:cubicBezTo>
                  <a:cubicBezTo>
                    <a:pt x="15454" y="6949"/>
                    <a:pt x="15302" y="6797"/>
                    <a:pt x="15113" y="6797"/>
                  </a:cubicBezTo>
                  <a:close/>
                  <a:moveTo>
                    <a:pt x="5233" y="7797"/>
                  </a:moveTo>
                  <a:cubicBezTo>
                    <a:pt x="5044" y="7797"/>
                    <a:pt x="4889" y="7948"/>
                    <a:pt x="4889" y="8134"/>
                  </a:cubicBezTo>
                  <a:cubicBezTo>
                    <a:pt x="4889" y="8319"/>
                    <a:pt x="5044" y="8471"/>
                    <a:pt x="5233" y="8471"/>
                  </a:cubicBezTo>
                  <a:cubicBezTo>
                    <a:pt x="5422" y="8471"/>
                    <a:pt x="5573" y="8319"/>
                    <a:pt x="5573" y="8134"/>
                  </a:cubicBezTo>
                  <a:cubicBezTo>
                    <a:pt x="5573" y="7948"/>
                    <a:pt x="5422" y="7797"/>
                    <a:pt x="5233" y="7797"/>
                  </a:cubicBezTo>
                  <a:close/>
                  <a:moveTo>
                    <a:pt x="6150" y="7797"/>
                  </a:moveTo>
                  <a:cubicBezTo>
                    <a:pt x="5960" y="7797"/>
                    <a:pt x="5806" y="7948"/>
                    <a:pt x="5806" y="8134"/>
                  </a:cubicBezTo>
                  <a:cubicBezTo>
                    <a:pt x="5806" y="8319"/>
                    <a:pt x="5960" y="8471"/>
                    <a:pt x="6150" y="8471"/>
                  </a:cubicBezTo>
                  <a:cubicBezTo>
                    <a:pt x="6338" y="8471"/>
                    <a:pt x="6490" y="8319"/>
                    <a:pt x="6490" y="8134"/>
                  </a:cubicBezTo>
                  <a:cubicBezTo>
                    <a:pt x="6490" y="7948"/>
                    <a:pt x="6338" y="7797"/>
                    <a:pt x="6150" y="7797"/>
                  </a:cubicBezTo>
                  <a:close/>
                  <a:moveTo>
                    <a:pt x="7168" y="7797"/>
                  </a:moveTo>
                  <a:cubicBezTo>
                    <a:pt x="6979" y="7797"/>
                    <a:pt x="6824" y="7948"/>
                    <a:pt x="6824" y="8134"/>
                  </a:cubicBezTo>
                  <a:cubicBezTo>
                    <a:pt x="6824" y="8319"/>
                    <a:pt x="6979" y="8471"/>
                    <a:pt x="7168" y="8471"/>
                  </a:cubicBezTo>
                  <a:cubicBezTo>
                    <a:pt x="7358" y="8471"/>
                    <a:pt x="7509" y="8319"/>
                    <a:pt x="7509" y="8134"/>
                  </a:cubicBezTo>
                  <a:cubicBezTo>
                    <a:pt x="7509" y="7948"/>
                    <a:pt x="7358" y="7797"/>
                    <a:pt x="7168" y="7797"/>
                  </a:cubicBezTo>
                  <a:close/>
                  <a:moveTo>
                    <a:pt x="8187" y="7797"/>
                  </a:moveTo>
                  <a:cubicBezTo>
                    <a:pt x="7998" y="7797"/>
                    <a:pt x="7843" y="7948"/>
                    <a:pt x="7843" y="8134"/>
                  </a:cubicBezTo>
                  <a:cubicBezTo>
                    <a:pt x="7843" y="8319"/>
                    <a:pt x="7998" y="8471"/>
                    <a:pt x="8187" y="8471"/>
                  </a:cubicBezTo>
                  <a:cubicBezTo>
                    <a:pt x="8376" y="8471"/>
                    <a:pt x="8527" y="8319"/>
                    <a:pt x="8527" y="8134"/>
                  </a:cubicBezTo>
                  <a:cubicBezTo>
                    <a:pt x="8527" y="7948"/>
                    <a:pt x="8376" y="7797"/>
                    <a:pt x="8187" y="7797"/>
                  </a:cubicBezTo>
                  <a:close/>
                  <a:moveTo>
                    <a:pt x="9103" y="7797"/>
                  </a:moveTo>
                  <a:cubicBezTo>
                    <a:pt x="8914" y="7797"/>
                    <a:pt x="8760" y="7948"/>
                    <a:pt x="8760" y="8134"/>
                  </a:cubicBezTo>
                  <a:cubicBezTo>
                    <a:pt x="8760" y="8319"/>
                    <a:pt x="8914" y="8471"/>
                    <a:pt x="9103" y="8471"/>
                  </a:cubicBezTo>
                  <a:cubicBezTo>
                    <a:pt x="9292" y="8471"/>
                    <a:pt x="9444" y="8319"/>
                    <a:pt x="9444" y="8134"/>
                  </a:cubicBezTo>
                  <a:cubicBezTo>
                    <a:pt x="9444" y="7948"/>
                    <a:pt x="9292" y="7797"/>
                    <a:pt x="9103" y="7797"/>
                  </a:cubicBezTo>
                  <a:close/>
                  <a:moveTo>
                    <a:pt x="10122" y="7797"/>
                  </a:moveTo>
                  <a:cubicBezTo>
                    <a:pt x="9933" y="7797"/>
                    <a:pt x="9778" y="7948"/>
                    <a:pt x="9778" y="8134"/>
                  </a:cubicBezTo>
                  <a:cubicBezTo>
                    <a:pt x="9778" y="8319"/>
                    <a:pt x="9933" y="8471"/>
                    <a:pt x="10122" y="8471"/>
                  </a:cubicBezTo>
                  <a:cubicBezTo>
                    <a:pt x="10311" y="8471"/>
                    <a:pt x="10463" y="8319"/>
                    <a:pt x="10463" y="8134"/>
                  </a:cubicBezTo>
                  <a:cubicBezTo>
                    <a:pt x="10463" y="7948"/>
                    <a:pt x="10311" y="7797"/>
                    <a:pt x="10122" y="7797"/>
                  </a:cubicBezTo>
                  <a:close/>
                  <a:moveTo>
                    <a:pt x="11141" y="7797"/>
                  </a:moveTo>
                  <a:cubicBezTo>
                    <a:pt x="10952" y="7797"/>
                    <a:pt x="10797" y="7948"/>
                    <a:pt x="10797" y="8134"/>
                  </a:cubicBezTo>
                  <a:cubicBezTo>
                    <a:pt x="10797" y="8319"/>
                    <a:pt x="10952" y="8471"/>
                    <a:pt x="11141" y="8471"/>
                  </a:cubicBezTo>
                  <a:cubicBezTo>
                    <a:pt x="11329" y="8471"/>
                    <a:pt x="11481" y="8319"/>
                    <a:pt x="11481" y="8134"/>
                  </a:cubicBezTo>
                  <a:cubicBezTo>
                    <a:pt x="11481" y="7948"/>
                    <a:pt x="11329" y="7797"/>
                    <a:pt x="11141" y="7797"/>
                  </a:cubicBezTo>
                  <a:close/>
                  <a:moveTo>
                    <a:pt x="12057" y="7797"/>
                  </a:moveTo>
                  <a:cubicBezTo>
                    <a:pt x="11868" y="7797"/>
                    <a:pt x="11714" y="7948"/>
                    <a:pt x="11714" y="8134"/>
                  </a:cubicBezTo>
                  <a:cubicBezTo>
                    <a:pt x="11714" y="8319"/>
                    <a:pt x="11868" y="8471"/>
                    <a:pt x="12057" y="8471"/>
                  </a:cubicBezTo>
                  <a:cubicBezTo>
                    <a:pt x="12246" y="8471"/>
                    <a:pt x="12398" y="8319"/>
                    <a:pt x="12398" y="8134"/>
                  </a:cubicBezTo>
                  <a:cubicBezTo>
                    <a:pt x="12398" y="7948"/>
                    <a:pt x="12246" y="7797"/>
                    <a:pt x="12057" y="7797"/>
                  </a:cubicBezTo>
                  <a:close/>
                  <a:moveTo>
                    <a:pt x="13076" y="7797"/>
                  </a:moveTo>
                  <a:cubicBezTo>
                    <a:pt x="12887" y="7797"/>
                    <a:pt x="12732" y="7948"/>
                    <a:pt x="12732" y="8134"/>
                  </a:cubicBezTo>
                  <a:cubicBezTo>
                    <a:pt x="12732" y="8319"/>
                    <a:pt x="12887" y="8471"/>
                    <a:pt x="13076" y="8471"/>
                  </a:cubicBezTo>
                  <a:cubicBezTo>
                    <a:pt x="13264" y="8471"/>
                    <a:pt x="13416" y="8319"/>
                    <a:pt x="13416" y="8134"/>
                  </a:cubicBezTo>
                  <a:cubicBezTo>
                    <a:pt x="13416" y="7948"/>
                    <a:pt x="13264" y="7797"/>
                    <a:pt x="13076" y="7797"/>
                  </a:cubicBezTo>
                  <a:close/>
                  <a:moveTo>
                    <a:pt x="14094" y="7797"/>
                  </a:moveTo>
                  <a:cubicBezTo>
                    <a:pt x="13905" y="7797"/>
                    <a:pt x="13751" y="7948"/>
                    <a:pt x="13751" y="8134"/>
                  </a:cubicBezTo>
                  <a:cubicBezTo>
                    <a:pt x="13751" y="8319"/>
                    <a:pt x="13905" y="8471"/>
                    <a:pt x="14094" y="8471"/>
                  </a:cubicBezTo>
                  <a:cubicBezTo>
                    <a:pt x="14284" y="8471"/>
                    <a:pt x="14435" y="8319"/>
                    <a:pt x="14435" y="8134"/>
                  </a:cubicBezTo>
                  <a:cubicBezTo>
                    <a:pt x="14435" y="7948"/>
                    <a:pt x="14284" y="7797"/>
                    <a:pt x="14094" y="7797"/>
                  </a:cubicBezTo>
                  <a:close/>
                  <a:moveTo>
                    <a:pt x="15113" y="7797"/>
                  </a:moveTo>
                  <a:cubicBezTo>
                    <a:pt x="14924" y="7797"/>
                    <a:pt x="14769" y="7948"/>
                    <a:pt x="14769" y="8134"/>
                  </a:cubicBezTo>
                  <a:cubicBezTo>
                    <a:pt x="14769" y="8319"/>
                    <a:pt x="14924" y="8471"/>
                    <a:pt x="15113" y="8471"/>
                  </a:cubicBezTo>
                  <a:cubicBezTo>
                    <a:pt x="15302" y="8471"/>
                    <a:pt x="15454" y="8319"/>
                    <a:pt x="15454" y="8134"/>
                  </a:cubicBezTo>
                  <a:cubicBezTo>
                    <a:pt x="15454" y="7948"/>
                    <a:pt x="15302" y="7797"/>
                    <a:pt x="15113" y="7797"/>
                  </a:cubicBezTo>
                  <a:close/>
                  <a:moveTo>
                    <a:pt x="3196" y="8796"/>
                  </a:moveTo>
                  <a:cubicBezTo>
                    <a:pt x="3007" y="8796"/>
                    <a:pt x="2852" y="8948"/>
                    <a:pt x="2852" y="9134"/>
                  </a:cubicBezTo>
                  <a:cubicBezTo>
                    <a:pt x="2852" y="9319"/>
                    <a:pt x="3007" y="9468"/>
                    <a:pt x="3196" y="9468"/>
                  </a:cubicBezTo>
                  <a:cubicBezTo>
                    <a:pt x="3385" y="9468"/>
                    <a:pt x="3536" y="9319"/>
                    <a:pt x="3536" y="9134"/>
                  </a:cubicBezTo>
                  <a:cubicBezTo>
                    <a:pt x="3536" y="8948"/>
                    <a:pt x="3385" y="8796"/>
                    <a:pt x="3196" y="8796"/>
                  </a:cubicBezTo>
                  <a:close/>
                  <a:moveTo>
                    <a:pt x="4214" y="8796"/>
                  </a:moveTo>
                  <a:cubicBezTo>
                    <a:pt x="4025" y="8796"/>
                    <a:pt x="3871" y="8948"/>
                    <a:pt x="3871" y="9134"/>
                  </a:cubicBezTo>
                  <a:cubicBezTo>
                    <a:pt x="3871" y="9319"/>
                    <a:pt x="4025" y="9468"/>
                    <a:pt x="4214" y="9468"/>
                  </a:cubicBezTo>
                  <a:cubicBezTo>
                    <a:pt x="4404" y="9468"/>
                    <a:pt x="4555" y="9319"/>
                    <a:pt x="4555" y="9134"/>
                  </a:cubicBezTo>
                  <a:cubicBezTo>
                    <a:pt x="4555" y="8948"/>
                    <a:pt x="4404" y="8796"/>
                    <a:pt x="4214" y="8796"/>
                  </a:cubicBezTo>
                  <a:close/>
                  <a:moveTo>
                    <a:pt x="5233" y="8796"/>
                  </a:moveTo>
                  <a:cubicBezTo>
                    <a:pt x="5044" y="8796"/>
                    <a:pt x="4889" y="8948"/>
                    <a:pt x="4889" y="9134"/>
                  </a:cubicBezTo>
                  <a:cubicBezTo>
                    <a:pt x="4889" y="9319"/>
                    <a:pt x="5044" y="9468"/>
                    <a:pt x="5233" y="9468"/>
                  </a:cubicBezTo>
                  <a:cubicBezTo>
                    <a:pt x="5422" y="9468"/>
                    <a:pt x="5573" y="9319"/>
                    <a:pt x="5573" y="9134"/>
                  </a:cubicBezTo>
                  <a:cubicBezTo>
                    <a:pt x="5573" y="8948"/>
                    <a:pt x="5422" y="8796"/>
                    <a:pt x="5233" y="8796"/>
                  </a:cubicBezTo>
                  <a:close/>
                  <a:moveTo>
                    <a:pt x="6150" y="8796"/>
                  </a:moveTo>
                  <a:cubicBezTo>
                    <a:pt x="5960" y="8796"/>
                    <a:pt x="5806" y="8948"/>
                    <a:pt x="5806" y="9134"/>
                  </a:cubicBezTo>
                  <a:cubicBezTo>
                    <a:pt x="5806" y="9319"/>
                    <a:pt x="5960" y="9468"/>
                    <a:pt x="6150" y="9468"/>
                  </a:cubicBezTo>
                  <a:cubicBezTo>
                    <a:pt x="6338" y="9468"/>
                    <a:pt x="6490" y="9319"/>
                    <a:pt x="6490" y="9134"/>
                  </a:cubicBezTo>
                  <a:cubicBezTo>
                    <a:pt x="6490" y="8948"/>
                    <a:pt x="6338" y="8796"/>
                    <a:pt x="6150" y="8796"/>
                  </a:cubicBezTo>
                  <a:close/>
                  <a:moveTo>
                    <a:pt x="7168" y="8796"/>
                  </a:moveTo>
                  <a:cubicBezTo>
                    <a:pt x="6979" y="8796"/>
                    <a:pt x="6824" y="8948"/>
                    <a:pt x="6824" y="9134"/>
                  </a:cubicBezTo>
                  <a:cubicBezTo>
                    <a:pt x="6824" y="9319"/>
                    <a:pt x="6979" y="9468"/>
                    <a:pt x="7168" y="9468"/>
                  </a:cubicBezTo>
                  <a:cubicBezTo>
                    <a:pt x="7358" y="9468"/>
                    <a:pt x="7509" y="9319"/>
                    <a:pt x="7509" y="9134"/>
                  </a:cubicBezTo>
                  <a:cubicBezTo>
                    <a:pt x="7509" y="8948"/>
                    <a:pt x="7358" y="8796"/>
                    <a:pt x="7168" y="8796"/>
                  </a:cubicBezTo>
                  <a:close/>
                  <a:moveTo>
                    <a:pt x="8187" y="8796"/>
                  </a:moveTo>
                  <a:cubicBezTo>
                    <a:pt x="7998" y="8796"/>
                    <a:pt x="7843" y="8948"/>
                    <a:pt x="7843" y="9134"/>
                  </a:cubicBezTo>
                  <a:cubicBezTo>
                    <a:pt x="7843" y="9319"/>
                    <a:pt x="7998" y="9468"/>
                    <a:pt x="8187" y="9468"/>
                  </a:cubicBezTo>
                  <a:cubicBezTo>
                    <a:pt x="8376" y="9468"/>
                    <a:pt x="8527" y="9319"/>
                    <a:pt x="8527" y="9134"/>
                  </a:cubicBezTo>
                  <a:cubicBezTo>
                    <a:pt x="8527" y="8948"/>
                    <a:pt x="8376" y="8796"/>
                    <a:pt x="8187" y="8796"/>
                  </a:cubicBezTo>
                  <a:close/>
                  <a:moveTo>
                    <a:pt x="9103" y="8796"/>
                  </a:moveTo>
                  <a:cubicBezTo>
                    <a:pt x="8914" y="8796"/>
                    <a:pt x="8760" y="8948"/>
                    <a:pt x="8760" y="9134"/>
                  </a:cubicBezTo>
                  <a:cubicBezTo>
                    <a:pt x="8760" y="9319"/>
                    <a:pt x="8914" y="9468"/>
                    <a:pt x="9103" y="9468"/>
                  </a:cubicBezTo>
                  <a:cubicBezTo>
                    <a:pt x="9292" y="9468"/>
                    <a:pt x="9444" y="9319"/>
                    <a:pt x="9444" y="9134"/>
                  </a:cubicBezTo>
                  <a:cubicBezTo>
                    <a:pt x="9444" y="8948"/>
                    <a:pt x="9292" y="8796"/>
                    <a:pt x="9103" y="8796"/>
                  </a:cubicBezTo>
                  <a:close/>
                  <a:moveTo>
                    <a:pt x="10122" y="8796"/>
                  </a:moveTo>
                  <a:cubicBezTo>
                    <a:pt x="9933" y="8796"/>
                    <a:pt x="9778" y="8948"/>
                    <a:pt x="9778" y="9134"/>
                  </a:cubicBezTo>
                  <a:cubicBezTo>
                    <a:pt x="9778" y="9319"/>
                    <a:pt x="9933" y="9468"/>
                    <a:pt x="10122" y="9468"/>
                  </a:cubicBezTo>
                  <a:cubicBezTo>
                    <a:pt x="10311" y="9468"/>
                    <a:pt x="10463" y="9319"/>
                    <a:pt x="10463" y="9134"/>
                  </a:cubicBezTo>
                  <a:cubicBezTo>
                    <a:pt x="10463" y="8948"/>
                    <a:pt x="10311" y="8796"/>
                    <a:pt x="10122" y="8796"/>
                  </a:cubicBezTo>
                  <a:close/>
                  <a:moveTo>
                    <a:pt x="11141" y="8796"/>
                  </a:moveTo>
                  <a:cubicBezTo>
                    <a:pt x="10952" y="8796"/>
                    <a:pt x="10797" y="8948"/>
                    <a:pt x="10797" y="9134"/>
                  </a:cubicBezTo>
                  <a:cubicBezTo>
                    <a:pt x="10797" y="9319"/>
                    <a:pt x="10952" y="9468"/>
                    <a:pt x="11141" y="9468"/>
                  </a:cubicBezTo>
                  <a:cubicBezTo>
                    <a:pt x="11329" y="9468"/>
                    <a:pt x="11481" y="9319"/>
                    <a:pt x="11481" y="9134"/>
                  </a:cubicBezTo>
                  <a:cubicBezTo>
                    <a:pt x="11481" y="8948"/>
                    <a:pt x="11329" y="8796"/>
                    <a:pt x="11141" y="8796"/>
                  </a:cubicBezTo>
                  <a:close/>
                  <a:moveTo>
                    <a:pt x="12057" y="8796"/>
                  </a:moveTo>
                  <a:cubicBezTo>
                    <a:pt x="11868" y="8796"/>
                    <a:pt x="11714" y="8948"/>
                    <a:pt x="11714" y="9134"/>
                  </a:cubicBezTo>
                  <a:cubicBezTo>
                    <a:pt x="11714" y="9319"/>
                    <a:pt x="11868" y="9468"/>
                    <a:pt x="12057" y="9468"/>
                  </a:cubicBezTo>
                  <a:cubicBezTo>
                    <a:pt x="12246" y="9468"/>
                    <a:pt x="12398" y="9319"/>
                    <a:pt x="12398" y="9134"/>
                  </a:cubicBezTo>
                  <a:cubicBezTo>
                    <a:pt x="12398" y="8948"/>
                    <a:pt x="12246" y="8796"/>
                    <a:pt x="12057" y="8796"/>
                  </a:cubicBezTo>
                  <a:close/>
                  <a:moveTo>
                    <a:pt x="13076" y="8796"/>
                  </a:moveTo>
                  <a:cubicBezTo>
                    <a:pt x="12887" y="8796"/>
                    <a:pt x="12732" y="8948"/>
                    <a:pt x="12732" y="9134"/>
                  </a:cubicBezTo>
                  <a:cubicBezTo>
                    <a:pt x="12732" y="9319"/>
                    <a:pt x="12887" y="9468"/>
                    <a:pt x="13076" y="9468"/>
                  </a:cubicBezTo>
                  <a:cubicBezTo>
                    <a:pt x="13264" y="9468"/>
                    <a:pt x="13416" y="9319"/>
                    <a:pt x="13416" y="9134"/>
                  </a:cubicBezTo>
                  <a:cubicBezTo>
                    <a:pt x="13416" y="8948"/>
                    <a:pt x="13264" y="8796"/>
                    <a:pt x="13076" y="8796"/>
                  </a:cubicBezTo>
                  <a:close/>
                  <a:moveTo>
                    <a:pt x="14094" y="8796"/>
                  </a:moveTo>
                  <a:cubicBezTo>
                    <a:pt x="13905" y="8796"/>
                    <a:pt x="13751" y="8948"/>
                    <a:pt x="13751" y="9134"/>
                  </a:cubicBezTo>
                  <a:cubicBezTo>
                    <a:pt x="13751" y="9319"/>
                    <a:pt x="13905" y="9468"/>
                    <a:pt x="14094" y="9468"/>
                  </a:cubicBezTo>
                  <a:cubicBezTo>
                    <a:pt x="14284" y="9468"/>
                    <a:pt x="14435" y="9319"/>
                    <a:pt x="14435" y="9134"/>
                  </a:cubicBezTo>
                  <a:cubicBezTo>
                    <a:pt x="14435" y="8948"/>
                    <a:pt x="14284" y="8796"/>
                    <a:pt x="14094" y="8796"/>
                  </a:cubicBezTo>
                  <a:close/>
                  <a:moveTo>
                    <a:pt x="15113" y="8796"/>
                  </a:moveTo>
                  <a:cubicBezTo>
                    <a:pt x="14924" y="8796"/>
                    <a:pt x="14769" y="8948"/>
                    <a:pt x="14769" y="9134"/>
                  </a:cubicBezTo>
                  <a:cubicBezTo>
                    <a:pt x="14769" y="9319"/>
                    <a:pt x="14924" y="9468"/>
                    <a:pt x="15113" y="9468"/>
                  </a:cubicBezTo>
                  <a:cubicBezTo>
                    <a:pt x="15302" y="9468"/>
                    <a:pt x="15454" y="9319"/>
                    <a:pt x="15454" y="9134"/>
                  </a:cubicBezTo>
                  <a:cubicBezTo>
                    <a:pt x="15454" y="8948"/>
                    <a:pt x="15302" y="8796"/>
                    <a:pt x="15113" y="8796"/>
                  </a:cubicBezTo>
                  <a:close/>
                  <a:moveTo>
                    <a:pt x="16030" y="8796"/>
                  </a:moveTo>
                  <a:cubicBezTo>
                    <a:pt x="15841" y="8796"/>
                    <a:pt x="15686" y="8948"/>
                    <a:pt x="15686" y="9134"/>
                  </a:cubicBezTo>
                  <a:cubicBezTo>
                    <a:pt x="15686" y="9319"/>
                    <a:pt x="15841" y="9468"/>
                    <a:pt x="16030" y="9468"/>
                  </a:cubicBezTo>
                  <a:cubicBezTo>
                    <a:pt x="16219" y="9468"/>
                    <a:pt x="16370" y="9319"/>
                    <a:pt x="16370" y="9134"/>
                  </a:cubicBezTo>
                  <a:cubicBezTo>
                    <a:pt x="16370" y="8948"/>
                    <a:pt x="16219" y="8796"/>
                    <a:pt x="16030" y="8796"/>
                  </a:cubicBezTo>
                  <a:close/>
                  <a:moveTo>
                    <a:pt x="1260" y="9696"/>
                  </a:moveTo>
                  <a:cubicBezTo>
                    <a:pt x="1071" y="9696"/>
                    <a:pt x="917" y="9848"/>
                    <a:pt x="917" y="10033"/>
                  </a:cubicBezTo>
                  <a:cubicBezTo>
                    <a:pt x="917" y="10219"/>
                    <a:pt x="1071" y="10367"/>
                    <a:pt x="1260" y="10367"/>
                  </a:cubicBezTo>
                  <a:cubicBezTo>
                    <a:pt x="1450" y="10367"/>
                    <a:pt x="1601" y="10219"/>
                    <a:pt x="1601" y="10033"/>
                  </a:cubicBezTo>
                  <a:cubicBezTo>
                    <a:pt x="1601" y="9848"/>
                    <a:pt x="1450" y="9696"/>
                    <a:pt x="1260" y="9696"/>
                  </a:cubicBezTo>
                  <a:close/>
                  <a:moveTo>
                    <a:pt x="2279" y="9696"/>
                  </a:moveTo>
                  <a:cubicBezTo>
                    <a:pt x="2090" y="9696"/>
                    <a:pt x="1935" y="9848"/>
                    <a:pt x="1935" y="10033"/>
                  </a:cubicBezTo>
                  <a:cubicBezTo>
                    <a:pt x="1935" y="10219"/>
                    <a:pt x="2090" y="10367"/>
                    <a:pt x="2279" y="10367"/>
                  </a:cubicBezTo>
                  <a:cubicBezTo>
                    <a:pt x="2468" y="10367"/>
                    <a:pt x="2620" y="10219"/>
                    <a:pt x="2620" y="10033"/>
                  </a:cubicBezTo>
                  <a:cubicBezTo>
                    <a:pt x="2620" y="9848"/>
                    <a:pt x="2468" y="9696"/>
                    <a:pt x="2279" y="9696"/>
                  </a:cubicBezTo>
                  <a:close/>
                  <a:moveTo>
                    <a:pt x="3196" y="9696"/>
                  </a:moveTo>
                  <a:cubicBezTo>
                    <a:pt x="3007" y="9696"/>
                    <a:pt x="2852" y="9848"/>
                    <a:pt x="2852" y="10033"/>
                  </a:cubicBezTo>
                  <a:cubicBezTo>
                    <a:pt x="2852" y="10219"/>
                    <a:pt x="3007" y="10367"/>
                    <a:pt x="3196" y="10367"/>
                  </a:cubicBezTo>
                  <a:cubicBezTo>
                    <a:pt x="3385" y="10367"/>
                    <a:pt x="3536" y="10219"/>
                    <a:pt x="3536" y="10033"/>
                  </a:cubicBezTo>
                  <a:cubicBezTo>
                    <a:pt x="3536" y="9848"/>
                    <a:pt x="3385" y="9696"/>
                    <a:pt x="3196" y="9696"/>
                  </a:cubicBezTo>
                  <a:close/>
                  <a:moveTo>
                    <a:pt x="4214" y="9696"/>
                  </a:moveTo>
                  <a:cubicBezTo>
                    <a:pt x="4025" y="9696"/>
                    <a:pt x="3871" y="9848"/>
                    <a:pt x="3871" y="10033"/>
                  </a:cubicBezTo>
                  <a:cubicBezTo>
                    <a:pt x="3871" y="10219"/>
                    <a:pt x="4025" y="10367"/>
                    <a:pt x="4214" y="10367"/>
                  </a:cubicBezTo>
                  <a:cubicBezTo>
                    <a:pt x="4404" y="10367"/>
                    <a:pt x="4555" y="10219"/>
                    <a:pt x="4555" y="10033"/>
                  </a:cubicBezTo>
                  <a:cubicBezTo>
                    <a:pt x="4555" y="9848"/>
                    <a:pt x="4404" y="9696"/>
                    <a:pt x="4214" y="9696"/>
                  </a:cubicBezTo>
                  <a:close/>
                  <a:moveTo>
                    <a:pt x="5233" y="9696"/>
                  </a:moveTo>
                  <a:cubicBezTo>
                    <a:pt x="5044" y="9696"/>
                    <a:pt x="4889" y="9848"/>
                    <a:pt x="4889" y="10033"/>
                  </a:cubicBezTo>
                  <a:cubicBezTo>
                    <a:pt x="4889" y="10219"/>
                    <a:pt x="5044" y="10367"/>
                    <a:pt x="5233" y="10367"/>
                  </a:cubicBezTo>
                  <a:cubicBezTo>
                    <a:pt x="5422" y="10367"/>
                    <a:pt x="5573" y="10219"/>
                    <a:pt x="5573" y="10033"/>
                  </a:cubicBezTo>
                  <a:cubicBezTo>
                    <a:pt x="5573" y="9848"/>
                    <a:pt x="5422" y="9696"/>
                    <a:pt x="5233" y="9696"/>
                  </a:cubicBezTo>
                  <a:close/>
                  <a:moveTo>
                    <a:pt x="6150" y="9696"/>
                  </a:moveTo>
                  <a:cubicBezTo>
                    <a:pt x="5960" y="9696"/>
                    <a:pt x="5806" y="9848"/>
                    <a:pt x="5806" y="10033"/>
                  </a:cubicBezTo>
                  <a:cubicBezTo>
                    <a:pt x="5806" y="10219"/>
                    <a:pt x="5960" y="10367"/>
                    <a:pt x="6150" y="10367"/>
                  </a:cubicBezTo>
                  <a:cubicBezTo>
                    <a:pt x="6338" y="10367"/>
                    <a:pt x="6490" y="10219"/>
                    <a:pt x="6490" y="10033"/>
                  </a:cubicBezTo>
                  <a:cubicBezTo>
                    <a:pt x="6490" y="9848"/>
                    <a:pt x="6338" y="9696"/>
                    <a:pt x="6150" y="9696"/>
                  </a:cubicBezTo>
                  <a:close/>
                  <a:moveTo>
                    <a:pt x="7168" y="9696"/>
                  </a:moveTo>
                  <a:cubicBezTo>
                    <a:pt x="6979" y="9696"/>
                    <a:pt x="6824" y="9848"/>
                    <a:pt x="6824" y="10033"/>
                  </a:cubicBezTo>
                  <a:cubicBezTo>
                    <a:pt x="6824" y="10219"/>
                    <a:pt x="6979" y="10367"/>
                    <a:pt x="7168" y="10367"/>
                  </a:cubicBezTo>
                  <a:cubicBezTo>
                    <a:pt x="7358" y="10367"/>
                    <a:pt x="7509" y="10219"/>
                    <a:pt x="7509" y="10033"/>
                  </a:cubicBezTo>
                  <a:cubicBezTo>
                    <a:pt x="7509" y="9848"/>
                    <a:pt x="7358" y="9696"/>
                    <a:pt x="7168" y="9696"/>
                  </a:cubicBezTo>
                  <a:close/>
                  <a:moveTo>
                    <a:pt x="8187" y="9696"/>
                  </a:moveTo>
                  <a:cubicBezTo>
                    <a:pt x="7998" y="9696"/>
                    <a:pt x="7843" y="9848"/>
                    <a:pt x="7843" y="10033"/>
                  </a:cubicBezTo>
                  <a:cubicBezTo>
                    <a:pt x="7843" y="10219"/>
                    <a:pt x="7998" y="10367"/>
                    <a:pt x="8187" y="10367"/>
                  </a:cubicBezTo>
                  <a:cubicBezTo>
                    <a:pt x="8376" y="10367"/>
                    <a:pt x="8527" y="10219"/>
                    <a:pt x="8527" y="10033"/>
                  </a:cubicBezTo>
                  <a:cubicBezTo>
                    <a:pt x="8527" y="9848"/>
                    <a:pt x="8376" y="9696"/>
                    <a:pt x="8187" y="9696"/>
                  </a:cubicBezTo>
                  <a:close/>
                  <a:moveTo>
                    <a:pt x="9103" y="9696"/>
                  </a:moveTo>
                  <a:cubicBezTo>
                    <a:pt x="8914" y="9696"/>
                    <a:pt x="8760" y="9848"/>
                    <a:pt x="8760" y="10033"/>
                  </a:cubicBezTo>
                  <a:cubicBezTo>
                    <a:pt x="8760" y="10219"/>
                    <a:pt x="8914" y="10367"/>
                    <a:pt x="9103" y="10367"/>
                  </a:cubicBezTo>
                  <a:cubicBezTo>
                    <a:pt x="9292" y="10367"/>
                    <a:pt x="9444" y="10219"/>
                    <a:pt x="9444" y="10033"/>
                  </a:cubicBezTo>
                  <a:cubicBezTo>
                    <a:pt x="9444" y="9848"/>
                    <a:pt x="9292" y="9696"/>
                    <a:pt x="9103" y="9696"/>
                  </a:cubicBezTo>
                  <a:close/>
                  <a:moveTo>
                    <a:pt x="10122" y="9696"/>
                  </a:moveTo>
                  <a:cubicBezTo>
                    <a:pt x="9933" y="9696"/>
                    <a:pt x="9778" y="9848"/>
                    <a:pt x="9778" y="10033"/>
                  </a:cubicBezTo>
                  <a:cubicBezTo>
                    <a:pt x="9778" y="10219"/>
                    <a:pt x="9933" y="10367"/>
                    <a:pt x="10122" y="10367"/>
                  </a:cubicBezTo>
                  <a:cubicBezTo>
                    <a:pt x="10311" y="10367"/>
                    <a:pt x="10463" y="10219"/>
                    <a:pt x="10463" y="10033"/>
                  </a:cubicBezTo>
                  <a:cubicBezTo>
                    <a:pt x="10463" y="9848"/>
                    <a:pt x="10311" y="9696"/>
                    <a:pt x="10122" y="9696"/>
                  </a:cubicBezTo>
                  <a:close/>
                  <a:moveTo>
                    <a:pt x="11141" y="9696"/>
                  </a:moveTo>
                  <a:cubicBezTo>
                    <a:pt x="10952" y="9696"/>
                    <a:pt x="10797" y="9848"/>
                    <a:pt x="10797" y="10033"/>
                  </a:cubicBezTo>
                  <a:cubicBezTo>
                    <a:pt x="10797" y="10219"/>
                    <a:pt x="10952" y="10367"/>
                    <a:pt x="11141" y="10367"/>
                  </a:cubicBezTo>
                  <a:cubicBezTo>
                    <a:pt x="11329" y="10367"/>
                    <a:pt x="11481" y="10219"/>
                    <a:pt x="11481" y="10033"/>
                  </a:cubicBezTo>
                  <a:cubicBezTo>
                    <a:pt x="11481" y="9848"/>
                    <a:pt x="11329" y="9696"/>
                    <a:pt x="11141" y="9696"/>
                  </a:cubicBezTo>
                  <a:close/>
                  <a:moveTo>
                    <a:pt x="12057" y="9696"/>
                  </a:moveTo>
                  <a:cubicBezTo>
                    <a:pt x="11868" y="9696"/>
                    <a:pt x="11714" y="9848"/>
                    <a:pt x="11714" y="10033"/>
                  </a:cubicBezTo>
                  <a:cubicBezTo>
                    <a:pt x="11714" y="10219"/>
                    <a:pt x="11868" y="10367"/>
                    <a:pt x="12057" y="10367"/>
                  </a:cubicBezTo>
                  <a:cubicBezTo>
                    <a:pt x="12246" y="10367"/>
                    <a:pt x="12398" y="10219"/>
                    <a:pt x="12398" y="10033"/>
                  </a:cubicBezTo>
                  <a:cubicBezTo>
                    <a:pt x="12398" y="9848"/>
                    <a:pt x="12246" y="9696"/>
                    <a:pt x="12057" y="9696"/>
                  </a:cubicBezTo>
                  <a:close/>
                  <a:moveTo>
                    <a:pt x="13076" y="9696"/>
                  </a:moveTo>
                  <a:cubicBezTo>
                    <a:pt x="12887" y="9696"/>
                    <a:pt x="12732" y="9848"/>
                    <a:pt x="12732" y="10033"/>
                  </a:cubicBezTo>
                  <a:cubicBezTo>
                    <a:pt x="12732" y="10219"/>
                    <a:pt x="12887" y="10367"/>
                    <a:pt x="13076" y="10367"/>
                  </a:cubicBezTo>
                  <a:cubicBezTo>
                    <a:pt x="13264" y="10367"/>
                    <a:pt x="13416" y="10219"/>
                    <a:pt x="13416" y="10033"/>
                  </a:cubicBezTo>
                  <a:cubicBezTo>
                    <a:pt x="13416" y="9848"/>
                    <a:pt x="13264" y="9696"/>
                    <a:pt x="13076" y="9696"/>
                  </a:cubicBezTo>
                  <a:close/>
                  <a:moveTo>
                    <a:pt x="14094" y="9696"/>
                  </a:moveTo>
                  <a:cubicBezTo>
                    <a:pt x="13905" y="9696"/>
                    <a:pt x="13751" y="9848"/>
                    <a:pt x="13751" y="10033"/>
                  </a:cubicBezTo>
                  <a:cubicBezTo>
                    <a:pt x="13751" y="10219"/>
                    <a:pt x="13905" y="10367"/>
                    <a:pt x="14094" y="10367"/>
                  </a:cubicBezTo>
                  <a:cubicBezTo>
                    <a:pt x="14284" y="10367"/>
                    <a:pt x="14435" y="10219"/>
                    <a:pt x="14435" y="10033"/>
                  </a:cubicBezTo>
                  <a:cubicBezTo>
                    <a:pt x="14435" y="9848"/>
                    <a:pt x="14284" y="9696"/>
                    <a:pt x="14094" y="9696"/>
                  </a:cubicBezTo>
                  <a:close/>
                  <a:moveTo>
                    <a:pt x="15113" y="9696"/>
                  </a:moveTo>
                  <a:cubicBezTo>
                    <a:pt x="14924" y="9696"/>
                    <a:pt x="14769" y="9848"/>
                    <a:pt x="14769" y="10033"/>
                  </a:cubicBezTo>
                  <a:cubicBezTo>
                    <a:pt x="14769" y="10219"/>
                    <a:pt x="14924" y="10367"/>
                    <a:pt x="15113" y="10367"/>
                  </a:cubicBezTo>
                  <a:cubicBezTo>
                    <a:pt x="15302" y="10367"/>
                    <a:pt x="15454" y="10219"/>
                    <a:pt x="15454" y="10033"/>
                  </a:cubicBezTo>
                  <a:cubicBezTo>
                    <a:pt x="15454" y="9848"/>
                    <a:pt x="15302" y="9696"/>
                    <a:pt x="15113" y="9696"/>
                  </a:cubicBezTo>
                  <a:close/>
                  <a:moveTo>
                    <a:pt x="16030" y="9696"/>
                  </a:moveTo>
                  <a:cubicBezTo>
                    <a:pt x="15841" y="9696"/>
                    <a:pt x="15686" y="9848"/>
                    <a:pt x="15686" y="10033"/>
                  </a:cubicBezTo>
                  <a:cubicBezTo>
                    <a:pt x="15686" y="10219"/>
                    <a:pt x="15841" y="10367"/>
                    <a:pt x="16030" y="10367"/>
                  </a:cubicBezTo>
                  <a:cubicBezTo>
                    <a:pt x="16219" y="10367"/>
                    <a:pt x="16370" y="10219"/>
                    <a:pt x="16370" y="10033"/>
                  </a:cubicBezTo>
                  <a:cubicBezTo>
                    <a:pt x="16370" y="9848"/>
                    <a:pt x="16219" y="9696"/>
                    <a:pt x="16030" y="9696"/>
                  </a:cubicBezTo>
                  <a:close/>
                  <a:moveTo>
                    <a:pt x="19560" y="9696"/>
                  </a:moveTo>
                  <a:cubicBezTo>
                    <a:pt x="19389" y="9696"/>
                    <a:pt x="19251" y="9831"/>
                    <a:pt x="19251" y="9999"/>
                  </a:cubicBezTo>
                  <a:cubicBezTo>
                    <a:pt x="19251" y="10166"/>
                    <a:pt x="19389" y="10305"/>
                    <a:pt x="19560" y="10305"/>
                  </a:cubicBezTo>
                  <a:cubicBezTo>
                    <a:pt x="19730" y="10305"/>
                    <a:pt x="19868" y="10166"/>
                    <a:pt x="19868" y="9999"/>
                  </a:cubicBezTo>
                  <a:cubicBezTo>
                    <a:pt x="19868" y="9831"/>
                    <a:pt x="19730" y="9696"/>
                    <a:pt x="19560" y="9696"/>
                  </a:cubicBezTo>
                  <a:close/>
                  <a:moveTo>
                    <a:pt x="344" y="10595"/>
                  </a:moveTo>
                  <a:cubicBezTo>
                    <a:pt x="155" y="10595"/>
                    <a:pt x="0" y="10747"/>
                    <a:pt x="0" y="10933"/>
                  </a:cubicBezTo>
                  <a:cubicBezTo>
                    <a:pt x="0" y="11119"/>
                    <a:pt x="155" y="11270"/>
                    <a:pt x="344" y="11270"/>
                  </a:cubicBezTo>
                  <a:cubicBezTo>
                    <a:pt x="533" y="11270"/>
                    <a:pt x="684" y="11119"/>
                    <a:pt x="684" y="10933"/>
                  </a:cubicBezTo>
                  <a:cubicBezTo>
                    <a:pt x="684" y="10747"/>
                    <a:pt x="533" y="10595"/>
                    <a:pt x="344" y="10595"/>
                  </a:cubicBezTo>
                  <a:close/>
                  <a:moveTo>
                    <a:pt x="1260" y="10595"/>
                  </a:moveTo>
                  <a:cubicBezTo>
                    <a:pt x="1071" y="10595"/>
                    <a:pt x="917" y="10747"/>
                    <a:pt x="917" y="10933"/>
                  </a:cubicBezTo>
                  <a:cubicBezTo>
                    <a:pt x="917" y="11119"/>
                    <a:pt x="1071" y="11270"/>
                    <a:pt x="1260" y="11270"/>
                  </a:cubicBezTo>
                  <a:cubicBezTo>
                    <a:pt x="1450" y="11270"/>
                    <a:pt x="1601" y="11119"/>
                    <a:pt x="1601" y="10933"/>
                  </a:cubicBezTo>
                  <a:cubicBezTo>
                    <a:pt x="1601" y="10747"/>
                    <a:pt x="1450" y="10595"/>
                    <a:pt x="1260" y="10595"/>
                  </a:cubicBezTo>
                  <a:close/>
                  <a:moveTo>
                    <a:pt x="2279" y="10595"/>
                  </a:moveTo>
                  <a:cubicBezTo>
                    <a:pt x="2090" y="10595"/>
                    <a:pt x="1935" y="10747"/>
                    <a:pt x="1935" y="10933"/>
                  </a:cubicBezTo>
                  <a:cubicBezTo>
                    <a:pt x="1935" y="11119"/>
                    <a:pt x="2090" y="11270"/>
                    <a:pt x="2279" y="11270"/>
                  </a:cubicBezTo>
                  <a:cubicBezTo>
                    <a:pt x="2468" y="11270"/>
                    <a:pt x="2620" y="11119"/>
                    <a:pt x="2620" y="10933"/>
                  </a:cubicBezTo>
                  <a:cubicBezTo>
                    <a:pt x="2620" y="10747"/>
                    <a:pt x="2468" y="10595"/>
                    <a:pt x="2279" y="10595"/>
                  </a:cubicBezTo>
                  <a:close/>
                  <a:moveTo>
                    <a:pt x="3196" y="10595"/>
                  </a:moveTo>
                  <a:cubicBezTo>
                    <a:pt x="3007" y="10595"/>
                    <a:pt x="2852" y="10747"/>
                    <a:pt x="2852" y="10933"/>
                  </a:cubicBezTo>
                  <a:cubicBezTo>
                    <a:pt x="2852" y="11119"/>
                    <a:pt x="3007" y="11270"/>
                    <a:pt x="3196" y="11270"/>
                  </a:cubicBezTo>
                  <a:cubicBezTo>
                    <a:pt x="3385" y="11270"/>
                    <a:pt x="3536" y="11119"/>
                    <a:pt x="3536" y="10933"/>
                  </a:cubicBezTo>
                  <a:cubicBezTo>
                    <a:pt x="3536" y="10747"/>
                    <a:pt x="3385" y="10595"/>
                    <a:pt x="3196" y="10595"/>
                  </a:cubicBezTo>
                  <a:close/>
                  <a:moveTo>
                    <a:pt x="4214" y="10595"/>
                  </a:moveTo>
                  <a:cubicBezTo>
                    <a:pt x="4025" y="10595"/>
                    <a:pt x="3871" y="10747"/>
                    <a:pt x="3871" y="10933"/>
                  </a:cubicBezTo>
                  <a:cubicBezTo>
                    <a:pt x="3871" y="11119"/>
                    <a:pt x="4025" y="11270"/>
                    <a:pt x="4214" y="11270"/>
                  </a:cubicBezTo>
                  <a:cubicBezTo>
                    <a:pt x="4404" y="11270"/>
                    <a:pt x="4555" y="11119"/>
                    <a:pt x="4555" y="10933"/>
                  </a:cubicBezTo>
                  <a:cubicBezTo>
                    <a:pt x="4555" y="10747"/>
                    <a:pt x="4404" y="10595"/>
                    <a:pt x="4214" y="10595"/>
                  </a:cubicBezTo>
                  <a:close/>
                  <a:moveTo>
                    <a:pt x="5233" y="10595"/>
                  </a:moveTo>
                  <a:cubicBezTo>
                    <a:pt x="5044" y="10595"/>
                    <a:pt x="4889" y="10747"/>
                    <a:pt x="4889" y="10933"/>
                  </a:cubicBezTo>
                  <a:cubicBezTo>
                    <a:pt x="4889" y="11119"/>
                    <a:pt x="5044" y="11270"/>
                    <a:pt x="5233" y="11270"/>
                  </a:cubicBezTo>
                  <a:cubicBezTo>
                    <a:pt x="5422" y="11270"/>
                    <a:pt x="5573" y="11119"/>
                    <a:pt x="5573" y="10933"/>
                  </a:cubicBezTo>
                  <a:cubicBezTo>
                    <a:pt x="5573" y="10747"/>
                    <a:pt x="5422" y="10595"/>
                    <a:pt x="5233" y="10595"/>
                  </a:cubicBezTo>
                  <a:close/>
                  <a:moveTo>
                    <a:pt x="6150" y="10595"/>
                  </a:moveTo>
                  <a:cubicBezTo>
                    <a:pt x="5960" y="10595"/>
                    <a:pt x="5806" y="10747"/>
                    <a:pt x="5806" y="10933"/>
                  </a:cubicBezTo>
                  <a:cubicBezTo>
                    <a:pt x="5806" y="11119"/>
                    <a:pt x="5960" y="11270"/>
                    <a:pt x="6150" y="11270"/>
                  </a:cubicBezTo>
                  <a:cubicBezTo>
                    <a:pt x="6338" y="11270"/>
                    <a:pt x="6490" y="11119"/>
                    <a:pt x="6490" y="10933"/>
                  </a:cubicBezTo>
                  <a:cubicBezTo>
                    <a:pt x="6490" y="10747"/>
                    <a:pt x="6338" y="10595"/>
                    <a:pt x="6150" y="10595"/>
                  </a:cubicBezTo>
                  <a:close/>
                  <a:moveTo>
                    <a:pt x="7168" y="10595"/>
                  </a:moveTo>
                  <a:cubicBezTo>
                    <a:pt x="6979" y="10595"/>
                    <a:pt x="6824" y="10747"/>
                    <a:pt x="6824" y="10933"/>
                  </a:cubicBezTo>
                  <a:cubicBezTo>
                    <a:pt x="6824" y="11119"/>
                    <a:pt x="6979" y="11270"/>
                    <a:pt x="7168" y="11270"/>
                  </a:cubicBezTo>
                  <a:cubicBezTo>
                    <a:pt x="7358" y="11270"/>
                    <a:pt x="7509" y="11119"/>
                    <a:pt x="7509" y="10933"/>
                  </a:cubicBezTo>
                  <a:cubicBezTo>
                    <a:pt x="7509" y="10747"/>
                    <a:pt x="7358" y="10595"/>
                    <a:pt x="7168" y="10595"/>
                  </a:cubicBezTo>
                  <a:close/>
                  <a:moveTo>
                    <a:pt x="8187" y="10595"/>
                  </a:moveTo>
                  <a:cubicBezTo>
                    <a:pt x="7998" y="10595"/>
                    <a:pt x="7843" y="10747"/>
                    <a:pt x="7843" y="10933"/>
                  </a:cubicBezTo>
                  <a:cubicBezTo>
                    <a:pt x="7843" y="11119"/>
                    <a:pt x="7998" y="11270"/>
                    <a:pt x="8187" y="11270"/>
                  </a:cubicBezTo>
                  <a:cubicBezTo>
                    <a:pt x="8376" y="11270"/>
                    <a:pt x="8527" y="11119"/>
                    <a:pt x="8527" y="10933"/>
                  </a:cubicBezTo>
                  <a:cubicBezTo>
                    <a:pt x="8527" y="10747"/>
                    <a:pt x="8376" y="10595"/>
                    <a:pt x="8187" y="10595"/>
                  </a:cubicBezTo>
                  <a:close/>
                  <a:moveTo>
                    <a:pt x="9103" y="10595"/>
                  </a:moveTo>
                  <a:cubicBezTo>
                    <a:pt x="8914" y="10595"/>
                    <a:pt x="8760" y="10747"/>
                    <a:pt x="8760" y="10933"/>
                  </a:cubicBezTo>
                  <a:cubicBezTo>
                    <a:pt x="8760" y="11119"/>
                    <a:pt x="8914" y="11270"/>
                    <a:pt x="9103" y="11270"/>
                  </a:cubicBezTo>
                  <a:cubicBezTo>
                    <a:pt x="9292" y="11270"/>
                    <a:pt x="9444" y="11119"/>
                    <a:pt x="9444" y="10933"/>
                  </a:cubicBezTo>
                  <a:cubicBezTo>
                    <a:pt x="9444" y="10747"/>
                    <a:pt x="9292" y="10595"/>
                    <a:pt x="9103" y="10595"/>
                  </a:cubicBezTo>
                  <a:close/>
                  <a:moveTo>
                    <a:pt x="10122" y="10595"/>
                  </a:moveTo>
                  <a:cubicBezTo>
                    <a:pt x="9933" y="10595"/>
                    <a:pt x="9778" y="10747"/>
                    <a:pt x="9778" y="10933"/>
                  </a:cubicBezTo>
                  <a:cubicBezTo>
                    <a:pt x="9778" y="11119"/>
                    <a:pt x="9933" y="11270"/>
                    <a:pt x="10122" y="11270"/>
                  </a:cubicBezTo>
                  <a:cubicBezTo>
                    <a:pt x="10311" y="11270"/>
                    <a:pt x="10463" y="11119"/>
                    <a:pt x="10463" y="10933"/>
                  </a:cubicBezTo>
                  <a:cubicBezTo>
                    <a:pt x="10463" y="10747"/>
                    <a:pt x="10311" y="10595"/>
                    <a:pt x="10122" y="10595"/>
                  </a:cubicBezTo>
                  <a:close/>
                  <a:moveTo>
                    <a:pt x="11141" y="10595"/>
                  </a:moveTo>
                  <a:cubicBezTo>
                    <a:pt x="10952" y="10595"/>
                    <a:pt x="10797" y="10747"/>
                    <a:pt x="10797" y="10933"/>
                  </a:cubicBezTo>
                  <a:cubicBezTo>
                    <a:pt x="10797" y="11119"/>
                    <a:pt x="10952" y="11270"/>
                    <a:pt x="11141" y="11270"/>
                  </a:cubicBezTo>
                  <a:cubicBezTo>
                    <a:pt x="11329" y="11270"/>
                    <a:pt x="11481" y="11119"/>
                    <a:pt x="11481" y="10933"/>
                  </a:cubicBezTo>
                  <a:cubicBezTo>
                    <a:pt x="11481" y="10747"/>
                    <a:pt x="11329" y="10595"/>
                    <a:pt x="11141" y="10595"/>
                  </a:cubicBezTo>
                  <a:close/>
                  <a:moveTo>
                    <a:pt x="12057" y="10595"/>
                  </a:moveTo>
                  <a:cubicBezTo>
                    <a:pt x="11868" y="10595"/>
                    <a:pt x="11714" y="10747"/>
                    <a:pt x="11714" y="10933"/>
                  </a:cubicBezTo>
                  <a:cubicBezTo>
                    <a:pt x="11714" y="11119"/>
                    <a:pt x="11868" y="11270"/>
                    <a:pt x="12057" y="11270"/>
                  </a:cubicBezTo>
                  <a:cubicBezTo>
                    <a:pt x="12246" y="11270"/>
                    <a:pt x="12398" y="11119"/>
                    <a:pt x="12398" y="10933"/>
                  </a:cubicBezTo>
                  <a:cubicBezTo>
                    <a:pt x="12398" y="10747"/>
                    <a:pt x="12246" y="10595"/>
                    <a:pt x="12057" y="10595"/>
                  </a:cubicBezTo>
                  <a:close/>
                  <a:moveTo>
                    <a:pt x="13076" y="10595"/>
                  </a:moveTo>
                  <a:cubicBezTo>
                    <a:pt x="12887" y="10595"/>
                    <a:pt x="12732" y="10747"/>
                    <a:pt x="12732" y="10933"/>
                  </a:cubicBezTo>
                  <a:cubicBezTo>
                    <a:pt x="12732" y="11119"/>
                    <a:pt x="12887" y="11270"/>
                    <a:pt x="13076" y="11270"/>
                  </a:cubicBezTo>
                  <a:cubicBezTo>
                    <a:pt x="13264" y="11270"/>
                    <a:pt x="13416" y="11119"/>
                    <a:pt x="13416" y="10933"/>
                  </a:cubicBezTo>
                  <a:cubicBezTo>
                    <a:pt x="13416" y="10747"/>
                    <a:pt x="13264" y="10595"/>
                    <a:pt x="13076" y="10595"/>
                  </a:cubicBezTo>
                  <a:close/>
                  <a:moveTo>
                    <a:pt x="14094" y="10595"/>
                  </a:moveTo>
                  <a:cubicBezTo>
                    <a:pt x="13905" y="10595"/>
                    <a:pt x="13751" y="10747"/>
                    <a:pt x="13751" y="10933"/>
                  </a:cubicBezTo>
                  <a:cubicBezTo>
                    <a:pt x="13751" y="11119"/>
                    <a:pt x="13905" y="11270"/>
                    <a:pt x="14094" y="11270"/>
                  </a:cubicBezTo>
                  <a:cubicBezTo>
                    <a:pt x="14284" y="11270"/>
                    <a:pt x="14435" y="11119"/>
                    <a:pt x="14435" y="10933"/>
                  </a:cubicBezTo>
                  <a:cubicBezTo>
                    <a:pt x="14435" y="10747"/>
                    <a:pt x="14284" y="10595"/>
                    <a:pt x="14094" y="10595"/>
                  </a:cubicBezTo>
                  <a:close/>
                  <a:moveTo>
                    <a:pt x="15113" y="10595"/>
                  </a:moveTo>
                  <a:cubicBezTo>
                    <a:pt x="14924" y="10595"/>
                    <a:pt x="14769" y="10747"/>
                    <a:pt x="14769" y="10933"/>
                  </a:cubicBezTo>
                  <a:cubicBezTo>
                    <a:pt x="14769" y="11119"/>
                    <a:pt x="14924" y="11270"/>
                    <a:pt x="15113" y="11270"/>
                  </a:cubicBezTo>
                  <a:cubicBezTo>
                    <a:pt x="15302" y="11270"/>
                    <a:pt x="15454" y="11119"/>
                    <a:pt x="15454" y="10933"/>
                  </a:cubicBezTo>
                  <a:cubicBezTo>
                    <a:pt x="15454" y="10747"/>
                    <a:pt x="15302" y="10595"/>
                    <a:pt x="15113" y="10595"/>
                  </a:cubicBezTo>
                  <a:close/>
                  <a:moveTo>
                    <a:pt x="16030" y="10595"/>
                  </a:moveTo>
                  <a:cubicBezTo>
                    <a:pt x="15841" y="10595"/>
                    <a:pt x="15686" y="10747"/>
                    <a:pt x="15686" y="10933"/>
                  </a:cubicBezTo>
                  <a:cubicBezTo>
                    <a:pt x="15686" y="11119"/>
                    <a:pt x="15841" y="11270"/>
                    <a:pt x="16030" y="11270"/>
                  </a:cubicBezTo>
                  <a:cubicBezTo>
                    <a:pt x="16219" y="11270"/>
                    <a:pt x="16370" y="11119"/>
                    <a:pt x="16370" y="10933"/>
                  </a:cubicBezTo>
                  <a:cubicBezTo>
                    <a:pt x="16370" y="10747"/>
                    <a:pt x="16219" y="10595"/>
                    <a:pt x="16030" y="10595"/>
                  </a:cubicBezTo>
                  <a:close/>
                  <a:moveTo>
                    <a:pt x="17048" y="10595"/>
                  </a:moveTo>
                  <a:cubicBezTo>
                    <a:pt x="16859" y="10595"/>
                    <a:pt x="16705" y="10747"/>
                    <a:pt x="16705" y="10933"/>
                  </a:cubicBezTo>
                  <a:cubicBezTo>
                    <a:pt x="16705" y="11119"/>
                    <a:pt x="16859" y="11270"/>
                    <a:pt x="17048" y="11270"/>
                  </a:cubicBezTo>
                  <a:cubicBezTo>
                    <a:pt x="17237" y="11270"/>
                    <a:pt x="17389" y="11119"/>
                    <a:pt x="17389" y="10933"/>
                  </a:cubicBezTo>
                  <a:cubicBezTo>
                    <a:pt x="17389" y="10747"/>
                    <a:pt x="17237" y="10595"/>
                    <a:pt x="17048" y="10595"/>
                  </a:cubicBezTo>
                  <a:close/>
                  <a:moveTo>
                    <a:pt x="20273" y="10595"/>
                  </a:moveTo>
                  <a:cubicBezTo>
                    <a:pt x="20102" y="10595"/>
                    <a:pt x="19964" y="10731"/>
                    <a:pt x="19964" y="10898"/>
                  </a:cubicBezTo>
                  <a:cubicBezTo>
                    <a:pt x="19964" y="11065"/>
                    <a:pt x="20102" y="11201"/>
                    <a:pt x="20273" y="11201"/>
                  </a:cubicBezTo>
                  <a:cubicBezTo>
                    <a:pt x="20443" y="11201"/>
                    <a:pt x="20581" y="11065"/>
                    <a:pt x="20581" y="10898"/>
                  </a:cubicBezTo>
                  <a:cubicBezTo>
                    <a:pt x="20581" y="10731"/>
                    <a:pt x="20443" y="10595"/>
                    <a:pt x="20273" y="10595"/>
                  </a:cubicBezTo>
                  <a:close/>
                  <a:moveTo>
                    <a:pt x="344" y="11595"/>
                  </a:moveTo>
                  <a:cubicBezTo>
                    <a:pt x="155" y="11595"/>
                    <a:pt x="0" y="11746"/>
                    <a:pt x="0" y="11932"/>
                  </a:cubicBezTo>
                  <a:cubicBezTo>
                    <a:pt x="0" y="12118"/>
                    <a:pt x="155" y="12267"/>
                    <a:pt x="344" y="12267"/>
                  </a:cubicBezTo>
                  <a:cubicBezTo>
                    <a:pt x="533" y="12267"/>
                    <a:pt x="684" y="12118"/>
                    <a:pt x="684" y="11932"/>
                  </a:cubicBezTo>
                  <a:cubicBezTo>
                    <a:pt x="684" y="11746"/>
                    <a:pt x="533" y="11595"/>
                    <a:pt x="344" y="11595"/>
                  </a:cubicBezTo>
                  <a:close/>
                  <a:moveTo>
                    <a:pt x="1260" y="11595"/>
                  </a:moveTo>
                  <a:cubicBezTo>
                    <a:pt x="1071" y="11595"/>
                    <a:pt x="917" y="11746"/>
                    <a:pt x="917" y="11932"/>
                  </a:cubicBezTo>
                  <a:cubicBezTo>
                    <a:pt x="917" y="12118"/>
                    <a:pt x="1071" y="12267"/>
                    <a:pt x="1260" y="12267"/>
                  </a:cubicBezTo>
                  <a:cubicBezTo>
                    <a:pt x="1450" y="12267"/>
                    <a:pt x="1601" y="12118"/>
                    <a:pt x="1601" y="11932"/>
                  </a:cubicBezTo>
                  <a:cubicBezTo>
                    <a:pt x="1601" y="11746"/>
                    <a:pt x="1450" y="11595"/>
                    <a:pt x="1260" y="11595"/>
                  </a:cubicBezTo>
                  <a:close/>
                  <a:moveTo>
                    <a:pt x="2279" y="11595"/>
                  </a:moveTo>
                  <a:cubicBezTo>
                    <a:pt x="2090" y="11595"/>
                    <a:pt x="1935" y="11746"/>
                    <a:pt x="1935" y="11932"/>
                  </a:cubicBezTo>
                  <a:cubicBezTo>
                    <a:pt x="1935" y="12118"/>
                    <a:pt x="2090" y="12267"/>
                    <a:pt x="2279" y="12267"/>
                  </a:cubicBezTo>
                  <a:cubicBezTo>
                    <a:pt x="2468" y="12267"/>
                    <a:pt x="2620" y="12118"/>
                    <a:pt x="2620" y="11932"/>
                  </a:cubicBezTo>
                  <a:cubicBezTo>
                    <a:pt x="2620" y="11746"/>
                    <a:pt x="2468" y="11595"/>
                    <a:pt x="2279" y="11595"/>
                  </a:cubicBezTo>
                  <a:close/>
                  <a:moveTo>
                    <a:pt x="3196" y="11595"/>
                  </a:moveTo>
                  <a:cubicBezTo>
                    <a:pt x="3007" y="11595"/>
                    <a:pt x="2852" y="11746"/>
                    <a:pt x="2852" y="11932"/>
                  </a:cubicBezTo>
                  <a:cubicBezTo>
                    <a:pt x="2852" y="12118"/>
                    <a:pt x="3007" y="12267"/>
                    <a:pt x="3196" y="12267"/>
                  </a:cubicBezTo>
                  <a:cubicBezTo>
                    <a:pt x="3385" y="12267"/>
                    <a:pt x="3536" y="12118"/>
                    <a:pt x="3536" y="11932"/>
                  </a:cubicBezTo>
                  <a:cubicBezTo>
                    <a:pt x="3536" y="11746"/>
                    <a:pt x="3385" y="11595"/>
                    <a:pt x="3196" y="11595"/>
                  </a:cubicBezTo>
                  <a:close/>
                  <a:moveTo>
                    <a:pt x="4214" y="11595"/>
                  </a:moveTo>
                  <a:cubicBezTo>
                    <a:pt x="4025" y="11595"/>
                    <a:pt x="3871" y="11746"/>
                    <a:pt x="3871" y="11932"/>
                  </a:cubicBezTo>
                  <a:cubicBezTo>
                    <a:pt x="3871" y="12118"/>
                    <a:pt x="4025" y="12267"/>
                    <a:pt x="4214" y="12267"/>
                  </a:cubicBezTo>
                  <a:cubicBezTo>
                    <a:pt x="4404" y="12267"/>
                    <a:pt x="4555" y="12118"/>
                    <a:pt x="4555" y="11932"/>
                  </a:cubicBezTo>
                  <a:cubicBezTo>
                    <a:pt x="4555" y="11746"/>
                    <a:pt x="4404" y="11595"/>
                    <a:pt x="4214" y="11595"/>
                  </a:cubicBezTo>
                  <a:close/>
                  <a:moveTo>
                    <a:pt x="5233" y="11595"/>
                  </a:moveTo>
                  <a:cubicBezTo>
                    <a:pt x="5044" y="11595"/>
                    <a:pt x="4889" y="11746"/>
                    <a:pt x="4889" y="11932"/>
                  </a:cubicBezTo>
                  <a:cubicBezTo>
                    <a:pt x="4889" y="12118"/>
                    <a:pt x="5044" y="12267"/>
                    <a:pt x="5233" y="12267"/>
                  </a:cubicBezTo>
                  <a:cubicBezTo>
                    <a:pt x="5422" y="12267"/>
                    <a:pt x="5573" y="12118"/>
                    <a:pt x="5573" y="11932"/>
                  </a:cubicBezTo>
                  <a:cubicBezTo>
                    <a:pt x="5573" y="11746"/>
                    <a:pt x="5422" y="11595"/>
                    <a:pt x="5233" y="11595"/>
                  </a:cubicBezTo>
                  <a:close/>
                  <a:moveTo>
                    <a:pt x="6150" y="11595"/>
                  </a:moveTo>
                  <a:cubicBezTo>
                    <a:pt x="5960" y="11595"/>
                    <a:pt x="5806" y="11746"/>
                    <a:pt x="5806" y="11932"/>
                  </a:cubicBezTo>
                  <a:cubicBezTo>
                    <a:pt x="5806" y="12118"/>
                    <a:pt x="5960" y="12267"/>
                    <a:pt x="6150" y="12267"/>
                  </a:cubicBezTo>
                  <a:cubicBezTo>
                    <a:pt x="6338" y="12267"/>
                    <a:pt x="6490" y="12118"/>
                    <a:pt x="6490" y="11932"/>
                  </a:cubicBezTo>
                  <a:cubicBezTo>
                    <a:pt x="6490" y="11746"/>
                    <a:pt x="6338" y="11595"/>
                    <a:pt x="6150" y="11595"/>
                  </a:cubicBezTo>
                  <a:close/>
                  <a:moveTo>
                    <a:pt x="7168" y="11595"/>
                  </a:moveTo>
                  <a:cubicBezTo>
                    <a:pt x="6979" y="11595"/>
                    <a:pt x="6824" y="11746"/>
                    <a:pt x="6824" y="11932"/>
                  </a:cubicBezTo>
                  <a:cubicBezTo>
                    <a:pt x="6824" y="12118"/>
                    <a:pt x="6979" y="12267"/>
                    <a:pt x="7168" y="12267"/>
                  </a:cubicBezTo>
                  <a:cubicBezTo>
                    <a:pt x="7358" y="12267"/>
                    <a:pt x="7509" y="12118"/>
                    <a:pt x="7509" y="11932"/>
                  </a:cubicBezTo>
                  <a:cubicBezTo>
                    <a:pt x="7509" y="11746"/>
                    <a:pt x="7358" y="11595"/>
                    <a:pt x="7168" y="11595"/>
                  </a:cubicBezTo>
                  <a:close/>
                  <a:moveTo>
                    <a:pt x="8187" y="11595"/>
                  </a:moveTo>
                  <a:cubicBezTo>
                    <a:pt x="7998" y="11595"/>
                    <a:pt x="7843" y="11746"/>
                    <a:pt x="7843" y="11932"/>
                  </a:cubicBezTo>
                  <a:cubicBezTo>
                    <a:pt x="7843" y="12118"/>
                    <a:pt x="7998" y="12267"/>
                    <a:pt x="8187" y="12267"/>
                  </a:cubicBezTo>
                  <a:cubicBezTo>
                    <a:pt x="8376" y="12267"/>
                    <a:pt x="8527" y="12118"/>
                    <a:pt x="8527" y="11932"/>
                  </a:cubicBezTo>
                  <a:cubicBezTo>
                    <a:pt x="8527" y="11746"/>
                    <a:pt x="8376" y="11595"/>
                    <a:pt x="8187" y="11595"/>
                  </a:cubicBezTo>
                  <a:close/>
                  <a:moveTo>
                    <a:pt x="9103" y="11595"/>
                  </a:moveTo>
                  <a:cubicBezTo>
                    <a:pt x="8914" y="11595"/>
                    <a:pt x="8760" y="11746"/>
                    <a:pt x="8760" y="11932"/>
                  </a:cubicBezTo>
                  <a:cubicBezTo>
                    <a:pt x="8760" y="12118"/>
                    <a:pt x="8914" y="12267"/>
                    <a:pt x="9103" y="12267"/>
                  </a:cubicBezTo>
                  <a:cubicBezTo>
                    <a:pt x="9292" y="12267"/>
                    <a:pt x="9444" y="12118"/>
                    <a:pt x="9444" y="11932"/>
                  </a:cubicBezTo>
                  <a:cubicBezTo>
                    <a:pt x="9444" y="11746"/>
                    <a:pt x="9292" y="11595"/>
                    <a:pt x="9103" y="11595"/>
                  </a:cubicBezTo>
                  <a:close/>
                  <a:moveTo>
                    <a:pt x="10122" y="11595"/>
                  </a:moveTo>
                  <a:cubicBezTo>
                    <a:pt x="9933" y="11595"/>
                    <a:pt x="9778" y="11746"/>
                    <a:pt x="9778" y="11932"/>
                  </a:cubicBezTo>
                  <a:cubicBezTo>
                    <a:pt x="9778" y="12118"/>
                    <a:pt x="9933" y="12267"/>
                    <a:pt x="10122" y="12267"/>
                  </a:cubicBezTo>
                  <a:cubicBezTo>
                    <a:pt x="10311" y="12267"/>
                    <a:pt x="10463" y="12118"/>
                    <a:pt x="10463" y="11932"/>
                  </a:cubicBezTo>
                  <a:cubicBezTo>
                    <a:pt x="10463" y="11746"/>
                    <a:pt x="10311" y="11595"/>
                    <a:pt x="10122" y="11595"/>
                  </a:cubicBezTo>
                  <a:close/>
                  <a:moveTo>
                    <a:pt x="11039" y="11595"/>
                  </a:moveTo>
                  <a:cubicBezTo>
                    <a:pt x="10850" y="11595"/>
                    <a:pt x="10695" y="11746"/>
                    <a:pt x="10695" y="11932"/>
                  </a:cubicBezTo>
                  <a:cubicBezTo>
                    <a:pt x="10695" y="12118"/>
                    <a:pt x="10850" y="12267"/>
                    <a:pt x="11039" y="12267"/>
                  </a:cubicBezTo>
                  <a:cubicBezTo>
                    <a:pt x="11228" y="12267"/>
                    <a:pt x="11379" y="12118"/>
                    <a:pt x="11379" y="11932"/>
                  </a:cubicBezTo>
                  <a:cubicBezTo>
                    <a:pt x="11379" y="11746"/>
                    <a:pt x="11228" y="11595"/>
                    <a:pt x="11039" y="11595"/>
                  </a:cubicBezTo>
                  <a:close/>
                  <a:moveTo>
                    <a:pt x="12057" y="11595"/>
                  </a:moveTo>
                  <a:cubicBezTo>
                    <a:pt x="11868" y="11595"/>
                    <a:pt x="11714" y="11746"/>
                    <a:pt x="11714" y="11932"/>
                  </a:cubicBezTo>
                  <a:cubicBezTo>
                    <a:pt x="11714" y="12118"/>
                    <a:pt x="11868" y="12267"/>
                    <a:pt x="12057" y="12267"/>
                  </a:cubicBezTo>
                  <a:cubicBezTo>
                    <a:pt x="12246" y="12267"/>
                    <a:pt x="12398" y="12118"/>
                    <a:pt x="12398" y="11932"/>
                  </a:cubicBezTo>
                  <a:cubicBezTo>
                    <a:pt x="12398" y="11746"/>
                    <a:pt x="12246" y="11595"/>
                    <a:pt x="12057" y="11595"/>
                  </a:cubicBezTo>
                  <a:close/>
                  <a:moveTo>
                    <a:pt x="12974" y="11595"/>
                  </a:moveTo>
                  <a:cubicBezTo>
                    <a:pt x="12784" y="11595"/>
                    <a:pt x="12630" y="11746"/>
                    <a:pt x="12630" y="11932"/>
                  </a:cubicBezTo>
                  <a:cubicBezTo>
                    <a:pt x="12630" y="12118"/>
                    <a:pt x="12784" y="12267"/>
                    <a:pt x="12974" y="12267"/>
                  </a:cubicBezTo>
                  <a:cubicBezTo>
                    <a:pt x="13163" y="12267"/>
                    <a:pt x="13315" y="12118"/>
                    <a:pt x="13315" y="11932"/>
                  </a:cubicBezTo>
                  <a:cubicBezTo>
                    <a:pt x="13315" y="11746"/>
                    <a:pt x="13163" y="11595"/>
                    <a:pt x="12974" y="11595"/>
                  </a:cubicBezTo>
                  <a:close/>
                  <a:moveTo>
                    <a:pt x="14094" y="11595"/>
                  </a:moveTo>
                  <a:cubicBezTo>
                    <a:pt x="13905" y="11595"/>
                    <a:pt x="13751" y="11746"/>
                    <a:pt x="13751" y="11932"/>
                  </a:cubicBezTo>
                  <a:cubicBezTo>
                    <a:pt x="13751" y="12118"/>
                    <a:pt x="13905" y="12267"/>
                    <a:pt x="14094" y="12267"/>
                  </a:cubicBezTo>
                  <a:cubicBezTo>
                    <a:pt x="14284" y="12267"/>
                    <a:pt x="14435" y="12118"/>
                    <a:pt x="14435" y="11932"/>
                  </a:cubicBezTo>
                  <a:cubicBezTo>
                    <a:pt x="14435" y="11746"/>
                    <a:pt x="14284" y="11595"/>
                    <a:pt x="14094" y="11595"/>
                  </a:cubicBezTo>
                  <a:close/>
                  <a:moveTo>
                    <a:pt x="15113" y="11595"/>
                  </a:moveTo>
                  <a:cubicBezTo>
                    <a:pt x="14924" y="11595"/>
                    <a:pt x="14769" y="11746"/>
                    <a:pt x="14769" y="11932"/>
                  </a:cubicBezTo>
                  <a:cubicBezTo>
                    <a:pt x="14769" y="12118"/>
                    <a:pt x="14924" y="12267"/>
                    <a:pt x="15113" y="12267"/>
                  </a:cubicBezTo>
                  <a:cubicBezTo>
                    <a:pt x="15302" y="12267"/>
                    <a:pt x="15454" y="12118"/>
                    <a:pt x="15454" y="11932"/>
                  </a:cubicBezTo>
                  <a:cubicBezTo>
                    <a:pt x="15454" y="11746"/>
                    <a:pt x="15302" y="11595"/>
                    <a:pt x="15113" y="11595"/>
                  </a:cubicBezTo>
                  <a:close/>
                  <a:moveTo>
                    <a:pt x="16030" y="11595"/>
                  </a:moveTo>
                  <a:cubicBezTo>
                    <a:pt x="15841" y="11595"/>
                    <a:pt x="15686" y="11746"/>
                    <a:pt x="15686" y="11932"/>
                  </a:cubicBezTo>
                  <a:cubicBezTo>
                    <a:pt x="15686" y="12118"/>
                    <a:pt x="15841" y="12267"/>
                    <a:pt x="16030" y="12267"/>
                  </a:cubicBezTo>
                  <a:cubicBezTo>
                    <a:pt x="16219" y="12267"/>
                    <a:pt x="16370" y="12118"/>
                    <a:pt x="16370" y="11932"/>
                  </a:cubicBezTo>
                  <a:cubicBezTo>
                    <a:pt x="16370" y="11746"/>
                    <a:pt x="16219" y="11595"/>
                    <a:pt x="16030" y="11595"/>
                  </a:cubicBezTo>
                  <a:close/>
                  <a:moveTo>
                    <a:pt x="17048" y="11595"/>
                  </a:moveTo>
                  <a:cubicBezTo>
                    <a:pt x="16859" y="11595"/>
                    <a:pt x="16705" y="11746"/>
                    <a:pt x="16705" y="11932"/>
                  </a:cubicBezTo>
                  <a:cubicBezTo>
                    <a:pt x="16705" y="12118"/>
                    <a:pt x="16859" y="12267"/>
                    <a:pt x="17048" y="12267"/>
                  </a:cubicBezTo>
                  <a:cubicBezTo>
                    <a:pt x="17237" y="12267"/>
                    <a:pt x="17389" y="12118"/>
                    <a:pt x="17389" y="11932"/>
                  </a:cubicBezTo>
                  <a:cubicBezTo>
                    <a:pt x="17389" y="11746"/>
                    <a:pt x="17237" y="11595"/>
                    <a:pt x="17048" y="11595"/>
                  </a:cubicBezTo>
                  <a:close/>
                  <a:moveTo>
                    <a:pt x="344" y="12595"/>
                  </a:moveTo>
                  <a:cubicBezTo>
                    <a:pt x="155" y="12595"/>
                    <a:pt x="0" y="12747"/>
                    <a:pt x="0" y="12932"/>
                  </a:cubicBezTo>
                  <a:cubicBezTo>
                    <a:pt x="0" y="13117"/>
                    <a:pt x="155" y="13266"/>
                    <a:pt x="344" y="13266"/>
                  </a:cubicBezTo>
                  <a:cubicBezTo>
                    <a:pt x="533" y="13266"/>
                    <a:pt x="684" y="13117"/>
                    <a:pt x="684" y="12932"/>
                  </a:cubicBezTo>
                  <a:cubicBezTo>
                    <a:pt x="684" y="12747"/>
                    <a:pt x="533" y="12595"/>
                    <a:pt x="344" y="12595"/>
                  </a:cubicBezTo>
                  <a:close/>
                  <a:moveTo>
                    <a:pt x="1260" y="12595"/>
                  </a:moveTo>
                  <a:cubicBezTo>
                    <a:pt x="1071" y="12595"/>
                    <a:pt x="917" y="12747"/>
                    <a:pt x="917" y="12932"/>
                  </a:cubicBezTo>
                  <a:cubicBezTo>
                    <a:pt x="917" y="13117"/>
                    <a:pt x="1071" y="13266"/>
                    <a:pt x="1260" y="13266"/>
                  </a:cubicBezTo>
                  <a:cubicBezTo>
                    <a:pt x="1450" y="13266"/>
                    <a:pt x="1601" y="13117"/>
                    <a:pt x="1601" y="12932"/>
                  </a:cubicBezTo>
                  <a:cubicBezTo>
                    <a:pt x="1601" y="12747"/>
                    <a:pt x="1450" y="12595"/>
                    <a:pt x="1260" y="12595"/>
                  </a:cubicBezTo>
                  <a:close/>
                  <a:moveTo>
                    <a:pt x="2279" y="12595"/>
                  </a:moveTo>
                  <a:cubicBezTo>
                    <a:pt x="2090" y="12595"/>
                    <a:pt x="1935" y="12747"/>
                    <a:pt x="1935" y="12932"/>
                  </a:cubicBezTo>
                  <a:cubicBezTo>
                    <a:pt x="1935" y="13117"/>
                    <a:pt x="2090" y="13266"/>
                    <a:pt x="2279" y="13266"/>
                  </a:cubicBezTo>
                  <a:cubicBezTo>
                    <a:pt x="2468" y="13266"/>
                    <a:pt x="2620" y="13117"/>
                    <a:pt x="2620" y="12932"/>
                  </a:cubicBezTo>
                  <a:cubicBezTo>
                    <a:pt x="2620" y="12747"/>
                    <a:pt x="2468" y="12595"/>
                    <a:pt x="2279" y="12595"/>
                  </a:cubicBezTo>
                  <a:close/>
                  <a:moveTo>
                    <a:pt x="3196" y="12595"/>
                  </a:moveTo>
                  <a:cubicBezTo>
                    <a:pt x="3007" y="12595"/>
                    <a:pt x="2852" y="12747"/>
                    <a:pt x="2852" y="12932"/>
                  </a:cubicBezTo>
                  <a:cubicBezTo>
                    <a:pt x="2852" y="13117"/>
                    <a:pt x="3007" y="13266"/>
                    <a:pt x="3196" y="13266"/>
                  </a:cubicBezTo>
                  <a:cubicBezTo>
                    <a:pt x="3385" y="13266"/>
                    <a:pt x="3536" y="13117"/>
                    <a:pt x="3536" y="12932"/>
                  </a:cubicBezTo>
                  <a:cubicBezTo>
                    <a:pt x="3536" y="12747"/>
                    <a:pt x="3385" y="12595"/>
                    <a:pt x="3196" y="12595"/>
                  </a:cubicBezTo>
                  <a:close/>
                  <a:moveTo>
                    <a:pt x="4214" y="12595"/>
                  </a:moveTo>
                  <a:cubicBezTo>
                    <a:pt x="4025" y="12595"/>
                    <a:pt x="3871" y="12747"/>
                    <a:pt x="3871" y="12932"/>
                  </a:cubicBezTo>
                  <a:cubicBezTo>
                    <a:pt x="3871" y="13117"/>
                    <a:pt x="4025" y="13266"/>
                    <a:pt x="4214" y="13266"/>
                  </a:cubicBezTo>
                  <a:cubicBezTo>
                    <a:pt x="4404" y="13266"/>
                    <a:pt x="4555" y="13117"/>
                    <a:pt x="4555" y="12932"/>
                  </a:cubicBezTo>
                  <a:cubicBezTo>
                    <a:pt x="4555" y="12747"/>
                    <a:pt x="4404" y="12595"/>
                    <a:pt x="4214" y="12595"/>
                  </a:cubicBezTo>
                  <a:close/>
                  <a:moveTo>
                    <a:pt x="5233" y="12595"/>
                  </a:moveTo>
                  <a:cubicBezTo>
                    <a:pt x="5044" y="12595"/>
                    <a:pt x="4889" y="12747"/>
                    <a:pt x="4889" y="12932"/>
                  </a:cubicBezTo>
                  <a:cubicBezTo>
                    <a:pt x="4889" y="13117"/>
                    <a:pt x="5044" y="13266"/>
                    <a:pt x="5233" y="13266"/>
                  </a:cubicBezTo>
                  <a:cubicBezTo>
                    <a:pt x="5422" y="13266"/>
                    <a:pt x="5573" y="13117"/>
                    <a:pt x="5573" y="12932"/>
                  </a:cubicBezTo>
                  <a:cubicBezTo>
                    <a:pt x="5573" y="12747"/>
                    <a:pt x="5422" y="12595"/>
                    <a:pt x="5233" y="12595"/>
                  </a:cubicBezTo>
                  <a:close/>
                  <a:moveTo>
                    <a:pt x="6150" y="12595"/>
                  </a:moveTo>
                  <a:cubicBezTo>
                    <a:pt x="5960" y="12595"/>
                    <a:pt x="5806" y="12747"/>
                    <a:pt x="5806" y="12932"/>
                  </a:cubicBezTo>
                  <a:cubicBezTo>
                    <a:pt x="5806" y="13117"/>
                    <a:pt x="5960" y="13266"/>
                    <a:pt x="6150" y="13266"/>
                  </a:cubicBezTo>
                  <a:cubicBezTo>
                    <a:pt x="6338" y="13266"/>
                    <a:pt x="6490" y="13117"/>
                    <a:pt x="6490" y="12932"/>
                  </a:cubicBezTo>
                  <a:cubicBezTo>
                    <a:pt x="6490" y="12747"/>
                    <a:pt x="6338" y="12595"/>
                    <a:pt x="6150" y="12595"/>
                  </a:cubicBezTo>
                  <a:close/>
                  <a:moveTo>
                    <a:pt x="7168" y="12595"/>
                  </a:moveTo>
                  <a:cubicBezTo>
                    <a:pt x="6979" y="12595"/>
                    <a:pt x="6824" y="12747"/>
                    <a:pt x="6824" y="12932"/>
                  </a:cubicBezTo>
                  <a:cubicBezTo>
                    <a:pt x="6824" y="13117"/>
                    <a:pt x="6979" y="13266"/>
                    <a:pt x="7168" y="13266"/>
                  </a:cubicBezTo>
                  <a:cubicBezTo>
                    <a:pt x="7358" y="13266"/>
                    <a:pt x="7509" y="13117"/>
                    <a:pt x="7509" y="12932"/>
                  </a:cubicBezTo>
                  <a:cubicBezTo>
                    <a:pt x="7509" y="12747"/>
                    <a:pt x="7358" y="12595"/>
                    <a:pt x="7168" y="12595"/>
                  </a:cubicBezTo>
                  <a:close/>
                  <a:moveTo>
                    <a:pt x="8187" y="12595"/>
                  </a:moveTo>
                  <a:cubicBezTo>
                    <a:pt x="7998" y="12595"/>
                    <a:pt x="7843" y="12747"/>
                    <a:pt x="7843" y="12932"/>
                  </a:cubicBezTo>
                  <a:cubicBezTo>
                    <a:pt x="7843" y="13117"/>
                    <a:pt x="7998" y="13266"/>
                    <a:pt x="8187" y="13266"/>
                  </a:cubicBezTo>
                  <a:cubicBezTo>
                    <a:pt x="8376" y="13266"/>
                    <a:pt x="8527" y="13117"/>
                    <a:pt x="8527" y="12932"/>
                  </a:cubicBezTo>
                  <a:cubicBezTo>
                    <a:pt x="8527" y="12747"/>
                    <a:pt x="8376" y="12595"/>
                    <a:pt x="8187" y="12595"/>
                  </a:cubicBezTo>
                  <a:close/>
                  <a:moveTo>
                    <a:pt x="9103" y="12595"/>
                  </a:moveTo>
                  <a:cubicBezTo>
                    <a:pt x="8914" y="12595"/>
                    <a:pt x="8760" y="12747"/>
                    <a:pt x="8760" y="12932"/>
                  </a:cubicBezTo>
                  <a:cubicBezTo>
                    <a:pt x="8760" y="13117"/>
                    <a:pt x="8914" y="13266"/>
                    <a:pt x="9103" y="13266"/>
                  </a:cubicBezTo>
                  <a:cubicBezTo>
                    <a:pt x="9292" y="13266"/>
                    <a:pt x="9444" y="13117"/>
                    <a:pt x="9444" y="12932"/>
                  </a:cubicBezTo>
                  <a:cubicBezTo>
                    <a:pt x="9444" y="12747"/>
                    <a:pt x="9292" y="12595"/>
                    <a:pt x="9103" y="12595"/>
                  </a:cubicBezTo>
                  <a:close/>
                  <a:moveTo>
                    <a:pt x="10122" y="12595"/>
                  </a:moveTo>
                  <a:cubicBezTo>
                    <a:pt x="9933" y="12595"/>
                    <a:pt x="9778" y="12747"/>
                    <a:pt x="9778" y="12932"/>
                  </a:cubicBezTo>
                  <a:cubicBezTo>
                    <a:pt x="9778" y="13117"/>
                    <a:pt x="9933" y="13266"/>
                    <a:pt x="10122" y="13266"/>
                  </a:cubicBezTo>
                  <a:cubicBezTo>
                    <a:pt x="10311" y="13266"/>
                    <a:pt x="10463" y="13117"/>
                    <a:pt x="10463" y="12932"/>
                  </a:cubicBezTo>
                  <a:cubicBezTo>
                    <a:pt x="10463" y="12747"/>
                    <a:pt x="10311" y="12595"/>
                    <a:pt x="10122" y="12595"/>
                  </a:cubicBezTo>
                  <a:close/>
                  <a:moveTo>
                    <a:pt x="11141" y="12595"/>
                  </a:moveTo>
                  <a:cubicBezTo>
                    <a:pt x="10952" y="12595"/>
                    <a:pt x="10797" y="12747"/>
                    <a:pt x="10797" y="12932"/>
                  </a:cubicBezTo>
                  <a:cubicBezTo>
                    <a:pt x="10797" y="13117"/>
                    <a:pt x="10952" y="13266"/>
                    <a:pt x="11141" y="13266"/>
                  </a:cubicBezTo>
                  <a:cubicBezTo>
                    <a:pt x="11329" y="13266"/>
                    <a:pt x="11481" y="13117"/>
                    <a:pt x="11481" y="12932"/>
                  </a:cubicBezTo>
                  <a:cubicBezTo>
                    <a:pt x="11481" y="12747"/>
                    <a:pt x="11329" y="12595"/>
                    <a:pt x="11141" y="12595"/>
                  </a:cubicBezTo>
                  <a:close/>
                  <a:moveTo>
                    <a:pt x="12057" y="12595"/>
                  </a:moveTo>
                  <a:cubicBezTo>
                    <a:pt x="11868" y="12595"/>
                    <a:pt x="11714" y="12747"/>
                    <a:pt x="11714" y="12932"/>
                  </a:cubicBezTo>
                  <a:cubicBezTo>
                    <a:pt x="11714" y="13117"/>
                    <a:pt x="11868" y="13266"/>
                    <a:pt x="12057" y="13266"/>
                  </a:cubicBezTo>
                  <a:cubicBezTo>
                    <a:pt x="12247" y="13266"/>
                    <a:pt x="12398" y="13117"/>
                    <a:pt x="12398" y="12932"/>
                  </a:cubicBezTo>
                  <a:cubicBezTo>
                    <a:pt x="12398" y="12747"/>
                    <a:pt x="12247" y="12595"/>
                    <a:pt x="12057" y="12595"/>
                  </a:cubicBezTo>
                  <a:close/>
                  <a:moveTo>
                    <a:pt x="13076" y="12595"/>
                  </a:moveTo>
                  <a:cubicBezTo>
                    <a:pt x="12886" y="12595"/>
                    <a:pt x="12732" y="12747"/>
                    <a:pt x="12732" y="12932"/>
                  </a:cubicBezTo>
                  <a:cubicBezTo>
                    <a:pt x="12732" y="13117"/>
                    <a:pt x="12886" y="13266"/>
                    <a:pt x="13076" y="13266"/>
                  </a:cubicBezTo>
                  <a:cubicBezTo>
                    <a:pt x="13265" y="13266"/>
                    <a:pt x="13416" y="13117"/>
                    <a:pt x="13416" y="12932"/>
                  </a:cubicBezTo>
                  <a:cubicBezTo>
                    <a:pt x="13416" y="12747"/>
                    <a:pt x="13265" y="12595"/>
                    <a:pt x="13076" y="12595"/>
                  </a:cubicBezTo>
                  <a:close/>
                  <a:moveTo>
                    <a:pt x="14094" y="12595"/>
                  </a:moveTo>
                  <a:cubicBezTo>
                    <a:pt x="13905" y="12595"/>
                    <a:pt x="13751" y="12747"/>
                    <a:pt x="13751" y="12932"/>
                  </a:cubicBezTo>
                  <a:cubicBezTo>
                    <a:pt x="13751" y="13117"/>
                    <a:pt x="13905" y="13266"/>
                    <a:pt x="14094" y="13266"/>
                  </a:cubicBezTo>
                  <a:cubicBezTo>
                    <a:pt x="14284" y="13266"/>
                    <a:pt x="14435" y="13117"/>
                    <a:pt x="14435" y="12932"/>
                  </a:cubicBezTo>
                  <a:cubicBezTo>
                    <a:pt x="14435" y="12747"/>
                    <a:pt x="14284" y="12595"/>
                    <a:pt x="14094" y="12595"/>
                  </a:cubicBezTo>
                  <a:close/>
                  <a:moveTo>
                    <a:pt x="15113" y="12595"/>
                  </a:moveTo>
                  <a:cubicBezTo>
                    <a:pt x="14924" y="12595"/>
                    <a:pt x="14769" y="12747"/>
                    <a:pt x="14769" y="12932"/>
                  </a:cubicBezTo>
                  <a:cubicBezTo>
                    <a:pt x="14769" y="13117"/>
                    <a:pt x="14924" y="13266"/>
                    <a:pt x="15113" y="13266"/>
                  </a:cubicBezTo>
                  <a:cubicBezTo>
                    <a:pt x="15302" y="13266"/>
                    <a:pt x="15454" y="13117"/>
                    <a:pt x="15454" y="12932"/>
                  </a:cubicBezTo>
                  <a:cubicBezTo>
                    <a:pt x="15454" y="12747"/>
                    <a:pt x="15302" y="12595"/>
                    <a:pt x="15113" y="12595"/>
                  </a:cubicBezTo>
                  <a:close/>
                  <a:moveTo>
                    <a:pt x="16030" y="12595"/>
                  </a:moveTo>
                  <a:cubicBezTo>
                    <a:pt x="15841" y="12595"/>
                    <a:pt x="15686" y="12747"/>
                    <a:pt x="15686" y="12932"/>
                  </a:cubicBezTo>
                  <a:cubicBezTo>
                    <a:pt x="15686" y="13117"/>
                    <a:pt x="15841" y="13266"/>
                    <a:pt x="16030" y="13266"/>
                  </a:cubicBezTo>
                  <a:cubicBezTo>
                    <a:pt x="16219" y="13266"/>
                    <a:pt x="16370" y="13117"/>
                    <a:pt x="16370" y="12932"/>
                  </a:cubicBezTo>
                  <a:cubicBezTo>
                    <a:pt x="16370" y="12747"/>
                    <a:pt x="16219" y="12595"/>
                    <a:pt x="16030" y="12595"/>
                  </a:cubicBezTo>
                  <a:close/>
                  <a:moveTo>
                    <a:pt x="17048" y="12595"/>
                  </a:moveTo>
                  <a:cubicBezTo>
                    <a:pt x="16859" y="12595"/>
                    <a:pt x="16705" y="12747"/>
                    <a:pt x="16705" y="12932"/>
                  </a:cubicBezTo>
                  <a:cubicBezTo>
                    <a:pt x="16705" y="13117"/>
                    <a:pt x="16859" y="13266"/>
                    <a:pt x="17048" y="13266"/>
                  </a:cubicBezTo>
                  <a:cubicBezTo>
                    <a:pt x="17237" y="13266"/>
                    <a:pt x="17389" y="13117"/>
                    <a:pt x="17389" y="12932"/>
                  </a:cubicBezTo>
                  <a:cubicBezTo>
                    <a:pt x="17389" y="12747"/>
                    <a:pt x="17237" y="12595"/>
                    <a:pt x="17048" y="12595"/>
                  </a:cubicBezTo>
                  <a:close/>
                  <a:moveTo>
                    <a:pt x="344" y="13494"/>
                  </a:moveTo>
                  <a:cubicBezTo>
                    <a:pt x="155" y="13494"/>
                    <a:pt x="0" y="13646"/>
                    <a:pt x="0" y="13831"/>
                  </a:cubicBezTo>
                  <a:cubicBezTo>
                    <a:pt x="0" y="14017"/>
                    <a:pt x="155" y="14166"/>
                    <a:pt x="344" y="14166"/>
                  </a:cubicBezTo>
                  <a:cubicBezTo>
                    <a:pt x="533" y="14166"/>
                    <a:pt x="684" y="14017"/>
                    <a:pt x="684" y="13831"/>
                  </a:cubicBezTo>
                  <a:cubicBezTo>
                    <a:pt x="684" y="13646"/>
                    <a:pt x="533" y="13494"/>
                    <a:pt x="344" y="13494"/>
                  </a:cubicBezTo>
                  <a:close/>
                  <a:moveTo>
                    <a:pt x="1260" y="13494"/>
                  </a:moveTo>
                  <a:cubicBezTo>
                    <a:pt x="1071" y="13494"/>
                    <a:pt x="917" y="13646"/>
                    <a:pt x="917" y="13831"/>
                  </a:cubicBezTo>
                  <a:cubicBezTo>
                    <a:pt x="917" y="14017"/>
                    <a:pt x="1071" y="14166"/>
                    <a:pt x="1260" y="14166"/>
                  </a:cubicBezTo>
                  <a:cubicBezTo>
                    <a:pt x="1450" y="14166"/>
                    <a:pt x="1601" y="14017"/>
                    <a:pt x="1601" y="13831"/>
                  </a:cubicBezTo>
                  <a:cubicBezTo>
                    <a:pt x="1601" y="13646"/>
                    <a:pt x="1450" y="13494"/>
                    <a:pt x="1260" y="13494"/>
                  </a:cubicBezTo>
                  <a:close/>
                  <a:moveTo>
                    <a:pt x="2279" y="13494"/>
                  </a:moveTo>
                  <a:cubicBezTo>
                    <a:pt x="2090" y="13494"/>
                    <a:pt x="1935" y="13646"/>
                    <a:pt x="1935" y="13831"/>
                  </a:cubicBezTo>
                  <a:cubicBezTo>
                    <a:pt x="1935" y="14017"/>
                    <a:pt x="2090" y="14166"/>
                    <a:pt x="2279" y="14166"/>
                  </a:cubicBezTo>
                  <a:cubicBezTo>
                    <a:pt x="2468" y="14166"/>
                    <a:pt x="2620" y="14017"/>
                    <a:pt x="2620" y="13831"/>
                  </a:cubicBezTo>
                  <a:cubicBezTo>
                    <a:pt x="2620" y="13646"/>
                    <a:pt x="2468" y="13494"/>
                    <a:pt x="2279" y="13494"/>
                  </a:cubicBezTo>
                  <a:close/>
                  <a:moveTo>
                    <a:pt x="3196" y="13494"/>
                  </a:moveTo>
                  <a:cubicBezTo>
                    <a:pt x="3007" y="13494"/>
                    <a:pt x="2852" y="13646"/>
                    <a:pt x="2852" y="13831"/>
                  </a:cubicBezTo>
                  <a:cubicBezTo>
                    <a:pt x="2852" y="14017"/>
                    <a:pt x="3007" y="14166"/>
                    <a:pt x="3196" y="14166"/>
                  </a:cubicBezTo>
                  <a:cubicBezTo>
                    <a:pt x="3385" y="14166"/>
                    <a:pt x="3536" y="14017"/>
                    <a:pt x="3536" y="13831"/>
                  </a:cubicBezTo>
                  <a:cubicBezTo>
                    <a:pt x="3536" y="13646"/>
                    <a:pt x="3385" y="13494"/>
                    <a:pt x="3196" y="13494"/>
                  </a:cubicBezTo>
                  <a:close/>
                  <a:moveTo>
                    <a:pt x="4214" y="13494"/>
                  </a:moveTo>
                  <a:cubicBezTo>
                    <a:pt x="4025" y="13494"/>
                    <a:pt x="3871" y="13646"/>
                    <a:pt x="3871" y="13831"/>
                  </a:cubicBezTo>
                  <a:cubicBezTo>
                    <a:pt x="3871" y="14017"/>
                    <a:pt x="4025" y="14166"/>
                    <a:pt x="4214" y="14166"/>
                  </a:cubicBezTo>
                  <a:cubicBezTo>
                    <a:pt x="4404" y="14166"/>
                    <a:pt x="4555" y="14017"/>
                    <a:pt x="4555" y="13831"/>
                  </a:cubicBezTo>
                  <a:cubicBezTo>
                    <a:pt x="4555" y="13646"/>
                    <a:pt x="4404" y="13494"/>
                    <a:pt x="4214" y="13494"/>
                  </a:cubicBezTo>
                  <a:close/>
                  <a:moveTo>
                    <a:pt x="5233" y="13494"/>
                  </a:moveTo>
                  <a:cubicBezTo>
                    <a:pt x="5044" y="13494"/>
                    <a:pt x="4889" y="13646"/>
                    <a:pt x="4889" y="13831"/>
                  </a:cubicBezTo>
                  <a:cubicBezTo>
                    <a:pt x="4889" y="14017"/>
                    <a:pt x="5044" y="14166"/>
                    <a:pt x="5233" y="14166"/>
                  </a:cubicBezTo>
                  <a:cubicBezTo>
                    <a:pt x="5422" y="14166"/>
                    <a:pt x="5573" y="14017"/>
                    <a:pt x="5573" y="13831"/>
                  </a:cubicBezTo>
                  <a:cubicBezTo>
                    <a:pt x="5573" y="13646"/>
                    <a:pt x="5422" y="13494"/>
                    <a:pt x="5233" y="13494"/>
                  </a:cubicBezTo>
                  <a:close/>
                  <a:moveTo>
                    <a:pt x="6150" y="13494"/>
                  </a:moveTo>
                  <a:cubicBezTo>
                    <a:pt x="5960" y="13494"/>
                    <a:pt x="5806" y="13646"/>
                    <a:pt x="5806" y="13831"/>
                  </a:cubicBezTo>
                  <a:cubicBezTo>
                    <a:pt x="5806" y="14017"/>
                    <a:pt x="5960" y="14166"/>
                    <a:pt x="6150" y="14166"/>
                  </a:cubicBezTo>
                  <a:cubicBezTo>
                    <a:pt x="6338" y="14166"/>
                    <a:pt x="6490" y="14017"/>
                    <a:pt x="6490" y="13831"/>
                  </a:cubicBezTo>
                  <a:cubicBezTo>
                    <a:pt x="6490" y="13646"/>
                    <a:pt x="6338" y="13494"/>
                    <a:pt x="6150" y="13494"/>
                  </a:cubicBezTo>
                  <a:close/>
                  <a:moveTo>
                    <a:pt x="7168" y="13494"/>
                  </a:moveTo>
                  <a:cubicBezTo>
                    <a:pt x="6979" y="13494"/>
                    <a:pt x="6824" y="13646"/>
                    <a:pt x="6824" y="13831"/>
                  </a:cubicBezTo>
                  <a:cubicBezTo>
                    <a:pt x="6824" y="14017"/>
                    <a:pt x="6979" y="14166"/>
                    <a:pt x="7168" y="14166"/>
                  </a:cubicBezTo>
                  <a:cubicBezTo>
                    <a:pt x="7358" y="14166"/>
                    <a:pt x="7509" y="14017"/>
                    <a:pt x="7509" y="13831"/>
                  </a:cubicBezTo>
                  <a:cubicBezTo>
                    <a:pt x="7509" y="13646"/>
                    <a:pt x="7358" y="13494"/>
                    <a:pt x="7168" y="13494"/>
                  </a:cubicBezTo>
                  <a:close/>
                  <a:moveTo>
                    <a:pt x="8187" y="13494"/>
                  </a:moveTo>
                  <a:cubicBezTo>
                    <a:pt x="7998" y="13494"/>
                    <a:pt x="7843" y="13646"/>
                    <a:pt x="7843" y="13831"/>
                  </a:cubicBezTo>
                  <a:cubicBezTo>
                    <a:pt x="7843" y="14017"/>
                    <a:pt x="7998" y="14166"/>
                    <a:pt x="8187" y="14166"/>
                  </a:cubicBezTo>
                  <a:cubicBezTo>
                    <a:pt x="8376" y="14166"/>
                    <a:pt x="8527" y="14017"/>
                    <a:pt x="8527" y="13831"/>
                  </a:cubicBezTo>
                  <a:cubicBezTo>
                    <a:pt x="8527" y="13646"/>
                    <a:pt x="8376" y="13494"/>
                    <a:pt x="8187" y="13494"/>
                  </a:cubicBezTo>
                  <a:close/>
                  <a:moveTo>
                    <a:pt x="9103" y="13494"/>
                  </a:moveTo>
                  <a:cubicBezTo>
                    <a:pt x="8914" y="13494"/>
                    <a:pt x="8760" y="13646"/>
                    <a:pt x="8760" y="13831"/>
                  </a:cubicBezTo>
                  <a:cubicBezTo>
                    <a:pt x="8760" y="14017"/>
                    <a:pt x="8914" y="14166"/>
                    <a:pt x="9103" y="14166"/>
                  </a:cubicBezTo>
                  <a:cubicBezTo>
                    <a:pt x="9292" y="14166"/>
                    <a:pt x="9444" y="14017"/>
                    <a:pt x="9444" y="13831"/>
                  </a:cubicBezTo>
                  <a:cubicBezTo>
                    <a:pt x="9444" y="13646"/>
                    <a:pt x="9292" y="13494"/>
                    <a:pt x="9103" y="13494"/>
                  </a:cubicBezTo>
                  <a:close/>
                  <a:moveTo>
                    <a:pt x="10122" y="13494"/>
                  </a:moveTo>
                  <a:cubicBezTo>
                    <a:pt x="9933" y="13494"/>
                    <a:pt x="9778" y="13646"/>
                    <a:pt x="9778" y="13831"/>
                  </a:cubicBezTo>
                  <a:cubicBezTo>
                    <a:pt x="9778" y="14017"/>
                    <a:pt x="9933" y="14166"/>
                    <a:pt x="10122" y="14166"/>
                  </a:cubicBezTo>
                  <a:cubicBezTo>
                    <a:pt x="10311" y="14166"/>
                    <a:pt x="10463" y="14017"/>
                    <a:pt x="10463" y="13831"/>
                  </a:cubicBezTo>
                  <a:cubicBezTo>
                    <a:pt x="10463" y="13646"/>
                    <a:pt x="10311" y="13494"/>
                    <a:pt x="10122" y="13494"/>
                  </a:cubicBezTo>
                  <a:close/>
                  <a:moveTo>
                    <a:pt x="11141" y="13494"/>
                  </a:moveTo>
                  <a:cubicBezTo>
                    <a:pt x="10952" y="13494"/>
                    <a:pt x="10797" y="13646"/>
                    <a:pt x="10797" y="13831"/>
                  </a:cubicBezTo>
                  <a:cubicBezTo>
                    <a:pt x="10797" y="14017"/>
                    <a:pt x="10952" y="14166"/>
                    <a:pt x="11141" y="14166"/>
                  </a:cubicBezTo>
                  <a:cubicBezTo>
                    <a:pt x="11329" y="14166"/>
                    <a:pt x="11481" y="14017"/>
                    <a:pt x="11481" y="13831"/>
                  </a:cubicBezTo>
                  <a:cubicBezTo>
                    <a:pt x="11481" y="13646"/>
                    <a:pt x="11329" y="13494"/>
                    <a:pt x="11141" y="13494"/>
                  </a:cubicBezTo>
                  <a:close/>
                  <a:moveTo>
                    <a:pt x="12057" y="13494"/>
                  </a:moveTo>
                  <a:cubicBezTo>
                    <a:pt x="11868" y="13494"/>
                    <a:pt x="11714" y="13646"/>
                    <a:pt x="11714" y="13831"/>
                  </a:cubicBezTo>
                  <a:cubicBezTo>
                    <a:pt x="11714" y="14017"/>
                    <a:pt x="11868" y="14166"/>
                    <a:pt x="12057" y="14166"/>
                  </a:cubicBezTo>
                  <a:cubicBezTo>
                    <a:pt x="12247" y="14166"/>
                    <a:pt x="12398" y="14017"/>
                    <a:pt x="12398" y="13831"/>
                  </a:cubicBezTo>
                  <a:cubicBezTo>
                    <a:pt x="12398" y="13646"/>
                    <a:pt x="12247" y="13494"/>
                    <a:pt x="12057" y="13494"/>
                  </a:cubicBezTo>
                  <a:close/>
                  <a:moveTo>
                    <a:pt x="13076" y="13494"/>
                  </a:moveTo>
                  <a:cubicBezTo>
                    <a:pt x="12886" y="13494"/>
                    <a:pt x="12732" y="13646"/>
                    <a:pt x="12732" y="13831"/>
                  </a:cubicBezTo>
                  <a:cubicBezTo>
                    <a:pt x="12732" y="14017"/>
                    <a:pt x="12886" y="14166"/>
                    <a:pt x="13076" y="14166"/>
                  </a:cubicBezTo>
                  <a:cubicBezTo>
                    <a:pt x="13265" y="14166"/>
                    <a:pt x="13416" y="14017"/>
                    <a:pt x="13416" y="13831"/>
                  </a:cubicBezTo>
                  <a:cubicBezTo>
                    <a:pt x="13416" y="13646"/>
                    <a:pt x="13265" y="13494"/>
                    <a:pt x="13076" y="13494"/>
                  </a:cubicBezTo>
                  <a:close/>
                  <a:moveTo>
                    <a:pt x="14094" y="13494"/>
                  </a:moveTo>
                  <a:cubicBezTo>
                    <a:pt x="13905" y="13494"/>
                    <a:pt x="13751" y="13646"/>
                    <a:pt x="13751" y="13831"/>
                  </a:cubicBezTo>
                  <a:cubicBezTo>
                    <a:pt x="13751" y="14017"/>
                    <a:pt x="13905" y="14166"/>
                    <a:pt x="14094" y="14166"/>
                  </a:cubicBezTo>
                  <a:cubicBezTo>
                    <a:pt x="14284" y="14166"/>
                    <a:pt x="14435" y="14017"/>
                    <a:pt x="14435" y="13831"/>
                  </a:cubicBezTo>
                  <a:cubicBezTo>
                    <a:pt x="14435" y="13646"/>
                    <a:pt x="14284" y="13494"/>
                    <a:pt x="14094" y="13494"/>
                  </a:cubicBezTo>
                  <a:close/>
                  <a:moveTo>
                    <a:pt x="15113" y="13494"/>
                  </a:moveTo>
                  <a:cubicBezTo>
                    <a:pt x="14924" y="13494"/>
                    <a:pt x="14769" y="13646"/>
                    <a:pt x="14769" y="13831"/>
                  </a:cubicBezTo>
                  <a:cubicBezTo>
                    <a:pt x="14769" y="14017"/>
                    <a:pt x="14924" y="14166"/>
                    <a:pt x="15113" y="14166"/>
                  </a:cubicBezTo>
                  <a:cubicBezTo>
                    <a:pt x="15302" y="14166"/>
                    <a:pt x="15454" y="14017"/>
                    <a:pt x="15454" y="13831"/>
                  </a:cubicBezTo>
                  <a:cubicBezTo>
                    <a:pt x="15454" y="13646"/>
                    <a:pt x="15302" y="13494"/>
                    <a:pt x="15113" y="13494"/>
                  </a:cubicBezTo>
                  <a:close/>
                  <a:moveTo>
                    <a:pt x="16030" y="13494"/>
                  </a:moveTo>
                  <a:cubicBezTo>
                    <a:pt x="15841" y="13494"/>
                    <a:pt x="15686" y="13646"/>
                    <a:pt x="15686" y="13831"/>
                  </a:cubicBezTo>
                  <a:cubicBezTo>
                    <a:pt x="15686" y="14017"/>
                    <a:pt x="15841" y="14166"/>
                    <a:pt x="16030" y="14166"/>
                  </a:cubicBezTo>
                  <a:cubicBezTo>
                    <a:pt x="16219" y="14166"/>
                    <a:pt x="16370" y="14017"/>
                    <a:pt x="16370" y="13831"/>
                  </a:cubicBezTo>
                  <a:cubicBezTo>
                    <a:pt x="16370" y="13646"/>
                    <a:pt x="16219" y="13494"/>
                    <a:pt x="16030" y="13494"/>
                  </a:cubicBezTo>
                  <a:close/>
                  <a:moveTo>
                    <a:pt x="17048" y="13494"/>
                  </a:moveTo>
                  <a:cubicBezTo>
                    <a:pt x="16859" y="13494"/>
                    <a:pt x="16705" y="13646"/>
                    <a:pt x="16705" y="13831"/>
                  </a:cubicBezTo>
                  <a:cubicBezTo>
                    <a:pt x="16705" y="14017"/>
                    <a:pt x="16859" y="14166"/>
                    <a:pt x="17048" y="14166"/>
                  </a:cubicBezTo>
                  <a:cubicBezTo>
                    <a:pt x="17237" y="14166"/>
                    <a:pt x="17389" y="14017"/>
                    <a:pt x="17389" y="13831"/>
                  </a:cubicBezTo>
                  <a:cubicBezTo>
                    <a:pt x="17389" y="13646"/>
                    <a:pt x="17237" y="13494"/>
                    <a:pt x="17048" y="13494"/>
                  </a:cubicBezTo>
                  <a:close/>
                  <a:moveTo>
                    <a:pt x="344" y="14494"/>
                  </a:moveTo>
                  <a:cubicBezTo>
                    <a:pt x="155" y="14494"/>
                    <a:pt x="0" y="14645"/>
                    <a:pt x="0" y="14831"/>
                  </a:cubicBezTo>
                  <a:cubicBezTo>
                    <a:pt x="0" y="15016"/>
                    <a:pt x="155" y="15165"/>
                    <a:pt x="344" y="15165"/>
                  </a:cubicBezTo>
                  <a:cubicBezTo>
                    <a:pt x="533" y="15165"/>
                    <a:pt x="684" y="15016"/>
                    <a:pt x="684" y="14831"/>
                  </a:cubicBezTo>
                  <a:cubicBezTo>
                    <a:pt x="684" y="14645"/>
                    <a:pt x="533" y="14494"/>
                    <a:pt x="344" y="14494"/>
                  </a:cubicBezTo>
                  <a:close/>
                  <a:moveTo>
                    <a:pt x="1260" y="14494"/>
                  </a:moveTo>
                  <a:cubicBezTo>
                    <a:pt x="1071" y="14494"/>
                    <a:pt x="917" y="14645"/>
                    <a:pt x="917" y="14831"/>
                  </a:cubicBezTo>
                  <a:cubicBezTo>
                    <a:pt x="917" y="15016"/>
                    <a:pt x="1071" y="15165"/>
                    <a:pt x="1260" y="15165"/>
                  </a:cubicBezTo>
                  <a:cubicBezTo>
                    <a:pt x="1450" y="15165"/>
                    <a:pt x="1601" y="15016"/>
                    <a:pt x="1601" y="14831"/>
                  </a:cubicBezTo>
                  <a:cubicBezTo>
                    <a:pt x="1601" y="14645"/>
                    <a:pt x="1450" y="14494"/>
                    <a:pt x="1260" y="14494"/>
                  </a:cubicBezTo>
                  <a:close/>
                  <a:moveTo>
                    <a:pt x="2279" y="14494"/>
                  </a:moveTo>
                  <a:cubicBezTo>
                    <a:pt x="2090" y="14494"/>
                    <a:pt x="1935" y="14645"/>
                    <a:pt x="1935" y="14831"/>
                  </a:cubicBezTo>
                  <a:cubicBezTo>
                    <a:pt x="1935" y="15016"/>
                    <a:pt x="2090" y="15165"/>
                    <a:pt x="2279" y="15165"/>
                  </a:cubicBezTo>
                  <a:cubicBezTo>
                    <a:pt x="2468" y="15165"/>
                    <a:pt x="2620" y="15016"/>
                    <a:pt x="2620" y="14831"/>
                  </a:cubicBezTo>
                  <a:cubicBezTo>
                    <a:pt x="2620" y="14645"/>
                    <a:pt x="2468" y="14494"/>
                    <a:pt x="2279" y="14494"/>
                  </a:cubicBezTo>
                  <a:close/>
                  <a:moveTo>
                    <a:pt x="3196" y="14494"/>
                  </a:moveTo>
                  <a:cubicBezTo>
                    <a:pt x="3007" y="14494"/>
                    <a:pt x="2852" y="14645"/>
                    <a:pt x="2852" y="14831"/>
                  </a:cubicBezTo>
                  <a:cubicBezTo>
                    <a:pt x="2852" y="15016"/>
                    <a:pt x="3007" y="15165"/>
                    <a:pt x="3196" y="15165"/>
                  </a:cubicBezTo>
                  <a:cubicBezTo>
                    <a:pt x="3385" y="15165"/>
                    <a:pt x="3536" y="15016"/>
                    <a:pt x="3536" y="14831"/>
                  </a:cubicBezTo>
                  <a:cubicBezTo>
                    <a:pt x="3536" y="14645"/>
                    <a:pt x="3385" y="14494"/>
                    <a:pt x="3196" y="14494"/>
                  </a:cubicBezTo>
                  <a:close/>
                  <a:moveTo>
                    <a:pt x="4214" y="14494"/>
                  </a:moveTo>
                  <a:cubicBezTo>
                    <a:pt x="4025" y="14494"/>
                    <a:pt x="3871" y="14645"/>
                    <a:pt x="3871" y="14831"/>
                  </a:cubicBezTo>
                  <a:cubicBezTo>
                    <a:pt x="3871" y="15016"/>
                    <a:pt x="4025" y="15165"/>
                    <a:pt x="4214" y="15165"/>
                  </a:cubicBezTo>
                  <a:cubicBezTo>
                    <a:pt x="4404" y="15165"/>
                    <a:pt x="4555" y="15016"/>
                    <a:pt x="4555" y="14831"/>
                  </a:cubicBezTo>
                  <a:cubicBezTo>
                    <a:pt x="4555" y="14645"/>
                    <a:pt x="4404" y="14494"/>
                    <a:pt x="4214" y="14494"/>
                  </a:cubicBezTo>
                  <a:close/>
                  <a:moveTo>
                    <a:pt x="5233" y="14494"/>
                  </a:moveTo>
                  <a:cubicBezTo>
                    <a:pt x="5044" y="14494"/>
                    <a:pt x="4889" y="14645"/>
                    <a:pt x="4889" y="14831"/>
                  </a:cubicBezTo>
                  <a:cubicBezTo>
                    <a:pt x="4889" y="15016"/>
                    <a:pt x="5044" y="15165"/>
                    <a:pt x="5233" y="15165"/>
                  </a:cubicBezTo>
                  <a:cubicBezTo>
                    <a:pt x="5422" y="15165"/>
                    <a:pt x="5573" y="15016"/>
                    <a:pt x="5573" y="14831"/>
                  </a:cubicBezTo>
                  <a:cubicBezTo>
                    <a:pt x="5573" y="14645"/>
                    <a:pt x="5422" y="14494"/>
                    <a:pt x="5233" y="14494"/>
                  </a:cubicBezTo>
                  <a:close/>
                  <a:moveTo>
                    <a:pt x="6150" y="14494"/>
                  </a:moveTo>
                  <a:cubicBezTo>
                    <a:pt x="5960" y="14494"/>
                    <a:pt x="5806" y="14645"/>
                    <a:pt x="5806" y="14831"/>
                  </a:cubicBezTo>
                  <a:cubicBezTo>
                    <a:pt x="5806" y="15016"/>
                    <a:pt x="5960" y="15165"/>
                    <a:pt x="6150" y="15165"/>
                  </a:cubicBezTo>
                  <a:cubicBezTo>
                    <a:pt x="6338" y="15165"/>
                    <a:pt x="6490" y="15016"/>
                    <a:pt x="6490" y="14831"/>
                  </a:cubicBezTo>
                  <a:cubicBezTo>
                    <a:pt x="6490" y="14645"/>
                    <a:pt x="6338" y="14494"/>
                    <a:pt x="6150" y="14494"/>
                  </a:cubicBezTo>
                  <a:close/>
                  <a:moveTo>
                    <a:pt x="7168" y="14494"/>
                  </a:moveTo>
                  <a:cubicBezTo>
                    <a:pt x="6979" y="14494"/>
                    <a:pt x="6824" y="14645"/>
                    <a:pt x="6824" y="14831"/>
                  </a:cubicBezTo>
                  <a:cubicBezTo>
                    <a:pt x="6824" y="15016"/>
                    <a:pt x="6979" y="15165"/>
                    <a:pt x="7168" y="15165"/>
                  </a:cubicBezTo>
                  <a:cubicBezTo>
                    <a:pt x="7358" y="15165"/>
                    <a:pt x="7509" y="15016"/>
                    <a:pt x="7509" y="14831"/>
                  </a:cubicBezTo>
                  <a:cubicBezTo>
                    <a:pt x="7509" y="14645"/>
                    <a:pt x="7358" y="14494"/>
                    <a:pt x="7168" y="14494"/>
                  </a:cubicBezTo>
                  <a:close/>
                  <a:moveTo>
                    <a:pt x="8187" y="14494"/>
                  </a:moveTo>
                  <a:cubicBezTo>
                    <a:pt x="7998" y="14494"/>
                    <a:pt x="7843" y="14645"/>
                    <a:pt x="7843" y="14831"/>
                  </a:cubicBezTo>
                  <a:cubicBezTo>
                    <a:pt x="7843" y="15016"/>
                    <a:pt x="7998" y="15165"/>
                    <a:pt x="8187" y="15165"/>
                  </a:cubicBezTo>
                  <a:cubicBezTo>
                    <a:pt x="8376" y="15165"/>
                    <a:pt x="8527" y="15016"/>
                    <a:pt x="8527" y="14831"/>
                  </a:cubicBezTo>
                  <a:cubicBezTo>
                    <a:pt x="8527" y="14645"/>
                    <a:pt x="8376" y="14494"/>
                    <a:pt x="8187" y="14494"/>
                  </a:cubicBezTo>
                  <a:close/>
                  <a:moveTo>
                    <a:pt x="9103" y="14494"/>
                  </a:moveTo>
                  <a:cubicBezTo>
                    <a:pt x="8914" y="14494"/>
                    <a:pt x="8760" y="14645"/>
                    <a:pt x="8760" y="14831"/>
                  </a:cubicBezTo>
                  <a:cubicBezTo>
                    <a:pt x="8760" y="15016"/>
                    <a:pt x="8914" y="15165"/>
                    <a:pt x="9103" y="15165"/>
                  </a:cubicBezTo>
                  <a:cubicBezTo>
                    <a:pt x="9292" y="15165"/>
                    <a:pt x="9444" y="15016"/>
                    <a:pt x="9444" y="14831"/>
                  </a:cubicBezTo>
                  <a:cubicBezTo>
                    <a:pt x="9444" y="14645"/>
                    <a:pt x="9292" y="14494"/>
                    <a:pt x="9103" y="14494"/>
                  </a:cubicBezTo>
                  <a:close/>
                  <a:moveTo>
                    <a:pt x="10122" y="14494"/>
                  </a:moveTo>
                  <a:cubicBezTo>
                    <a:pt x="9933" y="14494"/>
                    <a:pt x="9778" y="14645"/>
                    <a:pt x="9778" y="14831"/>
                  </a:cubicBezTo>
                  <a:cubicBezTo>
                    <a:pt x="9778" y="15016"/>
                    <a:pt x="9933" y="15165"/>
                    <a:pt x="10122" y="15165"/>
                  </a:cubicBezTo>
                  <a:cubicBezTo>
                    <a:pt x="10311" y="15165"/>
                    <a:pt x="10463" y="15016"/>
                    <a:pt x="10463" y="14831"/>
                  </a:cubicBezTo>
                  <a:cubicBezTo>
                    <a:pt x="10463" y="14645"/>
                    <a:pt x="10311" y="14494"/>
                    <a:pt x="10122" y="14494"/>
                  </a:cubicBezTo>
                  <a:close/>
                  <a:moveTo>
                    <a:pt x="11141" y="14494"/>
                  </a:moveTo>
                  <a:cubicBezTo>
                    <a:pt x="10952" y="14494"/>
                    <a:pt x="10797" y="14645"/>
                    <a:pt x="10797" y="14831"/>
                  </a:cubicBezTo>
                  <a:cubicBezTo>
                    <a:pt x="10797" y="15016"/>
                    <a:pt x="10952" y="15165"/>
                    <a:pt x="11141" y="15165"/>
                  </a:cubicBezTo>
                  <a:cubicBezTo>
                    <a:pt x="11329" y="15165"/>
                    <a:pt x="11481" y="15016"/>
                    <a:pt x="11481" y="14831"/>
                  </a:cubicBezTo>
                  <a:cubicBezTo>
                    <a:pt x="11481" y="14645"/>
                    <a:pt x="11329" y="14494"/>
                    <a:pt x="11141" y="14494"/>
                  </a:cubicBezTo>
                  <a:close/>
                  <a:moveTo>
                    <a:pt x="12057" y="14494"/>
                  </a:moveTo>
                  <a:cubicBezTo>
                    <a:pt x="11868" y="14494"/>
                    <a:pt x="11714" y="14645"/>
                    <a:pt x="11714" y="14831"/>
                  </a:cubicBezTo>
                  <a:cubicBezTo>
                    <a:pt x="11714" y="15016"/>
                    <a:pt x="11868" y="15165"/>
                    <a:pt x="12057" y="15165"/>
                  </a:cubicBezTo>
                  <a:cubicBezTo>
                    <a:pt x="12247" y="15165"/>
                    <a:pt x="12398" y="15016"/>
                    <a:pt x="12398" y="14831"/>
                  </a:cubicBezTo>
                  <a:cubicBezTo>
                    <a:pt x="12398" y="14645"/>
                    <a:pt x="12247" y="14494"/>
                    <a:pt x="12057" y="14494"/>
                  </a:cubicBezTo>
                  <a:close/>
                  <a:moveTo>
                    <a:pt x="13076" y="14494"/>
                  </a:moveTo>
                  <a:cubicBezTo>
                    <a:pt x="12886" y="14494"/>
                    <a:pt x="12732" y="14645"/>
                    <a:pt x="12732" y="14831"/>
                  </a:cubicBezTo>
                  <a:cubicBezTo>
                    <a:pt x="12732" y="15016"/>
                    <a:pt x="12886" y="15165"/>
                    <a:pt x="13076" y="15165"/>
                  </a:cubicBezTo>
                  <a:cubicBezTo>
                    <a:pt x="13265" y="15165"/>
                    <a:pt x="13416" y="15016"/>
                    <a:pt x="13416" y="14831"/>
                  </a:cubicBezTo>
                  <a:cubicBezTo>
                    <a:pt x="13416" y="14645"/>
                    <a:pt x="13265" y="14494"/>
                    <a:pt x="13076" y="14494"/>
                  </a:cubicBezTo>
                  <a:close/>
                  <a:moveTo>
                    <a:pt x="14094" y="14494"/>
                  </a:moveTo>
                  <a:cubicBezTo>
                    <a:pt x="13905" y="14494"/>
                    <a:pt x="13751" y="14645"/>
                    <a:pt x="13751" y="14831"/>
                  </a:cubicBezTo>
                  <a:cubicBezTo>
                    <a:pt x="13751" y="15016"/>
                    <a:pt x="13905" y="15165"/>
                    <a:pt x="14094" y="15165"/>
                  </a:cubicBezTo>
                  <a:cubicBezTo>
                    <a:pt x="14284" y="15165"/>
                    <a:pt x="14435" y="15016"/>
                    <a:pt x="14435" y="14831"/>
                  </a:cubicBezTo>
                  <a:cubicBezTo>
                    <a:pt x="14435" y="14645"/>
                    <a:pt x="14284" y="14494"/>
                    <a:pt x="14094" y="14494"/>
                  </a:cubicBezTo>
                  <a:close/>
                  <a:moveTo>
                    <a:pt x="15113" y="14494"/>
                  </a:moveTo>
                  <a:cubicBezTo>
                    <a:pt x="14924" y="14494"/>
                    <a:pt x="14769" y="14645"/>
                    <a:pt x="14769" y="14831"/>
                  </a:cubicBezTo>
                  <a:cubicBezTo>
                    <a:pt x="14769" y="15016"/>
                    <a:pt x="14924" y="15165"/>
                    <a:pt x="15113" y="15165"/>
                  </a:cubicBezTo>
                  <a:cubicBezTo>
                    <a:pt x="15302" y="15165"/>
                    <a:pt x="15454" y="15016"/>
                    <a:pt x="15454" y="14831"/>
                  </a:cubicBezTo>
                  <a:cubicBezTo>
                    <a:pt x="15454" y="14645"/>
                    <a:pt x="15302" y="14494"/>
                    <a:pt x="15113" y="14494"/>
                  </a:cubicBezTo>
                  <a:close/>
                  <a:moveTo>
                    <a:pt x="16030" y="14494"/>
                  </a:moveTo>
                  <a:cubicBezTo>
                    <a:pt x="15841" y="14494"/>
                    <a:pt x="15686" y="14645"/>
                    <a:pt x="15686" y="14831"/>
                  </a:cubicBezTo>
                  <a:cubicBezTo>
                    <a:pt x="15686" y="15016"/>
                    <a:pt x="15841" y="15165"/>
                    <a:pt x="16030" y="15165"/>
                  </a:cubicBezTo>
                  <a:cubicBezTo>
                    <a:pt x="16219" y="15165"/>
                    <a:pt x="16370" y="15016"/>
                    <a:pt x="16370" y="14831"/>
                  </a:cubicBezTo>
                  <a:cubicBezTo>
                    <a:pt x="16370" y="14645"/>
                    <a:pt x="16219" y="14494"/>
                    <a:pt x="16030" y="14494"/>
                  </a:cubicBezTo>
                  <a:close/>
                  <a:moveTo>
                    <a:pt x="344" y="15493"/>
                  </a:moveTo>
                  <a:cubicBezTo>
                    <a:pt x="155" y="15493"/>
                    <a:pt x="0" y="15645"/>
                    <a:pt x="0" y="15831"/>
                  </a:cubicBezTo>
                  <a:cubicBezTo>
                    <a:pt x="0" y="16016"/>
                    <a:pt x="155" y="16168"/>
                    <a:pt x="344" y="16168"/>
                  </a:cubicBezTo>
                  <a:cubicBezTo>
                    <a:pt x="533" y="16168"/>
                    <a:pt x="684" y="16016"/>
                    <a:pt x="684" y="15831"/>
                  </a:cubicBezTo>
                  <a:cubicBezTo>
                    <a:pt x="684" y="15645"/>
                    <a:pt x="533" y="15493"/>
                    <a:pt x="344" y="15493"/>
                  </a:cubicBezTo>
                  <a:close/>
                  <a:moveTo>
                    <a:pt x="1260" y="15493"/>
                  </a:moveTo>
                  <a:cubicBezTo>
                    <a:pt x="1071" y="15493"/>
                    <a:pt x="917" y="15645"/>
                    <a:pt x="917" y="15831"/>
                  </a:cubicBezTo>
                  <a:cubicBezTo>
                    <a:pt x="917" y="16016"/>
                    <a:pt x="1071" y="16168"/>
                    <a:pt x="1260" y="16168"/>
                  </a:cubicBezTo>
                  <a:cubicBezTo>
                    <a:pt x="1450" y="16168"/>
                    <a:pt x="1601" y="16016"/>
                    <a:pt x="1601" y="15831"/>
                  </a:cubicBezTo>
                  <a:cubicBezTo>
                    <a:pt x="1601" y="15645"/>
                    <a:pt x="1450" y="15493"/>
                    <a:pt x="1260" y="15493"/>
                  </a:cubicBezTo>
                  <a:close/>
                  <a:moveTo>
                    <a:pt x="2279" y="15493"/>
                  </a:moveTo>
                  <a:cubicBezTo>
                    <a:pt x="2090" y="15493"/>
                    <a:pt x="1935" y="15645"/>
                    <a:pt x="1935" y="15831"/>
                  </a:cubicBezTo>
                  <a:cubicBezTo>
                    <a:pt x="1935" y="16016"/>
                    <a:pt x="2090" y="16168"/>
                    <a:pt x="2279" y="16168"/>
                  </a:cubicBezTo>
                  <a:cubicBezTo>
                    <a:pt x="2468" y="16168"/>
                    <a:pt x="2620" y="16016"/>
                    <a:pt x="2620" y="15831"/>
                  </a:cubicBezTo>
                  <a:cubicBezTo>
                    <a:pt x="2620" y="15645"/>
                    <a:pt x="2468" y="15493"/>
                    <a:pt x="2279" y="15493"/>
                  </a:cubicBezTo>
                  <a:close/>
                  <a:moveTo>
                    <a:pt x="8187" y="15493"/>
                  </a:moveTo>
                  <a:cubicBezTo>
                    <a:pt x="7998" y="15493"/>
                    <a:pt x="7843" y="15645"/>
                    <a:pt x="7843" y="15831"/>
                  </a:cubicBezTo>
                  <a:cubicBezTo>
                    <a:pt x="7843" y="16017"/>
                    <a:pt x="7998" y="16168"/>
                    <a:pt x="8187" y="16168"/>
                  </a:cubicBezTo>
                  <a:cubicBezTo>
                    <a:pt x="8376" y="16168"/>
                    <a:pt x="8527" y="16017"/>
                    <a:pt x="8527" y="15831"/>
                  </a:cubicBezTo>
                  <a:cubicBezTo>
                    <a:pt x="8527" y="15645"/>
                    <a:pt x="8376" y="15493"/>
                    <a:pt x="8187" y="15493"/>
                  </a:cubicBezTo>
                  <a:close/>
                  <a:moveTo>
                    <a:pt x="10122" y="15493"/>
                  </a:moveTo>
                  <a:cubicBezTo>
                    <a:pt x="9933" y="15493"/>
                    <a:pt x="9778" y="15645"/>
                    <a:pt x="9778" y="15831"/>
                  </a:cubicBezTo>
                  <a:cubicBezTo>
                    <a:pt x="9778" y="16017"/>
                    <a:pt x="9933" y="16168"/>
                    <a:pt x="10122" y="16168"/>
                  </a:cubicBezTo>
                  <a:cubicBezTo>
                    <a:pt x="10311" y="16168"/>
                    <a:pt x="10463" y="16017"/>
                    <a:pt x="10463" y="15831"/>
                  </a:cubicBezTo>
                  <a:cubicBezTo>
                    <a:pt x="10463" y="15645"/>
                    <a:pt x="10311" y="15493"/>
                    <a:pt x="10122" y="15493"/>
                  </a:cubicBezTo>
                  <a:close/>
                  <a:moveTo>
                    <a:pt x="11141" y="15493"/>
                  </a:moveTo>
                  <a:cubicBezTo>
                    <a:pt x="10952" y="15493"/>
                    <a:pt x="10797" y="15645"/>
                    <a:pt x="10797" y="15831"/>
                  </a:cubicBezTo>
                  <a:cubicBezTo>
                    <a:pt x="10797" y="16017"/>
                    <a:pt x="10952" y="16168"/>
                    <a:pt x="11141" y="16168"/>
                  </a:cubicBezTo>
                  <a:cubicBezTo>
                    <a:pt x="11329" y="16168"/>
                    <a:pt x="11481" y="16017"/>
                    <a:pt x="11481" y="15831"/>
                  </a:cubicBezTo>
                  <a:cubicBezTo>
                    <a:pt x="11481" y="15645"/>
                    <a:pt x="11329" y="15493"/>
                    <a:pt x="11141" y="15493"/>
                  </a:cubicBezTo>
                  <a:close/>
                  <a:moveTo>
                    <a:pt x="12057" y="15493"/>
                  </a:moveTo>
                  <a:cubicBezTo>
                    <a:pt x="11868" y="15493"/>
                    <a:pt x="11714" y="15645"/>
                    <a:pt x="11714" y="15831"/>
                  </a:cubicBezTo>
                  <a:cubicBezTo>
                    <a:pt x="11714" y="16017"/>
                    <a:pt x="11868" y="16168"/>
                    <a:pt x="12057" y="16168"/>
                  </a:cubicBezTo>
                  <a:cubicBezTo>
                    <a:pt x="12247" y="16168"/>
                    <a:pt x="12398" y="16017"/>
                    <a:pt x="12398" y="15831"/>
                  </a:cubicBezTo>
                  <a:cubicBezTo>
                    <a:pt x="12398" y="15645"/>
                    <a:pt x="12247" y="15493"/>
                    <a:pt x="12057" y="15493"/>
                  </a:cubicBezTo>
                  <a:close/>
                  <a:moveTo>
                    <a:pt x="13076" y="15493"/>
                  </a:moveTo>
                  <a:cubicBezTo>
                    <a:pt x="12886" y="15493"/>
                    <a:pt x="12732" y="15645"/>
                    <a:pt x="12732" y="15831"/>
                  </a:cubicBezTo>
                  <a:cubicBezTo>
                    <a:pt x="12732" y="16017"/>
                    <a:pt x="12886" y="16168"/>
                    <a:pt x="13076" y="16168"/>
                  </a:cubicBezTo>
                  <a:cubicBezTo>
                    <a:pt x="13265" y="16168"/>
                    <a:pt x="13416" y="16017"/>
                    <a:pt x="13416" y="15831"/>
                  </a:cubicBezTo>
                  <a:cubicBezTo>
                    <a:pt x="13416" y="15645"/>
                    <a:pt x="13265" y="15493"/>
                    <a:pt x="13076" y="15493"/>
                  </a:cubicBezTo>
                  <a:close/>
                  <a:moveTo>
                    <a:pt x="14094" y="15493"/>
                  </a:moveTo>
                  <a:cubicBezTo>
                    <a:pt x="13905" y="15493"/>
                    <a:pt x="13751" y="15645"/>
                    <a:pt x="13751" y="15831"/>
                  </a:cubicBezTo>
                  <a:cubicBezTo>
                    <a:pt x="13751" y="16017"/>
                    <a:pt x="13905" y="16168"/>
                    <a:pt x="14094" y="16168"/>
                  </a:cubicBezTo>
                  <a:cubicBezTo>
                    <a:pt x="14284" y="16168"/>
                    <a:pt x="14435" y="16017"/>
                    <a:pt x="14435" y="15831"/>
                  </a:cubicBezTo>
                  <a:cubicBezTo>
                    <a:pt x="14435" y="15645"/>
                    <a:pt x="14284" y="15493"/>
                    <a:pt x="14094" y="15493"/>
                  </a:cubicBezTo>
                  <a:close/>
                  <a:moveTo>
                    <a:pt x="15113" y="15493"/>
                  </a:moveTo>
                  <a:cubicBezTo>
                    <a:pt x="14924" y="15493"/>
                    <a:pt x="14769" y="15645"/>
                    <a:pt x="14769" y="15831"/>
                  </a:cubicBezTo>
                  <a:cubicBezTo>
                    <a:pt x="14769" y="16017"/>
                    <a:pt x="14924" y="16168"/>
                    <a:pt x="15113" y="16168"/>
                  </a:cubicBezTo>
                  <a:cubicBezTo>
                    <a:pt x="15302" y="16168"/>
                    <a:pt x="15454" y="16017"/>
                    <a:pt x="15454" y="15831"/>
                  </a:cubicBezTo>
                  <a:cubicBezTo>
                    <a:pt x="15454" y="15645"/>
                    <a:pt x="15302" y="15493"/>
                    <a:pt x="15113" y="15493"/>
                  </a:cubicBezTo>
                  <a:close/>
                  <a:moveTo>
                    <a:pt x="10122" y="16393"/>
                  </a:moveTo>
                  <a:cubicBezTo>
                    <a:pt x="9933" y="16393"/>
                    <a:pt x="9778" y="16545"/>
                    <a:pt x="9778" y="16730"/>
                  </a:cubicBezTo>
                  <a:cubicBezTo>
                    <a:pt x="9778" y="16917"/>
                    <a:pt x="9933" y="17064"/>
                    <a:pt x="10122" y="17064"/>
                  </a:cubicBezTo>
                  <a:cubicBezTo>
                    <a:pt x="10311" y="17064"/>
                    <a:pt x="10463" y="16917"/>
                    <a:pt x="10463" y="16730"/>
                  </a:cubicBezTo>
                  <a:cubicBezTo>
                    <a:pt x="10463" y="16545"/>
                    <a:pt x="10311" y="16393"/>
                    <a:pt x="10122" y="16393"/>
                  </a:cubicBezTo>
                  <a:close/>
                  <a:moveTo>
                    <a:pt x="11141" y="16393"/>
                  </a:moveTo>
                  <a:cubicBezTo>
                    <a:pt x="10952" y="16393"/>
                    <a:pt x="10797" y="16545"/>
                    <a:pt x="10797" y="16730"/>
                  </a:cubicBezTo>
                  <a:cubicBezTo>
                    <a:pt x="10797" y="16917"/>
                    <a:pt x="10952" y="17064"/>
                    <a:pt x="11141" y="17064"/>
                  </a:cubicBezTo>
                  <a:cubicBezTo>
                    <a:pt x="11329" y="17064"/>
                    <a:pt x="11481" y="16917"/>
                    <a:pt x="11481" y="16730"/>
                  </a:cubicBezTo>
                  <a:cubicBezTo>
                    <a:pt x="11481" y="16545"/>
                    <a:pt x="11329" y="16393"/>
                    <a:pt x="11141" y="16393"/>
                  </a:cubicBezTo>
                  <a:close/>
                  <a:moveTo>
                    <a:pt x="12057" y="16393"/>
                  </a:moveTo>
                  <a:cubicBezTo>
                    <a:pt x="11868" y="16393"/>
                    <a:pt x="11714" y="16545"/>
                    <a:pt x="11714" y="16730"/>
                  </a:cubicBezTo>
                  <a:cubicBezTo>
                    <a:pt x="11714" y="16917"/>
                    <a:pt x="11868" y="17064"/>
                    <a:pt x="12057" y="17064"/>
                  </a:cubicBezTo>
                  <a:cubicBezTo>
                    <a:pt x="12247" y="17064"/>
                    <a:pt x="12398" y="16917"/>
                    <a:pt x="12398" y="16730"/>
                  </a:cubicBezTo>
                  <a:cubicBezTo>
                    <a:pt x="12398" y="16545"/>
                    <a:pt x="12247" y="16393"/>
                    <a:pt x="12057" y="16393"/>
                  </a:cubicBezTo>
                  <a:close/>
                  <a:moveTo>
                    <a:pt x="13076" y="16393"/>
                  </a:moveTo>
                  <a:cubicBezTo>
                    <a:pt x="12886" y="16393"/>
                    <a:pt x="12732" y="16545"/>
                    <a:pt x="12732" y="16730"/>
                  </a:cubicBezTo>
                  <a:cubicBezTo>
                    <a:pt x="12732" y="16917"/>
                    <a:pt x="12886" y="17064"/>
                    <a:pt x="13076" y="17064"/>
                  </a:cubicBezTo>
                  <a:cubicBezTo>
                    <a:pt x="13265" y="17064"/>
                    <a:pt x="13416" y="16917"/>
                    <a:pt x="13416" y="16730"/>
                  </a:cubicBezTo>
                  <a:cubicBezTo>
                    <a:pt x="13416" y="16545"/>
                    <a:pt x="13265" y="16393"/>
                    <a:pt x="13076" y="16393"/>
                  </a:cubicBezTo>
                  <a:close/>
                  <a:moveTo>
                    <a:pt x="14094" y="16393"/>
                  </a:moveTo>
                  <a:cubicBezTo>
                    <a:pt x="13905" y="16393"/>
                    <a:pt x="13751" y="16545"/>
                    <a:pt x="13751" y="16730"/>
                  </a:cubicBezTo>
                  <a:cubicBezTo>
                    <a:pt x="13751" y="16917"/>
                    <a:pt x="13905" y="17064"/>
                    <a:pt x="14094" y="17064"/>
                  </a:cubicBezTo>
                  <a:cubicBezTo>
                    <a:pt x="14284" y="17064"/>
                    <a:pt x="14435" y="16917"/>
                    <a:pt x="14435" y="16730"/>
                  </a:cubicBezTo>
                  <a:cubicBezTo>
                    <a:pt x="14435" y="16545"/>
                    <a:pt x="14284" y="16393"/>
                    <a:pt x="14094" y="16393"/>
                  </a:cubicBezTo>
                  <a:close/>
                  <a:moveTo>
                    <a:pt x="10122" y="17392"/>
                  </a:moveTo>
                  <a:cubicBezTo>
                    <a:pt x="9933" y="17392"/>
                    <a:pt x="9778" y="17544"/>
                    <a:pt x="9778" y="17730"/>
                  </a:cubicBezTo>
                  <a:cubicBezTo>
                    <a:pt x="9778" y="17915"/>
                    <a:pt x="9933" y="18067"/>
                    <a:pt x="10122" y="18067"/>
                  </a:cubicBezTo>
                  <a:cubicBezTo>
                    <a:pt x="10311" y="18067"/>
                    <a:pt x="10463" y="17915"/>
                    <a:pt x="10463" y="17730"/>
                  </a:cubicBezTo>
                  <a:cubicBezTo>
                    <a:pt x="10463" y="17544"/>
                    <a:pt x="10311" y="17392"/>
                    <a:pt x="10122" y="17392"/>
                  </a:cubicBezTo>
                  <a:close/>
                  <a:moveTo>
                    <a:pt x="11141" y="17392"/>
                  </a:moveTo>
                  <a:cubicBezTo>
                    <a:pt x="10952" y="17392"/>
                    <a:pt x="10797" y="17544"/>
                    <a:pt x="10797" y="17730"/>
                  </a:cubicBezTo>
                  <a:cubicBezTo>
                    <a:pt x="10797" y="17915"/>
                    <a:pt x="10952" y="18067"/>
                    <a:pt x="11141" y="18067"/>
                  </a:cubicBezTo>
                  <a:cubicBezTo>
                    <a:pt x="11329" y="18067"/>
                    <a:pt x="11481" y="17915"/>
                    <a:pt x="11481" y="17730"/>
                  </a:cubicBezTo>
                  <a:cubicBezTo>
                    <a:pt x="11481" y="17544"/>
                    <a:pt x="11329" y="17392"/>
                    <a:pt x="11141" y="17392"/>
                  </a:cubicBezTo>
                  <a:close/>
                  <a:moveTo>
                    <a:pt x="12057" y="17392"/>
                  </a:moveTo>
                  <a:cubicBezTo>
                    <a:pt x="11868" y="17392"/>
                    <a:pt x="11714" y="17544"/>
                    <a:pt x="11714" y="17730"/>
                  </a:cubicBezTo>
                  <a:cubicBezTo>
                    <a:pt x="11714" y="17915"/>
                    <a:pt x="11868" y="18067"/>
                    <a:pt x="12057" y="18067"/>
                  </a:cubicBezTo>
                  <a:cubicBezTo>
                    <a:pt x="12247" y="18067"/>
                    <a:pt x="12398" y="17915"/>
                    <a:pt x="12398" y="17730"/>
                  </a:cubicBezTo>
                  <a:cubicBezTo>
                    <a:pt x="12398" y="17544"/>
                    <a:pt x="12247" y="17392"/>
                    <a:pt x="12057" y="17392"/>
                  </a:cubicBezTo>
                  <a:close/>
                  <a:moveTo>
                    <a:pt x="13076" y="17392"/>
                  </a:moveTo>
                  <a:cubicBezTo>
                    <a:pt x="12886" y="17392"/>
                    <a:pt x="12732" y="17544"/>
                    <a:pt x="12732" y="17730"/>
                  </a:cubicBezTo>
                  <a:cubicBezTo>
                    <a:pt x="12732" y="17915"/>
                    <a:pt x="12886" y="18067"/>
                    <a:pt x="13076" y="18067"/>
                  </a:cubicBezTo>
                  <a:cubicBezTo>
                    <a:pt x="13265" y="18067"/>
                    <a:pt x="13416" y="17915"/>
                    <a:pt x="13416" y="17730"/>
                  </a:cubicBezTo>
                  <a:cubicBezTo>
                    <a:pt x="13416" y="17544"/>
                    <a:pt x="13265" y="17392"/>
                    <a:pt x="13076" y="17392"/>
                  </a:cubicBezTo>
                  <a:close/>
                  <a:moveTo>
                    <a:pt x="21291" y="17392"/>
                  </a:moveTo>
                  <a:cubicBezTo>
                    <a:pt x="21121" y="17392"/>
                    <a:pt x="20983" y="17528"/>
                    <a:pt x="20982" y="17695"/>
                  </a:cubicBezTo>
                  <a:cubicBezTo>
                    <a:pt x="20982" y="17863"/>
                    <a:pt x="21121" y="17998"/>
                    <a:pt x="21291" y="17998"/>
                  </a:cubicBezTo>
                  <a:cubicBezTo>
                    <a:pt x="21462" y="17998"/>
                    <a:pt x="21600" y="17863"/>
                    <a:pt x="21600" y="17695"/>
                  </a:cubicBezTo>
                  <a:cubicBezTo>
                    <a:pt x="21600" y="17528"/>
                    <a:pt x="21462" y="17392"/>
                    <a:pt x="21291" y="17392"/>
                  </a:cubicBezTo>
                  <a:close/>
                  <a:moveTo>
                    <a:pt x="20375" y="18392"/>
                  </a:moveTo>
                  <a:cubicBezTo>
                    <a:pt x="20204" y="18392"/>
                    <a:pt x="20066" y="18528"/>
                    <a:pt x="20066" y="18695"/>
                  </a:cubicBezTo>
                  <a:cubicBezTo>
                    <a:pt x="20066" y="18862"/>
                    <a:pt x="20204" y="18998"/>
                    <a:pt x="20375" y="18998"/>
                  </a:cubicBezTo>
                  <a:cubicBezTo>
                    <a:pt x="20545" y="18998"/>
                    <a:pt x="20683" y="18862"/>
                    <a:pt x="20683" y="18695"/>
                  </a:cubicBezTo>
                  <a:cubicBezTo>
                    <a:pt x="20683" y="18528"/>
                    <a:pt x="20545" y="18392"/>
                    <a:pt x="20375" y="18392"/>
                  </a:cubicBezTo>
                  <a:close/>
                  <a:moveTo>
                    <a:pt x="11141" y="19192"/>
                  </a:moveTo>
                  <a:cubicBezTo>
                    <a:pt x="10952" y="19192"/>
                    <a:pt x="10797" y="19344"/>
                    <a:pt x="10797" y="19529"/>
                  </a:cubicBezTo>
                  <a:cubicBezTo>
                    <a:pt x="10797" y="19715"/>
                    <a:pt x="10952" y="19863"/>
                    <a:pt x="11141" y="19863"/>
                  </a:cubicBezTo>
                  <a:cubicBezTo>
                    <a:pt x="11329" y="19863"/>
                    <a:pt x="11481" y="19715"/>
                    <a:pt x="11481" y="19529"/>
                  </a:cubicBezTo>
                  <a:cubicBezTo>
                    <a:pt x="11481" y="19344"/>
                    <a:pt x="11329" y="19192"/>
                    <a:pt x="11141" y="19192"/>
                  </a:cubicBezTo>
                  <a:close/>
                  <a:moveTo>
                    <a:pt x="18643" y="19192"/>
                  </a:moveTo>
                  <a:cubicBezTo>
                    <a:pt x="18472" y="19192"/>
                    <a:pt x="18334" y="19328"/>
                    <a:pt x="18334" y="19495"/>
                  </a:cubicBezTo>
                  <a:cubicBezTo>
                    <a:pt x="18334" y="19662"/>
                    <a:pt x="18472" y="19798"/>
                    <a:pt x="18643" y="19798"/>
                  </a:cubicBezTo>
                  <a:cubicBezTo>
                    <a:pt x="18813" y="19798"/>
                    <a:pt x="18952" y="19662"/>
                    <a:pt x="18952" y="19495"/>
                  </a:cubicBezTo>
                  <a:cubicBezTo>
                    <a:pt x="18952" y="19328"/>
                    <a:pt x="18813" y="19192"/>
                    <a:pt x="18643" y="19192"/>
                  </a:cubicBezTo>
                  <a:close/>
                  <a:moveTo>
                    <a:pt x="16810" y="20091"/>
                  </a:moveTo>
                  <a:cubicBezTo>
                    <a:pt x="16639" y="20091"/>
                    <a:pt x="16501" y="20227"/>
                    <a:pt x="16501" y="20394"/>
                  </a:cubicBezTo>
                  <a:cubicBezTo>
                    <a:pt x="16501" y="20562"/>
                    <a:pt x="16639" y="20697"/>
                    <a:pt x="16810" y="20697"/>
                  </a:cubicBezTo>
                  <a:cubicBezTo>
                    <a:pt x="16980" y="20697"/>
                    <a:pt x="17118" y="20562"/>
                    <a:pt x="17118" y="20394"/>
                  </a:cubicBezTo>
                  <a:cubicBezTo>
                    <a:pt x="17118" y="20227"/>
                    <a:pt x="16980" y="20091"/>
                    <a:pt x="16810" y="20091"/>
                  </a:cubicBezTo>
                  <a:close/>
                  <a:moveTo>
                    <a:pt x="17726" y="20091"/>
                  </a:moveTo>
                  <a:cubicBezTo>
                    <a:pt x="17555" y="20091"/>
                    <a:pt x="17418" y="20227"/>
                    <a:pt x="17418" y="20394"/>
                  </a:cubicBezTo>
                  <a:cubicBezTo>
                    <a:pt x="17418" y="20562"/>
                    <a:pt x="17555" y="20697"/>
                    <a:pt x="17726" y="20697"/>
                  </a:cubicBezTo>
                  <a:cubicBezTo>
                    <a:pt x="17897" y="20697"/>
                    <a:pt x="18035" y="20562"/>
                    <a:pt x="18035" y="20394"/>
                  </a:cubicBezTo>
                  <a:cubicBezTo>
                    <a:pt x="18035" y="20227"/>
                    <a:pt x="17897" y="20091"/>
                    <a:pt x="17726" y="20091"/>
                  </a:cubicBezTo>
                  <a:close/>
                  <a:moveTo>
                    <a:pt x="15180" y="20991"/>
                  </a:moveTo>
                  <a:cubicBezTo>
                    <a:pt x="15009" y="20991"/>
                    <a:pt x="14871" y="21127"/>
                    <a:pt x="14871" y="21294"/>
                  </a:cubicBezTo>
                  <a:cubicBezTo>
                    <a:pt x="14871" y="21461"/>
                    <a:pt x="15009" y="21600"/>
                    <a:pt x="15180" y="21600"/>
                  </a:cubicBezTo>
                  <a:cubicBezTo>
                    <a:pt x="15351" y="21600"/>
                    <a:pt x="15489" y="21461"/>
                    <a:pt x="15489" y="21294"/>
                  </a:cubicBezTo>
                  <a:cubicBezTo>
                    <a:pt x="15489" y="21127"/>
                    <a:pt x="15351" y="20991"/>
                    <a:pt x="15180" y="20991"/>
                  </a:cubicBezTo>
                  <a:close/>
                  <a:moveTo>
                    <a:pt x="15893" y="20991"/>
                  </a:moveTo>
                  <a:cubicBezTo>
                    <a:pt x="15722" y="20991"/>
                    <a:pt x="15584" y="21127"/>
                    <a:pt x="15584" y="21294"/>
                  </a:cubicBezTo>
                  <a:cubicBezTo>
                    <a:pt x="15584" y="21461"/>
                    <a:pt x="15722" y="21600"/>
                    <a:pt x="15893" y="21600"/>
                  </a:cubicBezTo>
                  <a:cubicBezTo>
                    <a:pt x="16063" y="21600"/>
                    <a:pt x="16202" y="21461"/>
                    <a:pt x="16202" y="21294"/>
                  </a:cubicBezTo>
                  <a:cubicBezTo>
                    <a:pt x="16202" y="21127"/>
                    <a:pt x="16063" y="20991"/>
                    <a:pt x="15893" y="20991"/>
                  </a:cubicBezTo>
                  <a:close/>
                </a:path>
              </a:pathLst>
            </a:custGeom>
            <a:grpFill/>
            <a:ln w="12700" cap="flat">
              <a:noFill/>
              <a:miter lim="400000"/>
            </a:ln>
            <a:effectLst/>
          </p:spPr>
          <p:txBody>
            <a:bodyPr wrap="square" lIns="19050" tIns="19050" rIns="19050" bIns="19050" numCol="1" anchor="ctr">
              <a:noAutofit/>
            </a:bodyP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8" name="Shape 18632"/>
            <p:cNvSpPr/>
            <p:nvPr/>
          </p:nvSpPr>
          <p:spPr>
            <a:xfrm>
              <a:off x="8661400" y="127000"/>
              <a:ext cx="6676629" cy="5203429"/>
            </a:xfrm>
            <a:custGeom>
              <a:avLst/>
              <a:gdLst/>
              <a:ahLst/>
              <a:cxnLst>
                <a:cxn ang="0">
                  <a:pos x="wd2" y="hd2"/>
                </a:cxn>
                <a:cxn ang="5400000">
                  <a:pos x="wd2" y="hd2"/>
                </a:cxn>
                <a:cxn ang="10800000">
                  <a:pos x="wd2" y="hd2"/>
                </a:cxn>
                <a:cxn ang="16200000">
                  <a:pos x="wd2" y="hd2"/>
                </a:cxn>
              </a:cxnLst>
              <a:rect l="0" t="0" r="r" b="b"/>
              <a:pathLst>
                <a:path w="21600" h="21600" extrusionOk="0">
                  <a:moveTo>
                    <a:pt x="6466" y="0"/>
                  </a:moveTo>
                  <a:cubicBezTo>
                    <a:pt x="6390" y="0"/>
                    <a:pt x="6327" y="80"/>
                    <a:pt x="6327" y="178"/>
                  </a:cubicBezTo>
                  <a:cubicBezTo>
                    <a:pt x="6327" y="276"/>
                    <a:pt x="6390" y="354"/>
                    <a:pt x="6466" y="354"/>
                  </a:cubicBezTo>
                  <a:cubicBezTo>
                    <a:pt x="6542" y="354"/>
                    <a:pt x="6603" y="276"/>
                    <a:pt x="6603" y="178"/>
                  </a:cubicBezTo>
                  <a:cubicBezTo>
                    <a:pt x="6603" y="80"/>
                    <a:pt x="6542" y="0"/>
                    <a:pt x="6466" y="0"/>
                  </a:cubicBezTo>
                  <a:close/>
                  <a:moveTo>
                    <a:pt x="6836" y="0"/>
                  </a:moveTo>
                  <a:cubicBezTo>
                    <a:pt x="6759" y="0"/>
                    <a:pt x="6697" y="80"/>
                    <a:pt x="6697" y="178"/>
                  </a:cubicBezTo>
                  <a:cubicBezTo>
                    <a:pt x="6697" y="276"/>
                    <a:pt x="6759" y="354"/>
                    <a:pt x="6836" y="354"/>
                  </a:cubicBezTo>
                  <a:cubicBezTo>
                    <a:pt x="6912" y="354"/>
                    <a:pt x="6973" y="276"/>
                    <a:pt x="6973" y="178"/>
                  </a:cubicBezTo>
                  <a:cubicBezTo>
                    <a:pt x="6973" y="80"/>
                    <a:pt x="6912" y="0"/>
                    <a:pt x="6836" y="0"/>
                  </a:cubicBezTo>
                  <a:close/>
                  <a:moveTo>
                    <a:pt x="7247" y="0"/>
                  </a:moveTo>
                  <a:cubicBezTo>
                    <a:pt x="7170" y="0"/>
                    <a:pt x="7108" y="80"/>
                    <a:pt x="7108" y="178"/>
                  </a:cubicBezTo>
                  <a:cubicBezTo>
                    <a:pt x="7108" y="276"/>
                    <a:pt x="7170" y="354"/>
                    <a:pt x="7247" y="354"/>
                  </a:cubicBezTo>
                  <a:cubicBezTo>
                    <a:pt x="7323" y="354"/>
                    <a:pt x="7384" y="276"/>
                    <a:pt x="7384" y="178"/>
                  </a:cubicBezTo>
                  <a:cubicBezTo>
                    <a:pt x="7384" y="80"/>
                    <a:pt x="7323" y="0"/>
                    <a:pt x="7247" y="0"/>
                  </a:cubicBezTo>
                  <a:close/>
                  <a:moveTo>
                    <a:pt x="8027" y="474"/>
                  </a:moveTo>
                  <a:cubicBezTo>
                    <a:pt x="7951" y="474"/>
                    <a:pt x="7889" y="554"/>
                    <a:pt x="7889" y="652"/>
                  </a:cubicBezTo>
                  <a:cubicBezTo>
                    <a:pt x="7889" y="750"/>
                    <a:pt x="7951" y="829"/>
                    <a:pt x="8027" y="829"/>
                  </a:cubicBezTo>
                  <a:cubicBezTo>
                    <a:pt x="8104" y="829"/>
                    <a:pt x="8165" y="750"/>
                    <a:pt x="8165" y="652"/>
                  </a:cubicBezTo>
                  <a:cubicBezTo>
                    <a:pt x="8165" y="554"/>
                    <a:pt x="8104" y="474"/>
                    <a:pt x="8027" y="474"/>
                  </a:cubicBezTo>
                  <a:close/>
                  <a:moveTo>
                    <a:pt x="8438" y="474"/>
                  </a:moveTo>
                  <a:cubicBezTo>
                    <a:pt x="8362" y="474"/>
                    <a:pt x="8299" y="554"/>
                    <a:pt x="8299" y="652"/>
                  </a:cubicBezTo>
                  <a:cubicBezTo>
                    <a:pt x="8299" y="750"/>
                    <a:pt x="8362" y="829"/>
                    <a:pt x="8438" y="829"/>
                  </a:cubicBezTo>
                  <a:cubicBezTo>
                    <a:pt x="8515" y="829"/>
                    <a:pt x="8576" y="750"/>
                    <a:pt x="8576" y="652"/>
                  </a:cubicBezTo>
                  <a:cubicBezTo>
                    <a:pt x="8576" y="554"/>
                    <a:pt x="8515" y="474"/>
                    <a:pt x="8438" y="474"/>
                  </a:cubicBezTo>
                  <a:close/>
                  <a:moveTo>
                    <a:pt x="8808" y="474"/>
                  </a:moveTo>
                  <a:cubicBezTo>
                    <a:pt x="8732" y="474"/>
                    <a:pt x="8669" y="554"/>
                    <a:pt x="8669" y="652"/>
                  </a:cubicBezTo>
                  <a:cubicBezTo>
                    <a:pt x="8669" y="750"/>
                    <a:pt x="8732" y="829"/>
                    <a:pt x="8808" y="829"/>
                  </a:cubicBezTo>
                  <a:cubicBezTo>
                    <a:pt x="8884" y="829"/>
                    <a:pt x="8945" y="750"/>
                    <a:pt x="8945" y="652"/>
                  </a:cubicBezTo>
                  <a:cubicBezTo>
                    <a:pt x="8945" y="554"/>
                    <a:pt x="8884" y="474"/>
                    <a:pt x="8808" y="474"/>
                  </a:cubicBezTo>
                  <a:close/>
                  <a:moveTo>
                    <a:pt x="9219" y="474"/>
                  </a:moveTo>
                  <a:cubicBezTo>
                    <a:pt x="9142" y="474"/>
                    <a:pt x="9080" y="554"/>
                    <a:pt x="9080" y="652"/>
                  </a:cubicBezTo>
                  <a:cubicBezTo>
                    <a:pt x="9080" y="750"/>
                    <a:pt x="9142" y="829"/>
                    <a:pt x="9219" y="829"/>
                  </a:cubicBezTo>
                  <a:cubicBezTo>
                    <a:pt x="9295" y="829"/>
                    <a:pt x="9356" y="750"/>
                    <a:pt x="9356" y="652"/>
                  </a:cubicBezTo>
                  <a:cubicBezTo>
                    <a:pt x="9356" y="554"/>
                    <a:pt x="9295" y="474"/>
                    <a:pt x="9219" y="474"/>
                  </a:cubicBezTo>
                  <a:close/>
                  <a:moveTo>
                    <a:pt x="13985" y="896"/>
                  </a:moveTo>
                  <a:cubicBezTo>
                    <a:pt x="13908" y="896"/>
                    <a:pt x="13846" y="976"/>
                    <a:pt x="13846" y="1074"/>
                  </a:cubicBezTo>
                  <a:cubicBezTo>
                    <a:pt x="13846" y="1172"/>
                    <a:pt x="13908" y="1252"/>
                    <a:pt x="13985" y="1252"/>
                  </a:cubicBezTo>
                  <a:cubicBezTo>
                    <a:pt x="14061" y="1252"/>
                    <a:pt x="14122" y="1172"/>
                    <a:pt x="14122" y="1074"/>
                  </a:cubicBezTo>
                  <a:cubicBezTo>
                    <a:pt x="14122" y="976"/>
                    <a:pt x="14061" y="896"/>
                    <a:pt x="13985" y="896"/>
                  </a:cubicBezTo>
                  <a:close/>
                  <a:moveTo>
                    <a:pt x="2891" y="1002"/>
                  </a:moveTo>
                  <a:cubicBezTo>
                    <a:pt x="2815" y="1002"/>
                    <a:pt x="2753" y="1082"/>
                    <a:pt x="2753" y="1180"/>
                  </a:cubicBezTo>
                  <a:cubicBezTo>
                    <a:pt x="2753" y="1278"/>
                    <a:pt x="2815" y="1356"/>
                    <a:pt x="2891" y="1356"/>
                  </a:cubicBezTo>
                  <a:cubicBezTo>
                    <a:pt x="2968" y="1356"/>
                    <a:pt x="3029" y="1278"/>
                    <a:pt x="3029" y="1180"/>
                  </a:cubicBezTo>
                  <a:cubicBezTo>
                    <a:pt x="3029" y="1082"/>
                    <a:pt x="2968" y="1002"/>
                    <a:pt x="2891" y="1002"/>
                  </a:cubicBezTo>
                  <a:close/>
                  <a:moveTo>
                    <a:pt x="3302" y="1002"/>
                  </a:moveTo>
                  <a:cubicBezTo>
                    <a:pt x="3226" y="1002"/>
                    <a:pt x="3164" y="1082"/>
                    <a:pt x="3164" y="1180"/>
                  </a:cubicBezTo>
                  <a:cubicBezTo>
                    <a:pt x="3164" y="1278"/>
                    <a:pt x="3226" y="1356"/>
                    <a:pt x="3302" y="1356"/>
                  </a:cubicBezTo>
                  <a:cubicBezTo>
                    <a:pt x="3379" y="1356"/>
                    <a:pt x="3440" y="1278"/>
                    <a:pt x="3440" y="1180"/>
                  </a:cubicBezTo>
                  <a:cubicBezTo>
                    <a:pt x="3440" y="1082"/>
                    <a:pt x="3379" y="1002"/>
                    <a:pt x="3302" y="1002"/>
                  </a:cubicBezTo>
                  <a:close/>
                  <a:moveTo>
                    <a:pt x="6836" y="1002"/>
                  </a:moveTo>
                  <a:cubicBezTo>
                    <a:pt x="6759" y="1002"/>
                    <a:pt x="6697" y="1082"/>
                    <a:pt x="6697" y="1180"/>
                  </a:cubicBezTo>
                  <a:cubicBezTo>
                    <a:pt x="6697" y="1277"/>
                    <a:pt x="6759" y="1356"/>
                    <a:pt x="6836" y="1356"/>
                  </a:cubicBezTo>
                  <a:cubicBezTo>
                    <a:pt x="6912" y="1356"/>
                    <a:pt x="6973" y="1277"/>
                    <a:pt x="6973" y="1180"/>
                  </a:cubicBezTo>
                  <a:cubicBezTo>
                    <a:pt x="6973" y="1082"/>
                    <a:pt x="6912" y="1002"/>
                    <a:pt x="6836" y="1002"/>
                  </a:cubicBezTo>
                  <a:close/>
                  <a:moveTo>
                    <a:pt x="7247" y="1002"/>
                  </a:moveTo>
                  <a:cubicBezTo>
                    <a:pt x="7170" y="1002"/>
                    <a:pt x="7108" y="1082"/>
                    <a:pt x="7108" y="1180"/>
                  </a:cubicBezTo>
                  <a:cubicBezTo>
                    <a:pt x="7108" y="1277"/>
                    <a:pt x="7170" y="1356"/>
                    <a:pt x="7247" y="1356"/>
                  </a:cubicBezTo>
                  <a:cubicBezTo>
                    <a:pt x="7323" y="1356"/>
                    <a:pt x="7384" y="1277"/>
                    <a:pt x="7384" y="1180"/>
                  </a:cubicBezTo>
                  <a:cubicBezTo>
                    <a:pt x="7384" y="1082"/>
                    <a:pt x="7323" y="1002"/>
                    <a:pt x="7247" y="1002"/>
                  </a:cubicBezTo>
                  <a:close/>
                  <a:moveTo>
                    <a:pt x="7616" y="1002"/>
                  </a:moveTo>
                  <a:cubicBezTo>
                    <a:pt x="7540" y="1002"/>
                    <a:pt x="7478" y="1082"/>
                    <a:pt x="7478" y="1180"/>
                  </a:cubicBezTo>
                  <a:cubicBezTo>
                    <a:pt x="7478" y="1277"/>
                    <a:pt x="7540" y="1356"/>
                    <a:pt x="7616" y="1356"/>
                  </a:cubicBezTo>
                  <a:cubicBezTo>
                    <a:pt x="7693" y="1356"/>
                    <a:pt x="7754" y="1277"/>
                    <a:pt x="7754" y="1180"/>
                  </a:cubicBezTo>
                  <a:cubicBezTo>
                    <a:pt x="7754" y="1082"/>
                    <a:pt x="7693" y="1002"/>
                    <a:pt x="7616" y="1002"/>
                  </a:cubicBezTo>
                  <a:close/>
                  <a:moveTo>
                    <a:pt x="8027" y="1002"/>
                  </a:moveTo>
                  <a:cubicBezTo>
                    <a:pt x="7951" y="1002"/>
                    <a:pt x="7889" y="1082"/>
                    <a:pt x="7889" y="1180"/>
                  </a:cubicBezTo>
                  <a:cubicBezTo>
                    <a:pt x="7889" y="1277"/>
                    <a:pt x="7951" y="1356"/>
                    <a:pt x="8027" y="1356"/>
                  </a:cubicBezTo>
                  <a:cubicBezTo>
                    <a:pt x="8104" y="1356"/>
                    <a:pt x="8165" y="1277"/>
                    <a:pt x="8165" y="1180"/>
                  </a:cubicBezTo>
                  <a:cubicBezTo>
                    <a:pt x="8165" y="1082"/>
                    <a:pt x="8104" y="1002"/>
                    <a:pt x="8027" y="1002"/>
                  </a:cubicBezTo>
                  <a:close/>
                  <a:moveTo>
                    <a:pt x="8438" y="1002"/>
                  </a:moveTo>
                  <a:cubicBezTo>
                    <a:pt x="8362" y="1002"/>
                    <a:pt x="8299" y="1082"/>
                    <a:pt x="8299" y="1180"/>
                  </a:cubicBezTo>
                  <a:cubicBezTo>
                    <a:pt x="8299" y="1277"/>
                    <a:pt x="8362" y="1356"/>
                    <a:pt x="8438" y="1356"/>
                  </a:cubicBezTo>
                  <a:cubicBezTo>
                    <a:pt x="8515" y="1356"/>
                    <a:pt x="8576" y="1277"/>
                    <a:pt x="8576" y="1180"/>
                  </a:cubicBezTo>
                  <a:cubicBezTo>
                    <a:pt x="8576" y="1082"/>
                    <a:pt x="8515" y="1002"/>
                    <a:pt x="8438" y="1002"/>
                  </a:cubicBezTo>
                  <a:close/>
                  <a:moveTo>
                    <a:pt x="8808" y="1002"/>
                  </a:moveTo>
                  <a:cubicBezTo>
                    <a:pt x="8732" y="1002"/>
                    <a:pt x="8669" y="1082"/>
                    <a:pt x="8669" y="1180"/>
                  </a:cubicBezTo>
                  <a:cubicBezTo>
                    <a:pt x="8669" y="1277"/>
                    <a:pt x="8732" y="1356"/>
                    <a:pt x="8808" y="1356"/>
                  </a:cubicBezTo>
                  <a:cubicBezTo>
                    <a:pt x="8884" y="1356"/>
                    <a:pt x="8945" y="1277"/>
                    <a:pt x="8945" y="1180"/>
                  </a:cubicBezTo>
                  <a:cubicBezTo>
                    <a:pt x="8945" y="1082"/>
                    <a:pt x="8884" y="1002"/>
                    <a:pt x="8808" y="1002"/>
                  </a:cubicBezTo>
                  <a:close/>
                  <a:moveTo>
                    <a:pt x="9219" y="1002"/>
                  </a:moveTo>
                  <a:cubicBezTo>
                    <a:pt x="9142" y="1002"/>
                    <a:pt x="9080" y="1082"/>
                    <a:pt x="9080" y="1180"/>
                  </a:cubicBezTo>
                  <a:cubicBezTo>
                    <a:pt x="9080" y="1277"/>
                    <a:pt x="9142" y="1356"/>
                    <a:pt x="9219" y="1356"/>
                  </a:cubicBezTo>
                  <a:cubicBezTo>
                    <a:pt x="9295" y="1356"/>
                    <a:pt x="9356" y="1277"/>
                    <a:pt x="9356" y="1180"/>
                  </a:cubicBezTo>
                  <a:cubicBezTo>
                    <a:pt x="9356" y="1082"/>
                    <a:pt x="9295" y="1002"/>
                    <a:pt x="9219" y="1002"/>
                  </a:cubicBezTo>
                  <a:close/>
                  <a:moveTo>
                    <a:pt x="2891" y="1476"/>
                  </a:moveTo>
                  <a:cubicBezTo>
                    <a:pt x="2815" y="1476"/>
                    <a:pt x="2753" y="1556"/>
                    <a:pt x="2753" y="1654"/>
                  </a:cubicBezTo>
                  <a:cubicBezTo>
                    <a:pt x="2753" y="1752"/>
                    <a:pt x="2815" y="1832"/>
                    <a:pt x="2891" y="1832"/>
                  </a:cubicBezTo>
                  <a:cubicBezTo>
                    <a:pt x="2968" y="1832"/>
                    <a:pt x="3029" y="1752"/>
                    <a:pt x="3029" y="1654"/>
                  </a:cubicBezTo>
                  <a:cubicBezTo>
                    <a:pt x="3029" y="1556"/>
                    <a:pt x="2968" y="1476"/>
                    <a:pt x="2891" y="1476"/>
                  </a:cubicBezTo>
                  <a:close/>
                  <a:moveTo>
                    <a:pt x="4494" y="1529"/>
                  </a:moveTo>
                  <a:cubicBezTo>
                    <a:pt x="4417" y="1529"/>
                    <a:pt x="4355" y="1609"/>
                    <a:pt x="4355" y="1707"/>
                  </a:cubicBezTo>
                  <a:cubicBezTo>
                    <a:pt x="4355" y="1805"/>
                    <a:pt x="4417" y="1883"/>
                    <a:pt x="4494" y="1883"/>
                  </a:cubicBezTo>
                  <a:cubicBezTo>
                    <a:pt x="4570" y="1883"/>
                    <a:pt x="4631" y="1805"/>
                    <a:pt x="4631" y="1707"/>
                  </a:cubicBezTo>
                  <a:cubicBezTo>
                    <a:pt x="4631" y="1609"/>
                    <a:pt x="4570" y="1529"/>
                    <a:pt x="4494" y="1529"/>
                  </a:cubicBezTo>
                  <a:close/>
                  <a:moveTo>
                    <a:pt x="4905" y="1529"/>
                  </a:moveTo>
                  <a:cubicBezTo>
                    <a:pt x="4828" y="1529"/>
                    <a:pt x="4766" y="1609"/>
                    <a:pt x="4766" y="1707"/>
                  </a:cubicBezTo>
                  <a:cubicBezTo>
                    <a:pt x="4766" y="1805"/>
                    <a:pt x="4828" y="1883"/>
                    <a:pt x="4905" y="1883"/>
                  </a:cubicBezTo>
                  <a:cubicBezTo>
                    <a:pt x="4981" y="1883"/>
                    <a:pt x="5042" y="1805"/>
                    <a:pt x="5042" y="1707"/>
                  </a:cubicBezTo>
                  <a:cubicBezTo>
                    <a:pt x="5042" y="1609"/>
                    <a:pt x="4981" y="1529"/>
                    <a:pt x="4905" y="1529"/>
                  </a:cubicBezTo>
                  <a:close/>
                  <a:moveTo>
                    <a:pt x="5685" y="1529"/>
                  </a:moveTo>
                  <a:cubicBezTo>
                    <a:pt x="5609" y="1529"/>
                    <a:pt x="5547" y="1609"/>
                    <a:pt x="5547" y="1707"/>
                  </a:cubicBezTo>
                  <a:cubicBezTo>
                    <a:pt x="5547" y="1805"/>
                    <a:pt x="5609" y="1883"/>
                    <a:pt x="5685" y="1883"/>
                  </a:cubicBezTo>
                  <a:cubicBezTo>
                    <a:pt x="5762" y="1883"/>
                    <a:pt x="5823" y="1805"/>
                    <a:pt x="5823" y="1707"/>
                  </a:cubicBezTo>
                  <a:cubicBezTo>
                    <a:pt x="5823" y="1609"/>
                    <a:pt x="5762" y="1529"/>
                    <a:pt x="5685" y="1529"/>
                  </a:cubicBezTo>
                  <a:close/>
                  <a:moveTo>
                    <a:pt x="6055" y="1529"/>
                  </a:moveTo>
                  <a:cubicBezTo>
                    <a:pt x="5979" y="1529"/>
                    <a:pt x="5916" y="1609"/>
                    <a:pt x="5916" y="1707"/>
                  </a:cubicBezTo>
                  <a:cubicBezTo>
                    <a:pt x="5916" y="1805"/>
                    <a:pt x="5979" y="1883"/>
                    <a:pt x="6055" y="1883"/>
                  </a:cubicBezTo>
                  <a:cubicBezTo>
                    <a:pt x="6132" y="1883"/>
                    <a:pt x="6193" y="1805"/>
                    <a:pt x="6193" y="1707"/>
                  </a:cubicBezTo>
                  <a:cubicBezTo>
                    <a:pt x="6193" y="1609"/>
                    <a:pt x="6132" y="1529"/>
                    <a:pt x="6055" y="1529"/>
                  </a:cubicBezTo>
                  <a:close/>
                  <a:moveTo>
                    <a:pt x="6466" y="1529"/>
                  </a:moveTo>
                  <a:cubicBezTo>
                    <a:pt x="6390" y="1529"/>
                    <a:pt x="6327" y="1609"/>
                    <a:pt x="6327" y="1707"/>
                  </a:cubicBezTo>
                  <a:cubicBezTo>
                    <a:pt x="6327" y="1805"/>
                    <a:pt x="6390" y="1883"/>
                    <a:pt x="6466" y="1883"/>
                  </a:cubicBezTo>
                  <a:cubicBezTo>
                    <a:pt x="6542" y="1883"/>
                    <a:pt x="6603" y="1805"/>
                    <a:pt x="6603" y="1707"/>
                  </a:cubicBezTo>
                  <a:cubicBezTo>
                    <a:pt x="6603" y="1609"/>
                    <a:pt x="6542" y="1529"/>
                    <a:pt x="6466" y="1529"/>
                  </a:cubicBezTo>
                  <a:close/>
                  <a:moveTo>
                    <a:pt x="6836" y="1529"/>
                  </a:moveTo>
                  <a:cubicBezTo>
                    <a:pt x="6759" y="1529"/>
                    <a:pt x="6697" y="1609"/>
                    <a:pt x="6697" y="1707"/>
                  </a:cubicBezTo>
                  <a:cubicBezTo>
                    <a:pt x="6697" y="1805"/>
                    <a:pt x="6759" y="1883"/>
                    <a:pt x="6836" y="1883"/>
                  </a:cubicBezTo>
                  <a:cubicBezTo>
                    <a:pt x="6912" y="1883"/>
                    <a:pt x="6973" y="1805"/>
                    <a:pt x="6973" y="1707"/>
                  </a:cubicBezTo>
                  <a:cubicBezTo>
                    <a:pt x="6973" y="1609"/>
                    <a:pt x="6912" y="1529"/>
                    <a:pt x="6836" y="1529"/>
                  </a:cubicBezTo>
                  <a:close/>
                  <a:moveTo>
                    <a:pt x="7247" y="1529"/>
                  </a:moveTo>
                  <a:cubicBezTo>
                    <a:pt x="7170" y="1529"/>
                    <a:pt x="7108" y="1609"/>
                    <a:pt x="7108" y="1707"/>
                  </a:cubicBezTo>
                  <a:cubicBezTo>
                    <a:pt x="7108" y="1805"/>
                    <a:pt x="7170" y="1883"/>
                    <a:pt x="7247" y="1883"/>
                  </a:cubicBezTo>
                  <a:cubicBezTo>
                    <a:pt x="7323" y="1883"/>
                    <a:pt x="7384" y="1805"/>
                    <a:pt x="7384" y="1707"/>
                  </a:cubicBezTo>
                  <a:cubicBezTo>
                    <a:pt x="7384" y="1609"/>
                    <a:pt x="7323" y="1529"/>
                    <a:pt x="7247" y="1529"/>
                  </a:cubicBezTo>
                  <a:close/>
                  <a:moveTo>
                    <a:pt x="7616" y="1529"/>
                  </a:moveTo>
                  <a:cubicBezTo>
                    <a:pt x="7540" y="1529"/>
                    <a:pt x="7478" y="1609"/>
                    <a:pt x="7478" y="1707"/>
                  </a:cubicBezTo>
                  <a:cubicBezTo>
                    <a:pt x="7478" y="1805"/>
                    <a:pt x="7540" y="1883"/>
                    <a:pt x="7616" y="1883"/>
                  </a:cubicBezTo>
                  <a:cubicBezTo>
                    <a:pt x="7693" y="1883"/>
                    <a:pt x="7754" y="1805"/>
                    <a:pt x="7754" y="1707"/>
                  </a:cubicBezTo>
                  <a:cubicBezTo>
                    <a:pt x="7754" y="1609"/>
                    <a:pt x="7693" y="1529"/>
                    <a:pt x="7616" y="1529"/>
                  </a:cubicBezTo>
                  <a:close/>
                  <a:moveTo>
                    <a:pt x="8027" y="1529"/>
                  </a:moveTo>
                  <a:cubicBezTo>
                    <a:pt x="7951" y="1529"/>
                    <a:pt x="7889" y="1609"/>
                    <a:pt x="7889" y="1707"/>
                  </a:cubicBezTo>
                  <a:cubicBezTo>
                    <a:pt x="7889" y="1805"/>
                    <a:pt x="7951" y="1883"/>
                    <a:pt x="8027" y="1883"/>
                  </a:cubicBezTo>
                  <a:cubicBezTo>
                    <a:pt x="8104" y="1883"/>
                    <a:pt x="8165" y="1805"/>
                    <a:pt x="8165" y="1707"/>
                  </a:cubicBezTo>
                  <a:cubicBezTo>
                    <a:pt x="8165" y="1609"/>
                    <a:pt x="8104" y="1529"/>
                    <a:pt x="8027" y="1529"/>
                  </a:cubicBezTo>
                  <a:close/>
                  <a:moveTo>
                    <a:pt x="8438" y="1529"/>
                  </a:moveTo>
                  <a:cubicBezTo>
                    <a:pt x="8362" y="1529"/>
                    <a:pt x="8299" y="1609"/>
                    <a:pt x="8299" y="1707"/>
                  </a:cubicBezTo>
                  <a:cubicBezTo>
                    <a:pt x="8299" y="1805"/>
                    <a:pt x="8362" y="1883"/>
                    <a:pt x="8438" y="1883"/>
                  </a:cubicBezTo>
                  <a:cubicBezTo>
                    <a:pt x="8515" y="1883"/>
                    <a:pt x="8576" y="1805"/>
                    <a:pt x="8576" y="1707"/>
                  </a:cubicBezTo>
                  <a:cubicBezTo>
                    <a:pt x="8576" y="1609"/>
                    <a:pt x="8515" y="1529"/>
                    <a:pt x="8438" y="1529"/>
                  </a:cubicBezTo>
                  <a:close/>
                  <a:moveTo>
                    <a:pt x="8808" y="1529"/>
                  </a:moveTo>
                  <a:cubicBezTo>
                    <a:pt x="8732" y="1529"/>
                    <a:pt x="8669" y="1609"/>
                    <a:pt x="8669" y="1707"/>
                  </a:cubicBezTo>
                  <a:cubicBezTo>
                    <a:pt x="8669" y="1805"/>
                    <a:pt x="8732" y="1883"/>
                    <a:pt x="8808" y="1883"/>
                  </a:cubicBezTo>
                  <a:cubicBezTo>
                    <a:pt x="8884" y="1883"/>
                    <a:pt x="8945" y="1805"/>
                    <a:pt x="8945" y="1707"/>
                  </a:cubicBezTo>
                  <a:cubicBezTo>
                    <a:pt x="8945" y="1609"/>
                    <a:pt x="8884" y="1529"/>
                    <a:pt x="8808" y="1529"/>
                  </a:cubicBezTo>
                  <a:close/>
                  <a:moveTo>
                    <a:pt x="9219" y="1529"/>
                  </a:moveTo>
                  <a:cubicBezTo>
                    <a:pt x="9142" y="1529"/>
                    <a:pt x="9080" y="1609"/>
                    <a:pt x="9080" y="1707"/>
                  </a:cubicBezTo>
                  <a:cubicBezTo>
                    <a:pt x="9080" y="1805"/>
                    <a:pt x="9142" y="1883"/>
                    <a:pt x="9219" y="1883"/>
                  </a:cubicBezTo>
                  <a:cubicBezTo>
                    <a:pt x="9295" y="1883"/>
                    <a:pt x="9356" y="1805"/>
                    <a:pt x="9356" y="1707"/>
                  </a:cubicBezTo>
                  <a:cubicBezTo>
                    <a:pt x="9356" y="1609"/>
                    <a:pt x="9295" y="1529"/>
                    <a:pt x="9219" y="1529"/>
                  </a:cubicBezTo>
                  <a:close/>
                  <a:moveTo>
                    <a:pt x="9589" y="1529"/>
                  </a:moveTo>
                  <a:cubicBezTo>
                    <a:pt x="9512" y="1529"/>
                    <a:pt x="9450" y="1609"/>
                    <a:pt x="9450" y="1707"/>
                  </a:cubicBezTo>
                  <a:cubicBezTo>
                    <a:pt x="9450" y="1805"/>
                    <a:pt x="9512" y="1883"/>
                    <a:pt x="9589" y="1883"/>
                  </a:cubicBezTo>
                  <a:cubicBezTo>
                    <a:pt x="9665" y="1883"/>
                    <a:pt x="9726" y="1805"/>
                    <a:pt x="9726" y="1707"/>
                  </a:cubicBezTo>
                  <a:cubicBezTo>
                    <a:pt x="9726" y="1609"/>
                    <a:pt x="9665" y="1529"/>
                    <a:pt x="9589" y="1529"/>
                  </a:cubicBezTo>
                  <a:close/>
                  <a:moveTo>
                    <a:pt x="9999" y="1529"/>
                  </a:moveTo>
                  <a:cubicBezTo>
                    <a:pt x="9923" y="1529"/>
                    <a:pt x="9861" y="1609"/>
                    <a:pt x="9861" y="1707"/>
                  </a:cubicBezTo>
                  <a:cubicBezTo>
                    <a:pt x="9861" y="1805"/>
                    <a:pt x="9923" y="1883"/>
                    <a:pt x="9999" y="1883"/>
                  </a:cubicBezTo>
                  <a:cubicBezTo>
                    <a:pt x="10076" y="1883"/>
                    <a:pt x="10137" y="1805"/>
                    <a:pt x="10137" y="1707"/>
                  </a:cubicBezTo>
                  <a:cubicBezTo>
                    <a:pt x="10137" y="1609"/>
                    <a:pt x="10076" y="1529"/>
                    <a:pt x="9999" y="1529"/>
                  </a:cubicBezTo>
                  <a:close/>
                  <a:moveTo>
                    <a:pt x="10410" y="1529"/>
                  </a:moveTo>
                  <a:cubicBezTo>
                    <a:pt x="10334" y="1529"/>
                    <a:pt x="10272" y="1609"/>
                    <a:pt x="10272" y="1707"/>
                  </a:cubicBezTo>
                  <a:cubicBezTo>
                    <a:pt x="10272" y="1805"/>
                    <a:pt x="10334" y="1883"/>
                    <a:pt x="10410" y="1883"/>
                  </a:cubicBezTo>
                  <a:cubicBezTo>
                    <a:pt x="10487" y="1883"/>
                    <a:pt x="10548" y="1805"/>
                    <a:pt x="10548" y="1707"/>
                  </a:cubicBezTo>
                  <a:cubicBezTo>
                    <a:pt x="10548" y="1609"/>
                    <a:pt x="10487" y="1529"/>
                    <a:pt x="10410" y="1529"/>
                  </a:cubicBezTo>
                  <a:close/>
                  <a:moveTo>
                    <a:pt x="10780" y="1529"/>
                  </a:moveTo>
                  <a:cubicBezTo>
                    <a:pt x="10704" y="1529"/>
                    <a:pt x="10641" y="1609"/>
                    <a:pt x="10641" y="1707"/>
                  </a:cubicBezTo>
                  <a:cubicBezTo>
                    <a:pt x="10641" y="1805"/>
                    <a:pt x="10704" y="1883"/>
                    <a:pt x="10780" y="1883"/>
                  </a:cubicBezTo>
                  <a:cubicBezTo>
                    <a:pt x="10856" y="1883"/>
                    <a:pt x="10917" y="1805"/>
                    <a:pt x="10917" y="1707"/>
                  </a:cubicBezTo>
                  <a:cubicBezTo>
                    <a:pt x="10917" y="1609"/>
                    <a:pt x="10856" y="1529"/>
                    <a:pt x="10780" y="1529"/>
                  </a:cubicBezTo>
                  <a:close/>
                  <a:moveTo>
                    <a:pt x="11191" y="1529"/>
                  </a:moveTo>
                  <a:cubicBezTo>
                    <a:pt x="11115" y="1529"/>
                    <a:pt x="11052" y="1609"/>
                    <a:pt x="11052" y="1707"/>
                  </a:cubicBezTo>
                  <a:cubicBezTo>
                    <a:pt x="11052" y="1805"/>
                    <a:pt x="11115" y="1883"/>
                    <a:pt x="11191" y="1883"/>
                  </a:cubicBezTo>
                  <a:cubicBezTo>
                    <a:pt x="11267" y="1883"/>
                    <a:pt x="11328" y="1805"/>
                    <a:pt x="11328" y="1707"/>
                  </a:cubicBezTo>
                  <a:cubicBezTo>
                    <a:pt x="11328" y="1609"/>
                    <a:pt x="11267" y="1529"/>
                    <a:pt x="11191" y="1529"/>
                  </a:cubicBezTo>
                  <a:close/>
                  <a:moveTo>
                    <a:pt x="11602" y="1529"/>
                  </a:moveTo>
                  <a:cubicBezTo>
                    <a:pt x="11526" y="1529"/>
                    <a:pt x="11463" y="1609"/>
                    <a:pt x="11463" y="1707"/>
                  </a:cubicBezTo>
                  <a:cubicBezTo>
                    <a:pt x="11463" y="1805"/>
                    <a:pt x="11526" y="1883"/>
                    <a:pt x="11602" y="1883"/>
                  </a:cubicBezTo>
                  <a:cubicBezTo>
                    <a:pt x="11678" y="1883"/>
                    <a:pt x="11739" y="1805"/>
                    <a:pt x="11739" y="1707"/>
                  </a:cubicBezTo>
                  <a:cubicBezTo>
                    <a:pt x="11739" y="1609"/>
                    <a:pt x="11678" y="1529"/>
                    <a:pt x="11602" y="1529"/>
                  </a:cubicBezTo>
                  <a:close/>
                  <a:moveTo>
                    <a:pt x="11972" y="1529"/>
                  </a:moveTo>
                  <a:cubicBezTo>
                    <a:pt x="11895" y="1529"/>
                    <a:pt x="11833" y="1609"/>
                    <a:pt x="11833" y="1707"/>
                  </a:cubicBezTo>
                  <a:cubicBezTo>
                    <a:pt x="11833" y="1805"/>
                    <a:pt x="11895" y="1883"/>
                    <a:pt x="11972" y="1883"/>
                  </a:cubicBezTo>
                  <a:cubicBezTo>
                    <a:pt x="12048" y="1883"/>
                    <a:pt x="12109" y="1805"/>
                    <a:pt x="12109" y="1707"/>
                  </a:cubicBezTo>
                  <a:cubicBezTo>
                    <a:pt x="12109" y="1609"/>
                    <a:pt x="12048" y="1529"/>
                    <a:pt x="11972" y="1529"/>
                  </a:cubicBezTo>
                  <a:close/>
                  <a:moveTo>
                    <a:pt x="12382" y="1529"/>
                  </a:moveTo>
                  <a:cubicBezTo>
                    <a:pt x="12306" y="1529"/>
                    <a:pt x="12244" y="1609"/>
                    <a:pt x="12244" y="1707"/>
                  </a:cubicBezTo>
                  <a:cubicBezTo>
                    <a:pt x="12244" y="1805"/>
                    <a:pt x="12306" y="1883"/>
                    <a:pt x="12382" y="1883"/>
                  </a:cubicBezTo>
                  <a:cubicBezTo>
                    <a:pt x="12459" y="1883"/>
                    <a:pt x="12520" y="1805"/>
                    <a:pt x="12520" y="1707"/>
                  </a:cubicBezTo>
                  <a:cubicBezTo>
                    <a:pt x="12520" y="1609"/>
                    <a:pt x="12459" y="1529"/>
                    <a:pt x="12382" y="1529"/>
                  </a:cubicBezTo>
                  <a:close/>
                  <a:moveTo>
                    <a:pt x="13985" y="1529"/>
                  </a:moveTo>
                  <a:cubicBezTo>
                    <a:pt x="13908" y="1529"/>
                    <a:pt x="13846" y="1609"/>
                    <a:pt x="13846" y="1707"/>
                  </a:cubicBezTo>
                  <a:cubicBezTo>
                    <a:pt x="13846" y="1805"/>
                    <a:pt x="13908" y="1885"/>
                    <a:pt x="13985" y="1885"/>
                  </a:cubicBezTo>
                  <a:cubicBezTo>
                    <a:pt x="14061" y="1885"/>
                    <a:pt x="14122" y="1805"/>
                    <a:pt x="14122" y="1707"/>
                  </a:cubicBezTo>
                  <a:cubicBezTo>
                    <a:pt x="14122" y="1609"/>
                    <a:pt x="14061" y="1529"/>
                    <a:pt x="13985" y="1529"/>
                  </a:cubicBezTo>
                  <a:close/>
                  <a:moveTo>
                    <a:pt x="14355" y="1529"/>
                  </a:moveTo>
                  <a:cubicBezTo>
                    <a:pt x="14278" y="1529"/>
                    <a:pt x="14216" y="1609"/>
                    <a:pt x="14216" y="1707"/>
                  </a:cubicBezTo>
                  <a:cubicBezTo>
                    <a:pt x="14216" y="1805"/>
                    <a:pt x="14278" y="1885"/>
                    <a:pt x="14355" y="1885"/>
                  </a:cubicBezTo>
                  <a:cubicBezTo>
                    <a:pt x="14431" y="1885"/>
                    <a:pt x="14492" y="1805"/>
                    <a:pt x="14492" y="1707"/>
                  </a:cubicBezTo>
                  <a:cubicBezTo>
                    <a:pt x="14492" y="1609"/>
                    <a:pt x="14431" y="1529"/>
                    <a:pt x="14355" y="1529"/>
                  </a:cubicBezTo>
                  <a:close/>
                  <a:moveTo>
                    <a:pt x="14765" y="1529"/>
                  </a:moveTo>
                  <a:cubicBezTo>
                    <a:pt x="14689" y="1529"/>
                    <a:pt x="14627" y="1609"/>
                    <a:pt x="14627" y="1707"/>
                  </a:cubicBezTo>
                  <a:cubicBezTo>
                    <a:pt x="14627" y="1805"/>
                    <a:pt x="14689" y="1885"/>
                    <a:pt x="14765" y="1885"/>
                  </a:cubicBezTo>
                  <a:cubicBezTo>
                    <a:pt x="14842" y="1885"/>
                    <a:pt x="14903" y="1805"/>
                    <a:pt x="14903" y="1707"/>
                  </a:cubicBezTo>
                  <a:cubicBezTo>
                    <a:pt x="14903" y="1609"/>
                    <a:pt x="14842" y="1529"/>
                    <a:pt x="14765" y="1529"/>
                  </a:cubicBezTo>
                  <a:close/>
                  <a:moveTo>
                    <a:pt x="3713" y="2003"/>
                  </a:moveTo>
                  <a:cubicBezTo>
                    <a:pt x="3637" y="2003"/>
                    <a:pt x="3575" y="2083"/>
                    <a:pt x="3575" y="2181"/>
                  </a:cubicBezTo>
                  <a:cubicBezTo>
                    <a:pt x="3575" y="2279"/>
                    <a:pt x="3637" y="2359"/>
                    <a:pt x="3713" y="2359"/>
                  </a:cubicBezTo>
                  <a:cubicBezTo>
                    <a:pt x="3790" y="2359"/>
                    <a:pt x="3851" y="2279"/>
                    <a:pt x="3851" y="2181"/>
                  </a:cubicBezTo>
                  <a:cubicBezTo>
                    <a:pt x="3851" y="2083"/>
                    <a:pt x="3790" y="2003"/>
                    <a:pt x="3713" y="2003"/>
                  </a:cubicBezTo>
                  <a:close/>
                  <a:moveTo>
                    <a:pt x="4083" y="2003"/>
                  </a:moveTo>
                  <a:cubicBezTo>
                    <a:pt x="4007" y="2003"/>
                    <a:pt x="3944" y="2083"/>
                    <a:pt x="3944" y="2181"/>
                  </a:cubicBezTo>
                  <a:cubicBezTo>
                    <a:pt x="3944" y="2279"/>
                    <a:pt x="4007" y="2359"/>
                    <a:pt x="4083" y="2359"/>
                  </a:cubicBezTo>
                  <a:cubicBezTo>
                    <a:pt x="4159" y="2359"/>
                    <a:pt x="4220" y="2279"/>
                    <a:pt x="4220" y="2181"/>
                  </a:cubicBezTo>
                  <a:cubicBezTo>
                    <a:pt x="4220" y="2083"/>
                    <a:pt x="4159" y="2003"/>
                    <a:pt x="4083" y="2003"/>
                  </a:cubicBezTo>
                  <a:close/>
                  <a:moveTo>
                    <a:pt x="4864" y="2003"/>
                  </a:moveTo>
                  <a:cubicBezTo>
                    <a:pt x="4787" y="2003"/>
                    <a:pt x="4725" y="2083"/>
                    <a:pt x="4725" y="2181"/>
                  </a:cubicBezTo>
                  <a:cubicBezTo>
                    <a:pt x="4725" y="2279"/>
                    <a:pt x="4787" y="2359"/>
                    <a:pt x="4864" y="2359"/>
                  </a:cubicBezTo>
                  <a:cubicBezTo>
                    <a:pt x="4940" y="2359"/>
                    <a:pt x="5001" y="2279"/>
                    <a:pt x="5001" y="2181"/>
                  </a:cubicBezTo>
                  <a:cubicBezTo>
                    <a:pt x="5001" y="2083"/>
                    <a:pt x="4940" y="2003"/>
                    <a:pt x="4864" y="2003"/>
                  </a:cubicBezTo>
                  <a:close/>
                  <a:moveTo>
                    <a:pt x="5274" y="2003"/>
                  </a:moveTo>
                  <a:cubicBezTo>
                    <a:pt x="5198" y="2003"/>
                    <a:pt x="5136" y="2083"/>
                    <a:pt x="5136" y="2181"/>
                  </a:cubicBezTo>
                  <a:cubicBezTo>
                    <a:pt x="5136" y="2279"/>
                    <a:pt x="5198" y="2359"/>
                    <a:pt x="5274" y="2359"/>
                  </a:cubicBezTo>
                  <a:cubicBezTo>
                    <a:pt x="5351" y="2359"/>
                    <a:pt x="5412" y="2279"/>
                    <a:pt x="5412" y="2181"/>
                  </a:cubicBezTo>
                  <a:cubicBezTo>
                    <a:pt x="5412" y="2083"/>
                    <a:pt x="5351" y="2003"/>
                    <a:pt x="5274" y="2003"/>
                  </a:cubicBezTo>
                  <a:close/>
                  <a:moveTo>
                    <a:pt x="5685" y="2003"/>
                  </a:moveTo>
                  <a:cubicBezTo>
                    <a:pt x="5609" y="2003"/>
                    <a:pt x="5547" y="2083"/>
                    <a:pt x="5547" y="2181"/>
                  </a:cubicBezTo>
                  <a:cubicBezTo>
                    <a:pt x="5547" y="2279"/>
                    <a:pt x="5609" y="2358"/>
                    <a:pt x="5685" y="2358"/>
                  </a:cubicBezTo>
                  <a:cubicBezTo>
                    <a:pt x="5762" y="2358"/>
                    <a:pt x="5823" y="2279"/>
                    <a:pt x="5823" y="2181"/>
                  </a:cubicBezTo>
                  <a:cubicBezTo>
                    <a:pt x="5823" y="2083"/>
                    <a:pt x="5762" y="2003"/>
                    <a:pt x="5685" y="2003"/>
                  </a:cubicBezTo>
                  <a:close/>
                  <a:moveTo>
                    <a:pt x="6055" y="2003"/>
                  </a:moveTo>
                  <a:cubicBezTo>
                    <a:pt x="5979" y="2003"/>
                    <a:pt x="5916" y="2083"/>
                    <a:pt x="5916" y="2181"/>
                  </a:cubicBezTo>
                  <a:cubicBezTo>
                    <a:pt x="5916" y="2279"/>
                    <a:pt x="5979" y="2358"/>
                    <a:pt x="6055" y="2358"/>
                  </a:cubicBezTo>
                  <a:cubicBezTo>
                    <a:pt x="6132" y="2358"/>
                    <a:pt x="6193" y="2279"/>
                    <a:pt x="6193" y="2181"/>
                  </a:cubicBezTo>
                  <a:cubicBezTo>
                    <a:pt x="6193" y="2083"/>
                    <a:pt x="6132" y="2003"/>
                    <a:pt x="6055" y="2003"/>
                  </a:cubicBezTo>
                  <a:close/>
                  <a:moveTo>
                    <a:pt x="6466" y="2003"/>
                  </a:moveTo>
                  <a:cubicBezTo>
                    <a:pt x="6390" y="2003"/>
                    <a:pt x="6327" y="2083"/>
                    <a:pt x="6327" y="2181"/>
                  </a:cubicBezTo>
                  <a:cubicBezTo>
                    <a:pt x="6327" y="2279"/>
                    <a:pt x="6390" y="2358"/>
                    <a:pt x="6466" y="2358"/>
                  </a:cubicBezTo>
                  <a:cubicBezTo>
                    <a:pt x="6542" y="2358"/>
                    <a:pt x="6603" y="2279"/>
                    <a:pt x="6603" y="2181"/>
                  </a:cubicBezTo>
                  <a:cubicBezTo>
                    <a:pt x="6603" y="2083"/>
                    <a:pt x="6542" y="2003"/>
                    <a:pt x="6466" y="2003"/>
                  </a:cubicBezTo>
                  <a:close/>
                  <a:moveTo>
                    <a:pt x="6836" y="2003"/>
                  </a:moveTo>
                  <a:cubicBezTo>
                    <a:pt x="6759" y="2003"/>
                    <a:pt x="6697" y="2083"/>
                    <a:pt x="6697" y="2181"/>
                  </a:cubicBezTo>
                  <a:cubicBezTo>
                    <a:pt x="6697" y="2279"/>
                    <a:pt x="6759" y="2358"/>
                    <a:pt x="6836" y="2358"/>
                  </a:cubicBezTo>
                  <a:cubicBezTo>
                    <a:pt x="6912" y="2358"/>
                    <a:pt x="6973" y="2279"/>
                    <a:pt x="6973" y="2181"/>
                  </a:cubicBezTo>
                  <a:cubicBezTo>
                    <a:pt x="6973" y="2083"/>
                    <a:pt x="6912" y="2003"/>
                    <a:pt x="6836" y="2003"/>
                  </a:cubicBezTo>
                  <a:close/>
                  <a:moveTo>
                    <a:pt x="7247" y="2003"/>
                  </a:moveTo>
                  <a:cubicBezTo>
                    <a:pt x="7170" y="2003"/>
                    <a:pt x="7108" y="2083"/>
                    <a:pt x="7108" y="2181"/>
                  </a:cubicBezTo>
                  <a:cubicBezTo>
                    <a:pt x="7108" y="2279"/>
                    <a:pt x="7170" y="2358"/>
                    <a:pt x="7247" y="2358"/>
                  </a:cubicBezTo>
                  <a:cubicBezTo>
                    <a:pt x="7323" y="2358"/>
                    <a:pt x="7384" y="2279"/>
                    <a:pt x="7384" y="2181"/>
                  </a:cubicBezTo>
                  <a:cubicBezTo>
                    <a:pt x="7384" y="2083"/>
                    <a:pt x="7323" y="2003"/>
                    <a:pt x="7247" y="2003"/>
                  </a:cubicBezTo>
                  <a:close/>
                  <a:moveTo>
                    <a:pt x="7616" y="2003"/>
                  </a:moveTo>
                  <a:cubicBezTo>
                    <a:pt x="7540" y="2003"/>
                    <a:pt x="7478" y="2083"/>
                    <a:pt x="7478" y="2181"/>
                  </a:cubicBezTo>
                  <a:cubicBezTo>
                    <a:pt x="7478" y="2279"/>
                    <a:pt x="7540" y="2358"/>
                    <a:pt x="7616" y="2358"/>
                  </a:cubicBezTo>
                  <a:cubicBezTo>
                    <a:pt x="7693" y="2358"/>
                    <a:pt x="7754" y="2279"/>
                    <a:pt x="7754" y="2181"/>
                  </a:cubicBezTo>
                  <a:cubicBezTo>
                    <a:pt x="7754" y="2083"/>
                    <a:pt x="7693" y="2003"/>
                    <a:pt x="7616" y="2003"/>
                  </a:cubicBezTo>
                  <a:close/>
                  <a:moveTo>
                    <a:pt x="8027" y="2003"/>
                  </a:moveTo>
                  <a:cubicBezTo>
                    <a:pt x="7951" y="2003"/>
                    <a:pt x="7889" y="2083"/>
                    <a:pt x="7889" y="2181"/>
                  </a:cubicBezTo>
                  <a:cubicBezTo>
                    <a:pt x="7889" y="2279"/>
                    <a:pt x="7951" y="2358"/>
                    <a:pt x="8027" y="2358"/>
                  </a:cubicBezTo>
                  <a:cubicBezTo>
                    <a:pt x="8104" y="2358"/>
                    <a:pt x="8165" y="2279"/>
                    <a:pt x="8165" y="2181"/>
                  </a:cubicBezTo>
                  <a:cubicBezTo>
                    <a:pt x="8165" y="2083"/>
                    <a:pt x="8104" y="2003"/>
                    <a:pt x="8027" y="2003"/>
                  </a:cubicBezTo>
                  <a:close/>
                  <a:moveTo>
                    <a:pt x="8438" y="2003"/>
                  </a:moveTo>
                  <a:cubicBezTo>
                    <a:pt x="8362" y="2003"/>
                    <a:pt x="8299" y="2083"/>
                    <a:pt x="8299" y="2181"/>
                  </a:cubicBezTo>
                  <a:cubicBezTo>
                    <a:pt x="8299" y="2279"/>
                    <a:pt x="8362" y="2358"/>
                    <a:pt x="8438" y="2358"/>
                  </a:cubicBezTo>
                  <a:cubicBezTo>
                    <a:pt x="8515" y="2358"/>
                    <a:pt x="8576" y="2279"/>
                    <a:pt x="8576" y="2181"/>
                  </a:cubicBezTo>
                  <a:cubicBezTo>
                    <a:pt x="8576" y="2083"/>
                    <a:pt x="8515" y="2003"/>
                    <a:pt x="8438" y="2003"/>
                  </a:cubicBezTo>
                  <a:close/>
                  <a:moveTo>
                    <a:pt x="8808" y="2003"/>
                  </a:moveTo>
                  <a:cubicBezTo>
                    <a:pt x="8732" y="2003"/>
                    <a:pt x="8669" y="2083"/>
                    <a:pt x="8669" y="2181"/>
                  </a:cubicBezTo>
                  <a:cubicBezTo>
                    <a:pt x="8669" y="2279"/>
                    <a:pt x="8732" y="2358"/>
                    <a:pt x="8808" y="2358"/>
                  </a:cubicBezTo>
                  <a:cubicBezTo>
                    <a:pt x="8884" y="2358"/>
                    <a:pt x="8945" y="2279"/>
                    <a:pt x="8945" y="2181"/>
                  </a:cubicBezTo>
                  <a:cubicBezTo>
                    <a:pt x="8945" y="2083"/>
                    <a:pt x="8884" y="2003"/>
                    <a:pt x="8808" y="2003"/>
                  </a:cubicBezTo>
                  <a:close/>
                  <a:moveTo>
                    <a:pt x="9219" y="2003"/>
                  </a:moveTo>
                  <a:cubicBezTo>
                    <a:pt x="9142" y="2003"/>
                    <a:pt x="9080" y="2083"/>
                    <a:pt x="9080" y="2181"/>
                  </a:cubicBezTo>
                  <a:cubicBezTo>
                    <a:pt x="9080" y="2279"/>
                    <a:pt x="9142" y="2358"/>
                    <a:pt x="9219" y="2358"/>
                  </a:cubicBezTo>
                  <a:cubicBezTo>
                    <a:pt x="9295" y="2358"/>
                    <a:pt x="9356" y="2279"/>
                    <a:pt x="9356" y="2181"/>
                  </a:cubicBezTo>
                  <a:cubicBezTo>
                    <a:pt x="9356" y="2083"/>
                    <a:pt x="9295" y="2003"/>
                    <a:pt x="9219" y="2003"/>
                  </a:cubicBezTo>
                  <a:close/>
                  <a:moveTo>
                    <a:pt x="9589" y="2003"/>
                  </a:moveTo>
                  <a:cubicBezTo>
                    <a:pt x="9512" y="2003"/>
                    <a:pt x="9450" y="2083"/>
                    <a:pt x="9450" y="2181"/>
                  </a:cubicBezTo>
                  <a:cubicBezTo>
                    <a:pt x="9450" y="2279"/>
                    <a:pt x="9512" y="2358"/>
                    <a:pt x="9589" y="2358"/>
                  </a:cubicBezTo>
                  <a:cubicBezTo>
                    <a:pt x="9665" y="2358"/>
                    <a:pt x="9726" y="2279"/>
                    <a:pt x="9726" y="2181"/>
                  </a:cubicBezTo>
                  <a:cubicBezTo>
                    <a:pt x="9726" y="2083"/>
                    <a:pt x="9665" y="2003"/>
                    <a:pt x="9589" y="2003"/>
                  </a:cubicBezTo>
                  <a:close/>
                  <a:moveTo>
                    <a:pt x="9999" y="2003"/>
                  </a:moveTo>
                  <a:cubicBezTo>
                    <a:pt x="9923" y="2003"/>
                    <a:pt x="9861" y="2083"/>
                    <a:pt x="9861" y="2181"/>
                  </a:cubicBezTo>
                  <a:cubicBezTo>
                    <a:pt x="9861" y="2279"/>
                    <a:pt x="9923" y="2358"/>
                    <a:pt x="9999" y="2358"/>
                  </a:cubicBezTo>
                  <a:cubicBezTo>
                    <a:pt x="10076" y="2358"/>
                    <a:pt x="10137" y="2279"/>
                    <a:pt x="10137" y="2181"/>
                  </a:cubicBezTo>
                  <a:cubicBezTo>
                    <a:pt x="10137" y="2083"/>
                    <a:pt x="10076" y="2003"/>
                    <a:pt x="9999" y="2003"/>
                  </a:cubicBezTo>
                  <a:close/>
                  <a:moveTo>
                    <a:pt x="10410" y="2003"/>
                  </a:moveTo>
                  <a:cubicBezTo>
                    <a:pt x="10334" y="2003"/>
                    <a:pt x="10272" y="2083"/>
                    <a:pt x="10272" y="2181"/>
                  </a:cubicBezTo>
                  <a:cubicBezTo>
                    <a:pt x="10272" y="2279"/>
                    <a:pt x="10334" y="2358"/>
                    <a:pt x="10410" y="2358"/>
                  </a:cubicBezTo>
                  <a:cubicBezTo>
                    <a:pt x="10487" y="2358"/>
                    <a:pt x="10548" y="2279"/>
                    <a:pt x="10548" y="2181"/>
                  </a:cubicBezTo>
                  <a:cubicBezTo>
                    <a:pt x="10548" y="2083"/>
                    <a:pt x="10487" y="2003"/>
                    <a:pt x="10410" y="2003"/>
                  </a:cubicBezTo>
                  <a:close/>
                  <a:moveTo>
                    <a:pt x="10780" y="2003"/>
                  </a:moveTo>
                  <a:cubicBezTo>
                    <a:pt x="10704" y="2003"/>
                    <a:pt x="10641" y="2083"/>
                    <a:pt x="10641" y="2181"/>
                  </a:cubicBezTo>
                  <a:cubicBezTo>
                    <a:pt x="10641" y="2279"/>
                    <a:pt x="10704" y="2358"/>
                    <a:pt x="10780" y="2358"/>
                  </a:cubicBezTo>
                  <a:cubicBezTo>
                    <a:pt x="10856" y="2358"/>
                    <a:pt x="10917" y="2279"/>
                    <a:pt x="10917" y="2181"/>
                  </a:cubicBezTo>
                  <a:cubicBezTo>
                    <a:pt x="10917" y="2083"/>
                    <a:pt x="10856" y="2003"/>
                    <a:pt x="10780" y="2003"/>
                  </a:cubicBezTo>
                  <a:close/>
                  <a:moveTo>
                    <a:pt x="11191" y="2003"/>
                  </a:moveTo>
                  <a:cubicBezTo>
                    <a:pt x="11115" y="2003"/>
                    <a:pt x="11052" y="2083"/>
                    <a:pt x="11052" y="2181"/>
                  </a:cubicBezTo>
                  <a:cubicBezTo>
                    <a:pt x="11052" y="2279"/>
                    <a:pt x="11115" y="2358"/>
                    <a:pt x="11191" y="2358"/>
                  </a:cubicBezTo>
                  <a:cubicBezTo>
                    <a:pt x="11267" y="2358"/>
                    <a:pt x="11328" y="2279"/>
                    <a:pt x="11328" y="2181"/>
                  </a:cubicBezTo>
                  <a:cubicBezTo>
                    <a:pt x="11328" y="2083"/>
                    <a:pt x="11267" y="2003"/>
                    <a:pt x="11191" y="2003"/>
                  </a:cubicBezTo>
                  <a:close/>
                  <a:moveTo>
                    <a:pt x="11602" y="2003"/>
                  </a:moveTo>
                  <a:cubicBezTo>
                    <a:pt x="11526" y="2003"/>
                    <a:pt x="11463" y="2083"/>
                    <a:pt x="11463" y="2181"/>
                  </a:cubicBezTo>
                  <a:cubicBezTo>
                    <a:pt x="11463" y="2279"/>
                    <a:pt x="11526" y="2358"/>
                    <a:pt x="11602" y="2358"/>
                  </a:cubicBezTo>
                  <a:cubicBezTo>
                    <a:pt x="11678" y="2358"/>
                    <a:pt x="11739" y="2279"/>
                    <a:pt x="11739" y="2181"/>
                  </a:cubicBezTo>
                  <a:cubicBezTo>
                    <a:pt x="11739" y="2083"/>
                    <a:pt x="11678" y="2003"/>
                    <a:pt x="11602" y="2003"/>
                  </a:cubicBezTo>
                  <a:close/>
                  <a:moveTo>
                    <a:pt x="11972" y="2003"/>
                  </a:moveTo>
                  <a:cubicBezTo>
                    <a:pt x="11895" y="2003"/>
                    <a:pt x="11833" y="2083"/>
                    <a:pt x="11833" y="2181"/>
                  </a:cubicBezTo>
                  <a:cubicBezTo>
                    <a:pt x="11833" y="2279"/>
                    <a:pt x="11895" y="2358"/>
                    <a:pt x="11972" y="2358"/>
                  </a:cubicBezTo>
                  <a:cubicBezTo>
                    <a:pt x="12048" y="2358"/>
                    <a:pt x="12109" y="2279"/>
                    <a:pt x="12109" y="2181"/>
                  </a:cubicBezTo>
                  <a:cubicBezTo>
                    <a:pt x="12109" y="2083"/>
                    <a:pt x="12048" y="2003"/>
                    <a:pt x="11972" y="2003"/>
                  </a:cubicBezTo>
                  <a:close/>
                  <a:moveTo>
                    <a:pt x="12382" y="2003"/>
                  </a:moveTo>
                  <a:cubicBezTo>
                    <a:pt x="12306" y="2003"/>
                    <a:pt x="12244" y="2083"/>
                    <a:pt x="12244" y="2181"/>
                  </a:cubicBezTo>
                  <a:cubicBezTo>
                    <a:pt x="12244" y="2279"/>
                    <a:pt x="12306" y="2358"/>
                    <a:pt x="12382" y="2358"/>
                  </a:cubicBezTo>
                  <a:cubicBezTo>
                    <a:pt x="12459" y="2358"/>
                    <a:pt x="12520" y="2279"/>
                    <a:pt x="12520" y="2181"/>
                  </a:cubicBezTo>
                  <a:cubicBezTo>
                    <a:pt x="12520" y="2083"/>
                    <a:pt x="12459" y="2003"/>
                    <a:pt x="12382" y="2003"/>
                  </a:cubicBezTo>
                  <a:close/>
                  <a:moveTo>
                    <a:pt x="12752" y="2003"/>
                  </a:moveTo>
                  <a:cubicBezTo>
                    <a:pt x="12676" y="2003"/>
                    <a:pt x="12614" y="2083"/>
                    <a:pt x="12614" y="2181"/>
                  </a:cubicBezTo>
                  <a:cubicBezTo>
                    <a:pt x="12614" y="2279"/>
                    <a:pt x="12676" y="2358"/>
                    <a:pt x="12752" y="2358"/>
                  </a:cubicBezTo>
                  <a:cubicBezTo>
                    <a:pt x="12829" y="2358"/>
                    <a:pt x="12890" y="2279"/>
                    <a:pt x="12890" y="2181"/>
                  </a:cubicBezTo>
                  <a:cubicBezTo>
                    <a:pt x="12890" y="2083"/>
                    <a:pt x="12829" y="2003"/>
                    <a:pt x="12752" y="2003"/>
                  </a:cubicBezTo>
                  <a:close/>
                  <a:moveTo>
                    <a:pt x="13163" y="2003"/>
                  </a:moveTo>
                  <a:cubicBezTo>
                    <a:pt x="13087" y="2003"/>
                    <a:pt x="13024" y="2083"/>
                    <a:pt x="13024" y="2181"/>
                  </a:cubicBezTo>
                  <a:cubicBezTo>
                    <a:pt x="13024" y="2279"/>
                    <a:pt x="13087" y="2358"/>
                    <a:pt x="13163" y="2358"/>
                  </a:cubicBezTo>
                  <a:cubicBezTo>
                    <a:pt x="13240" y="2358"/>
                    <a:pt x="13301" y="2279"/>
                    <a:pt x="13301" y="2181"/>
                  </a:cubicBezTo>
                  <a:cubicBezTo>
                    <a:pt x="13301" y="2083"/>
                    <a:pt x="13240" y="2003"/>
                    <a:pt x="13163" y="2003"/>
                  </a:cubicBezTo>
                  <a:close/>
                  <a:moveTo>
                    <a:pt x="13574" y="2003"/>
                  </a:moveTo>
                  <a:cubicBezTo>
                    <a:pt x="13498" y="2003"/>
                    <a:pt x="13435" y="2083"/>
                    <a:pt x="13435" y="2181"/>
                  </a:cubicBezTo>
                  <a:cubicBezTo>
                    <a:pt x="13435" y="2279"/>
                    <a:pt x="13498" y="2358"/>
                    <a:pt x="13574" y="2358"/>
                  </a:cubicBezTo>
                  <a:cubicBezTo>
                    <a:pt x="13650" y="2358"/>
                    <a:pt x="13711" y="2279"/>
                    <a:pt x="13711" y="2181"/>
                  </a:cubicBezTo>
                  <a:cubicBezTo>
                    <a:pt x="13711" y="2083"/>
                    <a:pt x="13650" y="2003"/>
                    <a:pt x="13574" y="2003"/>
                  </a:cubicBezTo>
                  <a:close/>
                  <a:moveTo>
                    <a:pt x="13985" y="2003"/>
                  </a:moveTo>
                  <a:cubicBezTo>
                    <a:pt x="13908" y="2003"/>
                    <a:pt x="13846" y="2083"/>
                    <a:pt x="13846" y="2181"/>
                  </a:cubicBezTo>
                  <a:cubicBezTo>
                    <a:pt x="13846" y="2279"/>
                    <a:pt x="13908" y="2358"/>
                    <a:pt x="13985" y="2358"/>
                  </a:cubicBezTo>
                  <a:cubicBezTo>
                    <a:pt x="14061" y="2358"/>
                    <a:pt x="14122" y="2279"/>
                    <a:pt x="14122" y="2181"/>
                  </a:cubicBezTo>
                  <a:cubicBezTo>
                    <a:pt x="14122" y="2083"/>
                    <a:pt x="14061" y="2003"/>
                    <a:pt x="13985" y="2003"/>
                  </a:cubicBezTo>
                  <a:close/>
                  <a:moveTo>
                    <a:pt x="14355" y="2003"/>
                  </a:moveTo>
                  <a:cubicBezTo>
                    <a:pt x="14278" y="2003"/>
                    <a:pt x="14216" y="2083"/>
                    <a:pt x="14216" y="2181"/>
                  </a:cubicBezTo>
                  <a:cubicBezTo>
                    <a:pt x="14216" y="2279"/>
                    <a:pt x="14278" y="2358"/>
                    <a:pt x="14355" y="2358"/>
                  </a:cubicBezTo>
                  <a:cubicBezTo>
                    <a:pt x="14431" y="2358"/>
                    <a:pt x="14492" y="2279"/>
                    <a:pt x="14492" y="2181"/>
                  </a:cubicBezTo>
                  <a:cubicBezTo>
                    <a:pt x="14492" y="2083"/>
                    <a:pt x="14431" y="2003"/>
                    <a:pt x="14355" y="2003"/>
                  </a:cubicBezTo>
                  <a:close/>
                  <a:moveTo>
                    <a:pt x="14765" y="2003"/>
                  </a:moveTo>
                  <a:cubicBezTo>
                    <a:pt x="14689" y="2003"/>
                    <a:pt x="14627" y="2083"/>
                    <a:pt x="14627" y="2181"/>
                  </a:cubicBezTo>
                  <a:cubicBezTo>
                    <a:pt x="14627" y="2279"/>
                    <a:pt x="14689" y="2358"/>
                    <a:pt x="14765" y="2358"/>
                  </a:cubicBezTo>
                  <a:cubicBezTo>
                    <a:pt x="14842" y="2358"/>
                    <a:pt x="14903" y="2279"/>
                    <a:pt x="14903" y="2181"/>
                  </a:cubicBezTo>
                  <a:cubicBezTo>
                    <a:pt x="14903" y="2083"/>
                    <a:pt x="14842" y="2003"/>
                    <a:pt x="14765" y="2003"/>
                  </a:cubicBezTo>
                  <a:close/>
                  <a:moveTo>
                    <a:pt x="15135" y="2003"/>
                  </a:moveTo>
                  <a:cubicBezTo>
                    <a:pt x="15059" y="2003"/>
                    <a:pt x="14997" y="2083"/>
                    <a:pt x="14997" y="2181"/>
                  </a:cubicBezTo>
                  <a:cubicBezTo>
                    <a:pt x="14997" y="2279"/>
                    <a:pt x="15059" y="2358"/>
                    <a:pt x="15135" y="2358"/>
                  </a:cubicBezTo>
                  <a:cubicBezTo>
                    <a:pt x="15212" y="2358"/>
                    <a:pt x="15273" y="2279"/>
                    <a:pt x="15273" y="2181"/>
                  </a:cubicBezTo>
                  <a:cubicBezTo>
                    <a:pt x="15273" y="2083"/>
                    <a:pt x="15212" y="2003"/>
                    <a:pt x="15135" y="2003"/>
                  </a:cubicBezTo>
                  <a:close/>
                  <a:moveTo>
                    <a:pt x="15546" y="2003"/>
                  </a:moveTo>
                  <a:cubicBezTo>
                    <a:pt x="15470" y="2003"/>
                    <a:pt x="15407" y="2083"/>
                    <a:pt x="15407" y="2181"/>
                  </a:cubicBezTo>
                  <a:cubicBezTo>
                    <a:pt x="15407" y="2279"/>
                    <a:pt x="15470" y="2358"/>
                    <a:pt x="15546" y="2358"/>
                  </a:cubicBezTo>
                  <a:cubicBezTo>
                    <a:pt x="15623" y="2358"/>
                    <a:pt x="15684" y="2279"/>
                    <a:pt x="15684" y="2181"/>
                  </a:cubicBezTo>
                  <a:cubicBezTo>
                    <a:pt x="15684" y="2083"/>
                    <a:pt x="15623" y="2003"/>
                    <a:pt x="15546" y="2003"/>
                  </a:cubicBezTo>
                  <a:close/>
                  <a:moveTo>
                    <a:pt x="15957" y="2003"/>
                  </a:moveTo>
                  <a:cubicBezTo>
                    <a:pt x="15881" y="2003"/>
                    <a:pt x="15818" y="2083"/>
                    <a:pt x="15818" y="2181"/>
                  </a:cubicBezTo>
                  <a:cubicBezTo>
                    <a:pt x="15818" y="2279"/>
                    <a:pt x="15881" y="2358"/>
                    <a:pt x="15957" y="2358"/>
                  </a:cubicBezTo>
                  <a:cubicBezTo>
                    <a:pt x="16033" y="2358"/>
                    <a:pt x="16094" y="2279"/>
                    <a:pt x="16094" y="2181"/>
                  </a:cubicBezTo>
                  <a:cubicBezTo>
                    <a:pt x="16094" y="2083"/>
                    <a:pt x="16033" y="2003"/>
                    <a:pt x="15957" y="2003"/>
                  </a:cubicBezTo>
                  <a:close/>
                  <a:moveTo>
                    <a:pt x="16327" y="2003"/>
                  </a:moveTo>
                  <a:cubicBezTo>
                    <a:pt x="16250" y="2003"/>
                    <a:pt x="16188" y="2083"/>
                    <a:pt x="16188" y="2181"/>
                  </a:cubicBezTo>
                  <a:cubicBezTo>
                    <a:pt x="16188" y="2279"/>
                    <a:pt x="16250" y="2358"/>
                    <a:pt x="16327" y="2358"/>
                  </a:cubicBezTo>
                  <a:cubicBezTo>
                    <a:pt x="16403" y="2358"/>
                    <a:pt x="16464" y="2279"/>
                    <a:pt x="16464" y="2181"/>
                  </a:cubicBezTo>
                  <a:cubicBezTo>
                    <a:pt x="16464" y="2083"/>
                    <a:pt x="16403" y="2003"/>
                    <a:pt x="16327" y="2003"/>
                  </a:cubicBezTo>
                  <a:close/>
                  <a:moveTo>
                    <a:pt x="16738" y="2003"/>
                  </a:moveTo>
                  <a:cubicBezTo>
                    <a:pt x="16661" y="2003"/>
                    <a:pt x="16599" y="2083"/>
                    <a:pt x="16599" y="2181"/>
                  </a:cubicBezTo>
                  <a:cubicBezTo>
                    <a:pt x="16599" y="2279"/>
                    <a:pt x="16661" y="2358"/>
                    <a:pt x="16738" y="2358"/>
                  </a:cubicBezTo>
                  <a:cubicBezTo>
                    <a:pt x="16814" y="2358"/>
                    <a:pt x="16875" y="2279"/>
                    <a:pt x="16875" y="2181"/>
                  </a:cubicBezTo>
                  <a:cubicBezTo>
                    <a:pt x="16875" y="2083"/>
                    <a:pt x="16814" y="2003"/>
                    <a:pt x="16738" y="2003"/>
                  </a:cubicBezTo>
                  <a:close/>
                  <a:moveTo>
                    <a:pt x="17149" y="2003"/>
                  </a:moveTo>
                  <a:cubicBezTo>
                    <a:pt x="17072" y="2003"/>
                    <a:pt x="17010" y="2083"/>
                    <a:pt x="17010" y="2181"/>
                  </a:cubicBezTo>
                  <a:cubicBezTo>
                    <a:pt x="17010" y="2279"/>
                    <a:pt x="17072" y="2358"/>
                    <a:pt x="17149" y="2358"/>
                  </a:cubicBezTo>
                  <a:cubicBezTo>
                    <a:pt x="17225" y="2358"/>
                    <a:pt x="17286" y="2279"/>
                    <a:pt x="17286" y="2181"/>
                  </a:cubicBezTo>
                  <a:cubicBezTo>
                    <a:pt x="17286" y="2083"/>
                    <a:pt x="17225" y="2003"/>
                    <a:pt x="17149" y="2003"/>
                  </a:cubicBezTo>
                  <a:close/>
                  <a:moveTo>
                    <a:pt x="17518" y="2003"/>
                  </a:moveTo>
                  <a:cubicBezTo>
                    <a:pt x="17442" y="2003"/>
                    <a:pt x="17380" y="2083"/>
                    <a:pt x="17380" y="2181"/>
                  </a:cubicBezTo>
                  <a:cubicBezTo>
                    <a:pt x="17380" y="2279"/>
                    <a:pt x="17442" y="2358"/>
                    <a:pt x="17518" y="2358"/>
                  </a:cubicBezTo>
                  <a:cubicBezTo>
                    <a:pt x="17595" y="2358"/>
                    <a:pt x="17656" y="2279"/>
                    <a:pt x="17656" y="2181"/>
                  </a:cubicBezTo>
                  <a:cubicBezTo>
                    <a:pt x="17656" y="2083"/>
                    <a:pt x="17595" y="2003"/>
                    <a:pt x="17518" y="2003"/>
                  </a:cubicBezTo>
                  <a:close/>
                  <a:moveTo>
                    <a:pt x="17929" y="2003"/>
                  </a:moveTo>
                  <a:cubicBezTo>
                    <a:pt x="17853" y="2003"/>
                    <a:pt x="17791" y="2083"/>
                    <a:pt x="17791" y="2181"/>
                  </a:cubicBezTo>
                  <a:cubicBezTo>
                    <a:pt x="17791" y="2279"/>
                    <a:pt x="17853" y="2358"/>
                    <a:pt x="17929" y="2358"/>
                  </a:cubicBezTo>
                  <a:cubicBezTo>
                    <a:pt x="18005" y="2358"/>
                    <a:pt x="18067" y="2279"/>
                    <a:pt x="18067" y="2181"/>
                  </a:cubicBezTo>
                  <a:cubicBezTo>
                    <a:pt x="18067" y="2083"/>
                    <a:pt x="18005" y="2003"/>
                    <a:pt x="17929" y="2003"/>
                  </a:cubicBezTo>
                  <a:close/>
                  <a:moveTo>
                    <a:pt x="18299" y="2003"/>
                  </a:moveTo>
                  <a:cubicBezTo>
                    <a:pt x="18223" y="2003"/>
                    <a:pt x="18160" y="2083"/>
                    <a:pt x="18160" y="2181"/>
                  </a:cubicBezTo>
                  <a:cubicBezTo>
                    <a:pt x="18160" y="2279"/>
                    <a:pt x="18223" y="2358"/>
                    <a:pt x="18299" y="2358"/>
                  </a:cubicBezTo>
                  <a:cubicBezTo>
                    <a:pt x="18375" y="2358"/>
                    <a:pt x="18436" y="2279"/>
                    <a:pt x="18436" y="2181"/>
                  </a:cubicBezTo>
                  <a:cubicBezTo>
                    <a:pt x="18436" y="2083"/>
                    <a:pt x="18375" y="2003"/>
                    <a:pt x="18299" y="2003"/>
                  </a:cubicBezTo>
                  <a:close/>
                  <a:moveTo>
                    <a:pt x="18710" y="2003"/>
                  </a:moveTo>
                  <a:cubicBezTo>
                    <a:pt x="18634" y="2003"/>
                    <a:pt x="18571" y="2083"/>
                    <a:pt x="18571" y="2181"/>
                  </a:cubicBezTo>
                  <a:cubicBezTo>
                    <a:pt x="18571" y="2279"/>
                    <a:pt x="18634" y="2358"/>
                    <a:pt x="18710" y="2358"/>
                  </a:cubicBezTo>
                  <a:cubicBezTo>
                    <a:pt x="18786" y="2358"/>
                    <a:pt x="18847" y="2279"/>
                    <a:pt x="18847" y="2181"/>
                  </a:cubicBezTo>
                  <a:cubicBezTo>
                    <a:pt x="18847" y="2083"/>
                    <a:pt x="18786" y="2003"/>
                    <a:pt x="18710" y="2003"/>
                  </a:cubicBezTo>
                  <a:close/>
                  <a:moveTo>
                    <a:pt x="19121" y="2003"/>
                  </a:moveTo>
                  <a:cubicBezTo>
                    <a:pt x="19044" y="2003"/>
                    <a:pt x="18982" y="2083"/>
                    <a:pt x="18982" y="2181"/>
                  </a:cubicBezTo>
                  <a:cubicBezTo>
                    <a:pt x="18982" y="2279"/>
                    <a:pt x="19044" y="2358"/>
                    <a:pt x="19121" y="2358"/>
                  </a:cubicBezTo>
                  <a:cubicBezTo>
                    <a:pt x="19197" y="2358"/>
                    <a:pt x="19258" y="2279"/>
                    <a:pt x="19258" y="2181"/>
                  </a:cubicBezTo>
                  <a:cubicBezTo>
                    <a:pt x="19258" y="2083"/>
                    <a:pt x="19197" y="2003"/>
                    <a:pt x="19121" y="2003"/>
                  </a:cubicBezTo>
                  <a:close/>
                  <a:moveTo>
                    <a:pt x="19490" y="2003"/>
                  </a:moveTo>
                  <a:cubicBezTo>
                    <a:pt x="19414" y="2003"/>
                    <a:pt x="19352" y="2083"/>
                    <a:pt x="19352" y="2181"/>
                  </a:cubicBezTo>
                  <a:cubicBezTo>
                    <a:pt x="19352" y="2279"/>
                    <a:pt x="19414" y="2358"/>
                    <a:pt x="19490" y="2358"/>
                  </a:cubicBezTo>
                  <a:cubicBezTo>
                    <a:pt x="19567" y="2358"/>
                    <a:pt x="19628" y="2279"/>
                    <a:pt x="19628" y="2181"/>
                  </a:cubicBezTo>
                  <a:cubicBezTo>
                    <a:pt x="19628" y="2083"/>
                    <a:pt x="19567" y="2003"/>
                    <a:pt x="19490" y="2003"/>
                  </a:cubicBezTo>
                  <a:close/>
                  <a:moveTo>
                    <a:pt x="1741" y="2531"/>
                  </a:moveTo>
                  <a:cubicBezTo>
                    <a:pt x="1665" y="2531"/>
                    <a:pt x="1602" y="2611"/>
                    <a:pt x="1602" y="2708"/>
                  </a:cubicBezTo>
                  <a:cubicBezTo>
                    <a:pt x="1602" y="2806"/>
                    <a:pt x="1665" y="2885"/>
                    <a:pt x="1741" y="2885"/>
                  </a:cubicBezTo>
                  <a:cubicBezTo>
                    <a:pt x="1817" y="2885"/>
                    <a:pt x="1878" y="2806"/>
                    <a:pt x="1878" y="2708"/>
                  </a:cubicBezTo>
                  <a:cubicBezTo>
                    <a:pt x="1878" y="2611"/>
                    <a:pt x="1817" y="2531"/>
                    <a:pt x="1741" y="2531"/>
                  </a:cubicBezTo>
                  <a:close/>
                  <a:moveTo>
                    <a:pt x="2111" y="2531"/>
                  </a:moveTo>
                  <a:cubicBezTo>
                    <a:pt x="2035" y="2531"/>
                    <a:pt x="1972" y="2611"/>
                    <a:pt x="1972" y="2708"/>
                  </a:cubicBezTo>
                  <a:cubicBezTo>
                    <a:pt x="1972" y="2806"/>
                    <a:pt x="2035" y="2885"/>
                    <a:pt x="2111" y="2885"/>
                  </a:cubicBezTo>
                  <a:cubicBezTo>
                    <a:pt x="2187" y="2885"/>
                    <a:pt x="2248" y="2806"/>
                    <a:pt x="2248" y="2708"/>
                  </a:cubicBezTo>
                  <a:cubicBezTo>
                    <a:pt x="2248" y="2611"/>
                    <a:pt x="2187" y="2531"/>
                    <a:pt x="2111" y="2531"/>
                  </a:cubicBezTo>
                  <a:close/>
                  <a:moveTo>
                    <a:pt x="2522" y="2531"/>
                  </a:moveTo>
                  <a:cubicBezTo>
                    <a:pt x="2445" y="2531"/>
                    <a:pt x="2383" y="2611"/>
                    <a:pt x="2383" y="2708"/>
                  </a:cubicBezTo>
                  <a:cubicBezTo>
                    <a:pt x="2383" y="2806"/>
                    <a:pt x="2445" y="2885"/>
                    <a:pt x="2522" y="2885"/>
                  </a:cubicBezTo>
                  <a:cubicBezTo>
                    <a:pt x="2598" y="2885"/>
                    <a:pt x="2659" y="2806"/>
                    <a:pt x="2659" y="2708"/>
                  </a:cubicBezTo>
                  <a:cubicBezTo>
                    <a:pt x="2659" y="2611"/>
                    <a:pt x="2598" y="2531"/>
                    <a:pt x="2522" y="2531"/>
                  </a:cubicBezTo>
                  <a:close/>
                  <a:moveTo>
                    <a:pt x="2891" y="2531"/>
                  </a:moveTo>
                  <a:cubicBezTo>
                    <a:pt x="2815" y="2531"/>
                    <a:pt x="2753" y="2611"/>
                    <a:pt x="2753" y="2708"/>
                  </a:cubicBezTo>
                  <a:cubicBezTo>
                    <a:pt x="2753" y="2806"/>
                    <a:pt x="2815" y="2885"/>
                    <a:pt x="2891" y="2885"/>
                  </a:cubicBezTo>
                  <a:cubicBezTo>
                    <a:pt x="2968" y="2885"/>
                    <a:pt x="3029" y="2806"/>
                    <a:pt x="3029" y="2708"/>
                  </a:cubicBezTo>
                  <a:cubicBezTo>
                    <a:pt x="3029" y="2611"/>
                    <a:pt x="2968" y="2531"/>
                    <a:pt x="2891" y="2531"/>
                  </a:cubicBezTo>
                  <a:close/>
                  <a:moveTo>
                    <a:pt x="3302" y="2531"/>
                  </a:moveTo>
                  <a:cubicBezTo>
                    <a:pt x="3226" y="2531"/>
                    <a:pt x="3164" y="2611"/>
                    <a:pt x="3164" y="2708"/>
                  </a:cubicBezTo>
                  <a:cubicBezTo>
                    <a:pt x="3164" y="2806"/>
                    <a:pt x="3226" y="2885"/>
                    <a:pt x="3302" y="2885"/>
                  </a:cubicBezTo>
                  <a:cubicBezTo>
                    <a:pt x="3379" y="2885"/>
                    <a:pt x="3440" y="2806"/>
                    <a:pt x="3440" y="2708"/>
                  </a:cubicBezTo>
                  <a:cubicBezTo>
                    <a:pt x="3440" y="2611"/>
                    <a:pt x="3379" y="2531"/>
                    <a:pt x="3302" y="2531"/>
                  </a:cubicBezTo>
                  <a:close/>
                  <a:moveTo>
                    <a:pt x="3713" y="2531"/>
                  </a:moveTo>
                  <a:cubicBezTo>
                    <a:pt x="3637" y="2531"/>
                    <a:pt x="3575" y="2611"/>
                    <a:pt x="3575" y="2708"/>
                  </a:cubicBezTo>
                  <a:cubicBezTo>
                    <a:pt x="3575" y="2806"/>
                    <a:pt x="3637" y="2885"/>
                    <a:pt x="3713" y="2885"/>
                  </a:cubicBezTo>
                  <a:cubicBezTo>
                    <a:pt x="3790" y="2885"/>
                    <a:pt x="3851" y="2806"/>
                    <a:pt x="3851" y="2708"/>
                  </a:cubicBezTo>
                  <a:cubicBezTo>
                    <a:pt x="3851" y="2611"/>
                    <a:pt x="3790" y="2531"/>
                    <a:pt x="3713" y="2531"/>
                  </a:cubicBezTo>
                  <a:close/>
                  <a:moveTo>
                    <a:pt x="4083" y="2531"/>
                  </a:moveTo>
                  <a:cubicBezTo>
                    <a:pt x="4007" y="2531"/>
                    <a:pt x="3944" y="2611"/>
                    <a:pt x="3944" y="2708"/>
                  </a:cubicBezTo>
                  <a:cubicBezTo>
                    <a:pt x="3944" y="2806"/>
                    <a:pt x="4007" y="2885"/>
                    <a:pt x="4083" y="2885"/>
                  </a:cubicBezTo>
                  <a:cubicBezTo>
                    <a:pt x="4159" y="2885"/>
                    <a:pt x="4220" y="2806"/>
                    <a:pt x="4220" y="2708"/>
                  </a:cubicBezTo>
                  <a:cubicBezTo>
                    <a:pt x="4220" y="2611"/>
                    <a:pt x="4159" y="2531"/>
                    <a:pt x="4083" y="2531"/>
                  </a:cubicBezTo>
                  <a:close/>
                  <a:moveTo>
                    <a:pt x="4494" y="2531"/>
                  </a:moveTo>
                  <a:cubicBezTo>
                    <a:pt x="4418" y="2531"/>
                    <a:pt x="4355" y="2611"/>
                    <a:pt x="4355" y="2708"/>
                  </a:cubicBezTo>
                  <a:cubicBezTo>
                    <a:pt x="4355" y="2806"/>
                    <a:pt x="4418" y="2885"/>
                    <a:pt x="4494" y="2885"/>
                  </a:cubicBezTo>
                  <a:cubicBezTo>
                    <a:pt x="4570" y="2885"/>
                    <a:pt x="4631" y="2806"/>
                    <a:pt x="4631" y="2708"/>
                  </a:cubicBezTo>
                  <a:cubicBezTo>
                    <a:pt x="4631" y="2611"/>
                    <a:pt x="4570" y="2531"/>
                    <a:pt x="4494" y="2531"/>
                  </a:cubicBezTo>
                  <a:close/>
                  <a:moveTo>
                    <a:pt x="4864" y="2531"/>
                  </a:moveTo>
                  <a:cubicBezTo>
                    <a:pt x="4787" y="2531"/>
                    <a:pt x="4725" y="2611"/>
                    <a:pt x="4725" y="2708"/>
                  </a:cubicBezTo>
                  <a:cubicBezTo>
                    <a:pt x="4725" y="2806"/>
                    <a:pt x="4787" y="2885"/>
                    <a:pt x="4864" y="2885"/>
                  </a:cubicBezTo>
                  <a:cubicBezTo>
                    <a:pt x="4940" y="2885"/>
                    <a:pt x="5001" y="2806"/>
                    <a:pt x="5001" y="2708"/>
                  </a:cubicBezTo>
                  <a:cubicBezTo>
                    <a:pt x="5001" y="2611"/>
                    <a:pt x="4940" y="2531"/>
                    <a:pt x="4864" y="2531"/>
                  </a:cubicBezTo>
                  <a:close/>
                  <a:moveTo>
                    <a:pt x="5274" y="2531"/>
                  </a:moveTo>
                  <a:cubicBezTo>
                    <a:pt x="5198" y="2531"/>
                    <a:pt x="5136" y="2611"/>
                    <a:pt x="5136" y="2708"/>
                  </a:cubicBezTo>
                  <a:cubicBezTo>
                    <a:pt x="5136" y="2806"/>
                    <a:pt x="5198" y="2885"/>
                    <a:pt x="5274" y="2885"/>
                  </a:cubicBezTo>
                  <a:cubicBezTo>
                    <a:pt x="5351" y="2885"/>
                    <a:pt x="5412" y="2806"/>
                    <a:pt x="5412" y="2708"/>
                  </a:cubicBezTo>
                  <a:cubicBezTo>
                    <a:pt x="5412" y="2611"/>
                    <a:pt x="5351" y="2531"/>
                    <a:pt x="5274" y="2531"/>
                  </a:cubicBezTo>
                  <a:close/>
                  <a:moveTo>
                    <a:pt x="5685" y="2531"/>
                  </a:moveTo>
                  <a:cubicBezTo>
                    <a:pt x="5609" y="2531"/>
                    <a:pt x="5547" y="2610"/>
                    <a:pt x="5547" y="2708"/>
                  </a:cubicBezTo>
                  <a:cubicBezTo>
                    <a:pt x="5547" y="2806"/>
                    <a:pt x="5609" y="2885"/>
                    <a:pt x="5685" y="2885"/>
                  </a:cubicBezTo>
                  <a:cubicBezTo>
                    <a:pt x="5762" y="2885"/>
                    <a:pt x="5823" y="2806"/>
                    <a:pt x="5823" y="2708"/>
                  </a:cubicBezTo>
                  <a:cubicBezTo>
                    <a:pt x="5823" y="2610"/>
                    <a:pt x="5762" y="2531"/>
                    <a:pt x="5685" y="2531"/>
                  </a:cubicBezTo>
                  <a:close/>
                  <a:moveTo>
                    <a:pt x="6055" y="2531"/>
                  </a:moveTo>
                  <a:cubicBezTo>
                    <a:pt x="5979" y="2531"/>
                    <a:pt x="5916" y="2610"/>
                    <a:pt x="5916" y="2708"/>
                  </a:cubicBezTo>
                  <a:cubicBezTo>
                    <a:pt x="5916" y="2806"/>
                    <a:pt x="5979" y="2885"/>
                    <a:pt x="6055" y="2885"/>
                  </a:cubicBezTo>
                  <a:cubicBezTo>
                    <a:pt x="6132" y="2885"/>
                    <a:pt x="6193" y="2806"/>
                    <a:pt x="6193" y="2708"/>
                  </a:cubicBezTo>
                  <a:cubicBezTo>
                    <a:pt x="6193" y="2610"/>
                    <a:pt x="6132" y="2531"/>
                    <a:pt x="6055" y="2531"/>
                  </a:cubicBezTo>
                  <a:close/>
                  <a:moveTo>
                    <a:pt x="6425" y="2531"/>
                  </a:moveTo>
                  <a:cubicBezTo>
                    <a:pt x="6349" y="2531"/>
                    <a:pt x="6286" y="2610"/>
                    <a:pt x="6286" y="2708"/>
                  </a:cubicBezTo>
                  <a:cubicBezTo>
                    <a:pt x="6286" y="2806"/>
                    <a:pt x="6349" y="2885"/>
                    <a:pt x="6425" y="2885"/>
                  </a:cubicBezTo>
                  <a:cubicBezTo>
                    <a:pt x="6501" y="2885"/>
                    <a:pt x="6562" y="2806"/>
                    <a:pt x="6562" y="2708"/>
                  </a:cubicBezTo>
                  <a:cubicBezTo>
                    <a:pt x="6562" y="2610"/>
                    <a:pt x="6501" y="2531"/>
                    <a:pt x="6425" y="2531"/>
                  </a:cubicBezTo>
                  <a:close/>
                  <a:moveTo>
                    <a:pt x="6836" y="2531"/>
                  </a:moveTo>
                  <a:cubicBezTo>
                    <a:pt x="6759" y="2531"/>
                    <a:pt x="6697" y="2610"/>
                    <a:pt x="6697" y="2708"/>
                  </a:cubicBezTo>
                  <a:cubicBezTo>
                    <a:pt x="6697" y="2806"/>
                    <a:pt x="6759" y="2885"/>
                    <a:pt x="6836" y="2885"/>
                  </a:cubicBezTo>
                  <a:cubicBezTo>
                    <a:pt x="6912" y="2885"/>
                    <a:pt x="6973" y="2806"/>
                    <a:pt x="6973" y="2708"/>
                  </a:cubicBezTo>
                  <a:cubicBezTo>
                    <a:pt x="6973" y="2610"/>
                    <a:pt x="6912" y="2531"/>
                    <a:pt x="6836" y="2531"/>
                  </a:cubicBezTo>
                  <a:close/>
                  <a:moveTo>
                    <a:pt x="7247" y="2531"/>
                  </a:moveTo>
                  <a:cubicBezTo>
                    <a:pt x="7170" y="2531"/>
                    <a:pt x="7108" y="2610"/>
                    <a:pt x="7108" y="2708"/>
                  </a:cubicBezTo>
                  <a:cubicBezTo>
                    <a:pt x="7108" y="2806"/>
                    <a:pt x="7170" y="2885"/>
                    <a:pt x="7247" y="2885"/>
                  </a:cubicBezTo>
                  <a:cubicBezTo>
                    <a:pt x="7323" y="2885"/>
                    <a:pt x="7384" y="2806"/>
                    <a:pt x="7384" y="2708"/>
                  </a:cubicBezTo>
                  <a:cubicBezTo>
                    <a:pt x="7384" y="2610"/>
                    <a:pt x="7323" y="2531"/>
                    <a:pt x="7247" y="2531"/>
                  </a:cubicBezTo>
                  <a:close/>
                  <a:moveTo>
                    <a:pt x="7616" y="2531"/>
                  </a:moveTo>
                  <a:cubicBezTo>
                    <a:pt x="7540" y="2531"/>
                    <a:pt x="7478" y="2610"/>
                    <a:pt x="7478" y="2708"/>
                  </a:cubicBezTo>
                  <a:cubicBezTo>
                    <a:pt x="7478" y="2806"/>
                    <a:pt x="7540" y="2885"/>
                    <a:pt x="7616" y="2885"/>
                  </a:cubicBezTo>
                  <a:cubicBezTo>
                    <a:pt x="7693" y="2885"/>
                    <a:pt x="7754" y="2806"/>
                    <a:pt x="7754" y="2708"/>
                  </a:cubicBezTo>
                  <a:cubicBezTo>
                    <a:pt x="7754" y="2610"/>
                    <a:pt x="7693" y="2531"/>
                    <a:pt x="7616" y="2531"/>
                  </a:cubicBezTo>
                  <a:close/>
                  <a:moveTo>
                    <a:pt x="8027" y="2531"/>
                  </a:moveTo>
                  <a:cubicBezTo>
                    <a:pt x="7951" y="2531"/>
                    <a:pt x="7889" y="2610"/>
                    <a:pt x="7889" y="2708"/>
                  </a:cubicBezTo>
                  <a:cubicBezTo>
                    <a:pt x="7889" y="2806"/>
                    <a:pt x="7951" y="2885"/>
                    <a:pt x="8027" y="2885"/>
                  </a:cubicBezTo>
                  <a:cubicBezTo>
                    <a:pt x="8104" y="2885"/>
                    <a:pt x="8165" y="2806"/>
                    <a:pt x="8165" y="2708"/>
                  </a:cubicBezTo>
                  <a:cubicBezTo>
                    <a:pt x="8165" y="2610"/>
                    <a:pt x="8104" y="2531"/>
                    <a:pt x="8027" y="2531"/>
                  </a:cubicBezTo>
                  <a:close/>
                  <a:moveTo>
                    <a:pt x="8438" y="2531"/>
                  </a:moveTo>
                  <a:cubicBezTo>
                    <a:pt x="8362" y="2531"/>
                    <a:pt x="8299" y="2610"/>
                    <a:pt x="8299" y="2708"/>
                  </a:cubicBezTo>
                  <a:cubicBezTo>
                    <a:pt x="8299" y="2806"/>
                    <a:pt x="8362" y="2885"/>
                    <a:pt x="8438" y="2885"/>
                  </a:cubicBezTo>
                  <a:cubicBezTo>
                    <a:pt x="8515" y="2885"/>
                    <a:pt x="8576" y="2806"/>
                    <a:pt x="8576" y="2708"/>
                  </a:cubicBezTo>
                  <a:cubicBezTo>
                    <a:pt x="8576" y="2610"/>
                    <a:pt x="8515" y="2531"/>
                    <a:pt x="8438" y="2531"/>
                  </a:cubicBezTo>
                  <a:close/>
                  <a:moveTo>
                    <a:pt x="8808" y="2531"/>
                  </a:moveTo>
                  <a:cubicBezTo>
                    <a:pt x="8732" y="2531"/>
                    <a:pt x="8669" y="2610"/>
                    <a:pt x="8669" y="2708"/>
                  </a:cubicBezTo>
                  <a:cubicBezTo>
                    <a:pt x="8669" y="2806"/>
                    <a:pt x="8732" y="2885"/>
                    <a:pt x="8808" y="2885"/>
                  </a:cubicBezTo>
                  <a:cubicBezTo>
                    <a:pt x="8884" y="2885"/>
                    <a:pt x="8945" y="2806"/>
                    <a:pt x="8945" y="2708"/>
                  </a:cubicBezTo>
                  <a:cubicBezTo>
                    <a:pt x="8945" y="2610"/>
                    <a:pt x="8884" y="2531"/>
                    <a:pt x="8808" y="2531"/>
                  </a:cubicBezTo>
                  <a:close/>
                  <a:moveTo>
                    <a:pt x="9219" y="2531"/>
                  </a:moveTo>
                  <a:cubicBezTo>
                    <a:pt x="9142" y="2531"/>
                    <a:pt x="9080" y="2610"/>
                    <a:pt x="9080" y="2708"/>
                  </a:cubicBezTo>
                  <a:cubicBezTo>
                    <a:pt x="9080" y="2806"/>
                    <a:pt x="9142" y="2885"/>
                    <a:pt x="9219" y="2885"/>
                  </a:cubicBezTo>
                  <a:cubicBezTo>
                    <a:pt x="9295" y="2885"/>
                    <a:pt x="9356" y="2806"/>
                    <a:pt x="9356" y="2708"/>
                  </a:cubicBezTo>
                  <a:cubicBezTo>
                    <a:pt x="9356" y="2610"/>
                    <a:pt x="9295" y="2531"/>
                    <a:pt x="9219" y="2531"/>
                  </a:cubicBezTo>
                  <a:close/>
                  <a:moveTo>
                    <a:pt x="9589" y="2531"/>
                  </a:moveTo>
                  <a:cubicBezTo>
                    <a:pt x="9512" y="2531"/>
                    <a:pt x="9450" y="2610"/>
                    <a:pt x="9450" y="2708"/>
                  </a:cubicBezTo>
                  <a:cubicBezTo>
                    <a:pt x="9450" y="2806"/>
                    <a:pt x="9512" y="2885"/>
                    <a:pt x="9589" y="2885"/>
                  </a:cubicBezTo>
                  <a:cubicBezTo>
                    <a:pt x="9665" y="2885"/>
                    <a:pt x="9726" y="2806"/>
                    <a:pt x="9726" y="2708"/>
                  </a:cubicBezTo>
                  <a:cubicBezTo>
                    <a:pt x="9726" y="2610"/>
                    <a:pt x="9665" y="2531"/>
                    <a:pt x="9589" y="2531"/>
                  </a:cubicBezTo>
                  <a:close/>
                  <a:moveTo>
                    <a:pt x="9999" y="2531"/>
                  </a:moveTo>
                  <a:cubicBezTo>
                    <a:pt x="9923" y="2531"/>
                    <a:pt x="9861" y="2610"/>
                    <a:pt x="9861" y="2708"/>
                  </a:cubicBezTo>
                  <a:cubicBezTo>
                    <a:pt x="9861" y="2806"/>
                    <a:pt x="9923" y="2885"/>
                    <a:pt x="9999" y="2885"/>
                  </a:cubicBezTo>
                  <a:cubicBezTo>
                    <a:pt x="10076" y="2885"/>
                    <a:pt x="10137" y="2806"/>
                    <a:pt x="10137" y="2708"/>
                  </a:cubicBezTo>
                  <a:cubicBezTo>
                    <a:pt x="10137" y="2610"/>
                    <a:pt x="10076" y="2531"/>
                    <a:pt x="9999" y="2531"/>
                  </a:cubicBezTo>
                  <a:close/>
                  <a:moveTo>
                    <a:pt x="10410" y="2531"/>
                  </a:moveTo>
                  <a:cubicBezTo>
                    <a:pt x="10334" y="2531"/>
                    <a:pt x="10272" y="2610"/>
                    <a:pt x="10272" y="2708"/>
                  </a:cubicBezTo>
                  <a:cubicBezTo>
                    <a:pt x="10272" y="2806"/>
                    <a:pt x="10334" y="2885"/>
                    <a:pt x="10410" y="2885"/>
                  </a:cubicBezTo>
                  <a:cubicBezTo>
                    <a:pt x="10487" y="2885"/>
                    <a:pt x="10548" y="2806"/>
                    <a:pt x="10548" y="2708"/>
                  </a:cubicBezTo>
                  <a:cubicBezTo>
                    <a:pt x="10548" y="2610"/>
                    <a:pt x="10487" y="2531"/>
                    <a:pt x="10410" y="2531"/>
                  </a:cubicBezTo>
                  <a:close/>
                  <a:moveTo>
                    <a:pt x="10780" y="2531"/>
                  </a:moveTo>
                  <a:cubicBezTo>
                    <a:pt x="10704" y="2531"/>
                    <a:pt x="10641" y="2610"/>
                    <a:pt x="10641" y="2708"/>
                  </a:cubicBezTo>
                  <a:cubicBezTo>
                    <a:pt x="10641" y="2806"/>
                    <a:pt x="10704" y="2885"/>
                    <a:pt x="10780" y="2885"/>
                  </a:cubicBezTo>
                  <a:cubicBezTo>
                    <a:pt x="10856" y="2885"/>
                    <a:pt x="10917" y="2806"/>
                    <a:pt x="10917" y="2708"/>
                  </a:cubicBezTo>
                  <a:cubicBezTo>
                    <a:pt x="10917" y="2610"/>
                    <a:pt x="10856" y="2531"/>
                    <a:pt x="10780" y="2531"/>
                  </a:cubicBezTo>
                  <a:close/>
                  <a:moveTo>
                    <a:pt x="11191" y="2531"/>
                  </a:moveTo>
                  <a:cubicBezTo>
                    <a:pt x="11115" y="2531"/>
                    <a:pt x="11052" y="2610"/>
                    <a:pt x="11052" y="2708"/>
                  </a:cubicBezTo>
                  <a:cubicBezTo>
                    <a:pt x="11052" y="2806"/>
                    <a:pt x="11115" y="2885"/>
                    <a:pt x="11191" y="2885"/>
                  </a:cubicBezTo>
                  <a:cubicBezTo>
                    <a:pt x="11267" y="2885"/>
                    <a:pt x="11328" y="2806"/>
                    <a:pt x="11328" y="2708"/>
                  </a:cubicBezTo>
                  <a:cubicBezTo>
                    <a:pt x="11328" y="2610"/>
                    <a:pt x="11267" y="2531"/>
                    <a:pt x="11191" y="2531"/>
                  </a:cubicBezTo>
                  <a:close/>
                  <a:moveTo>
                    <a:pt x="11602" y="2531"/>
                  </a:moveTo>
                  <a:cubicBezTo>
                    <a:pt x="11525" y="2531"/>
                    <a:pt x="11463" y="2610"/>
                    <a:pt x="11463" y="2708"/>
                  </a:cubicBezTo>
                  <a:cubicBezTo>
                    <a:pt x="11463" y="2806"/>
                    <a:pt x="11525" y="2885"/>
                    <a:pt x="11602" y="2885"/>
                  </a:cubicBezTo>
                  <a:cubicBezTo>
                    <a:pt x="11678" y="2885"/>
                    <a:pt x="11739" y="2806"/>
                    <a:pt x="11739" y="2708"/>
                  </a:cubicBezTo>
                  <a:cubicBezTo>
                    <a:pt x="11739" y="2610"/>
                    <a:pt x="11678" y="2531"/>
                    <a:pt x="11602" y="2531"/>
                  </a:cubicBezTo>
                  <a:close/>
                  <a:moveTo>
                    <a:pt x="11972" y="2531"/>
                  </a:moveTo>
                  <a:cubicBezTo>
                    <a:pt x="11895" y="2531"/>
                    <a:pt x="11833" y="2610"/>
                    <a:pt x="11833" y="2708"/>
                  </a:cubicBezTo>
                  <a:cubicBezTo>
                    <a:pt x="11833" y="2806"/>
                    <a:pt x="11895" y="2885"/>
                    <a:pt x="11972" y="2885"/>
                  </a:cubicBezTo>
                  <a:cubicBezTo>
                    <a:pt x="12048" y="2885"/>
                    <a:pt x="12109" y="2806"/>
                    <a:pt x="12109" y="2708"/>
                  </a:cubicBezTo>
                  <a:cubicBezTo>
                    <a:pt x="12109" y="2610"/>
                    <a:pt x="12048" y="2531"/>
                    <a:pt x="11972" y="2531"/>
                  </a:cubicBezTo>
                  <a:close/>
                  <a:moveTo>
                    <a:pt x="12382" y="2531"/>
                  </a:moveTo>
                  <a:cubicBezTo>
                    <a:pt x="12306" y="2531"/>
                    <a:pt x="12244" y="2610"/>
                    <a:pt x="12244" y="2708"/>
                  </a:cubicBezTo>
                  <a:cubicBezTo>
                    <a:pt x="12244" y="2806"/>
                    <a:pt x="12306" y="2885"/>
                    <a:pt x="12382" y="2885"/>
                  </a:cubicBezTo>
                  <a:cubicBezTo>
                    <a:pt x="12459" y="2885"/>
                    <a:pt x="12520" y="2806"/>
                    <a:pt x="12520" y="2708"/>
                  </a:cubicBezTo>
                  <a:cubicBezTo>
                    <a:pt x="12520" y="2610"/>
                    <a:pt x="12459" y="2531"/>
                    <a:pt x="12382" y="2531"/>
                  </a:cubicBezTo>
                  <a:close/>
                  <a:moveTo>
                    <a:pt x="12793" y="2531"/>
                  </a:moveTo>
                  <a:cubicBezTo>
                    <a:pt x="12717" y="2531"/>
                    <a:pt x="12655" y="2610"/>
                    <a:pt x="12655" y="2708"/>
                  </a:cubicBezTo>
                  <a:cubicBezTo>
                    <a:pt x="12655" y="2806"/>
                    <a:pt x="12717" y="2885"/>
                    <a:pt x="12793" y="2885"/>
                  </a:cubicBezTo>
                  <a:cubicBezTo>
                    <a:pt x="12869" y="2885"/>
                    <a:pt x="12931" y="2806"/>
                    <a:pt x="12931" y="2708"/>
                  </a:cubicBezTo>
                  <a:cubicBezTo>
                    <a:pt x="12931" y="2610"/>
                    <a:pt x="12869" y="2531"/>
                    <a:pt x="12793" y="2531"/>
                  </a:cubicBezTo>
                  <a:close/>
                  <a:moveTo>
                    <a:pt x="13163" y="2531"/>
                  </a:moveTo>
                  <a:cubicBezTo>
                    <a:pt x="13087" y="2531"/>
                    <a:pt x="13024" y="2610"/>
                    <a:pt x="13024" y="2708"/>
                  </a:cubicBezTo>
                  <a:cubicBezTo>
                    <a:pt x="13024" y="2806"/>
                    <a:pt x="13087" y="2885"/>
                    <a:pt x="13163" y="2885"/>
                  </a:cubicBezTo>
                  <a:cubicBezTo>
                    <a:pt x="13239" y="2885"/>
                    <a:pt x="13301" y="2806"/>
                    <a:pt x="13301" y="2708"/>
                  </a:cubicBezTo>
                  <a:cubicBezTo>
                    <a:pt x="13301" y="2610"/>
                    <a:pt x="13239" y="2531"/>
                    <a:pt x="13163" y="2531"/>
                  </a:cubicBezTo>
                  <a:close/>
                  <a:moveTo>
                    <a:pt x="13574" y="2531"/>
                  </a:moveTo>
                  <a:cubicBezTo>
                    <a:pt x="13498" y="2531"/>
                    <a:pt x="13435" y="2610"/>
                    <a:pt x="13435" y="2708"/>
                  </a:cubicBezTo>
                  <a:cubicBezTo>
                    <a:pt x="13435" y="2806"/>
                    <a:pt x="13498" y="2885"/>
                    <a:pt x="13574" y="2885"/>
                  </a:cubicBezTo>
                  <a:cubicBezTo>
                    <a:pt x="13650" y="2885"/>
                    <a:pt x="13711" y="2806"/>
                    <a:pt x="13711" y="2708"/>
                  </a:cubicBezTo>
                  <a:cubicBezTo>
                    <a:pt x="13711" y="2610"/>
                    <a:pt x="13650" y="2531"/>
                    <a:pt x="13574" y="2531"/>
                  </a:cubicBezTo>
                  <a:close/>
                  <a:moveTo>
                    <a:pt x="13944" y="2531"/>
                  </a:moveTo>
                  <a:cubicBezTo>
                    <a:pt x="13868" y="2531"/>
                    <a:pt x="13805" y="2610"/>
                    <a:pt x="13805" y="2708"/>
                  </a:cubicBezTo>
                  <a:cubicBezTo>
                    <a:pt x="13805" y="2806"/>
                    <a:pt x="13868" y="2885"/>
                    <a:pt x="13944" y="2885"/>
                  </a:cubicBezTo>
                  <a:cubicBezTo>
                    <a:pt x="14020" y="2885"/>
                    <a:pt x="14081" y="2806"/>
                    <a:pt x="14081" y="2708"/>
                  </a:cubicBezTo>
                  <a:cubicBezTo>
                    <a:pt x="14081" y="2610"/>
                    <a:pt x="14020" y="2531"/>
                    <a:pt x="13944" y="2531"/>
                  </a:cubicBezTo>
                  <a:close/>
                  <a:moveTo>
                    <a:pt x="14355" y="2531"/>
                  </a:moveTo>
                  <a:cubicBezTo>
                    <a:pt x="14278" y="2531"/>
                    <a:pt x="14216" y="2610"/>
                    <a:pt x="14216" y="2708"/>
                  </a:cubicBezTo>
                  <a:cubicBezTo>
                    <a:pt x="14216" y="2806"/>
                    <a:pt x="14278" y="2885"/>
                    <a:pt x="14355" y="2885"/>
                  </a:cubicBezTo>
                  <a:cubicBezTo>
                    <a:pt x="14431" y="2885"/>
                    <a:pt x="14492" y="2806"/>
                    <a:pt x="14492" y="2708"/>
                  </a:cubicBezTo>
                  <a:cubicBezTo>
                    <a:pt x="14492" y="2610"/>
                    <a:pt x="14431" y="2531"/>
                    <a:pt x="14355" y="2531"/>
                  </a:cubicBezTo>
                  <a:close/>
                  <a:moveTo>
                    <a:pt x="14765" y="2531"/>
                  </a:moveTo>
                  <a:cubicBezTo>
                    <a:pt x="14689" y="2531"/>
                    <a:pt x="14627" y="2610"/>
                    <a:pt x="14627" y="2708"/>
                  </a:cubicBezTo>
                  <a:cubicBezTo>
                    <a:pt x="14627" y="2806"/>
                    <a:pt x="14689" y="2885"/>
                    <a:pt x="14765" y="2885"/>
                  </a:cubicBezTo>
                  <a:cubicBezTo>
                    <a:pt x="14842" y="2885"/>
                    <a:pt x="14903" y="2806"/>
                    <a:pt x="14903" y="2708"/>
                  </a:cubicBezTo>
                  <a:cubicBezTo>
                    <a:pt x="14903" y="2610"/>
                    <a:pt x="14842" y="2531"/>
                    <a:pt x="14765" y="2531"/>
                  </a:cubicBezTo>
                  <a:close/>
                  <a:moveTo>
                    <a:pt x="15176" y="2531"/>
                  </a:moveTo>
                  <a:cubicBezTo>
                    <a:pt x="15100" y="2531"/>
                    <a:pt x="15038" y="2610"/>
                    <a:pt x="15038" y="2708"/>
                  </a:cubicBezTo>
                  <a:cubicBezTo>
                    <a:pt x="15038" y="2806"/>
                    <a:pt x="15100" y="2885"/>
                    <a:pt x="15176" y="2885"/>
                  </a:cubicBezTo>
                  <a:cubicBezTo>
                    <a:pt x="15253" y="2885"/>
                    <a:pt x="15314" y="2806"/>
                    <a:pt x="15314" y="2708"/>
                  </a:cubicBezTo>
                  <a:cubicBezTo>
                    <a:pt x="15314" y="2610"/>
                    <a:pt x="15253" y="2531"/>
                    <a:pt x="15176" y="2531"/>
                  </a:cubicBezTo>
                  <a:close/>
                  <a:moveTo>
                    <a:pt x="15546" y="2531"/>
                  </a:moveTo>
                  <a:cubicBezTo>
                    <a:pt x="15470" y="2531"/>
                    <a:pt x="15407" y="2610"/>
                    <a:pt x="15407" y="2708"/>
                  </a:cubicBezTo>
                  <a:cubicBezTo>
                    <a:pt x="15407" y="2806"/>
                    <a:pt x="15470" y="2885"/>
                    <a:pt x="15546" y="2885"/>
                  </a:cubicBezTo>
                  <a:cubicBezTo>
                    <a:pt x="15623" y="2885"/>
                    <a:pt x="15684" y="2806"/>
                    <a:pt x="15684" y="2708"/>
                  </a:cubicBezTo>
                  <a:cubicBezTo>
                    <a:pt x="15684" y="2610"/>
                    <a:pt x="15623" y="2531"/>
                    <a:pt x="15546" y="2531"/>
                  </a:cubicBezTo>
                  <a:close/>
                  <a:moveTo>
                    <a:pt x="15957" y="2531"/>
                  </a:moveTo>
                  <a:cubicBezTo>
                    <a:pt x="15881" y="2531"/>
                    <a:pt x="15818" y="2610"/>
                    <a:pt x="15818" y="2708"/>
                  </a:cubicBezTo>
                  <a:cubicBezTo>
                    <a:pt x="15818" y="2806"/>
                    <a:pt x="15881" y="2885"/>
                    <a:pt x="15957" y="2885"/>
                  </a:cubicBezTo>
                  <a:cubicBezTo>
                    <a:pt x="16033" y="2885"/>
                    <a:pt x="16094" y="2806"/>
                    <a:pt x="16094" y="2708"/>
                  </a:cubicBezTo>
                  <a:cubicBezTo>
                    <a:pt x="16094" y="2610"/>
                    <a:pt x="16033" y="2531"/>
                    <a:pt x="15957" y="2531"/>
                  </a:cubicBezTo>
                  <a:close/>
                  <a:moveTo>
                    <a:pt x="16327" y="2531"/>
                  </a:moveTo>
                  <a:cubicBezTo>
                    <a:pt x="16251" y="2531"/>
                    <a:pt x="16188" y="2610"/>
                    <a:pt x="16188" y="2708"/>
                  </a:cubicBezTo>
                  <a:cubicBezTo>
                    <a:pt x="16188" y="2806"/>
                    <a:pt x="16251" y="2885"/>
                    <a:pt x="16327" y="2885"/>
                  </a:cubicBezTo>
                  <a:cubicBezTo>
                    <a:pt x="16403" y="2885"/>
                    <a:pt x="16464" y="2806"/>
                    <a:pt x="16464" y="2708"/>
                  </a:cubicBezTo>
                  <a:cubicBezTo>
                    <a:pt x="16464" y="2610"/>
                    <a:pt x="16403" y="2531"/>
                    <a:pt x="16327" y="2531"/>
                  </a:cubicBezTo>
                  <a:close/>
                  <a:moveTo>
                    <a:pt x="16738" y="2531"/>
                  </a:moveTo>
                  <a:cubicBezTo>
                    <a:pt x="16661" y="2531"/>
                    <a:pt x="16599" y="2610"/>
                    <a:pt x="16599" y="2708"/>
                  </a:cubicBezTo>
                  <a:cubicBezTo>
                    <a:pt x="16599" y="2806"/>
                    <a:pt x="16661" y="2885"/>
                    <a:pt x="16738" y="2885"/>
                  </a:cubicBezTo>
                  <a:cubicBezTo>
                    <a:pt x="16814" y="2885"/>
                    <a:pt x="16875" y="2806"/>
                    <a:pt x="16875" y="2708"/>
                  </a:cubicBezTo>
                  <a:cubicBezTo>
                    <a:pt x="16875" y="2610"/>
                    <a:pt x="16814" y="2531"/>
                    <a:pt x="16738" y="2531"/>
                  </a:cubicBezTo>
                  <a:close/>
                  <a:moveTo>
                    <a:pt x="17149" y="2531"/>
                  </a:moveTo>
                  <a:cubicBezTo>
                    <a:pt x="17072" y="2531"/>
                    <a:pt x="17010" y="2610"/>
                    <a:pt x="17010" y="2708"/>
                  </a:cubicBezTo>
                  <a:cubicBezTo>
                    <a:pt x="17010" y="2806"/>
                    <a:pt x="17072" y="2885"/>
                    <a:pt x="17149" y="2885"/>
                  </a:cubicBezTo>
                  <a:cubicBezTo>
                    <a:pt x="17225" y="2885"/>
                    <a:pt x="17286" y="2806"/>
                    <a:pt x="17286" y="2708"/>
                  </a:cubicBezTo>
                  <a:cubicBezTo>
                    <a:pt x="17286" y="2610"/>
                    <a:pt x="17225" y="2531"/>
                    <a:pt x="17149" y="2531"/>
                  </a:cubicBezTo>
                  <a:close/>
                  <a:moveTo>
                    <a:pt x="17518" y="2531"/>
                  </a:moveTo>
                  <a:cubicBezTo>
                    <a:pt x="17442" y="2531"/>
                    <a:pt x="17380" y="2610"/>
                    <a:pt x="17380" y="2708"/>
                  </a:cubicBezTo>
                  <a:cubicBezTo>
                    <a:pt x="17380" y="2806"/>
                    <a:pt x="17442" y="2885"/>
                    <a:pt x="17518" y="2885"/>
                  </a:cubicBezTo>
                  <a:cubicBezTo>
                    <a:pt x="17594" y="2885"/>
                    <a:pt x="17656" y="2806"/>
                    <a:pt x="17656" y="2708"/>
                  </a:cubicBezTo>
                  <a:cubicBezTo>
                    <a:pt x="17656" y="2610"/>
                    <a:pt x="17594" y="2531"/>
                    <a:pt x="17518" y="2531"/>
                  </a:cubicBezTo>
                  <a:close/>
                  <a:moveTo>
                    <a:pt x="17929" y="2531"/>
                  </a:moveTo>
                  <a:cubicBezTo>
                    <a:pt x="17853" y="2531"/>
                    <a:pt x="17791" y="2610"/>
                    <a:pt x="17791" y="2708"/>
                  </a:cubicBezTo>
                  <a:cubicBezTo>
                    <a:pt x="17791" y="2806"/>
                    <a:pt x="17853" y="2885"/>
                    <a:pt x="17929" y="2885"/>
                  </a:cubicBezTo>
                  <a:cubicBezTo>
                    <a:pt x="18006" y="2885"/>
                    <a:pt x="18067" y="2806"/>
                    <a:pt x="18067" y="2708"/>
                  </a:cubicBezTo>
                  <a:cubicBezTo>
                    <a:pt x="18067" y="2610"/>
                    <a:pt x="18006" y="2531"/>
                    <a:pt x="17929" y="2531"/>
                  </a:cubicBezTo>
                  <a:close/>
                  <a:moveTo>
                    <a:pt x="18299" y="2531"/>
                  </a:moveTo>
                  <a:cubicBezTo>
                    <a:pt x="18223" y="2531"/>
                    <a:pt x="18160" y="2610"/>
                    <a:pt x="18160" y="2708"/>
                  </a:cubicBezTo>
                  <a:cubicBezTo>
                    <a:pt x="18160" y="2806"/>
                    <a:pt x="18223" y="2885"/>
                    <a:pt x="18299" y="2885"/>
                  </a:cubicBezTo>
                  <a:cubicBezTo>
                    <a:pt x="18375" y="2885"/>
                    <a:pt x="18436" y="2806"/>
                    <a:pt x="18436" y="2708"/>
                  </a:cubicBezTo>
                  <a:cubicBezTo>
                    <a:pt x="18436" y="2610"/>
                    <a:pt x="18375" y="2531"/>
                    <a:pt x="18299" y="2531"/>
                  </a:cubicBezTo>
                  <a:close/>
                  <a:moveTo>
                    <a:pt x="18710" y="2531"/>
                  </a:moveTo>
                  <a:cubicBezTo>
                    <a:pt x="18633" y="2531"/>
                    <a:pt x="18571" y="2610"/>
                    <a:pt x="18571" y="2708"/>
                  </a:cubicBezTo>
                  <a:cubicBezTo>
                    <a:pt x="18571" y="2806"/>
                    <a:pt x="18633" y="2885"/>
                    <a:pt x="18710" y="2885"/>
                  </a:cubicBezTo>
                  <a:cubicBezTo>
                    <a:pt x="18786" y="2885"/>
                    <a:pt x="18847" y="2806"/>
                    <a:pt x="18847" y="2708"/>
                  </a:cubicBezTo>
                  <a:cubicBezTo>
                    <a:pt x="18847" y="2610"/>
                    <a:pt x="18786" y="2531"/>
                    <a:pt x="18710" y="2531"/>
                  </a:cubicBezTo>
                  <a:close/>
                  <a:moveTo>
                    <a:pt x="19121" y="2531"/>
                  </a:moveTo>
                  <a:cubicBezTo>
                    <a:pt x="19044" y="2531"/>
                    <a:pt x="18982" y="2610"/>
                    <a:pt x="18982" y="2708"/>
                  </a:cubicBezTo>
                  <a:cubicBezTo>
                    <a:pt x="18982" y="2806"/>
                    <a:pt x="19044" y="2885"/>
                    <a:pt x="19121" y="2885"/>
                  </a:cubicBezTo>
                  <a:cubicBezTo>
                    <a:pt x="19197" y="2885"/>
                    <a:pt x="19258" y="2806"/>
                    <a:pt x="19258" y="2708"/>
                  </a:cubicBezTo>
                  <a:cubicBezTo>
                    <a:pt x="19258" y="2610"/>
                    <a:pt x="19197" y="2531"/>
                    <a:pt x="19121" y="2531"/>
                  </a:cubicBezTo>
                  <a:close/>
                  <a:moveTo>
                    <a:pt x="19490" y="2531"/>
                  </a:moveTo>
                  <a:cubicBezTo>
                    <a:pt x="19414" y="2531"/>
                    <a:pt x="19352" y="2610"/>
                    <a:pt x="19352" y="2708"/>
                  </a:cubicBezTo>
                  <a:cubicBezTo>
                    <a:pt x="19352" y="2806"/>
                    <a:pt x="19414" y="2885"/>
                    <a:pt x="19490" y="2885"/>
                  </a:cubicBezTo>
                  <a:cubicBezTo>
                    <a:pt x="19567" y="2885"/>
                    <a:pt x="19628" y="2806"/>
                    <a:pt x="19628" y="2708"/>
                  </a:cubicBezTo>
                  <a:cubicBezTo>
                    <a:pt x="19628" y="2610"/>
                    <a:pt x="19567" y="2531"/>
                    <a:pt x="19490" y="2531"/>
                  </a:cubicBezTo>
                  <a:close/>
                  <a:moveTo>
                    <a:pt x="19901" y="2531"/>
                  </a:moveTo>
                  <a:cubicBezTo>
                    <a:pt x="19825" y="2531"/>
                    <a:pt x="19763" y="2610"/>
                    <a:pt x="19763" y="2708"/>
                  </a:cubicBezTo>
                  <a:cubicBezTo>
                    <a:pt x="19763" y="2806"/>
                    <a:pt x="19825" y="2885"/>
                    <a:pt x="19901" y="2885"/>
                  </a:cubicBezTo>
                  <a:cubicBezTo>
                    <a:pt x="19978" y="2885"/>
                    <a:pt x="20039" y="2806"/>
                    <a:pt x="20039" y="2708"/>
                  </a:cubicBezTo>
                  <a:cubicBezTo>
                    <a:pt x="20039" y="2610"/>
                    <a:pt x="19978" y="2531"/>
                    <a:pt x="19901" y="2531"/>
                  </a:cubicBezTo>
                  <a:close/>
                  <a:moveTo>
                    <a:pt x="20270" y="2531"/>
                  </a:moveTo>
                  <a:cubicBezTo>
                    <a:pt x="20194" y="2531"/>
                    <a:pt x="20132" y="2610"/>
                    <a:pt x="20132" y="2708"/>
                  </a:cubicBezTo>
                  <a:cubicBezTo>
                    <a:pt x="20132" y="2806"/>
                    <a:pt x="20194" y="2885"/>
                    <a:pt x="20270" y="2885"/>
                  </a:cubicBezTo>
                  <a:cubicBezTo>
                    <a:pt x="20346" y="2885"/>
                    <a:pt x="20408" y="2806"/>
                    <a:pt x="20408" y="2708"/>
                  </a:cubicBezTo>
                  <a:cubicBezTo>
                    <a:pt x="20408" y="2610"/>
                    <a:pt x="20346" y="2531"/>
                    <a:pt x="20270" y="2531"/>
                  </a:cubicBezTo>
                  <a:close/>
                  <a:moveTo>
                    <a:pt x="20682" y="2531"/>
                  </a:moveTo>
                  <a:cubicBezTo>
                    <a:pt x="20606" y="2531"/>
                    <a:pt x="20543" y="2610"/>
                    <a:pt x="20543" y="2708"/>
                  </a:cubicBezTo>
                  <a:cubicBezTo>
                    <a:pt x="20543" y="2806"/>
                    <a:pt x="20606" y="2885"/>
                    <a:pt x="20682" y="2885"/>
                  </a:cubicBezTo>
                  <a:cubicBezTo>
                    <a:pt x="20758" y="2885"/>
                    <a:pt x="20819" y="2806"/>
                    <a:pt x="20819" y="2708"/>
                  </a:cubicBezTo>
                  <a:cubicBezTo>
                    <a:pt x="20819" y="2610"/>
                    <a:pt x="20758" y="2531"/>
                    <a:pt x="20682" y="2531"/>
                  </a:cubicBezTo>
                  <a:close/>
                  <a:moveTo>
                    <a:pt x="1741" y="3005"/>
                  </a:moveTo>
                  <a:cubicBezTo>
                    <a:pt x="1665" y="3005"/>
                    <a:pt x="1602" y="3085"/>
                    <a:pt x="1602" y="3183"/>
                  </a:cubicBezTo>
                  <a:cubicBezTo>
                    <a:pt x="1602" y="3281"/>
                    <a:pt x="1665" y="3359"/>
                    <a:pt x="1741" y="3359"/>
                  </a:cubicBezTo>
                  <a:cubicBezTo>
                    <a:pt x="1817" y="3359"/>
                    <a:pt x="1878" y="3281"/>
                    <a:pt x="1878" y="3183"/>
                  </a:cubicBezTo>
                  <a:cubicBezTo>
                    <a:pt x="1878" y="3085"/>
                    <a:pt x="1817" y="3005"/>
                    <a:pt x="1741" y="3005"/>
                  </a:cubicBezTo>
                  <a:close/>
                  <a:moveTo>
                    <a:pt x="2111" y="3005"/>
                  </a:moveTo>
                  <a:cubicBezTo>
                    <a:pt x="2035" y="3005"/>
                    <a:pt x="1972" y="3085"/>
                    <a:pt x="1972" y="3183"/>
                  </a:cubicBezTo>
                  <a:cubicBezTo>
                    <a:pt x="1972" y="3281"/>
                    <a:pt x="2035" y="3359"/>
                    <a:pt x="2111" y="3359"/>
                  </a:cubicBezTo>
                  <a:cubicBezTo>
                    <a:pt x="2187" y="3359"/>
                    <a:pt x="2248" y="3281"/>
                    <a:pt x="2248" y="3183"/>
                  </a:cubicBezTo>
                  <a:cubicBezTo>
                    <a:pt x="2248" y="3085"/>
                    <a:pt x="2187" y="3005"/>
                    <a:pt x="2111" y="3005"/>
                  </a:cubicBezTo>
                  <a:close/>
                  <a:moveTo>
                    <a:pt x="2522" y="3005"/>
                  </a:moveTo>
                  <a:cubicBezTo>
                    <a:pt x="2445" y="3005"/>
                    <a:pt x="2383" y="3085"/>
                    <a:pt x="2383" y="3183"/>
                  </a:cubicBezTo>
                  <a:cubicBezTo>
                    <a:pt x="2383" y="3281"/>
                    <a:pt x="2445" y="3359"/>
                    <a:pt x="2522" y="3359"/>
                  </a:cubicBezTo>
                  <a:cubicBezTo>
                    <a:pt x="2598" y="3359"/>
                    <a:pt x="2659" y="3281"/>
                    <a:pt x="2659" y="3183"/>
                  </a:cubicBezTo>
                  <a:cubicBezTo>
                    <a:pt x="2659" y="3085"/>
                    <a:pt x="2598" y="3005"/>
                    <a:pt x="2522" y="3005"/>
                  </a:cubicBezTo>
                  <a:close/>
                  <a:moveTo>
                    <a:pt x="2891" y="3005"/>
                  </a:moveTo>
                  <a:cubicBezTo>
                    <a:pt x="2815" y="3005"/>
                    <a:pt x="2753" y="3085"/>
                    <a:pt x="2753" y="3183"/>
                  </a:cubicBezTo>
                  <a:cubicBezTo>
                    <a:pt x="2753" y="3281"/>
                    <a:pt x="2815" y="3359"/>
                    <a:pt x="2891" y="3359"/>
                  </a:cubicBezTo>
                  <a:cubicBezTo>
                    <a:pt x="2968" y="3359"/>
                    <a:pt x="3029" y="3281"/>
                    <a:pt x="3029" y="3183"/>
                  </a:cubicBezTo>
                  <a:cubicBezTo>
                    <a:pt x="3029" y="3085"/>
                    <a:pt x="2968" y="3005"/>
                    <a:pt x="2891" y="3005"/>
                  </a:cubicBezTo>
                  <a:close/>
                  <a:moveTo>
                    <a:pt x="3302" y="3005"/>
                  </a:moveTo>
                  <a:cubicBezTo>
                    <a:pt x="3226" y="3005"/>
                    <a:pt x="3164" y="3085"/>
                    <a:pt x="3164" y="3183"/>
                  </a:cubicBezTo>
                  <a:cubicBezTo>
                    <a:pt x="3164" y="3281"/>
                    <a:pt x="3226" y="3359"/>
                    <a:pt x="3302" y="3359"/>
                  </a:cubicBezTo>
                  <a:cubicBezTo>
                    <a:pt x="3379" y="3359"/>
                    <a:pt x="3440" y="3281"/>
                    <a:pt x="3440" y="3183"/>
                  </a:cubicBezTo>
                  <a:cubicBezTo>
                    <a:pt x="3440" y="3085"/>
                    <a:pt x="3379" y="3005"/>
                    <a:pt x="3302" y="3005"/>
                  </a:cubicBezTo>
                  <a:close/>
                  <a:moveTo>
                    <a:pt x="3713" y="3005"/>
                  </a:moveTo>
                  <a:cubicBezTo>
                    <a:pt x="3637" y="3005"/>
                    <a:pt x="3575" y="3085"/>
                    <a:pt x="3575" y="3183"/>
                  </a:cubicBezTo>
                  <a:cubicBezTo>
                    <a:pt x="3575" y="3281"/>
                    <a:pt x="3637" y="3359"/>
                    <a:pt x="3713" y="3359"/>
                  </a:cubicBezTo>
                  <a:cubicBezTo>
                    <a:pt x="3790" y="3359"/>
                    <a:pt x="3851" y="3281"/>
                    <a:pt x="3851" y="3183"/>
                  </a:cubicBezTo>
                  <a:cubicBezTo>
                    <a:pt x="3851" y="3085"/>
                    <a:pt x="3790" y="3005"/>
                    <a:pt x="3713" y="3005"/>
                  </a:cubicBezTo>
                  <a:close/>
                  <a:moveTo>
                    <a:pt x="4083" y="3005"/>
                  </a:moveTo>
                  <a:cubicBezTo>
                    <a:pt x="4007" y="3005"/>
                    <a:pt x="3944" y="3085"/>
                    <a:pt x="3944" y="3183"/>
                  </a:cubicBezTo>
                  <a:cubicBezTo>
                    <a:pt x="3944" y="3281"/>
                    <a:pt x="4007" y="3359"/>
                    <a:pt x="4083" y="3359"/>
                  </a:cubicBezTo>
                  <a:cubicBezTo>
                    <a:pt x="4159" y="3359"/>
                    <a:pt x="4220" y="3281"/>
                    <a:pt x="4220" y="3183"/>
                  </a:cubicBezTo>
                  <a:cubicBezTo>
                    <a:pt x="4220" y="3085"/>
                    <a:pt x="4159" y="3005"/>
                    <a:pt x="4083" y="3005"/>
                  </a:cubicBezTo>
                  <a:close/>
                  <a:moveTo>
                    <a:pt x="4494" y="3005"/>
                  </a:moveTo>
                  <a:cubicBezTo>
                    <a:pt x="4418" y="3005"/>
                    <a:pt x="4355" y="3085"/>
                    <a:pt x="4355" y="3183"/>
                  </a:cubicBezTo>
                  <a:cubicBezTo>
                    <a:pt x="4355" y="3281"/>
                    <a:pt x="4418" y="3359"/>
                    <a:pt x="4494" y="3359"/>
                  </a:cubicBezTo>
                  <a:cubicBezTo>
                    <a:pt x="4570" y="3359"/>
                    <a:pt x="4631" y="3281"/>
                    <a:pt x="4631" y="3183"/>
                  </a:cubicBezTo>
                  <a:cubicBezTo>
                    <a:pt x="4631" y="3085"/>
                    <a:pt x="4570" y="3005"/>
                    <a:pt x="4494" y="3005"/>
                  </a:cubicBezTo>
                  <a:close/>
                  <a:moveTo>
                    <a:pt x="4864" y="3005"/>
                  </a:moveTo>
                  <a:cubicBezTo>
                    <a:pt x="4787" y="3005"/>
                    <a:pt x="4725" y="3085"/>
                    <a:pt x="4725" y="3183"/>
                  </a:cubicBezTo>
                  <a:cubicBezTo>
                    <a:pt x="4725" y="3281"/>
                    <a:pt x="4787" y="3359"/>
                    <a:pt x="4864" y="3359"/>
                  </a:cubicBezTo>
                  <a:cubicBezTo>
                    <a:pt x="4940" y="3359"/>
                    <a:pt x="5001" y="3281"/>
                    <a:pt x="5001" y="3183"/>
                  </a:cubicBezTo>
                  <a:cubicBezTo>
                    <a:pt x="5001" y="3085"/>
                    <a:pt x="4940" y="3005"/>
                    <a:pt x="4864" y="3005"/>
                  </a:cubicBezTo>
                  <a:close/>
                  <a:moveTo>
                    <a:pt x="5274" y="3005"/>
                  </a:moveTo>
                  <a:cubicBezTo>
                    <a:pt x="5198" y="3005"/>
                    <a:pt x="5136" y="3085"/>
                    <a:pt x="5136" y="3183"/>
                  </a:cubicBezTo>
                  <a:cubicBezTo>
                    <a:pt x="5136" y="3281"/>
                    <a:pt x="5198" y="3359"/>
                    <a:pt x="5274" y="3359"/>
                  </a:cubicBezTo>
                  <a:cubicBezTo>
                    <a:pt x="5351" y="3359"/>
                    <a:pt x="5412" y="3281"/>
                    <a:pt x="5412" y="3183"/>
                  </a:cubicBezTo>
                  <a:cubicBezTo>
                    <a:pt x="5412" y="3085"/>
                    <a:pt x="5351" y="3005"/>
                    <a:pt x="5274" y="3005"/>
                  </a:cubicBezTo>
                  <a:close/>
                  <a:moveTo>
                    <a:pt x="21463" y="3005"/>
                  </a:moveTo>
                  <a:cubicBezTo>
                    <a:pt x="21386" y="3005"/>
                    <a:pt x="21324" y="3085"/>
                    <a:pt x="21324" y="3183"/>
                  </a:cubicBezTo>
                  <a:cubicBezTo>
                    <a:pt x="21324" y="3281"/>
                    <a:pt x="21386" y="3359"/>
                    <a:pt x="21463" y="3359"/>
                  </a:cubicBezTo>
                  <a:cubicBezTo>
                    <a:pt x="21539" y="3359"/>
                    <a:pt x="21600" y="3281"/>
                    <a:pt x="21600" y="3183"/>
                  </a:cubicBezTo>
                  <a:cubicBezTo>
                    <a:pt x="21600" y="3085"/>
                    <a:pt x="21539" y="3005"/>
                    <a:pt x="21463" y="3005"/>
                  </a:cubicBezTo>
                  <a:close/>
                  <a:moveTo>
                    <a:pt x="5685" y="3058"/>
                  </a:moveTo>
                  <a:cubicBezTo>
                    <a:pt x="5609" y="3058"/>
                    <a:pt x="5547" y="3138"/>
                    <a:pt x="5547" y="3236"/>
                  </a:cubicBezTo>
                  <a:cubicBezTo>
                    <a:pt x="5547" y="3334"/>
                    <a:pt x="5609" y="3412"/>
                    <a:pt x="5685" y="3412"/>
                  </a:cubicBezTo>
                  <a:cubicBezTo>
                    <a:pt x="5762" y="3412"/>
                    <a:pt x="5823" y="3334"/>
                    <a:pt x="5823" y="3236"/>
                  </a:cubicBezTo>
                  <a:cubicBezTo>
                    <a:pt x="5823" y="3138"/>
                    <a:pt x="5762" y="3058"/>
                    <a:pt x="5685" y="3058"/>
                  </a:cubicBezTo>
                  <a:close/>
                  <a:moveTo>
                    <a:pt x="6055" y="3058"/>
                  </a:moveTo>
                  <a:cubicBezTo>
                    <a:pt x="5979" y="3058"/>
                    <a:pt x="5916" y="3138"/>
                    <a:pt x="5916" y="3236"/>
                  </a:cubicBezTo>
                  <a:cubicBezTo>
                    <a:pt x="5916" y="3334"/>
                    <a:pt x="5979" y="3412"/>
                    <a:pt x="6055" y="3412"/>
                  </a:cubicBezTo>
                  <a:cubicBezTo>
                    <a:pt x="6132" y="3412"/>
                    <a:pt x="6193" y="3334"/>
                    <a:pt x="6193" y="3236"/>
                  </a:cubicBezTo>
                  <a:cubicBezTo>
                    <a:pt x="6193" y="3138"/>
                    <a:pt x="6132" y="3058"/>
                    <a:pt x="6055" y="3058"/>
                  </a:cubicBezTo>
                  <a:close/>
                  <a:moveTo>
                    <a:pt x="6425" y="3058"/>
                  </a:moveTo>
                  <a:cubicBezTo>
                    <a:pt x="6349" y="3058"/>
                    <a:pt x="6286" y="3138"/>
                    <a:pt x="6286" y="3236"/>
                  </a:cubicBezTo>
                  <a:cubicBezTo>
                    <a:pt x="6286" y="3334"/>
                    <a:pt x="6349" y="3412"/>
                    <a:pt x="6425" y="3412"/>
                  </a:cubicBezTo>
                  <a:cubicBezTo>
                    <a:pt x="6501" y="3412"/>
                    <a:pt x="6562" y="3334"/>
                    <a:pt x="6562" y="3236"/>
                  </a:cubicBezTo>
                  <a:cubicBezTo>
                    <a:pt x="6562" y="3138"/>
                    <a:pt x="6501" y="3058"/>
                    <a:pt x="6425" y="3058"/>
                  </a:cubicBezTo>
                  <a:close/>
                  <a:moveTo>
                    <a:pt x="6836" y="3058"/>
                  </a:moveTo>
                  <a:cubicBezTo>
                    <a:pt x="6759" y="3058"/>
                    <a:pt x="6697" y="3138"/>
                    <a:pt x="6697" y="3236"/>
                  </a:cubicBezTo>
                  <a:cubicBezTo>
                    <a:pt x="6697" y="3334"/>
                    <a:pt x="6759" y="3412"/>
                    <a:pt x="6836" y="3412"/>
                  </a:cubicBezTo>
                  <a:cubicBezTo>
                    <a:pt x="6912" y="3412"/>
                    <a:pt x="6973" y="3334"/>
                    <a:pt x="6973" y="3236"/>
                  </a:cubicBezTo>
                  <a:cubicBezTo>
                    <a:pt x="6973" y="3138"/>
                    <a:pt x="6912" y="3058"/>
                    <a:pt x="6836" y="3058"/>
                  </a:cubicBezTo>
                  <a:close/>
                  <a:moveTo>
                    <a:pt x="7247" y="3058"/>
                  </a:moveTo>
                  <a:cubicBezTo>
                    <a:pt x="7170" y="3058"/>
                    <a:pt x="7108" y="3138"/>
                    <a:pt x="7108" y="3236"/>
                  </a:cubicBezTo>
                  <a:cubicBezTo>
                    <a:pt x="7108" y="3334"/>
                    <a:pt x="7170" y="3412"/>
                    <a:pt x="7247" y="3412"/>
                  </a:cubicBezTo>
                  <a:cubicBezTo>
                    <a:pt x="7323" y="3412"/>
                    <a:pt x="7384" y="3334"/>
                    <a:pt x="7384" y="3236"/>
                  </a:cubicBezTo>
                  <a:cubicBezTo>
                    <a:pt x="7384" y="3138"/>
                    <a:pt x="7323" y="3058"/>
                    <a:pt x="7247" y="3058"/>
                  </a:cubicBezTo>
                  <a:close/>
                  <a:moveTo>
                    <a:pt x="7616" y="3058"/>
                  </a:moveTo>
                  <a:cubicBezTo>
                    <a:pt x="7540" y="3058"/>
                    <a:pt x="7478" y="3138"/>
                    <a:pt x="7478" y="3236"/>
                  </a:cubicBezTo>
                  <a:cubicBezTo>
                    <a:pt x="7478" y="3334"/>
                    <a:pt x="7540" y="3412"/>
                    <a:pt x="7616" y="3412"/>
                  </a:cubicBezTo>
                  <a:cubicBezTo>
                    <a:pt x="7693" y="3412"/>
                    <a:pt x="7754" y="3334"/>
                    <a:pt x="7754" y="3236"/>
                  </a:cubicBezTo>
                  <a:cubicBezTo>
                    <a:pt x="7754" y="3138"/>
                    <a:pt x="7693" y="3058"/>
                    <a:pt x="7616" y="3058"/>
                  </a:cubicBezTo>
                  <a:close/>
                  <a:moveTo>
                    <a:pt x="8027" y="3058"/>
                  </a:moveTo>
                  <a:cubicBezTo>
                    <a:pt x="7951" y="3058"/>
                    <a:pt x="7889" y="3138"/>
                    <a:pt x="7889" y="3236"/>
                  </a:cubicBezTo>
                  <a:cubicBezTo>
                    <a:pt x="7889" y="3334"/>
                    <a:pt x="7951" y="3412"/>
                    <a:pt x="8027" y="3412"/>
                  </a:cubicBezTo>
                  <a:cubicBezTo>
                    <a:pt x="8104" y="3412"/>
                    <a:pt x="8165" y="3334"/>
                    <a:pt x="8165" y="3236"/>
                  </a:cubicBezTo>
                  <a:cubicBezTo>
                    <a:pt x="8165" y="3138"/>
                    <a:pt x="8104" y="3058"/>
                    <a:pt x="8027" y="3058"/>
                  </a:cubicBezTo>
                  <a:close/>
                  <a:moveTo>
                    <a:pt x="8438" y="3058"/>
                  </a:moveTo>
                  <a:cubicBezTo>
                    <a:pt x="8362" y="3058"/>
                    <a:pt x="8299" y="3138"/>
                    <a:pt x="8299" y="3236"/>
                  </a:cubicBezTo>
                  <a:cubicBezTo>
                    <a:pt x="8299" y="3334"/>
                    <a:pt x="8362" y="3412"/>
                    <a:pt x="8438" y="3412"/>
                  </a:cubicBezTo>
                  <a:cubicBezTo>
                    <a:pt x="8515" y="3412"/>
                    <a:pt x="8576" y="3334"/>
                    <a:pt x="8576" y="3236"/>
                  </a:cubicBezTo>
                  <a:cubicBezTo>
                    <a:pt x="8576" y="3138"/>
                    <a:pt x="8515" y="3058"/>
                    <a:pt x="8438" y="3058"/>
                  </a:cubicBezTo>
                  <a:close/>
                  <a:moveTo>
                    <a:pt x="8808" y="3058"/>
                  </a:moveTo>
                  <a:cubicBezTo>
                    <a:pt x="8732" y="3058"/>
                    <a:pt x="8669" y="3138"/>
                    <a:pt x="8669" y="3236"/>
                  </a:cubicBezTo>
                  <a:cubicBezTo>
                    <a:pt x="8669" y="3334"/>
                    <a:pt x="8732" y="3412"/>
                    <a:pt x="8808" y="3412"/>
                  </a:cubicBezTo>
                  <a:cubicBezTo>
                    <a:pt x="8884" y="3412"/>
                    <a:pt x="8945" y="3334"/>
                    <a:pt x="8945" y="3236"/>
                  </a:cubicBezTo>
                  <a:cubicBezTo>
                    <a:pt x="8945" y="3138"/>
                    <a:pt x="8884" y="3058"/>
                    <a:pt x="8808" y="3058"/>
                  </a:cubicBezTo>
                  <a:close/>
                  <a:moveTo>
                    <a:pt x="9219" y="3058"/>
                  </a:moveTo>
                  <a:cubicBezTo>
                    <a:pt x="9142" y="3058"/>
                    <a:pt x="9080" y="3138"/>
                    <a:pt x="9080" y="3236"/>
                  </a:cubicBezTo>
                  <a:cubicBezTo>
                    <a:pt x="9080" y="3334"/>
                    <a:pt x="9142" y="3412"/>
                    <a:pt x="9219" y="3412"/>
                  </a:cubicBezTo>
                  <a:cubicBezTo>
                    <a:pt x="9295" y="3412"/>
                    <a:pt x="9356" y="3334"/>
                    <a:pt x="9356" y="3236"/>
                  </a:cubicBezTo>
                  <a:cubicBezTo>
                    <a:pt x="9356" y="3138"/>
                    <a:pt x="9295" y="3058"/>
                    <a:pt x="9219" y="3058"/>
                  </a:cubicBezTo>
                  <a:close/>
                  <a:moveTo>
                    <a:pt x="9589" y="3058"/>
                  </a:moveTo>
                  <a:cubicBezTo>
                    <a:pt x="9512" y="3058"/>
                    <a:pt x="9450" y="3138"/>
                    <a:pt x="9450" y="3236"/>
                  </a:cubicBezTo>
                  <a:cubicBezTo>
                    <a:pt x="9450" y="3334"/>
                    <a:pt x="9512" y="3412"/>
                    <a:pt x="9589" y="3412"/>
                  </a:cubicBezTo>
                  <a:cubicBezTo>
                    <a:pt x="9665" y="3412"/>
                    <a:pt x="9726" y="3334"/>
                    <a:pt x="9726" y="3236"/>
                  </a:cubicBezTo>
                  <a:cubicBezTo>
                    <a:pt x="9726" y="3138"/>
                    <a:pt x="9665" y="3058"/>
                    <a:pt x="9589" y="3058"/>
                  </a:cubicBezTo>
                  <a:close/>
                  <a:moveTo>
                    <a:pt x="9999" y="3058"/>
                  </a:moveTo>
                  <a:cubicBezTo>
                    <a:pt x="9923" y="3058"/>
                    <a:pt x="9861" y="3138"/>
                    <a:pt x="9861" y="3236"/>
                  </a:cubicBezTo>
                  <a:cubicBezTo>
                    <a:pt x="9861" y="3334"/>
                    <a:pt x="9923" y="3412"/>
                    <a:pt x="9999" y="3412"/>
                  </a:cubicBezTo>
                  <a:cubicBezTo>
                    <a:pt x="10076" y="3412"/>
                    <a:pt x="10137" y="3334"/>
                    <a:pt x="10137" y="3236"/>
                  </a:cubicBezTo>
                  <a:cubicBezTo>
                    <a:pt x="10137" y="3138"/>
                    <a:pt x="10076" y="3058"/>
                    <a:pt x="9999" y="3058"/>
                  </a:cubicBezTo>
                  <a:close/>
                  <a:moveTo>
                    <a:pt x="10410" y="3058"/>
                  </a:moveTo>
                  <a:cubicBezTo>
                    <a:pt x="10334" y="3058"/>
                    <a:pt x="10272" y="3138"/>
                    <a:pt x="10272" y="3236"/>
                  </a:cubicBezTo>
                  <a:cubicBezTo>
                    <a:pt x="10272" y="3334"/>
                    <a:pt x="10334" y="3412"/>
                    <a:pt x="10410" y="3412"/>
                  </a:cubicBezTo>
                  <a:cubicBezTo>
                    <a:pt x="10487" y="3412"/>
                    <a:pt x="10548" y="3334"/>
                    <a:pt x="10548" y="3236"/>
                  </a:cubicBezTo>
                  <a:cubicBezTo>
                    <a:pt x="10548" y="3138"/>
                    <a:pt x="10487" y="3058"/>
                    <a:pt x="10410" y="3058"/>
                  </a:cubicBezTo>
                  <a:close/>
                  <a:moveTo>
                    <a:pt x="10780" y="3058"/>
                  </a:moveTo>
                  <a:cubicBezTo>
                    <a:pt x="10704" y="3058"/>
                    <a:pt x="10641" y="3138"/>
                    <a:pt x="10641" y="3236"/>
                  </a:cubicBezTo>
                  <a:cubicBezTo>
                    <a:pt x="10641" y="3334"/>
                    <a:pt x="10704" y="3412"/>
                    <a:pt x="10780" y="3412"/>
                  </a:cubicBezTo>
                  <a:cubicBezTo>
                    <a:pt x="10856" y="3412"/>
                    <a:pt x="10917" y="3334"/>
                    <a:pt x="10917" y="3236"/>
                  </a:cubicBezTo>
                  <a:cubicBezTo>
                    <a:pt x="10917" y="3138"/>
                    <a:pt x="10856" y="3058"/>
                    <a:pt x="10780" y="3058"/>
                  </a:cubicBezTo>
                  <a:close/>
                  <a:moveTo>
                    <a:pt x="11191" y="3058"/>
                  </a:moveTo>
                  <a:cubicBezTo>
                    <a:pt x="11115" y="3058"/>
                    <a:pt x="11052" y="3138"/>
                    <a:pt x="11052" y="3236"/>
                  </a:cubicBezTo>
                  <a:cubicBezTo>
                    <a:pt x="11052" y="3334"/>
                    <a:pt x="11115" y="3412"/>
                    <a:pt x="11191" y="3412"/>
                  </a:cubicBezTo>
                  <a:cubicBezTo>
                    <a:pt x="11267" y="3412"/>
                    <a:pt x="11328" y="3334"/>
                    <a:pt x="11328" y="3236"/>
                  </a:cubicBezTo>
                  <a:cubicBezTo>
                    <a:pt x="11328" y="3138"/>
                    <a:pt x="11267" y="3058"/>
                    <a:pt x="11191" y="3058"/>
                  </a:cubicBezTo>
                  <a:close/>
                  <a:moveTo>
                    <a:pt x="11602" y="3058"/>
                  </a:moveTo>
                  <a:cubicBezTo>
                    <a:pt x="11525" y="3058"/>
                    <a:pt x="11463" y="3138"/>
                    <a:pt x="11463" y="3236"/>
                  </a:cubicBezTo>
                  <a:cubicBezTo>
                    <a:pt x="11463" y="3334"/>
                    <a:pt x="11525" y="3412"/>
                    <a:pt x="11602" y="3412"/>
                  </a:cubicBezTo>
                  <a:cubicBezTo>
                    <a:pt x="11678" y="3412"/>
                    <a:pt x="11739" y="3334"/>
                    <a:pt x="11739" y="3236"/>
                  </a:cubicBezTo>
                  <a:cubicBezTo>
                    <a:pt x="11739" y="3138"/>
                    <a:pt x="11678" y="3058"/>
                    <a:pt x="11602" y="3058"/>
                  </a:cubicBezTo>
                  <a:close/>
                  <a:moveTo>
                    <a:pt x="11972" y="3058"/>
                  </a:moveTo>
                  <a:cubicBezTo>
                    <a:pt x="11895" y="3058"/>
                    <a:pt x="11833" y="3138"/>
                    <a:pt x="11833" y="3236"/>
                  </a:cubicBezTo>
                  <a:cubicBezTo>
                    <a:pt x="11833" y="3334"/>
                    <a:pt x="11895" y="3412"/>
                    <a:pt x="11972" y="3412"/>
                  </a:cubicBezTo>
                  <a:cubicBezTo>
                    <a:pt x="12048" y="3412"/>
                    <a:pt x="12109" y="3334"/>
                    <a:pt x="12109" y="3236"/>
                  </a:cubicBezTo>
                  <a:cubicBezTo>
                    <a:pt x="12109" y="3138"/>
                    <a:pt x="12048" y="3058"/>
                    <a:pt x="11972" y="3058"/>
                  </a:cubicBezTo>
                  <a:close/>
                  <a:moveTo>
                    <a:pt x="12382" y="3058"/>
                  </a:moveTo>
                  <a:cubicBezTo>
                    <a:pt x="12306" y="3058"/>
                    <a:pt x="12244" y="3138"/>
                    <a:pt x="12244" y="3236"/>
                  </a:cubicBezTo>
                  <a:cubicBezTo>
                    <a:pt x="12244" y="3334"/>
                    <a:pt x="12306" y="3412"/>
                    <a:pt x="12382" y="3412"/>
                  </a:cubicBezTo>
                  <a:cubicBezTo>
                    <a:pt x="12459" y="3412"/>
                    <a:pt x="12520" y="3334"/>
                    <a:pt x="12520" y="3236"/>
                  </a:cubicBezTo>
                  <a:cubicBezTo>
                    <a:pt x="12520" y="3138"/>
                    <a:pt x="12459" y="3058"/>
                    <a:pt x="12382" y="3058"/>
                  </a:cubicBezTo>
                  <a:close/>
                  <a:moveTo>
                    <a:pt x="12793" y="3058"/>
                  </a:moveTo>
                  <a:cubicBezTo>
                    <a:pt x="12717" y="3058"/>
                    <a:pt x="12655" y="3138"/>
                    <a:pt x="12655" y="3236"/>
                  </a:cubicBezTo>
                  <a:cubicBezTo>
                    <a:pt x="12655" y="3334"/>
                    <a:pt x="12717" y="3412"/>
                    <a:pt x="12793" y="3412"/>
                  </a:cubicBezTo>
                  <a:cubicBezTo>
                    <a:pt x="12869" y="3412"/>
                    <a:pt x="12931" y="3334"/>
                    <a:pt x="12931" y="3236"/>
                  </a:cubicBezTo>
                  <a:cubicBezTo>
                    <a:pt x="12931" y="3138"/>
                    <a:pt x="12869" y="3058"/>
                    <a:pt x="12793" y="3058"/>
                  </a:cubicBezTo>
                  <a:close/>
                  <a:moveTo>
                    <a:pt x="13163" y="3058"/>
                  </a:moveTo>
                  <a:cubicBezTo>
                    <a:pt x="13087" y="3058"/>
                    <a:pt x="13024" y="3138"/>
                    <a:pt x="13024" y="3236"/>
                  </a:cubicBezTo>
                  <a:cubicBezTo>
                    <a:pt x="13024" y="3334"/>
                    <a:pt x="13087" y="3412"/>
                    <a:pt x="13163" y="3412"/>
                  </a:cubicBezTo>
                  <a:cubicBezTo>
                    <a:pt x="13239" y="3412"/>
                    <a:pt x="13301" y="3334"/>
                    <a:pt x="13301" y="3236"/>
                  </a:cubicBezTo>
                  <a:cubicBezTo>
                    <a:pt x="13301" y="3138"/>
                    <a:pt x="13239" y="3058"/>
                    <a:pt x="13163" y="3058"/>
                  </a:cubicBezTo>
                  <a:close/>
                  <a:moveTo>
                    <a:pt x="13574" y="3058"/>
                  </a:moveTo>
                  <a:cubicBezTo>
                    <a:pt x="13498" y="3058"/>
                    <a:pt x="13435" y="3138"/>
                    <a:pt x="13435" y="3236"/>
                  </a:cubicBezTo>
                  <a:cubicBezTo>
                    <a:pt x="13435" y="3334"/>
                    <a:pt x="13498" y="3412"/>
                    <a:pt x="13574" y="3412"/>
                  </a:cubicBezTo>
                  <a:cubicBezTo>
                    <a:pt x="13650" y="3412"/>
                    <a:pt x="13711" y="3334"/>
                    <a:pt x="13711" y="3236"/>
                  </a:cubicBezTo>
                  <a:cubicBezTo>
                    <a:pt x="13711" y="3138"/>
                    <a:pt x="13650" y="3058"/>
                    <a:pt x="13574" y="3058"/>
                  </a:cubicBezTo>
                  <a:close/>
                  <a:moveTo>
                    <a:pt x="13944" y="3058"/>
                  </a:moveTo>
                  <a:cubicBezTo>
                    <a:pt x="13868" y="3058"/>
                    <a:pt x="13805" y="3138"/>
                    <a:pt x="13805" y="3236"/>
                  </a:cubicBezTo>
                  <a:cubicBezTo>
                    <a:pt x="13805" y="3334"/>
                    <a:pt x="13868" y="3412"/>
                    <a:pt x="13944" y="3412"/>
                  </a:cubicBezTo>
                  <a:cubicBezTo>
                    <a:pt x="14020" y="3412"/>
                    <a:pt x="14081" y="3334"/>
                    <a:pt x="14081" y="3236"/>
                  </a:cubicBezTo>
                  <a:cubicBezTo>
                    <a:pt x="14081" y="3138"/>
                    <a:pt x="14020" y="3058"/>
                    <a:pt x="13944" y="3058"/>
                  </a:cubicBezTo>
                  <a:close/>
                  <a:moveTo>
                    <a:pt x="14355" y="3058"/>
                  </a:moveTo>
                  <a:cubicBezTo>
                    <a:pt x="14278" y="3058"/>
                    <a:pt x="14216" y="3138"/>
                    <a:pt x="14216" y="3236"/>
                  </a:cubicBezTo>
                  <a:cubicBezTo>
                    <a:pt x="14216" y="3334"/>
                    <a:pt x="14278" y="3412"/>
                    <a:pt x="14355" y="3412"/>
                  </a:cubicBezTo>
                  <a:cubicBezTo>
                    <a:pt x="14431" y="3412"/>
                    <a:pt x="14492" y="3334"/>
                    <a:pt x="14492" y="3236"/>
                  </a:cubicBezTo>
                  <a:cubicBezTo>
                    <a:pt x="14492" y="3138"/>
                    <a:pt x="14431" y="3058"/>
                    <a:pt x="14355" y="3058"/>
                  </a:cubicBezTo>
                  <a:close/>
                  <a:moveTo>
                    <a:pt x="14765" y="3058"/>
                  </a:moveTo>
                  <a:cubicBezTo>
                    <a:pt x="14689" y="3058"/>
                    <a:pt x="14627" y="3138"/>
                    <a:pt x="14627" y="3236"/>
                  </a:cubicBezTo>
                  <a:cubicBezTo>
                    <a:pt x="14627" y="3334"/>
                    <a:pt x="14689" y="3412"/>
                    <a:pt x="14765" y="3412"/>
                  </a:cubicBezTo>
                  <a:cubicBezTo>
                    <a:pt x="14842" y="3412"/>
                    <a:pt x="14903" y="3334"/>
                    <a:pt x="14903" y="3236"/>
                  </a:cubicBezTo>
                  <a:cubicBezTo>
                    <a:pt x="14903" y="3138"/>
                    <a:pt x="14842" y="3058"/>
                    <a:pt x="14765" y="3058"/>
                  </a:cubicBezTo>
                  <a:close/>
                  <a:moveTo>
                    <a:pt x="15176" y="3058"/>
                  </a:moveTo>
                  <a:cubicBezTo>
                    <a:pt x="15100" y="3058"/>
                    <a:pt x="15038" y="3138"/>
                    <a:pt x="15038" y="3236"/>
                  </a:cubicBezTo>
                  <a:cubicBezTo>
                    <a:pt x="15038" y="3334"/>
                    <a:pt x="15100" y="3412"/>
                    <a:pt x="15176" y="3412"/>
                  </a:cubicBezTo>
                  <a:cubicBezTo>
                    <a:pt x="15253" y="3412"/>
                    <a:pt x="15314" y="3334"/>
                    <a:pt x="15314" y="3236"/>
                  </a:cubicBezTo>
                  <a:cubicBezTo>
                    <a:pt x="15314" y="3138"/>
                    <a:pt x="15253" y="3058"/>
                    <a:pt x="15176" y="3058"/>
                  </a:cubicBezTo>
                  <a:close/>
                  <a:moveTo>
                    <a:pt x="15546" y="3058"/>
                  </a:moveTo>
                  <a:cubicBezTo>
                    <a:pt x="15470" y="3058"/>
                    <a:pt x="15407" y="3138"/>
                    <a:pt x="15407" y="3236"/>
                  </a:cubicBezTo>
                  <a:cubicBezTo>
                    <a:pt x="15407" y="3334"/>
                    <a:pt x="15470" y="3412"/>
                    <a:pt x="15546" y="3412"/>
                  </a:cubicBezTo>
                  <a:cubicBezTo>
                    <a:pt x="15623" y="3412"/>
                    <a:pt x="15684" y="3334"/>
                    <a:pt x="15684" y="3236"/>
                  </a:cubicBezTo>
                  <a:cubicBezTo>
                    <a:pt x="15684" y="3138"/>
                    <a:pt x="15623" y="3058"/>
                    <a:pt x="15546" y="3058"/>
                  </a:cubicBezTo>
                  <a:close/>
                  <a:moveTo>
                    <a:pt x="15957" y="3058"/>
                  </a:moveTo>
                  <a:cubicBezTo>
                    <a:pt x="15881" y="3058"/>
                    <a:pt x="15818" y="3138"/>
                    <a:pt x="15818" y="3236"/>
                  </a:cubicBezTo>
                  <a:cubicBezTo>
                    <a:pt x="15818" y="3334"/>
                    <a:pt x="15881" y="3412"/>
                    <a:pt x="15957" y="3412"/>
                  </a:cubicBezTo>
                  <a:cubicBezTo>
                    <a:pt x="16033" y="3412"/>
                    <a:pt x="16094" y="3334"/>
                    <a:pt x="16094" y="3236"/>
                  </a:cubicBezTo>
                  <a:cubicBezTo>
                    <a:pt x="16094" y="3138"/>
                    <a:pt x="16033" y="3058"/>
                    <a:pt x="15957" y="3058"/>
                  </a:cubicBezTo>
                  <a:close/>
                  <a:moveTo>
                    <a:pt x="16327" y="3058"/>
                  </a:moveTo>
                  <a:cubicBezTo>
                    <a:pt x="16251" y="3058"/>
                    <a:pt x="16188" y="3138"/>
                    <a:pt x="16188" y="3236"/>
                  </a:cubicBezTo>
                  <a:cubicBezTo>
                    <a:pt x="16188" y="3334"/>
                    <a:pt x="16251" y="3412"/>
                    <a:pt x="16327" y="3412"/>
                  </a:cubicBezTo>
                  <a:cubicBezTo>
                    <a:pt x="16403" y="3412"/>
                    <a:pt x="16464" y="3334"/>
                    <a:pt x="16464" y="3236"/>
                  </a:cubicBezTo>
                  <a:cubicBezTo>
                    <a:pt x="16464" y="3138"/>
                    <a:pt x="16403" y="3058"/>
                    <a:pt x="16327" y="3058"/>
                  </a:cubicBezTo>
                  <a:close/>
                  <a:moveTo>
                    <a:pt x="16738" y="3058"/>
                  </a:moveTo>
                  <a:cubicBezTo>
                    <a:pt x="16661" y="3058"/>
                    <a:pt x="16599" y="3138"/>
                    <a:pt x="16599" y="3236"/>
                  </a:cubicBezTo>
                  <a:cubicBezTo>
                    <a:pt x="16599" y="3334"/>
                    <a:pt x="16661" y="3412"/>
                    <a:pt x="16738" y="3412"/>
                  </a:cubicBezTo>
                  <a:cubicBezTo>
                    <a:pt x="16814" y="3412"/>
                    <a:pt x="16875" y="3334"/>
                    <a:pt x="16875" y="3236"/>
                  </a:cubicBezTo>
                  <a:cubicBezTo>
                    <a:pt x="16875" y="3138"/>
                    <a:pt x="16814" y="3058"/>
                    <a:pt x="16738" y="3058"/>
                  </a:cubicBezTo>
                  <a:close/>
                  <a:moveTo>
                    <a:pt x="17149" y="3058"/>
                  </a:moveTo>
                  <a:cubicBezTo>
                    <a:pt x="17072" y="3058"/>
                    <a:pt x="17010" y="3138"/>
                    <a:pt x="17010" y="3236"/>
                  </a:cubicBezTo>
                  <a:cubicBezTo>
                    <a:pt x="17010" y="3334"/>
                    <a:pt x="17072" y="3412"/>
                    <a:pt x="17149" y="3412"/>
                  </a:cubicBezTo>
                  <a:cubicBezTo>
                    <a:pt x="17225" y="3412"/>
                    <a:pt x="17286" y="3334"/>
                    <a:pt x="17286" y="3236"/>
                  </a:cubicBezTo>
                  <a:cubicBezTo>
                    <a:pt x="17286" y="3138"/>
                    <a:pt x="17225" y="3058"/>
                    <a:pt x="17149" y="3058"/>
                  </a:cubicBezTo>
                  <a:close/>
                  <a:moveTo>
                    <a:pt x="17518" y="3058"/>
                  </a:moveTo>
                  <a:cubicBezTo>
                    <a:pt x="17442" y="3058"/>
                    <a:pt x="17380" y="3138"/>
                    <a:pt x="17380" y="3236"/>
                  </a:cubicBezTo>
                  <a:cubicBezTo>
                    <a:pt x="17380" y="3334"/>
                    <a:pt x="17442" y="3412"/>
                    <a:pt x="17518" y="3412"/>
                  </a:cubicBezTo>
                  <a:cubicBezTo>
                    <a:pt x="17594" y="3412"/>
                    <a:pt x="17656" y="3334"/>
                    <a:pt x="17656" y="3236"/>
                  </a:cubicBezTo>
                  <a:cubicBezTo>
                    <a:pt x="17656" y="3138"/>
                    <a:pt x="17594" y="3058"/>
                    <a:pt x="17518" y="3058"/>
                  </a:cubicBezTo>
                  <a:close/>
                  <a:moveTo>
                    <a:pt x="17929" y="3058"/>
                  </a:moveTo>
                  <a:cubicBezTo>
                    <a:pt x="17853" y="3058"/>
                    <a:pt x="17791" y="3138"/>
                    <a:pt x="17791" y="3236"/>
                  </a:cubicBezTo>
                  <a:cubicBezTo>
                    <a:pt x="17791" y="3334"/>
                    <a:pt x="17853" y="3412"/>
                    <a:pt x="17929" y="3412"/>
                  </a:cubicBezTo>
                  <a:cubicBezTo>
                    <a:pt x="18006" y="3412"/>
                    <a:pt x="18067" y="3334"/>
                    <a:pt x="18067" y="3236"/>
                  </a:cubicBezTo>
                  <a:cubicBezTo>
                    <a:pt x="18067" y="3138"/>
                    <a:pt x="18006" y="3058"/>
                    <a:pt x="17929" y="3058"/>
                  </a:cubicBezTo>
                  <a:close/>
                  <a:moveTo>
                    <a:pt x="18299" y="3058"/>
                  </a:moveTo>
                  <a:cubicBezTo>
                    <a:pt x="18223" y="3058"/>
                    <a:pt x="18160" y="3138"/>
                    <a:pt x="18160" y="3236"/>
                  </a:cubicBezTo>
                  <a:cubicBezTo>
                    <a:pt x="18160" y="3334"/>
                    <a:pt x="18223" y="3412"/>
                    <a:pt x="18299" y="3412"/>
                  </a:cubicBezTo>
                  <a:cubicBezTo>
                    <a:pt x="18375" y="3412"/>
                    <a:pt x="18436" y="3334"/>
                    <a:pt x="18436" y="3236"/>
                  </a:cubicBezTo>
                  <a:cubicBezTo>
                    <a:pt x="18436" y="3138"/>
                    <a:pt x="18375" y="3058"/>
                    <a:pt x="18299" y="3058"/>
                  </a:cubicBezTo>
                  <a:close/>
                  <a:moveTo>
                    <a:pt x="18710" y="3058"/>
                  </a:moveTo>
                  <a:cubicBezTo>
                    <a:pt x="18633" y="3058"/>
                    <a:pt x="18571" y="3138"/>
                    <a:pt x="18571" y="3236"/>
                  </a:cubicBezTo>
                  <a:cubicBezTo>
                    <a:pt x="18571" y="3334"/>
                    <a:pt x="18633" y="3412"/>
                    <a:pt x="18710" y="3412"/>
                  </a:cubicBezTo>
                  <a:cubicBezTo>
                    <a:pt x="18786" y="3412"/>
                    <a:pt x="18847" y="3334"/>
                    <a:pt x="18847" y="3236"/>
                  </a:cubicBezTo>
                  <a:cubicBezTo>
                    <a:pt x="18847" y="3138"/>
                    <a:pt x="18786" y="3058"/>
                    <a:pt x="18710" y="3058"/>
                  </a:cubicBezTo>
                  <a:close/>
                  <a:moveTo>
                    <a:pt x="19121" y="3058"/>
                  </a:moveTo>
                  <a:cubicBezTo>
                    <a:pt x="19044" y="3058"/>
                    <a:pt x="18982" y="3138"/>
                    <a:pt x="18982" y="3236"/>
                  </a:cubicBezTo>
                  <a:cubicBezTo>
                    <a:pt x="18982" y="3334"/>
                    <a:pt x="19044" y="3412"/>
                    <a:pt x="19121" y="3412"/>
                  </a:cubicBezTo>
                  <a:cubicBezTo>
                    <a:pt x="19197" y="3412"/>
                    <a:pt x="19258" y="3334"/>
                    <a:pt x="19258" y="3236"/>
                  </a:cubicBezTo>
                  <a:cubicBezTo>
                    <a:pt x="19258" y="3138"/>
                    <a:pt x="19197" y="3058"/>
                    <a:pt x="19121" y="3058"/>
                  </a:cubicBezTo>
                  <a:close/>
                  <a:moveTo>
                    <a:pt x="19490" y="3058"/>
                  </a:moveTo>
                  <a:cubicBezTo>
                    <a:pt x="19414" y="3058"/>
                    <a:pt x="19352" y="3138"/>
                    <a:pt x="19352" y="3236"/>
                  </a:cubicBezTo>
                  <a:cubicBezTo>
                    <a:pt x="19352" y="3334"/>
                    <a:pt x="19414" y="3412"/>
                    <a:pt x="19490" y="3412"/>
                  </a:cubicBezTo>
                  <a:cubicBezTo>
                    <a:pt x="19567" y="3412"/>
                    <a:pt x="19628" y="3334"/>
                    <a:pt x="19628" y="3236"/>
                  </a:cubicBezTo>
                  <a:cubicBezTo>
                    <a:pt x="19628" y="3138"/>
                    <a:pt x="19567" y="3058"/>
                    <a:pt x="19490" y="3058"/>
                  </a:cubicBezTo>
                  <a:close/>
                  <a:moveTo>
                    <a:pt x="19901" y="3058"/>
                  </a:moveTo>
                  <a:cubicBezTo>
                    <a:pt x="19825" y="3058"/>
                    <a:pt x="19763" y="3138"/>
                    <a:pt x="19763" y="3236"/>
                  </a:cubicBezTo>
                  <a:cubicBezTo>
                    <a:pt x="19763" y="3334"/>
                    <a:pt x="19825" y="3412"/>
                    <a:pt x="19901" y="3412"/>
                  </a:cubicBezTo>
                  <a:cubicBezTo>
                    <a:pt x="19978" y="3412"/>
                    <a:pt x="20039" y="3334"/>
                    <a:pt x="20039" y="3236"/>
                  </a:cubicBezTo>
                  <a:cubicBezTo>
                    <a:pt x="20039" y="3138"/>
                    <a:pt x="19978" y="3058"/>
                    <a:pt x="19901" y="3058"/>
                  </a:cubicBezTo>
                  <a:close/>
                  <a:moveTo>
                    <a:pt x="20270" y="3058"/>
                  </a:moveTo>
                  <a:cubicBezTo>
                    <a:pt x="20194" y="3058"/>
                    <a:pt x="20132" y="3138"/>
                    <a:pt x="20132" y="3236"/>
                  </a:cubicBezTo>
                  <a:cubicBezTo>
                    <a:pt x="20132" y="3334"/>
                    <a:pt x="20194" y="3412"/>
                    <a:pt x="20270" y="3412"/>
                  </a:cubicBezTo>
                  <a:cubicBezTo>
                    <a:pt x="20346" y="3412"/>
                    <a:pt x="20408" y="3334"/>
                    <a:pt x="20408" y="3236"/>
                  </a:cubicBezTo>
                  <a:cubicBezTo>
                    <a:pt x="20408" y="3138"/>
                    <a:pt x="20346" y="3058"/>
                    <a:pt x="20270" y="3058"/>
                  </a:cubicBezTo>
                  <a:close/>
                  <a:moveTo>
                    <a:pt x="1741" y="3532"/>
                  </a:moveTo>
                  <a:cubicBezTo>
                    <a:pt x="1665" y="3532"/>
                    <a:pt x="1602" y="3612"/>
                    <a:pt x="1602" y="3710"/>
                  </a:cubicBezTo>
                  <a:cubicBezTo>
                    <a:pt x="1602" y="3808"/>
                    <a:pt x="1665" y="3888"/>
                    <a:pt x="1741" y="3888"/>
                  </a:cubicBezTo>
                  <a:cubicBezTo>
                    <a:pt x="1817" y="3888"/>
                    <a:pt x="1878" y="3808"/>
                    <a:pt x="1878" y="3710"/>
                  </a:cubicBezTo>
                  <a:cubicBezTo>
                    <a:pt x="1878" y="3612"/>
                    <a:pt x="1817" y="3532"/>
                    <a:pt x="1741" y="3532"/>
                  </a:cubicBezTo>
                  <a:close/>
                  <a:moveTo>
                    <a:pt x="2111" y="3532"/>
                  </a:moveTo>
                  <a:cubicBezTo>
                    <a:pt x="2035" y="3532"/>
                    <a:pt x="1972" y="3612"/>
                    <a:pt x="1972" y="3710"/>
                  </a:cubicBezTo>
                  <a:cubicBezTo>
                    <a:pt x="1972" y="3808"/>
                    <a:pt x="2035" y="3888"/>
                    <a:pt x="2111" y="3888"/>
                  </a:cubicBezTo>
                  <a:cubicBezTo>
                    <a:pt x="2187" y="3888"/>
                    <a:pt x="2248" y="3808"/>
                    <a:pt x="2248" y="3710"/>
                  </a:cubicBezTo>
                  <a:cubicBezTo>
                    <a:pt x="2248" y="3612"/>
                    <a:pt x="2187" y="3532"/>
                    <a:pt x="2111" y="3532"/>
                  </a:cubicBezTo>
                  <a:close/>
                  <a:moveTo>
                    <a:pt x="2522" y="3532"/>
                  </a:moveTo>
                  <a:cubicBezTo>
                    <a:pt x="2445" y="3532"/>
                    <a:pt x="2383" y="3612"/>
                    <a:pt x="2383" y="3710"/>
                  </a:cubicBezTo>
                  <a:cubicBezTo>
                    <a:pt x="2383" y="3808"/>
                    <a:pt x="2445" y="3888"/>
                    <a:pt x="2522" y="3888"/>
                  </a:cubicBezTo>
                  <a:cubicBezTo>
                    <a:pt x="2598" y="3888"/>
                    <a:pt x="2659" y="3808"/>
                    <a:pt x="2659" y="3710"/>
                  </a:cubicBezTo>
                  <a:cubicBezTo>
                    <a:pt x="2659" y="3612"/>
                    <a:pt x="2598" y="3532"/>
                    <a:pt x="2522" y="3532"/>
                  </a:cubicBezTo>
                  <a:close/>
                  <a:moveTo>
                    <a:pt x="2891" y="3532"/>
                  </a:moveTo>
                  <a:cubicBezTo>
                    <a:pt x="2815" y="3532"/>
                    <a:pt x="2753" y="3612"/>
                    <a:pt x="2753" y="3710"/>
                  </a:cubicBezTo>
                  <a:cubicBezTo>
                    <a:pt x="2753" y="3808"/>
                    <a:pt x="2815" y="3888"/>
                    <a:pt x="2891" y="3888"/>
                  </a:cubicBezTo>
                  <a:cubicBezTo>
                    <a:pt x="2968" y="3888"/>
                    <a:pt x="3029" y="3808"/>
                    <a:pt x="3029" y="3710"/>
                  </a:cubicBezTo>
                  <a:cubicBezTo>
                    <a:pt x="3029" y="3612"/>
                    <a:pt x="2968" y="3532"/>
                    <a:pt x="2891" y="3532"/>
                  </a:cubicBezTo>
                  <a:close/>
                  <a:moveTo>
                    <a:pt x="3302" y="3532"/>
                  </a:moveTo>
                  <a:cubicBezTo>
                    <a:pt x="3226" y="3532"/>
                    <a:pt x="3164" y="3612"/>
                    <a:pt x="3164" y="3710"/>
                  </a:cubicBezTo>
                  <a:cubicBezTo>
                    <a:pt x="3164" y="3808"/>
                    <a:pt x="3226" y="3888"/>
                    <a:pt x="3302" y="3888"/>
                  </a:cubicBezTo>
                  <a:cubicBezTo>
                    <a:pt x="3379" y="3888"/>
                    <a:pt x="3440" y="3808"/>
                    <a:pt x="3440" y="3710"/>
                  </a:cubicBezTo>
                  <a:cubicBezTo>
                    <a:pt x="3440" y="3612"/>
                    <a:pt x="3379" y="3532"/>
                    <a:pt x="3302" y="3532"/>
                  </a:cubicBezTo>
                  <a:close/>
                  <a:moveTo>
                    <a:pt x="3713" y="3532"/>
                  </a:moveTo>
                  <a:cubicBezTo>
                    <a:pt x="3637" y="3532"/>
                    <a:pt x="3575" y="3612"/>
                    <a:pt x="3575" y="3710"/>
                  </a:cubicBezTo>
                  <a:cubicBezTo>
                    <a:pt x="3575" y="3808"/>
                    <a:pt x="3637" y="3888"/>
                    <a:pt x="3713" y="3888"/>
                  </a:cubicBezTo>
                  <a:cubicBezTo>
                    <a:pt x="3790" y="3888"/>
                    <a:pt x="3851" y="3808"/>
                    <a:pt x="3851" y="3710"/>
                  </a:cubicBezTo>
                  <a:cubicBezTo>
                    <a:pt x="3851" y="3612"/>
                    <a:pt x="3790" y="3532"/>
                    <a:pt x="3713" y="3532"/>
                  </a:cubicBezTo>
                  <a:close/>
                  <a:moveTo>
                    <a:pt x="4083" y="3532"/>
                  </a:moveTo>
                  <a:cubicBezTo>
                    <a:pt x="4007" y="3532"/>
                    <a:pt x="3944" y="3612"/>
                    <a:pt x="3944" y="3710"/>
                  </a:cubicBezTo>
                  <a:cubicBezTo>
                    <a:pt x="3944" y="3808"/>
                    <a:pt x="4007" y="3888"/>
                    <a:pt x="4083" y="3888"/>
                  </a:cubicBezTo>
                  <a:cubicBezTo>
                    <a:pt x="4159" y="3888"/>
                    <a:pt x="4220" y="3808"/>
                    <a:pt x="4220" y="3710"/>
                  </a:cubicBezTo>
                  <a:cubicBezTo>
                    <a:pt x="4220" y="3612"/>
                    <a:pt x="4159" y="3532"/>
                    <a:pt x="4083" y="3532"/>
                  </a:cubicBezTo>
                  <a:close/>
                  <a:moveTo>
                    <a:pt x="4494" y="3532"/>
                  </a:moveTo>
                  <a:cubicBezTo>
                    <a:pt x="4418" y="3532"/>
                    <a:pt x="4355" y="3612"/>
                    <a:pt x="4355" y="3710"/>
                  </a:cubicBezTo>
                  <a:cubicBezTo>
                    <a:pt x="4355" y="3808"/>
                    <a:pt x="4418" y="3888"/>
                    <a:pt x="4494" y="3888"/>
                  </a:cubicBezTo>
                  <a:cubicBezTo>
                    <a:pt x="4570" y="3888"/>
                    <a:pt x="4631" y="3808"/>
                    <a:pt x="4631" y="3710"/>
                  </a:cubicBezTo>
                  <a:cubicBezTo>
                    <a:pt x="4631" y="3612"/>
                    <a:pt x="4570" y="3532"/>
                    <a:pt x="4494" y="3532"/>
                  </a:cubicBezTo>
                  <a:close/>
                  <a:moveTo>
                    <a:pt x="4864" y="3532"/>
                  </a:moveTo>
                  <a:cubicBezTo>
                    <a:pt x="4787" y="3532"/>
                    <a:pt x="4725" y="3612"/>
                    <a:pt x="4725" y="3710"/>
                  </a:cubicBezTo>
                  <a:cubicBezTo>
                    <a:pt x="4725" y="3808"/>
                    <a:pt x="4787" y="3888"/>
                    <a:pt x="4864" y="3888"/>
                  </a:cubicBezTo>
                  <a:cubicBezTo>
                    <a:pt x="4940" y="3888"/>
                    <a:pt x="5001" y="3808"/>
                    <a:pt x="5001" y="3710"/>
                  </a:cubicBezTo>
                  <a:cubicBezTo>
                    <a:pt x="5001" y="3612"/>
                    <a:pt x="4940" y="3532"/>
                    <a:pt x="4864" y="3532"/>
                  </a:cubicBezTo>
                  <a:close/>
                  <a:moveTo>
                    <a:pt x="5274" y="3532"/>
                  </a:moveTo>
                  <a:cubicBezTo>
                    <a:pt x="5198" y="3532"/>
                    <a:pt x="5136" y="3612"/>
                    <a:pt x="5136" y="3710"/>
                  </a:cubicBezTo>
                  <a:cubicBezTo>
                    <a:pt x="5136" y="3808"/>
                    <a:pt x="5198" y="3888"/>
                    <a:pt x="5274" y="3888"/>
                  </a:cubicBezTo>
                  <a:cubicBezTo>
                    <a:pt x="5351" y="3888"/>
                    <a:pt x="5412" y="3808"/>
                    <a:pt x="5412" y="3710"/>
                  </a:cubicBezTo>
                  <a:cubicBezTo>
                    <a:pt x="5412" y="3612"/>
                    <a:pt x="5351" y="3532"/>
                    <a:pt x="5274" y="3532"/>
                  </a:cubicBezTo>
                  <a:close/>
                  <a:moveTo>
                    <a:pt x="5685" y="3585"/>
                  </a:moveTo>
                  <a:cubicBezTo>
                    <a:pt x="5609" y="3585"/>
                    <a:pt x="5547" y="3665"/>
                    <a:pt x="5547" y="3763"/>
                  </a:cubicBezTo>
                  <a:cubicBezTo>
                    <a:pt x="5547" y="3861"/>
                    <a:pt x="5609" y="3939"/>
                    <a:pt x="5685" y="3939"/>
                  </a:cubicBezTo>
                  <a:cubicBezTo>
                    <a:pt x="5762" y="3939"/>
                    <a:pt x="5823" y="3861"/>
                    <a:pt x="5823" y="3763"/>
                  </a:cubicBezTo>
                  <a:cubicBezTo>
                    <a:pt x="5823" y="3665"/>
                    <a:pt x="5762" y="3585"/>
                    <a:pt x="5685" y="3585"/>
                  </a:cubicBezTo>
                  <a:close/>
                  <a:moveTo>
                    <a:pt x="6055" y="3585"/>
                  </a:moveTo>
                  <a:cubicBezTo>
                    <a:pt x="5979" y="3585"/>
                    <a:pt x="5916" y="3665"/>
                    <a:pt x="5916" y="3763"/>
                  </a:cubicBezTo>
                  <a:cubicBezTo>
                    <a:pt x="5916" y="3861"/>
                    <a:pt x="5979" y="3939"/>
                    <a:pt x="6055" y="3939"/>
                  </a:cubicBezTo>
                  <a:cubicBezTo>
                    <a:pt x="6132" y="3939"/>
                    <a:pt x="6193" y="3861"/>
                    <a:pt x="6193" y="3763"/>
                  </a:cubicBezTo>
                  <a:cubicBezTo>
                    <a:pt x="6193" y="3665"/>
                    <a:pt x="6132" y="3585"/>
                    <a:pt x="6055" y="3585"/>
                  </a:cubicBezTo>
                  <a:close/>
                  <a:moveTo>
                    <a:pt x="6425" y="3585"/>
                  </a:moveTo>
                  <a:cubicBezTo>
                    <a:pt x="6349" y="3585"/>
                    <a:pt x="6286" y="3665"/>
                    <a:pt x="6286" y="3763"/>
                  </a:cubicBezTo>
                  <a:cubicBezTo>
                    <a:pt x="6286" y="3861"/>
                    <a:pt x="6349" y="3939"/>
                    <a:pt x="6425" y="3939"/>
                  </a:cubicBezTo>
                  <a:cubicBezTo>
                    <a:pt x="6501" y="3939"/>
                    <a:pt x="6562" y="3861"/>
                    <a:pt x="6562" y="3763"/>
                  </a:cubicBezTo>
                  <a:cubicBezTo>
                    <a:pt x="6562" y="3665"/>
                    <a:pt x="6501" y="3585"/>
                    <a:pt x="6425" y="3585"/>
                  </a:cubicBezTo>
                  <a:close/>
                  <a:moveTo>
                    <a:pt x="6836" y="3585"/>
                  </a:moveTo>
                  <a:cubicBezTo>
                    <a:pt x="6759" y="3585"/>
                    <a:pt x="6697" y="3665"/>
                    <a:pt x="6697" y="3763"/>
                  </a:cubicBezTo>
                  <a:cubicBezTo>
                    <a:pt x="6697" y="3861"/>
                    <a:pt x="6759" y="3939"/>
                    <a:pt x="6836" y="3939"/>
                  </a:cubicBezTo>
                  <a:cubicBezTo>
                    <a:pt x="6912" y="3939"/>
                    <a:pt x="6973" y="3861"/>
                    <a:pt x="6973" y="3763"/>
                  </a:cubicBezTo>
                  <a:cubicBezTo>
                    <a:pt x="6973" y="3665"/>
                    <a:pt x="6912" y="3585"/>
                    <a:pt x="6836" y="3585"/>
                  </a:cubicBezTo>
                  <a:close/>
                  <a:moveTo>
                    <a:pt x="7247" y="3585"/>
                  </a:moveTo>
                  <a:cubicBezTo>
                    <a:pt x="7170" y="3585"/>
                    <a:pt x="7108" y="3665"/>
                    <a:pt x="7108" y="3763"/>
                  </a:cubicBezTo>
                  <a:cubicBezTo>
                    <a:pt x="7108" y="3861"/>
                    <a:pt x="7170" y="3939"/>
                    <a:pt x="7247" y="3939"/>
                  </a:cubicBezTo>
                  <a:cubicBezTo>
                    <a:pt x="7323" y="3939"/>
                    <a:pt x="7384" y="3861"/>
                    <a:pt x="7384" y="3763"/>
                  </a:cubicBezTo>
                  <a:cubicBezTo>
                    <a:pt x="7384" y="3665"/>
                    <a:pt x="7323" y="3585"/>
                    <a:pt x="7247" y="3585"/>
                  </a:cubicBezTo>
                  <a:close/>
                  <a:moveTo>
                    <a:pt x="7616" y="3585"/>
                  </a:moveTo>
                  <a:cubicBezTo>
                    <a:pt x="7540" y="3585"/>
                    <a:pt x="7478" y="3665"/>
                    <a:pt x="7478" y="3763"/>
                  </a:cubicBezTo>
                  <a:cubicBezTo>
                    <a:pt x="7478" y="3861"/>
                    <a:pt x="7540" y="3939"/>
                    <a:pt x="7616" y="3939"/>
                  </a:cubicBezTo>
                  <a:cubicBezTo>
                    <a:pt x="7693" y="3939"/>
                    <a:pt x="7754" y="3861"/>
                    <a:pt x="7754" y="3763"/>
                  </a:cubicBezTo>
                  <a:cubicBezTo>
                    <a:pt x="7754" y="3665"/>
                    <a:pt x="7693" y="3585"/>
                    <a:pt x="7616" y="3585"/>
                  </a:cubicBezTo>
                  <a:close/>
                  <a:moveTo>
                    <a:pt x="8027" y="3585"/>
                  </a:moveTo>
                  <a:cubicBezTo>
                    <a:pt x="7951" y="3585"/>
                    <a:pt x="7889" y="3665"/>
                    <a:pt x="7889" y="3763"/>
                  </a:cubicBezTo>
                  <a:cubicBezTo>
                    <a:pt x="7889" y="3861"/>
                    <a:pt x="7951" y="3939"/>
                    <a:pt x="8027" y="3939"/>
                  </a:cubicBezTo>
                  <a:cubicBezTo>
                    <a:pt x="8104" y="3939"/>
                    <a:pt x="8165" y="3861"/>
                    <a:pt x="8165" y="3763"/>
                  </a:cubicBezTo>
                  <a:cubicBezTo>
                    <a:pt x="8165" y="3665"/>
                    <a:pt x="8104" y="3585"/>
                    <a:pt x="8027" y="3585"/>
                  </a:cubicBezTo>
                  <a:close/>
                  <a:moveTo>
                    <a:pt x="8438" y="3585"/>
                  </a:moveTo>
                  <a:cubicBezTo>
                    <a:pt x="8362" y="3585"/>
                    <a:pt x="8299" y="3665"/>
                    <a:pt x="8299" y="3763"/>
                  </a:cubicBezTo>
                  <a:cubicBezTo>
                    <a:pt x="8299" y="3861"/>
                    <a:pt x="8362" y="3939"/>
                    <a:pt x="8438" y="3939"/>
                  </a:cubicBezTo>
                  <a:cubicBezTo>
                    <a:pt x="8515" y="3939"/>
                    <a:pt x="8576" y="3861"/>
                    <a:pt x="8576" y="3763"/>
                  </a:cubicBezTo>
                  <a:cubicBezTo>
                    <a:pt x="8576" y="3665"/>
                    <a:pt x="8515" y="3585"/>
                    <a:pt x="8438" y="3585"/>
                  </a:cubicBezTo>
                  <a:close/>
                  <a:moveTo>
                    <a:pt x="8808" y="3585"/>
                  </a:moveTo>
                  <a:cubicBezTo>
                    <a:pt x="8732" y="3585"/>
                    <a:pt x="8669" y="3665"/>
                    <a:pt x="8669" y="3763"/>
                  </a:cubicBezTo>
                  <a:cubicBezTo>
                    <a:pt x="8669" y="3861"/>
                    <a:pt x="8732" y="3939"/>
                    <a:pt x="8808" y="3939"/>
                  </a:cubicBezTo>
                  <a:cubicBezTo>
                    <a:pt x="8884" y="3939"/>
                    <a:pt x="8945" y="3861"/>
                    <a:pt x="8945" y="3763"/>
                  </a:cubicBezTo>
                  <a:cubicBezTo>
                    <a:pt x="8945" y="3665"/>
                    <a:pt x="8884" y="3585"/>
                    <a:pt x="8808" y="3585"/>
                  </a:cubicBezTo>
                  <a:close/>
                  <a:moveTo>
                    <a:pt x="9219" y="3585"/>
                  </a:moveTo>
                  <a:cubicBezTo>
                    <a:pt x="9142" y="3585"/>
                    <a:pt x="9080" y="3665"/>
                    <a:pt x="9080" y="3763"/>
                  </a:cubicBezTo>
                  <a:cubicBezTo>
                    <a:pt x="9080" y="3861"/>
                    <a:pt x="9142" y="3939"/>
                    <a:pt x="9219" y="3939"/>
                  </a:cubicBezTo>
                  <a:cubicBezTo>
                    <a:pt x="9295" y="3939"/>
                    <a:pt x="9356" y="3861"/>
                    <a:pt x="9356" y="3763"/>
                  </a:cubicBezTo>
                  <a:cubicBezTo>
                    <a:pt x="9356" y="3665"/>
                    <a:pt x="9295" y="3585"/>
                    <a:pt x="9219" y="3585"/>
                  </a:cubicBezTo>
                  <a:close/>
                  <a:moveTo>
                    <a:pt x="9589" y="3585"/>
                  </a:moveTo>
                  <a:cubicBezTo>
                    <a:pt x="9512" y="3585"/>
                    <a:pt x="9450" y="3665"/>
                    <a:pt x="9450" y="3763"/>
                  </a:cubicBezTo>
                  <a:cubicBezTo>
                    <a:pt x="9450" y="3861"/>
                    <a:pt x="9512" y="3939"/>
                    <a:pt x="9589" y="3939"/>
                  </a:cubicBezTo>
                  <a:cubicBezTo>
                    <a:pt x="9665" y="3939"/>
                    <a:pt x="9726" y="3861"/>
                    <a:pt x="9726" y="3763"/>
                  </a:cubicBezTo>
                  <a:cubicBezTo>
                    <a:pt x="9726" y="3665"/>
                    <a:pt x="9665" y="3585"/>
                    <a:pt x="9589" y="3585"/>
                  </a:cubicBezTo>
                  <a:close/>
                  <a:moveTo>
                    <a:pt x="9999" y="3585"/>
                  </a:moveTo>
                  <a:cubicBezTo>
                    <a:pt x="9923" y="3585"/>
                    <a:pt x="9861" y="3665"/>
                    <a:pt x="9861" y="3763"/>
                  </a:cubicBezTo>
                  <a:cubicBezTo>
                    <a:pt x="9861" y="3861"/>
                    <a:pt x="9923" y="3939"/>
                    <a:pt x="9999" y="3939"/>
                  </a:cubicBezTo>
                  <a:cubicBezTo>
                    <a:pt x="10076" y="3939"/>
                    <a:pt x="10137" y="3861"/>
                    <a:pt x="10137" y="3763"/>
                  </a:cubicBezTo>
                  <a:cubicBezTo>
                    <a:pt x="10137" y="3665"/>
                    <a:pt x="10076" y="3585"/>
                    <a:pt x="9999" y="3585"/>
                  </a:cubicBezTo>
                  <a:close/>
                  <a:moveTo>
                    <a:pt x="10410" y="3585"/>
                  </a:moveTo>
                  <a:cubicBezTo>
                    <a:pt x="10334" y="3585"/>
                    <a:pt x="10272" y="3665"/>
                    <a:pt x="10272" y="3763"/>
                  </a:cubicBezTo>
                  <a:cubicBezTo>
                    <a:pt x="10272" y="3861"/>
                    <a:pt x="10334" y="3939"/>
                    <a:pt x="10410" y="3939"/>
                  </a:cubicBezTo>
                  <a:cubicBezTo>
                    <a:pt x="10487" y="3939"/>
                    <a:pt x="10548" y="3861"/>
                    <a:pt x="10548" y="3763"/>
                  </a:cubicBezTo>
                  <a:cubicBezTo>
                    <a:pt x="10548" y="3665"/>
                    <a:pt x="10487" y="3585"/>
                    <a:pt x="10410" y="3585"/>
                  </a:cubicBezTo>
                  <a:close/>
                  <a:moveTo>
                    <a:pt x="10780" y="3585"/>
                  </a:moveTo>
                  <a:cubicBezTo>
                    <a:pt x="10704" y="3585"/>
                    <a:pt x="10641" y="3665"/>
                    <a:pt x="10641" y="3763"/>
                  </a:cubicBezTo>
                  <a:cubicBezTo>
                    <a:pt x="10641" y="3861"/>
                    <a:pt x="10704" y="3939"/>
                    <a:pt x="10780" y="3939"/>
                  </a:cubicBezTo>
                  <a:cubicBezTo>
                    <a:pt x="10856" y="3939"/>
                    <a:pt x="10917" y="3861"/>
                    <a:pt x="10917" y="3763"/>
                  </a:cubicBezTo>
                  <a:cubicBezTo>
                    <a:pt x="10917" y="3665"/>
                    <a:pt x="10856" y="3585"/>
                    <a:pt x="10780" y="3585"/>
                  </a:cubicBezTo>
                  <a:close/>
                  <a:moveTo>
                    <a:pt x="11191" y="3585"/>
                  </a:moveTo>
                  <a:cubicBezTo>
                    <a:pt x="11115" y="3585"/>
                    <a:pt x="11052" y="3665"/>
                    <a:pt x="11052" y="3763"/>
                  </a:cubicBezTo>
                  <a:cubicBezTo>
                    <a:pt x="11052" y="3861"/>
                    <a:pt x="11115" y="3939"/>
                    <a:pt x="11191" y="3939"/>
                  </a:cubicBezTo>
                  <a:cubicBezTo>
                    <a:pt x="11267" y="3939"/>
                    <a:pt x="11328" y="3861"/>
                    <a:pt x="11328" y="3763"/>
                  </a:cubicBezTo>
                  <a:cubicBezTo>
                    <a:pt x="11328" y="3665"/>
                    <a:pt x="11267" y="3585"/>
                    <a:pt x="11191" y="3585"/>
                  </a:cubicBezTo>
                  <a:close/>
                  <a:moveTo>
                    <a:pt x="11602" y="3585"/>
                  </a:moveTo>
                  <a:cubicBezTo>
                    <a:pt x="11525" y="3585"/>
                    <a:pt x="11463" y="3665"/>
                    <a:pt x="11463" y="3763"/>
                  </a:cubicBezTo>
                  <a:cubicBezTo>
                    <a:pt x="11463" y="3861"/>
                    <a:pt x="11525" y="3939"/>
                    <a:pt x="11602" y="3939"/>
                  </a:cubicBezTo>
                  <a:cubicBezTo>
                    <a:pt x="11678" y="3939"/>
                    <a:pt x="11739" y="3861"/>
                    <a:pt x="11739" y="3763"/>
                  </a:cubicBezTo>
                  <a:cubicBezTo>
                    <a:pt x="11739" y="3665"/>
                    <a:pt x="11678" y="3585"/>
                    <a:pt x="11602" y="3585"/>
                  </a:cubicBezTo>
                  <a:close/>
                  <a:moveTo>
                    <a:pt x="11972" y="3585"/>
                  </a:moveTo>
                  <a:cubicBezTo>
                    <a:pt x="11895" y="3585"/>
                    <a:pt x="11833" y="3665"/>
                    <a:pt x="11833" y="3763"/>
                  </a:cubicBezTo>
                  <a:cubicBezTo>
                    <a:pt x="11833" y="3861"/>
                    <a:pt x="11895" y="3939"/>
                    <a:pt x="11972" y="3939"/>
                  </a:cubicBezTo>
                  <a:cubicBezTo>
                    <a:pt x="12048" y="3939"/>
                    <a:pt x="12109" y="3861"/>
                    <a:pt x="12109" y="3763"/>
                  </a:cubicBezTo>
                  <a:cubicBezTo>
                    <a:pt x="12109" y="3665"/>
                    <a:pt x="12048" y="3585"/>
                    <a:pt x="11972" y="3585"/>
                  </a:cubicBezTo>
                  <a:close/>
                  <a:moveTo>
                    <a:pt x="12382" y="3585"/>
                  </a:moveTo>
                  <a:cubicBezTo>
                    <a:pt x="12306" y="3585"/>
                    <a:pt x="12244" y="3665"/>
                    <a:pt x="12244" y="3763"/>
                  </a:cubicBezTo>
                  <a:cubicBezTo>
                    <a:pt x="12244" y="3861"/>
                    <a:pt x="12306" y="3939"/>
                    <a:pt x="12382" y="3939"/>
                  </a:cubicBezTo>
                  <a:cubicBezTo>
                    <a:pt x="12459" y="3939"/>
                    <a:pt x="12520" y="3861"/>
                    <a:pt x="12520" y="3763"/>
                  </a:cubicBezTo>
                  <a:cubicBezTo>
                    <a:pt x="12520" y="3665"/>
                    <a:pt x="12459" y="3585"/>
                    <a:pt x="12382" y="3585"/>
                  </a:cubicBezTo>
                  <a:close/>
                  <a:moveTo>
                    <a:pt x="12793" y="3585"/>
                  </a:moveTo>
                  <a:cubicBezTo>
                    <a:pt x="12717" y="3585"/>
                    <a:pt x="12655" y="3665"/>
                    <a:pt x="12655" y="3763"/>
                  </a:cubicBezTo>
                  <a:cubicBezTo>
                    <a:pt x="12655" y="3861"/>
                    <a:pt x="12717" y="3939"/>
                    <a:pt x="12793" y="3939"/>
                  </a:cubicBezTo>
                  <a:cubicBezTo>
                    <a:pt x="12869" y="3939"/>
                    <a:pt x="12931" y="3861"/>
                    <a:pt x="12931" y="3763"/>
                  </a:cubicBezTo>
                  <a:cubicBezTo>
                    <a:pt x="12931" y="3665"/>
                    <a:pt x="12869" y="3585"/>
                    <a:pt x="12793" y="3585"/>
                  </a:cubicBezTo>
                  <a:close/>
                  <a:moveTo>
                    <a:pt x="13163" y="3585"/>
                  </a:moveTo>
                  <a:cubicBezTo>
                    <a:pt x="13087" y="3585"/>
                    <a:pt x="13024" y="3665"/>
                    <a:pt x="13024" y="3763"/>
                  </a:cubicBezTo>
                  <a:cubicBezTo>
                    <a:pt x="13024" y="3861"/>
                    <a:pt x="13087" y="3939"/>
                    <a:pt x="13163" y="3939"/>
                  </a:cubicBezTo>
                  <a:cubicBezTo>
                    <a:pt x="13239" y="3939"/>
                    <a:pt x="13301" y="3861"/>
                    <a:pt x="13301" y="3763"/>
                  </a:cubicBezTo>
                  <a:cubicBezTo>
                    <a:pt x="13301" y="3665"/>
                    <a:pt x="13239" y="3585"/>
                    <a:pt x="13163" y="3585"/>
                  </a:cubicBezTo>
                  <a:close/>
                  <a:moveTo>
                    <a:pt x="13574" y="3585"/>
                  </a:moveTo>
                  <a:cubicBezTo>
                    <a:pt x="13498" y="3585"/>
                    <a:pt x="13435" y="3665"/>
                    <a:pt x="13435" y="3763"/>
                  </a:cubicBezTo>
                  <a:cubicBezTo>
                    <a:pt x="13435" y="3861"/>
                    <a:pt x="13498" y="3939"/>
                    <a:pt x="13574" y="3939"/>
                  </a:cubicBezTo>
                  <a:cubicBezTo>
                    <a:pt x="13650" y="3939"/>
                    <a:pt x="13711" y="3861"/>
                    <a:pt x="13711" y="3763"/>
                  </a:cubicBezTo>
                  <a:cubicBezTo>
                    <a:pt x="13711" y="3665"/>
                    <a:pt x="13650" y="3585"/>
                    <a:pt x="13574" y="3585"/>
                  </a:cubicBezTo>
                  <a:close/>
                  <a:moveTo>
                    <a:pt x="13944" y="3585"/>
                  </a:moveTo>
                  <a:cubicBezTo>
                    <a:pt x="13868" y="3585"/>
                    <a:pt x="13805" y="3665"/>
                    <a:pt x="13805" y="3763"/>
                  </a:cubicBezTo>
                  <a:cubicBezTo>
                    <a:pt x="13805" y="3861"/>
                    <a:pt x="13868" y="3939"/>
                    <a:pt x="13944" y="3939"/>
                  </a:cubicBezTo>
                  <a:cubicBezTo>
                    <a:pt x="14020" y="3939"/>
                    <a:pt x="14081" y="3861"/>
                    <a:pt x="14081" y="3763"/>
                  </a:cubicBezTo>
                  <a:cubicBezTo>
                    <a:pt x="14081" y="3665"/>
                    <a:pt x="14020" y="3585"/>
                    <a:pt x="13944" y="3585"/>
                  </a:cubicBezTo>
                  <a:close/>
                  <a:moveTo>
                    <a:pt x="14355" y="3585"/>
                  </a:moveTo>
                  <a:cubicBezTo>
                    <a:pt x="14278" y="3585"/>
                    <a:pt x="14216" y="3665"/>
                    <a:pt x="14216" y="3763"/>
                  </a:cubicBezTo>
                  <a:cubicBezTo>
                    <a:pt x="14216" y="3861"/>
                    <a:pt x="14278" y="3939"/>
                    <a:pt x="14355" y="3939"/>
                  </a:cubicBezTo>
                  <a:cubicBezTo>
                    <a:pt x="14431" y="3939"/>
                    <a:pt x="14492" y="3861"/>
                    <a:pt x="14492" y="3763"/>
                  </a:cubicBezTo>
                  <a:cubicBezTo>
                    <a:pt x="14492" y="3665"/>
                    <a:pt x="14431" y="3585"/>
                    <a:pt x="14355" y="3585"/>
                  </a:cubicBezTo>
                  <a:close/>
                  <a:moveTo>
                    <a:pt x="14765" y="3585"/>
                  </a:moveTo>
                  <a:cubicBezTo>
                    <a:pt x="14689" y="3585"/>
                    <a:pt x="14627" y="3665"/>
                    <a:pt x="14627" y="3763"/>
                  </a:cubicBezTo>
                  <a:cubicBezTo>
                    <a:pt x="14627" y="3861"/>
                    <a:pt x="14689" y="3939"/>
                    <a:pt x="14765" y="3939"/>
                  </a:cubicBezTo>
                  <a:cubicBezTo>
                    <a:pt x="14842" y="3939"/>
                    <a:pt x="14903" y="3861"/>
                    <a:pt x="14903" y="3763"/>
                  </a:cubicBezTo>
                  <a:cubicBezTo>
                    <a:pt x="14903" y="3665"/>
                    <a:pt x="14842" y="3585"/>
                    <a:pt x="14765" y="3585"/>
                  </a:cubicBezTo>
                  <a:close/>
                  <a:moveTo>
                    <a:pt x="15176" y="3585"/>
                  </a:moveTo>
                  <a:cubicBezTo>
                    <a:pt x="15100" y="3585"/>
                    <a:pt x="15038" y="3665"/>
                    <a:pt x="15038" y="3763"/>
                  </a:cubicBezTo>
                  <a:cubicBezTo>
                    <a:pt x="15038" y="3861"/>
                    <a:pt x="15100" y="3939"/>
                    <a:pt x="15176" y="3939"/>
                  </a:cubicBezTo>
                  <a:cubicBezTo>
                    <a:pt x="15253" y="3939"/>
                    <a:pt x="15314" y="3861"/>
                    <a:pt x="15314" y="3763"/>
                  </a:cubicBezTo>
                  <a:cubicBezTo>
                    <a:pt x="15314" y="3665"/>
                    <a:pt x="15253" y="3585"/>
                    <a:pt x="15176" y="3585"/>
                  </a:cubicBezTo>
                  <a:close/>
                  <a:moveTo>
                    <a:pt x="15546" y="3585"/>
                  </a:moveTo>
                  <a:cubicBezTo>
                    <a:pt x="15470" y="3585"/>
                    <a:pt x="15407" y="3665"/>
                    <a:pt x="15407" y="3763"/>
                  </a:cubicBezTo>
                  <a:cubicBezTo>
                    <a:pt x="15407" y="3861"/>
                    <a:pt x="15470" y="3939"/>
                    <a:pt x="15546" y="3939"/>
                  </a:cubicBezTo>
                  <a:cubicBezTo>
                    <a:pt x="15623" y="3939"/>
                    <a:pt x="15684" y="3861"/>
                    <a:pt x="15684" y="3763"/>
                  </a:cubicBezTo>
                  <a:cubicBezTo>
                    <a:pt x="15684" y="3665"/>
                    <a:pt x="15623" y="3585"/>
                    <a:pt x="15546" y="3585"/>
                  </a:cubicBezTo>
                  <a:close/>
                  <a:moveTo>
                    <a:pt x="15957" y="3585"/>
                  </a:moveTo>
                  <a:cubicBezTo>
                    <a:pt x="15881" y="3585"/>
                    <a:pt x="15818" y="3665"/>
                    <a:pt x="15818" y="3763"/>
                  </a:cubicBezTo>
                  <a:cubicBezTo>
                    <a:pt x="15818" y="3861"/>
                    <a:pt x="15881" y="3939"/>
                    <a:pt x="15957" y="3939"/>
                  </a:cubicBezTo>
                  <a:cubicBezTo>
                    <a:pt x="16033" y="3939"/>
                    <a:pt x="16094" y="3861"/>
                    <a:pt x="16094" y="3763"/>
                  </a:cubicBezTo>
                  <a:cubicBezTo>
                    <a:pt x="16094" y="3665"/>
                    <a:pt x="16033" y="3585"/>
                    <a:pt x="15957" y="3585"/>
                  </a:cubicBezTo>
                  <a:close/>
                  <a:moveTo>
                    <a:pt x="16327" y="3585"/>
                  </a:moveTo>
                  <a:cubicBezTo>
                    <a:pt x="16251" y="3585"/>
                    <a:pt x="16188" y="3665"/>
                    <a:pt x="16188" y="3763"/>
                  </a:cubicBezTo>
                  <a:cubicBezTo>
                    <a:pt x="16188" y="3861"/>
                    <a:pt x="16251" y="3939"/>
                    <a:pt x="16327" y="3939"/>
                  </a:cubicBezTo>
                  <a:cubicBezTo>
                    <a:pt x="16403" y="3939"/>
                    <a:pt x="16464" y="3861"/>
                    <a:pt x="16464" y="3763"/>
                  </a:cubicBezTo>
                  <a:cubicBezTo>
                    <a:pt x="16464" y="3665"/>
                    <a:pt x="16403" y="3585"/>
                    <a:pt x="16327" y="3585"/>
                  </a:cubicBezTo>
                  <a:close/>
                  <a:moveTo>
                    <a:pt x="16738" y="3585"/>
                  </a:moveTo>
                  <a:cubicBezTo>
                    <a:pt x="16661" y="3585"/>
                    <a:pt x="16599" y="3665"/>
                    <a:pt x="16599" y="3763"/>
                  </a:cubicBezTo>
                  <a:cubicBezTo>
                    <a:pt x="16599" y="3861"/>
                    <a:pt x="16661" y="3939"/>
                    <a:pt x="16738" y="3939"/>
                  </a:cubicBezTo>
                  <a:cubicBezTo>
                    <a:pt x="16814" y="3939"/>
                    <a:pt x="16875" y="3861"/>
                    <a:pt x="16875" y="3763"/>
                  </a:cubicBezTo>
                  <a:cubicBezTo>
                    <a:pt x="16875" y="3665"/>
                    <a:pt x="16814" y="3585"/>
                    <a:pt x="16738" y="3585"/>
                  </a:cubicBezTo>
                  <a:close/>
                  <a:moveTo>
                    <a:pt x="17149" y="3585"/>
                  </a:moveTo>
                  <a:cubicBezTo>
                    <a:pt x="17072" y="3585"/>
                    <a:pt x="17010" y="3665"/>
                    <a:pt x="17010" y="3763"/>
                  </a:cubicBezTo>
                  <a:cubicBezTo>
                    <a:pt x="17010" y="3861"/>
                    <a:pt x="17072" y="3939"/>
                    <a:pt x="17149" y="3939"/>
                  </a:cubicBezTo>
                  <a:cubicBezTo>
                    <a:pt x="17225" y="3939"/>
                    <a:pt x="17286" y="3861"/>
                    <a:pt x="17286" y="3763"/>
                  </a:cubicBezTo>
                  <a:cubicBezTo>
                    <a:pt x="17286" y="3665"/>
                    <a:pt x="17225" y="3585"/>
                    <a:pt x="17149" y="3585"/>
                  </a:cubicBezTo>
                  <a:close/>
                  <a:moveTo>
                    <a:pt x="17518" y="3585"/>
                  </a:moveTo>
                  <a:cubicBezTo>
                    <a:pt x="17442" y="3585"/>
                    <a:pt x="17380" y="3665"/>
                    <a:pt x="17380" y="3763"/>
                  </a:cubicBezTo>
                  <a:cubicBezTo>
                    <a:pt x="17380" y="3861"/>
                    <a:pt x="17442" y="3939"/>
                    <a:pt x="17518" y="3939"/>
                  </a:cubicBezTo>
                  <a:cubicBezTo>
                    <a:pt x="17594" y="3939"/>
                    <a:pt x="17656" y="3861"/>
                    <a:pt x="17656" y="3763"/>
                  </a:cubicBezTo>
                  <a:cubicBezTo>
                    <a:pt x="17656" y="3665"/>
                    <a:pt x="17594" y="3585"/>
                    <a:pt x="17518" y="3585"/>
                  </a:cubicBezTo>
                  <a:close/>
                  <a:moveTo>
                    <a:pt x="17929" y="3585"/>
                  </a:moveTo>
                  <a:cubicBezTo>
                    <a:pt x="17853" y="3585"/>
                    <a:pt x="17791" y="3665"/>
                    <a:pt x="17791" y="3763"/>
                  </a:cubicBezTo>
                  <a:cubicBezTo>
                    <a:pt x="17791" y="3861"/>
                    <a:pt x="17853" y="3939"/>
                    <a:pt x="17929" y="3939"/>
                  </a:cubicBezTo>
                  <a:cubicBezTo>
                    <a:pt x="18006" y="3939"/>
                    <a:pt x="18067" y="3861"/>
                    <a:pt x="18067" y="3763"/>
                  </a:cubicBezTo>
                  <a:cubicBezTo>
                    <a:pt x="18067" y="3665"/>
                    <a:pt x="18006" y="3585"/>
                    <a:pt x="17929" y="3585"/>
                  </a:cubicBezTo>
                  <a:close/>
                  <a:moveTo>
                    <a:pt x="18299" y="3585"/>
                  </a:moveTo>
                  <a:cubicBezTo>
                    <a:pt x="18223" y="3585"/>
                    <a:pt x="18160" y="3665"/>
                    <a:pt x="18160" y="3763"/>
                  </a:cubicBezTo>
                  <a:cubicBezTo>
                    <a:pt x="18160" y="3861"/>
                    <a:pt x="18223" y="3939"/>
                    <a:pt x="18299" y="3939"/>
                  </a:cubicBezTo>
                  <a:cubicBezTo>
                    <a:pt x="18375" y="3939"/>
                    <a:pt x="18436" y="3861"/>
                    <a:pt x="18436" y="3763"/>
                  </a:cubicBezTo>
                  <a:cubicBezTo>
                    <a:pt x="18436" y="3665"/>
                    <a:pt x="18375" y="3585"/>
                    <a:pt x="18299" y="3585"/>
                  </a:cubicBezTo>
                  <a:close/>
                  <a:moveTo>
                    <a:pt x="18710" y="3585"/>
                  </a:moveTo>
                  <a:cubicBezTo>
                    <a:pt x="18633" y="3585"/>
                    <a:pt x="18571" y="3665"/>
                    <a:pt x="18571" y="3763"/>
                  </a:cubicBezTo>
                  <a:cubicBezTo>
                    <a:pt x="18571" y="3861"/>
                    <a:pt x="18633" y="3939"/>
                    <a:pt x="18710" y="3939"/>
                  </a:cubicBezTo>
                  <a:cubicBezTo>
                    <a:pt x="18786" y="3939"/>
                    <a:pt x="18847" y="3861"/>
                    <a:pt x="18847" y="3763"/>
                  </a:cubicBezTo>
                  <a:cubicBezTo>
                    <a:pt x="18847" y="3665"/>
                    <a:pt x="18786" y="3585"/>
                    <a:pt x="18710" y="3585"/>
                  </a:cubicBezTo>
                  <a:close/>
                  <a:moveTo>
                    <a:pt x="19121" y="3585"/>
                  </a:moveTo>
                  <a:cubicBezTo>
                    <a:pt x="19044" y="3585"/>
                    <a:pt x="18982" y="3665"/>
                    <a:pt x="18982" y="3763"/>
                  </a:cubicBezTo>
                  <a:cubicBezTo>
                    <a:pt x="18982" y="3861"/>
                    <a:pt x="19044" y="3939"/>
                    <a:pt x="19121" y="3939"/>
                  </a:cubicBezTo>
                  <a:cubicBezTo>
                    <a:pt x="19197" y="3939"/>
                    <a:pt x="19258" y="3861"/>
                    <a:pt x="19258" y="3763"/>
                  </a:cubicBezTo>
                  <a:cubicBezTo>
                    <a:pt x="19258" y="3665"/>
                    <a:pt x="19197" y="3585"/>
                    <a:pt x="19121" y="3585"/>
                  </a:cubicBezTo>
                  <a:close/>
                  <a:moveTo>
                    <a:pt x="19490" y="3585"/>
                  </a:moveTo>
                  <a:cubicBezTo>
                    <a:pt x="19414" y="3585"/>
                    <a:pt x="19352" y="3665"/>
                    <a:pt x="19352" y="3763"/>
                  </a:cubicBezTo>
                  <a:cubicBezTo>
                    <a:pt x="19352" y="3861"/>
                    <a:pt x="19414" y="3939"/>
                    <a:pt x="19490" y="3939"/>
                  </a:cubicBezTo>
                  <a:cubicBezTo>
                    <a:pt x="19567" y="3939"/>
                    <a:pt x="19628" y="3861"/>
                    <a:pt x="19628" y="3763"/>
                  </a:cubicBezTo>
                  <a:cubicBezTo>
                    <a:pt x="19628" y="3665"/>
                    <a:pt x="19567" y="3585"/>
                    <a:pt x="19490" y="3585"/>
                  </a:cubicBezTo>
                  <a:close/>
                  <a:moveTo>
                    <a:pt x="19901" y="3585"/>
                  </a:moveTo>
                  <a:cubicBezTo>
                    <a:pt x="19825" y="3585"/>
                    <a:pt x="19763" y="3665"/>
                    <a:pt x="19763" y="3763"/>
                  </a:cubicBezTo>
                  <a:cubicBezTo>
                    <a:pt x="19763" y="3861"/>
                    <a:pt x="19825" y="3939"/>
                    <a:pt x="19901" y="3939"/>
                  </a:cubicBezTo>
                  <a:cubicBezTo>
                    <a:pt x="19978" y="3939"/>
                    <a:pt x="20039" y="3861"/>
                    <a:pt x="20039" y="3763"/>
                  </a:cubicBezTo>
                  <a:cubicBezTo>
                    <a:pt x="20039" y="3665"/>
                    <a:pt x="19978" y="3585"/>
                    <a:pt x="19901" y="3585"/>
                  </a:cubicBezTo>
                  <a:close/>
                  <a:moveTo>
                    <a:pt x="20270" y="3585"/>
                  </a:moveTo>
                  <a:cubicBezTo>
                    <a:pt x="20194" y="3585"/>
                    <a:pt x="20132" y="3665"/>
                    <a:pt x="20132" y="3763"/>
                  </a:cubicBezTo>
                  <a:cubicBezTo>
                    <a:pt x="20132" y="3861"/>
                    <a:pt x="20194" y="3939"/>
                    <a:pt x="20270" y="3939"/>
                  </a:cubicBezTo>
                  <a:cubicBezTo>
                    <a:pt x="20346" y="3939"/>
                    <a:pt x="20408" y="3861"/>
                    <a:pt x="20408" y="3763"/>
                  </a:cubicBezTo>
                  <a:cubicBezTo>
                    <a:pt x="20408" y="3665"/>
                    <a:pt x="20346" y="3585"/>
                    <a:pt x="20270" y="3585"/>
                  </a:cubicBezTo>
                  <a:close/>
                  <a:moveTo>
                    <a:pt x="20682" y="3585"/>
                  </a:moveTo>
                  <a:cubicBezTo>
                    <a:pt x="20606" y="3585"/>
                    <a:pt x="20543" y="3665"/>
                    <a:pt x="20543" y="3763"/>
                  </a:cubicBezTo>
                  <a:cubicBezTo>
                    <a:pt x="20543" y="3861"/>
                    <a:pt x="20606" y="3939"/>
                    <a:pt x="20682" y="3939"/>
                  </a:cubicBezTo>
                  <a:cubicBezTo>
                    <a:pt x="20758" y="3939"/>
                    <a:pt x="20819" y="3861"/>
                    <a:pt x="20819" y="3763"/>
                  </a:cubicBezTo>
                  <a:cubicBezTo>
                    <a:pt x="20819" y="3665"/>
                    <a:pt x="20758" y="3585"/>
                    <a:pt x="20682" y="3585"/>
                  </a:cubicBezTo>
                  <a:close/>
                  <a:moveTo>
                    <a:pt x="21052" y="3585"/>
                  </a:moveTo>
                  <a:cubicBezTo>
                    <a:pt x="20975" y="3585"/>
                    <a:pt x="20913" y="3665"/>
                    <a:pt x="20913" y="3763"/>
                  </a:cubicBezTo>
                  <a:cubicBezTo>
                    <a:pt x="20913" y="3861"/>
                    <a:pt x="20975" y="3939"/>
                    <a:pt x="21052" y="3939"/>
                  </a:cubicBezTo>
                  <a:cubicBezTo>
                    <a:pt x="21128" y="3939"/>
                    <a:pt x="21189" y="3861"/>
                    <a:pt x="21189" y="3763"/>
                  </a:cubicBezTo>
                  <a:cubicBezTo>
                    <a:pt x="21189" y="3665"/>
                    <a:pt x="21128" y="3585"/>
                    <a:pt x="21052" y="3585"/>
                  </a:cubicBezTo>
                  <a:close/>
                  <a:moveTo>
                    <a:pt x="1741" y="4059"/>
                  </a:moveTo>
                  <a:cubicBezTo>
                    <a:pt x="1665" y="4059"/>
                    <a:pt x="1602" y="4139"/>
                    <a:pt x="1602" y="4237"/>
                  </a:cubicBezTo>
                  <a:cubicBezTo>
                    <a:pt x="1602" y="4335"/>
                    <a:pt x="1665" y="4414"/>
                    <a:pt x="1741" y="4414"/>
                  </a:cubicBezTo>
                  <a:cubicBezTo>
                    <a:pt x="1817" y="4414"/>
                    <a:pt x="1878" y="4335"/>
                    <a:pt x="1878" y="4237"/>
                  </a:cubicBezTo>
                  <a:cubicBezTo>
                    <a:pt x="1878" y="4139"/>
                    <a:pt x="1817" y="4059"/>
                    <a:pt x="1741" y="4059"/>
                  </a:cubicBezTo>
                  <a:close/>
                  <a:moveTo>
                    <a:pt x="2111" y="4059"/>
                  </a:moveTo>
                  <a:cubicBezTo>
                    <a:pt x="2035" y="4059"/>
                    <a:pt x="1972" y="4139"/>
                    <a:pt x="1972" y="4237"/>
                  </a:cubicBezTo>
                  <a:cubicBezTo>
                    <a:pt x="1972" y="4335"/>
                    <a:pt x="2035" y="4414"/>
                    <a:pt x="2111" y="4414"/>
                  </a:cubicBezTo>
                  <a:cubicBezTo>
                    <a:pt x="2187" y="4414"/>
                    <a:pt x="2248" y="4335"/>
                    <a:pt x="2248" y="4237"/>
                  </a:cubicBezTo>
                  <a:cubicBezTo>
                    <a:pt x="2248" y="4139"/>
                    <a:pt x="2187" y="4059"/>
                    <a:pt x="2111" y="4059"/>
                  </a:cubicBezTo>
                  <a:close/>
                  <a:moveTo>
                    <a:pt x="2522" y="4059"/>
                  </a:moveTo>
                  <a:cubicBezTo>
                    <a:pt x="2445" y="4059"/>
                    <a:pt x="2383" y="4139"/>
                    <a:pt x="2383" y="4237"/>
                  </a:cubicBezTo>
                  <a:cubicBezTo>
                    <a:pt x="2383" y="4335"/>
                    <a:pt x="2445" y="4414"/>
                    <a:pt x="2522" y="4414"/>
                  </a:cubicBezTo>
                  <a:cubicBezTo>
                    <a:pt x="2598" y="4414"/>
                    <a:pt x="2659" y="4335"/>
                    <a:pt x="2659" y="4237"/>
                  </a:cubicBezTo>
                  <a:cubicBezTo>
                    <a:pt x="2659" y="4139"/>
                    <a:pt x="2598" y="4059"/>
                    <a:pt x="2522" y="4059"/>
                  </a:cubicBezTo>
                  <a:close/>
                  <a:moveTo>
                    <a:pt x="2891" y="4059"/>
                  </a:moveTo>
                  <a:cubicBezTo>
                    <a:pt x="2815" y="4059"/>
                    <a:pt x="2753" y="4139"/>
                    <a:pt x="2753" y="4237"/>
                  </a:cubicBezTo>
                  <a:cubicBezTo>
                    <a:pt x="2753" y="4335"/>
                    <a:pt x="2815" y="4414"/>
                    <a:pt x="2891" y="4414"/>
                  </a:cubicBezTo>
                  <a:cubicBezTo>
                    <a:pt x="2968" y="4414"/>
                    <a:pt x="3029" y="4335"/>
                    <a:pt x="3029" y="4237"/>
                  </a:cubicBezTo>
                  <a:cubicBezTo>
                    <a:pt x="3029" y="4139"/>
                    <a:pt x="2968" y="4059"/>
                    <a:pt x="2891" y="4059"/>
                  </a:cubicBezTo>
                  <a:close/>
                  <a:moveTo>
                    <a:pt x="3302" y="4059"/>
                  </a:moveTo>
                  <a:cubicBezTo>
                    <a:pt x="3226" y="4059"/>
                    <a:pt x="3164" y="4139"/>
                    <a:pt x="3164" y="4237"/>
                  </a:cubicBezTo>
                  <a:cubicBezTo>
                    <a:pt x="3164" y="4335"/>
                    <a:pt x="3226" y="4414"/>
                    <a:pt x="3302" y="4414"/>
                  </a:cubicBezTo>
                  <a:cubicBezTo>
                    <a:pt x="3379" y="4414"/>
                    <a:pt x="3440" y="4335"/>
                    <a:pt x="3440" y="4237"/>
                  </a:cubicBezTo>
                  <a:cubicBezTo>
                    <a:pt x="3440" y="4139"/>
                    <a:pt x="3379" y="4059"/>
                    <a:pt x="3302" y="4059"/>
                  </a:cubicBezTo>
                  <a:close/>
                  <a:moveTo>
                    <a:pt x="3713" y="4059"/>
                  </a:moveTo>
                  <a:cubicBezTo>
                    <a:pt x="3637" y="4059"/>
                    <a:pt x="3575" y="4139"/>
                    <a:pt x="3575" y="4237"/>
                  </a:cubicBezTo>
                  <a:cubicBezTo>
                    <a:pt x="3575" y="4335"/>
                    <a:pt x="3637" y="4414"/>
                    <a:pt x="3713" y="4414"/>
                  </a:cubicBezTo>
                  <a:cubicBezTo>
                    <a:pt x="3790" y="4414"/>
                    <a:pt x="3851" y="4335"/>
                    <a:pt x="3851" y="4237"/>
                  </a:cubicBezTo>
                  <a:cubicBezTo>
                    <a:pt x="3851" y="4139"/>
                    <a:pt x="3790" y="4059"/>
                    <a:pt x="3713" y="4059"/>
                  </a:cubicBezTo>
                  <a:close/>
                  <a:moveTo>
                    <a:pt x="4083" y="4059"/>
                  </a:moveTo>
                  <a:cubicBezTo>
                    <a:pt x="4007" y="4059"/>
                    <a:pt x="3944" y="4139"/>
                    <a:pt x="3944" y="4237"/>
                  </a:cubicBezTo>
                  <a:cubicBezTo>
                    <a:pt x="3944" y="4335"/>
                    <a:pt x="4007" y="4414"/>
                    <a:pt x="4083" y="4414"/>
                  </a:cubicBezTo>
                  <a:cubicBezTo>
                    <a:pt x="4159" y="4414"/>
                    <a:pt x="4220" y="4335"/>
                    <a:pt x="4220" y="4237"/>
                  </a:cubicBezTo>
                  <a:cubicBezTo>
                    <a:pt x="4220" y="4139"/>
                    <a:pt x="4159" y="4059"/>
                    <a:pt x="4083" y="4059"/>
                  </a:cubicBezTo>
                  <a:close/>
                  <a:moveTo>
                    <a:pt x="4494" y="4059"/>
                  </a:moveTo>
                  <a:cubicBezTo>
                    <a:pt x="4418" y="4059"/>
                    <a:pt x="4355" y="4139"/>
                    <a:pt x="4355" y="4237"/>
                  </a:cubicBezTo>
                  <a:cubicBezTo>
                    <a:pt x="4355" y="4335"/>
                    <a:pt x="4418" y="4414"/>
                    <a:pt x="4494" y="4414"/>
                  </a:cubicBezTo>
                  <a:cubicBezTo>
                    <a:pt x="4570" y="4414"/>
                    <a:pt x="4631" y="4335"/>
                    <a:pt x="4631" y="4237"/>
                  </a:cubicBezTo>
                  <a:cubicBezTo>
                    <a:pt x="4631" y="4139"/>
                    <a:pt x="4570" y="4059"/>
                    <a:pt x="4494" y="4059"/>
                  </a:cubicBezTo>
                  <a:close/>
                  <a:moveTo>
                    <a:pt x="4864" y="4059"/>
                  </a:moveTo>
                  <a:cubicBezTo>
                    <a:pt x="4787" y="4059"/>
                    <a:pt x="4725" y="4139"/>
                    <a:pt x="4725" y="4237"/>
                  </a:cubicBezTo>
                  <a:cubicBezTo>
                    <a:pt x="4725" y="4335"/>
                    <a:pt x="4787" y="4414"/>
                    <a:pt x="4864" y="4414"/>
                  </a:cubicBezTo>
                  <a:cubicBezTo>
                    <a:pt x="4940" y="4414"/>
                    <a:pt x="5001" y="4335"/>
                    <a:pt x="5001" y="4237"/>
                  </a:cubicBezTo>
                  <a:cubicBezTo>
                    <a:pt x="5001" y="4139"/>
                    <a:pt x="4940" y="4059"/>
                    <a:pt x="4864" y="4059"/>
                  </a:cubicBezTo>
                  <a:close/>
                  <a:moveTo>
                    <a:pt x="5274" y="4059"/>
                  </a:moveTo>
                  <a:cubicBezTo>
                    <a:pt x="5198" y="4059"/>
                    <a:pt x="5136" y="4139"/>
                    <a:pt x="5136" y="4237"/>
                  </a:cubicBezTo>
                  <a:cubicBezTo>
                    <a:pt x="5136" y="4335"/>
                    <a:pt x="5198" y="4414"/>
                    <a:pt x="5274" y="4414"/>
                  </a:cubicBezTo>
                  <a:cubicBezTo>
                    <a:pt x="5351" y="4414"/>
                    <a:pt x="5412" y="4335"/>
                    <a:pt x="5412" y="4237"/>
                  </a:cubicBezTo>
                  <a:cubicBezTo>
                    <a:pt x="5412" y="4139"/>
                    <a:pt x="5351" y="4059"/>
                    <a:pt x="5274" y="4059"/>
                  </a:cubicBezTo>
                  <a:close/>
                  <a:moveTo>
                    <a:pt x="5685" y="4059"/>
                  </a:moveTo>
                  <a:cubicBezTo>
                    <a:pt x="5609" y="4059"/>
                    <a:pt x="5547" y="4139"/>
                    <a:pt x="5547" y="4237"/>
                  </a:cubicBezTo>
                  <a:cubicBezTo>
                    <a:pt x="5547" y="4335"/>
                    <a:pt x="5609" y="4415"/>
                    <a:pt x="5685" y="4415"/>
                  </a:cubicBezTo>
                  <a:cubicBezTo>
                    <a:pt x="5762" y="4415"/>
                    <a:pt x="5823" y="4335"/>
                    <a:pt x="5823" y="4237"/>
                  </a:cubicBezTo>
                  <a:cubicBezTo>
                    <a:pt x="5823" y="4139"/>
                    <a:pt x="5762" y="4059"/>
                    <a:pt x="5685" y="4059"/>
                  </a:cubicBezTo>
                  <a:close/>
                  <a:moveTo>
                    <a:pt x="6055" y="4059"/>
                  </a:moveTo>
                  <a:cubicBezTo>
                    <a:pt x="5979" y="4059"/>
                    <a:pt x="5916" y="4139"/>
                    <a:pt x="5916" y="4237"/>
                  </a:cubicBezTo>
                  <a:cubicBezTo>
                    <a:pt x="5916" y="4335"/>
                    <a:pt x="5979" y="4415"/>
                    <a:pt x="6055" y="4415"/>
                  </a:cubicBezTo>
                  <a:cubicBezTo>
                    <a:pt x="6132" y="4415"/>
                    <a:pt x="6193" y="4335"/>
                    <a:pt x="6193" y="4237"/>
                  </a:cubicBezTo>
                  <a:cubicBezTo>
                    <a:pt x="6193" y="4139"/>
                    <a:pt x="6132" y="4059"/>
                    <a:pt x="6055" y="4059"/>
                  </a:cubicBezTo>
                  <a:close/>
                  <a:moveTo>
                    <a:pt x="6425" y="4059"/>
                  </a:moveTo>
                  <a:cubicBezTo>
                    <a:pt x="6349" y="4059"/>
                    <a:pt x="6286" y="4139"/>
                    <a:pt x="6286" y="4237"/>
                  </a:cubicBezTo>
                  <a:cubicBezTo>
                    <a:pt x="6286" y="4335"/>
                    <a:pt x="6349" y="4415"/>
                    <a:pt x="6425" y="4415"/>
                  </a:cubicBezTo>
                  <a:cubicBezTo>
                    <a:pt x="6501" y="4415"/>
                    <a:pt x="6562" y="4335"/>
                    <a:pt x="6562" y="4237"/>
                  </a:cubicBezTo>
                  <a:cubicBezTo>
                    <a:pt x="6562" y="4139"/>
                    <a:pt x="6501" y="4059"/>
                    <a:pt x="6425" y="4059"/>
                  </a:cubicBezTo>
                  <a:close/>
                  <a:moveTo>
                    <a:pt x="6836" y="4059"/>
                  </a:moveTo>
                  <a:cubicBezTo>
                    <a:pt x="6759" y="4059"/>
                    <a:pt x="6697" y="4139"/>
                    <a:pt x="6697" y="4237"/>
                  </a:cubicBezTo>
                  <a:cubicBezTo>
                    <a:pt x="6697" y="4335"/>
                    <a:pt x="6759" y="4415"/>
                    <a:pt x="6836" y="4415"/>
                  </a:cubicBezTo>
                  <a:cubicBezTo>
                    <a:pt x="6912" y="4415"/>
                    <a:pt x="6973" y="4335"/>
                    <a:pt x="6973" y="4237"/>
                  </a:cubicBezTo>
                  <a:cubicBezTo>
                    <a:pt x="6973" y="4139"/>
                    <a:pt x="6912" y="4059"/>
                    <a:pt x="6836" y="4059"/>
                  </a:cubicBezTo>
                  <a:close/>
                  <a:moveTo>
                    <a:pt x="7247" y="4059"/>
                  </a:moveTo>
                  <a:cubicBezTo>
                    <a:pt x="7170" y="4059"/>
                    <a:pt x="7108" y="4139"/>
                    <a:pt x="7108" y="4237"/>
                  </a:cubicBezTo>
                  <a:cubicBezTo>
                    <a:pt x="7108" y="4335"/>
                    <a:pt x="7170" y="4415"/>
                    <a:pt x="7247" y="4415"/>
                  </a:cubicBezTo>
                  <a:cubicBezTo>
                    <a:pt x="7323" y="4415"/>
                    <a:pt x="7384" y="4335"/>
                    <a:pt x="7384" y="4237"/>
                  </a:cubicBezTo>
                  <a:cubicBezTo>
                    <a:pt x="7384" y="4139"/>
                    <a:pt x="7323" y="4059"/>
                    <a:pt x="7247" y="4059"/>
                  </a:cubicBezTo>
                  <a:close/>
                  <a:moveTo>
                    <a:pt x="7616" y="4059"/>
                  </a:moveTo>
                  <a:cubicBezTo>
                    <a:pt x="7540" y="4059"/>
                    <a:pt x="7478" y="4139"/>
                    <a:pt x="7478" y="4237"/>
                  </a:cubicBezTo>
                  <a:cubicBezTo>
                    <a:pt x="7478" y="4335"/>
                    <a:pt x="7540" y="4415"/>
                    <a:pt x="7616" y="4415"/>
                  </a:cubicBezTo>
                  <a:cubicBezTo>
                    <a:pt x="7693" y="4415"/>
                    <a:pt x="7754" y="4335"/>
                    <a:pt x="7754" y="4237"/>
                  </a:cubicBezTo>
                  <a:cubicBezTo>
                    <a:pt x="7754" y="4139"/>
                    <a:pt x="7693" y="4059"/>
                    <a:pt x="7616" y="4059"/>
                  </a:cubicBezTo>
                  <a:close/>
                  <a:moveTo>
                    <a:pt x="8027" y="4059"/>
                  </a:moveTo>
                  <a:cubicBezTo>
                    <a:pt x="7951" y="4059"/>
                    <a:pt x="7889" y="4139"/>
                    <a:pt x="7889" y="4237"/>
                  </a:cubicBezTo>
                  <a:cubicBezTo>
                    <a:pt x="7889" y="4335"/>
                    <a:pt x="7951" y="4415"/>
                    <a:pt x="8027" y="4415"/>
                  </a:cubicBezTo>
                  <a:cubicBezTo>
                    <a:pt x="8104" y="4415"/>
                    <a:pt x="8165" y="4335"/>
                    <a:pt x="8165" y="4237"/>
                  </a:cubicBezTo>
                  <a:cubicBezTo>
                    <a:pt x="8165" y="4139"/>
                    <a:pt x="8104" y="4059"/>
                    <a:pt x="8027" y="4059"/>
                  </a:cubicBezTo>
                  <a:close/>
                  <a:moveTo>
                    <a:pt x="8438" y="4059"/>
                  </a:moveTo>
                  <a:cubicBezTo>
                    <a:pt x="8362" y="4059"/>
                    <a:pt x="8299" y="4139"/>
                    <a:pt x="8299" y="4237"/>
                  </a:cubicBezTo>
                  <a:cubicBezTo>
                    <a:pt x="8299" y="4335"/>
                    <a:pt x="8362" y="4415"/>
                    <a:pt x="8438" y="4415"/>
                  </a:cubicBezTo>
                  <a:cubicBezTo>
                    <a:pt x="8515" y="4415"/>
                    <a:pt x="8576" y="4335"/>
                    <a:pt x="8576" y="4237"/>
                  </a:cubicBezTo>
                  <a:cubicBezTo>
                    <a:pt x="8576" y="4139"/>
                    <a:pt x="8515" y="4059"/>
                    <a:pt x="8438" y="4059"/>
                  </a:cubicBezTo>
                  <a:close/>
                  <a:moveTo>
                    <a:pt x="8808" y="4059"/>
                  </a:moveTo>
                  <a:cubicBezTo>
                    <a:pt x="8732" y="4059"/>
                    <a:pt x="8669" y="4139"/>
                    <a:pt x="8669" y="4237"/>
                  </a:cubicBezTo>
                  <a:cubicBezTo>
                    <a:pt x="8669" y="4335"/>
                    <a:pt x="8732" y="4415"/>
                    <a:pt x="8808" y="4415"/>
                  </a:cubicBezTo>
                  <a:cubicBezTo>
                    <a:pt x="8884" y="4415"/>
                    <a:pt x="8945" y="4335"/>
                    <a:pt x="8945" y="4237"/>
                  </a:cubicBezTo>
                  <a:cubicBezTo>
                    <a:pt x="8945" y="4139"/>
                    <a:pt x="8884" y="4059"/>
                    <a:pt x="8808" y="4059"/>
                  </a:cubicBezTo>
                  <a:close/>
                  <a:moveTo>
                    <a:pt x="9219" y="4059"/>
                  </a:moveTo>
                  <a:cubicBezTo>
                    <a:pt x="9142" y="4059"/>
                    <a:pt x="9080" y="4139"/>
                    <a:pt x="9080" y="4237"/>
                  </a:cubicBezTo>
                  <a:cubicBezTo>
                    <a:pt x="9080" y="4335"/>
                    <a:pt x="9142" y="4415"/>
                    <a:pt x="9219" y="4415"/>
                  </a:cubicBezTo>
                  <a:cubicBezTo>
                    <a:pt x="9295" y="4415"/>
                    <a:pt x="9356" y="4335"/>
                    <a:pt x="9356" y="4237"/>
                  </a:cubicBezTo>
                  <a:cubicBezTo>
                    <a:pt x="9356" y="4139"/>
                    <a:pt x="9295" y="4059"/>
                    <a:pt x="9219" y="4059"/>
                  </a:cubicBezTo>
                  <a:close/>
                  <a:moveTo>
                    <a:pt x="9589" y="4059"/>
                  </a:moveTo>
                  <a:cubicBezTo>
                    <a:pt x="9512" y="4059"/>
                    <a:pt x="9450" y="4139"/>
                    <a:pt x="9450" y="4237"/>
                  </a:cubicBezTo>
                  <a:cubicBezTo>
                    <a:pt x="9450" y="4335"/>
                    <a:pt x="9512" y="4415"/>
                    <a:pt x="9589" y="4415"/>
                  </a:cubicBezTo>
                  <a:cubicBezTo>
                    <a:pt x="9665" y="4415"/>
                    <a:pt x="9726" y="4335"/>
                    <a:pt x="9726" y="4237"/>
                  </a:cubicBezTo>
                  <a:cubicBezTo>
                    <a:pt x="9726" y="4139"/>
                    <a:pt x="9665" y="4059"/>
                    <a:pt x="9589" y="4059"/>
                  </a:cubicBezTo>
                  <a:close/>
                  <a:moveTo>
                    <a:pt x="9999" y="4059"/>
                  </a:moveTo>
                  <a:cubicBezTo>
                    <a:pt x="9923" y="4059"/>
                    <a:pt x="9861" y="4139"/>
                    <a:pt x="9861" y="4237"/>
                  </a:cubicBezTo>
                  <a:cubicBezTo>
                    <a:pt x="9861" y="4335"/>
                    <a:pt x="9923" y="4415"/>
                    <a:pt x="9999" y="4415"/>
                  </a:cubicBezTo>
                  <a:cubicBezTo>
                    <a:pt x="10076" y="4415"/>
                    <a:pt x="10137" y="4335"/>
                    <a:pt x="10137" y="4237"/>
                  </a:cubicBezTo>
                  <a:cubicBezTo>
                    <a:pt x="10137" y="4139"/>
                    <a:pt x="10076" y="4059"/>
                    <a:pt x="9999" y="4059"/>
                  </a:cubicBezTo>
                  <a:close/>
                  <a:moveTo>
                    <a:pt x="10410" y="4059"/>
                  </a:moveTo>
                  <a:cubicBezTo>
                    <a:pt x="10334" y="4059"/>
                    <a:pt x="10272" y="4139"/>
                    <a:pt x="10272" y="4237"/>
                  </a:cubicBezTo>
                  <a:cubicBezTo>
                    <a:pt x="10272" y="4335"/>
                    <a:pt x="10334" y="4415"/>
                    <a:pt x="10410" y="4415"/>
                  </a:cubicBezTo>
                  <a:cubicBezTo>
                    <a:pt x="10487" y="4415"/>
                    <a:pt x="10548" y="4335"/>
                    <a:pt x="10548" y="4237"/>
                  </a:cubicBezTo>
                  <a:cubicBezTo>
                    <a:pt x="10548" y="4139"/>
                    <a:pt x="10487" y="4059"/>
                    <a:pt x="10410" y="4059"/>
                  </a:cubicBezTo>
                  <a:close/>
                  <a:moveTo>
                    <a:pt x="10780" y="4059"/>
                  </a:moveTo>
                  <a:cubicBezTo>
                    <a:pt x="10704" y="4059"/>
                    <a:pt x="10641" y="4139"/>
                    <a:pt x="10641" y="4237"/>
                  </a:cubicBezTo>
                  <a:cubicBezTo>
                    <a:pt x="10641" y="4335"/>
                    <a:pt x="10704" y="4415"/>
                    <a:pt x="10780" y="4415"/>
                  </a:cubicBezTo>
                  <a:cubicBezTo>
                    <a:pt x="10856" y="4415"/>
                    <a:pt x="10917" y="4335"/>
                    <a:pt x="10917" y="4237"/>
                  </a:cubicBezTo>
                  <a:cubicBezTo>
                    <a:pt x="10917" y="4139"/>
                    <a:pt x="10856" y="4059"/>
                    <a:pt x="10780" y="4059"/>
                  </a:cubicBezTo>
                  <a:close/>
                  <a:moveTo>
                    <a:pt x="11191" y="4059"/>
                  </a:moveTo>
                  <a:cubicBezTo>
                    <a:pt x="11115" y="4059"/>
                    <a:pt x="11052" y="4139"/>
                    <a:pt x="11052" y="4237"/>
                  </a:cubicBezTo>
                  <a:cubicBezTo>
                    <a:pt x="11052" y="4335"/>
                    <a:pt x="11115" y="4415"/>
                    <a:pt x="11191" y="4415"/>
                  </a:cubicBezTo>
                  <a:cubicBezTo>
                    <a:pt x="11267" y="4415"/>
                    <a:pt x="11328" y="4335"/>
                    <a:pt x="11328" y="4237"/>
                  </a:cubicBezTo>
                  <a:cubicBezTo>
                    <a:pt x="11328" y="4139"/>
                    <a:pt x="11267" y="4059"/>
                    <a:pt x="11191" y="4059"/>
                  </a:cubicBezTo>
                  <a:close/>
                  <a:moveTo>
                    <a:pt x="11602" y="4059"/>
                  </a:moveTo>
                  <a:cubicBezTo>
                    <a:pt x="11525" y="4059"/>
                    <a:pt x="11463" y="4139"/>
                    <a:pt x="11463" y="4237"/>
                  </a:cubicBezTo>
                  <a:cubicBezTo>
                    <a:pt x="11463" y="4335"/>
                    <a:pt x="11525" y="4415"/>
                    <a:pt x="11602" y="4415"/>
                  </a:cubicBezTo>
                  <a:cubicBezTo>
                    <a:pt x="11678" y="4415"/>
                    <a:pt x="11739" y="4335"/>
                    <a:pt x="11739" y="4237"/>
                  </a:cubicBezTo>
                  <a:cubicBezTo>
                    <a:pt x="11739" y="4139"/>
                    <a:pt x="11678" y="4059"/>
                    <a:pt x="11602" y="4059"/>
                  </a:cubicBezTo>
                  <a:close/>
                  <a:moveTo>
                    <a:pt x="11972" y="4059"/>
                  </a:moveTo>
                  <a:cubicBezTo>
                    <a:pt x="11895" y="4059"/>
                    <a:pt x="11833" y="4139"/>
                    <a:pt x="11833" y="4237"/>
                  </a:cubicBezTo>
                  <a:cubicBezTo>
                    <a:pt x="11833" y="4335"/>
                    <a:pt x="11895" y="4415"/>
                    <a:pt x="11972" y="4415"/>
                  </a:cubicBezTo>
                  <a:cubicBezTo>
                    <a:pt x="12048" y="4415"/>
                    <a:pt x="12109" y="4335"/>
                    <a:pt x="12109" y="4237"/>
                  </a:cubicBezTo>
                  <a:cubicBezTo>
                    <a:pt x="12109" y="4139"/>
                    <a:pt x="12048" y="4059"/>
                    <a:pt x="11972" y="4059"/>
                  </a:cubicBezTo>
                  <a:close/>
                  <a:moveTo>
                    <a:pt x="12382" y="4059"/>
                  </a:moveTo>
                  <a:cubicBezTo>
                    <a:pt x="12306" y="4059"/>
                    <a:pt x="12244" y="4139"/>
                    <a:pt x="12244" y="4237"/>
                  </a:cubicBezTo>
                  <a:cubicBezTo>
                    <a:pt x="12244" y="4335"/>
                    <a:pt x="12306" y="4415"/>
                    <a:pt x="12382" y="4415"/>
                  </a:cubicBezTo>
                  <a:cubicBezTo>
                    <a:pt x="12459" y="4415"/>
                    <a:pt x="12520" y="4335"/>
                    <a:pt x="12520" y="4237"/>
                  </a:cubicBezTo>
                  <a:cubicBezTo>
                    <a:pt x="12520" y="4139"/>
                    <a:pt x="12459" y="4059"/>
                    <a:pt x="12382" y="4059"/>
                  </a:cubicBezTo>
                  <a:close/>
                  <a:moveTo>
                    <a:pt x="12793" y="4059"/>
                  </a:moveTo>
                  <a:cubicBezTo>
                    <a:pt x="12717" y="4059"/>
                    <a:pt x="12655" y="4139"/>
                    <a:pt x="12655" y="4237"/>
                  </a:cubicBezTo>
                  <a:cubicBezTo>
                    <a:pt x="12655" y="4335"/>
                    <a:pt x="12717" y="4415"/>
                    <a:pt x="12793" y="4415"/>
                  </a:cubicBezTo>
                  <a:cubicBezTo>
                    <a:pt x="12869" y="4415"/>
                    <a:pt x="12931" y="4335"/>
                    <a:pt x="12931" y="4237"/>
                  </a:cubicBezTo>
                  <a:cubicBezTo>
                    <a:pt x="12931" y="4139"/>
                    <a:pt x="12869" y="4059"/>
                    <a:pt x="12793" y="4059"/>
                  </a:cubicBezTo>
                  <a:close/>
                  <a:moveTo>
                    <a:pt x="13163" y="4059"/>
                  </a:moveTo>
                  <a:cubicBezTo>
                    <a:pt x="13087" y="4059"/>
                    <a:pt x="13024" y="4139"/>
                    <a:pt x="13024" y="4237"/>
                  </a:cubicBezTo>
                  <a:cubicBezTo>
                    <a:pt x="13024" y="4335"/>
                    <a:pt x="13087" y="4415"/>
                    <a:pt x="13163" y="4415"/>
                  </a:cubicBezTo>
                  <a:cubicBezTo>
                    <a:pt x="13239" y="4415"/>
                    <a:pt x="13301" y="4335"/>
                    <a:pt x="13301" y="4237"/>
                  </a:cubicBezTo>
                  <a:cubicBezTo>
                    <a:pt x="13301" y="4139"/>
                    <a:pt x="13239" y="4059"/>
                    <a:pt x="13163" y="4059"/>
                  </a:cubicBezTo>
                  <a:close/>
                  <a:moveTo>
                    <a:pt x="13574" y="4059"/>
                  </a:moveTo>
                  <a:cubicBezTo>
                    <a:pt x="13498" y="4059"/>
                    <a:pt x="13435" y="4139"/>
                    <a:pt x="13435" y="4237"/>
                  </a:cubicBezTo>
                  <a:cubicBezTo>
                    <a:pt x="13435" y="4335"/>
                    <a:pt x="13498" y="4415"/>
                    <a:pt x="13574" y="4415"/>
                  </a:cubicBezTo>
                  <a:cubicBezTo>
                    <a:pt x="13650" y="4415"/>
                    <a:pt x="13711" y="4335"/>
                    <a:pt x="13711" y="4237"/>
                  </a:cubicBezTo>
                  <a:cubicBezTo>
                    <a:pt x="13711" y="4139"/>
                    <a:pt x="13650" y="4059"/>
                    <a:pt x="13574" y="4059"/>
                  </a:cubicBezTo>
                  <a:close/>
                  <a:moveTo>
                    <a:pt x="13944" y="4059"/>
                  </a:moveTo>
                  <a:cubicBezTo>
                    <a:pt x="13868" y="4059"/>
                    <a:pt x="13805" y="4139"/>
                    <a:pt x="13805" y="4237"/>
                  </a:cubicBezTo>
                  <a:cubicBezTo>
                    <a:pt x="13805" y="4335"/>
                    <a:pt x="13868" y="4415"/>
                    <a:pt x="13944" y="4415"/>
                  </a:cubicBezTo>
                  <a:cubicBezTo>
                    <a:pt x="14020" y="4415"/>
                    <a:pt x="14081" y="4335"/>
                    <a:pt x="14081" y="4237"/>
                  </a:cubicBezTo>
                  <a:cubicBezTo>
                    <a:pt x="14081" y="4139"/>
                    <a:pt x="14020" y="4059"/>
                    <a:pt x="13944" y="4059"/>
                  </a:cubicBezTo>
                  <a:close/>
                  <a:moveTo>
                    <a:pt x="14355" y="4059"/>
                  </a:moveTo>
                  <a:cubicBezTo>
                    <a:pt x="14278" y="4059"/>
                    <a:pt x="14216" y="4139"/>
                    <a:pt x="14216" y="4237"/>
                  </a:cubicBezTo>
                  <a:cubicBezTo>
                    <a:pt x="14216" y="4335"/>
                    <a:pt x="14278" y="4415"/>
                    <a:pt x="14355" y="4415"/>
                  </a:cubicBezTo>
                  <a:cubicBezTo>
                    <a:pt x="14431" y="4415"/>
                    <a:pt x="14492" y="4335"/>
                    <a:pt x="14492" y="4237"/>
                  </a:cubicBezTo>
                  <a:cubicBezTo>
                    <a:pt x="14492" y="4139"/>
                    <a:pt x="14431" y="4059"/>
                    <a:pt x="14355" y="4059"/>
                  </a:cubicBezTo>
                  <a:close/>
                  <a:moveTo>
                    <a:pt x="14765" y="4059"/>
                  </a:moveTo>
                  <a:cubicBezTo>
                    <a:pt x="14689" y="4059"/>
                    <a:pt x="14627" y="4139"/>
                    <a:pt x="14627" y="4237"/>
                  </a:cubicBezTo>
                  <a:cubicBezTo>
                    <a:pt x="14627" y="4335"/>
                    <a:pt x="14689" y="4415"/>
                    <a:pt x="14765" y="4415"/>
                  </a:cubicBezTo>
                  <a:cubicBezTo>
                    <a:pt x="14842" y="4415"/>
                    <a:pt x="14903" y="4335"/>
                    <a:pt x="14903" y="4237"/>
                  </a:cubicBezTo>
                  <a:cubicBezTo>
                    <a:pt x="14903" y="4139"/>
                    <a:pt x="14842" y="4059"/>
                    <a:pt x="14765" y="4059"/>
                  </a:cubicBezTo>
                  <a:close/>
                  <a:moveTo>
                    <a:pt x="15176" y="4059"/>
                  </a:moveTo>
                  <a:cubicBezTo>
                    <a:pt x="15100" y="4059"/>
                    <a:pt x="15038" y="4139"/>
                    <a:pt x="15038" y="4237"/>
                  </a:cubicBezTo>
                  <a:cubicBezTo>
                    <a:pt x="15038" y="4335"/>
                    <a:pt x="15100" y="4415"/>
                    <a:pt x="15176" y="4415"/>
                  </a:cubicBezTo>
                  <a:cubicBezTo>
                    <a:pt x="15253" y="4415"/>
                    <a:pt x="15314" y="4335"/>
                    <a:pt x="15314" y="4237"/>
                  </a:cubicBezTo>
                  <a:cubicBezTo>
                    <a:pt x="15314" y="4139"/>
                    <a:pt x="15253" y="4059"/>
                    <a:pt x="15176" y="4059"/>
                  </a:cubicBezTo>
                  <a:close/>
                  <a:moveTo>
                    <a:pt x="15546" y="4059"/>
                  </a:moveTo>
                  <a:cubicBezTo>
                    <a:pt x="15470" y="4059"/>
                    <a:pt x="15407" y="4139"/>
                    <a:pt x="15407" y="4237"/>
                  </a:cubicBezTo>
                  <a:cubicBezTo>
                    <a:pt x="15407" y="4335"/>
                    <a:pt x="15470" y="4415"/>
                    <a:pt x="15546" y="4415"/>
                  </a:cubicBezTo>
                  <a:cubicBezTo>
                    <a:pt x="15623" y="4415"/>
                    <a:pt x="15684" y="4335"/>
                    <a:pt x="15684" y="4237"/>
                  </a:cubicBezTo>
                  <a:cubicBezTo>
                    <a:pt x="15684" y="4139"/>
                    <a:pt x="15623" y="4059"/>
                    <a:pt x="15546" y="4059"/>
                  </a:cubicBezTo>
                  <a:close/>
                  <a:moveTo>
                    <a:pt x="15957" y="4059"/>
                  </a:moveTo>
                  <a:cubicBezTo>
                    <a:pt x="15881" y="4059"/>
                    <a:pt x="15818" y="4139"/>
                    <a:pt x="15818" y="4237"/>
                  </a:cubicBezTo>
                  <a:cubicBezTo>
                    <a:pt x="15818" y="4335"/>
                    <a:pt x="15881" y="4415"/>
                    <a:pt x="15957" y="4415"/>
                  </a:cubicBezTo>
                  <a:cubicBezTo>
                    <a:pt x="16033" y="4415"/>
                    <a:pt x="16094" y="4335"/>
                    <a:pt x="16094" y="4237"/>
                  </a:cubicBezTo>
                  <a:cubicBezTo>
                    <a:pt x="16094" y="4139"/>
                    <a:pt x="16033" y="4059"/>
                    <a:pt x="15957" y="4059"/>
                  </a:cubicBezTo>
                  <a:close/>
                  <a:moveTo>
                    <a:pt x="16327" y="4059"/>
                  </a:moveTo>
                  <a:cubicBezTo>
                    <a:pt x="16251" y="4059"/>
                    <a:pt x="16188" y="4139"/>
                    <a:pt x="16188" y="4237"/>
                  </a:cubicBezTo>
                  <a:cubicBezTo>
                    <a:pt x="16188" y="4335"/>
                    <a:pt x="16251" y="4415"/>
                    <a:pt x="16327" y="4415"/>
                  </a:cubicBezTo>
                  <a:cubicBezTo>
                    <a:pt x="16403" y="4415"/>
                    <a:pt x="16464" y="4335"/>
                    <a:pt x="16464" y="4237"/>
                  </a:cubicBezTo>
                  <a:cubicBezTo>
                    <a:pt x="16464" y="4139"/>
                    <a:pt x="16403" y="4059"/>
                    <a:pt x="16327" y="4059"/>
                  </a:cubicBezTo>
                  <a:close/>
                  <a:moveTo>
                    <a:pt x="16738" y="4059"/>
                  </a:moveTo>
                  <a:cubicBezTo>
                    <a:pt x="16661" y="4059"/>
                    <a:pt x="16599" y="4139"/>
                    <a:pt x="16599" y="4237"/>
                  </a:cubicBezTo>
                  <a:cubicBezTo>
                    <a:pt x="16599" y="4335"/>
                    <a:pt x="16661" y="4415"/>
                    <a:pt x="16738" y="4415"/>
                  </a:cubicBezTo>
                  <a:cubicBezTo>
                    <a:pt x="16814" y="4415"/>
                    <a:pt x="16875" y="4335"/>
                    <a:pt x="16875" y="4237"/>
                  </a:cubicBezTo>
                  <a:cubicBezTo>
                    <a:pt x="16875" y="4139"/>
                    <a:pt x="16814" y="4059"/>
                    <a:pt x="16738" y="4059"/>
                  </a:cubicBezTo>
                  <a:close/>
                  <a:moveTo>
                    <a:pt x="17149" y="4059"/>
                  </a:moveTo>
                  <a:cubicBezTo>
                    <a:pt x="17072" y="4059"/>
                    <a:pt x="17010" y="4139"/>
                    <a:pt x="17010" y="4237"/>
                  </a:cubicBezTo>
                  <a:cubicBezTo>
                    <a:pt x="17010" y="4335"/>
                    <a:pt x="17072" y="4415"/>
                    <a:pt x="17149" y="4415"/>
                  </a:cubicBezTo>
                  <a:cubicBezTo>
                    <a:pt x="17225" y="4415"/>
                    <a:pt x="17286" y="4335"/>
                    <a:pt x="17286" y="4237"/>
                  </a:cubicBezTo>
                  <a:cubicBezTo>
                    <a:pt x="17286" y="4139"/>
                    <a:pt x="17225" y="4059"/>
                    <a:pt x="17149" y="4059"/>
                  </a:cubicBezTo>
                  <a:close/>
                  <a:moveTo>
                    <a:pt x="17518" y="4059"/>
                  </a:moveTo>
                  <a:cubicBezTo>
                    <a:pt x="17442" y="4059"/>
                    <a:pt x="17380" y="4139"/>
                    <a:pt x="17380" y="4237"/>
                  </a:cubicBezTo>
                  <a:cubicBezTo>
                    <a:pt x="17380" y="4335"/>
                    <a:pt x="17442" y="4415"/>
                    <a:pt x="17518" y="4415"/>
                  </a:cubicBezTo>
                  <a:cubicBezTo>
                    <a:pt x="17594" y="4415"/>
                    <a:pt x="17656" y="4335"/>
                    <a:pt x="17656" y="4237"/>
                  </a:cubicBezTo>
                  <a:cubicBezTo>
                    <a:pt x="17656" y="4139"/>
                    <a:pt x="17594" y="4059"/>
                    <a:pt x="17518" y="4059"/>
                  </a:cubicBezTo>
                  <a:close/>
                  <a:moveTo>
                    <a:pt x="17929" y="4059"/>
                  </a:moveTo>
                  <a:cubicBezTo>
                    <a:pt x="17853" y="4059"/>
                    <a:pt x="17791" y="4139"/>
                    <a:pt x="17791" y="4237"/>
                  </a:cubicBezTo>
                  <a:cubicBezTo>
                    <a:pt x="17791" y="4335"/>
                    <a:pt x="17853" y="4415"/>
                    <a:pt x="17929" y="4415"/>
                  </a:cubicBezTo>
                  <a:cubicBezTo>
                    <a:pt x="18006" y="4415"/>
                    <a:pt x="18067" y="4335"/>
                    <a:pt x="18067" y="4237"/>
                  </a:cubicBezTo>
                  <a:cubicBezTo>
                    <a:pt x="18067" y="4139"/>
                    <a:pt x="18006" y="4059"/>
                    <a:pt x="17929" y="4059"/>
                  </a:cubicBezTo>
                  <a:close/>
                  <a:moveTo>
                    <a:pt x="19490" y="4059"/>
                  </a:moveTo>
                  <a:cubicBezTo>
                    <a:pt x="19414" y="4059"/>
                    <a:pt x="19352" y="4139"/>
                    <a:pt x="19352" y="4237"/>
                  </a:cubicBezTo>
                  <a:cubicBezTo>
                    <a:pt x="19352" y="4335"/>
                    <a:pt x="19414" y="4415"/>
                    <a:pt x="19490" y="4415"/>
                  </a:cubicBezTo>
                  <a:cubicBezTo>
                    <a:pt x="19567" y="4415"/>
                    <a:pt x="19628" y="4335"/>
                    <a:pt x="19628" y="4237"/>
                  </a:cubicBezTo>
                  <a:cubicBezTo>
                    <a:pt x="19628" y="4139"/>
                    <a:pt x="19567" y="4059"/>
                    <a:pt x="19490" y="4059"/>
                  </a:cubicBezTo>
                  <a:close/>
                  <a:moveTo>
                    <a:pt x="19901" y="4059"/>
                  </a:moveTo>
                  <a:cubicBezTo>
                    <a:pt x="19825" y="4059"/>
                    <a:pt x="19763" y="4139"/>
                    <a:pt x="19763" y="4237"/>
                  </a:cubicBezTo>
                  <a:cubicBezTo>
                    <a:pt x="19763" y="4335"/>
                    <a:pt x="19825" y="4415"/>
                    <a:pt x="19901" y="4415"/>
                  </a:cubicBezTo>
                  <a:cubicBezTo>
                    <a:pt x="19978" y="4415"/>
                    <a:pt x="20039" y="4335"/>
                    <a:pt x="20039" y="4237"/>
                  </a:cubicBezTo>
                  <a:cubicBezTo>
                    <a:pt x="20039" y="4139"/>
                    <a:pt x="19978" y="4059"/>
                    <a:pt x="19901" y="4059"/>
                  </a:cubicBezTo>
                  <a:close/>
                  <a:moveTo>
                    <a:pt x="20270" y="4059"/>
                  </a:moveTo>
                  <a:cubicBezTo>
                    <a:pt x="20194" y="4059"/>
                    <a:pt x="20132" y="4139"/>
                    <a:pt x="20132" y="4237"/>
                  </a:cubicBezTo>
                  <a:cubicBezTo>
                    <a:pt x="20132" y="4335"/>
                    <a:pt x="20194" y="4415"/>
                    <a:pt x="20270" y="4415"/>
                  </a:cubicBezTo>
                  <a:cubicBezTo>
                    <a:pt x="20346" y="4415"/>
                    <a:pt x="20408" y="4335"/>
                    <a:pt x="20408" y="4237"/>
                  </a:cubicBezTo>
                  <a:cubicBezTo>
                    <a:pt x="20408" y="4139"/>
                    <a:pt x="20346" y="4059"/>
                    <a:pt x="20270" y="4059"/>
                  </a:cubicBezTo>
                  <a:close/>
                  <a:moveTo>
                    <a:pt x="1741" y="4587"/>
                  </a:moveTo>
                  <a:cubicBezTo>
                    <a:pt x="1665" y="4587"/>
                    <a:pt x="1602" y="4667"/>
                    <a:pt x="1602" y="4764"/>
                  </a:cubicBezTo>
                  <a:cubicBezTo>
                    <a:pt x="1602" y="4862"/>
                    <a:pt x="1665" y="4941"/>
                    <a:pt x="1741" y="4941"/>
                  </a:cubicBezTo>
                  <a:cubicBezTo>
                    <a:pt x="1817" y="4941"/>
                    <a:pt x="1878" y="4862"/>
                    <a:pt x="1878" y="4764"/>
                  </a:cubicBezTo>
                  <a:cubicBezTo>
                    <a:pt x="1878" y="4667"/>
                    <a:pt x="1817" y="4587"/>
                    <a:pt x="1741" y="4587"/>
                  </a:cubicBezTo>
                  <a:close/>
                  <a:moveTo>
                    <a:pt x="2111" y="4587"/>
                  </a:moveTo>
                  <a:cubicBezTo>
                    <a:pt x="2035" y="4587"/>
                    <a:pt x="1972" y="4667"/>
                    <a:pt x="1972" y="4764"/>
                  </a:cubicBezTo>
                  <a:cubicBezTo>
                    <a:pt x="1972" y="4862"/>
                    <a:pt x="2035" y="4941"/>
                    <a:pt x="2111" y="4941"/>
                  </a:cubicBezTo>
                  <a:cubicBezTo>
                    <a:pt x="2187" y="4941"/>
                    <a:pt x="2248" y="4862"/>
                    <a:pt x="2248" y="4764"/>
                  </a:cubicBezTo>
                  <a:cubicBezTo>
                    <a:pt x="2248" y="4667"/>
                    <a:pt x="2187" y="4587"/>
                    <a:pt x="2111" y="4587"/>
                  </a:cubicBezTo>
                  <a:close/>
                  <a:moveTo>
                    <a:pt x="2522" y="4587"/>
                  </a:moveTo>
                  <a:cubicBezTo>
                    <a:pt x="2445" y="4587"/>
                    <a:pt x="2383" y="4667"/>
                    <a:pt x="2383" y="4764"/>
                  </a:cubicBezTo>
                  <a:cubicBezTo>
                    <a:pt x="2383" y="4862"/>
                    <a:pt x="2445" y="4941"/>
                    <a:pt x="2522" y="4941"/>
                  </a:cubicBezTo>
                  <a:cubicBezTo>
                    <a:pt x="2598" y="4941"/>
                    <a:pt x="2659" y="4862"/>
                    <a:pt x="2659" y="4764"/>
                  </a:cubicBezTo>
                  <a:cubicBezTo>
                    <a:pt x="2659" y="4667"/>
                    <a:pt x="2598" y="4587"/>
                    <a:pt x="2522" y="4587"/>
                  </a:cubicBezTo>
                  <a:close/>
                  <a:moveTo>
                    <a:pt x="2891" y="4587"/>
                  </a:moveTo>
                  <a:cubicBezTo>
                    <a:pt x="2815" y="4587"/>
                    <a:pt x="2753" y="4667"/>
                    <a:pt x="2753" y="4764"/>
                  </a:cubicBezTo>
                  <a:cubicBezTo>
                    <a:pt x="2753" y="4862"/>
                    <a:pt x="2815" y="4941"/>
                    <a:pt x="2891" y="4941"/>
                  </a:cubicBezTo>
                  <a:cubicBezTo>
                    <a:pt x="2968" y="4941"/>
                    <a:pt x="3029" y="4862"/>
                    <a:pt x="3029" y="4764"/>
                  </a:cubicBezTo>
                  <a:cubicBezTo>
                    <a:pt x="3029" y="4667"/>
                    <a:pt x="2968" y="4587"/>
                    <a:pt x="2891" y="4587"/>
                  </a:cubicBezTo>
                  <a:close/>
                  <a:moveTo>
                    <a:pt x="3302" y="4587"/>
                  </a:moveTo>
                  <a:cubicBezTo>
                    <a:pt x="3226" y="4587"/>
                    <a:pt x="3164" y="4667"/>
                    <a:pt x="3164" y="4764"/>
                  </a:cubicBezTo>
                  <a:cubicBezTo>
                    <a:pt x="3164" y="4862"/>
                    <a:pt x="3226" y="4941"/>
                    <a:pt x="3302" y="4941"/>
                  </a:cubicBezTo>
                  <a:cubicBezTo>
                    <a:pt x="3379" y="4941"/>
                    <a:pt x="3440" y="4862"/>
                    <a:pt x="3440" y="4764"/>
                  </a:cubicBezTo>
                  <a:cubicBezTo>
                    <a:pt x="3440" y="4667"/>
                    <a:pt x="3379" y="4587"/>
                    <a:pt x="3302" y="4587"/>
                  </a:cubicBezTo>
                  <a:close/>
                  <a:moveTo>
                    <a:pt x="3713" y="4587"/>
                  </a:moveTo>
                  <a:cubicBezTo>
                    <a:pt x="3637" y="4587"/>
                    <a:pt x="3575" y="4667"/>
                    <a:pt x="3575" y="4764"/>
                  </a:cubicBezTo>
                  <a:cubicBezTo>
                    <a:pt x="3575" y="4862"/>
                    <a:pt x="3637" y="4941"/>
                    <a:pt x="3713" y="4941"/>
                  </a:cubicBezTo>
                  <a:cubicBezTo>
                    <a:pt x="3790" y="4941"/>
                    <a:pt x="3851" y="4862"/>
                    <a:pt x="3851" y="4764"/>
                  </a:cubicBezTo>
                  <a:cubicBezTo>
                    <a:pt x="3851" y="4667"/>
                    <a:pt x="3790" y="4587"/>
                    <a:pt x="3713" y="4587"/>
                  </a:cubicBezTo>
                  <a:close/>
                  <a:moveTo>
                    <a:pt x="4083" y="4587"/>
                  </a:moveTo>
                  <a:cubicBezTo>
                    <a:pt x="4007" y="4587"/>
                    <a:pt x="3944" y="4667"/>
                    <a:pt x="3944" y="4764"/>
                  </a:cubicBezTo>
                  <a:cubicBezTo>
                    <a:pt x="3944" y="4862"/>
                    <a:pt x="4007" y="4941"/>
                    <a:pt x="4083" y="4941"/>
                  </a:cubicBezTo>
                  <a:cubicBezTo>
                    <a:pt x="4159" y="4941"/>
                    <a:pt x="4220" y="4862"/>
                    <a:pt x="4220" y="4764"/>
                  </a:cubicBezTo>
                  <a:cubicBezTo>
                    <a:pt x="4220" y="4667"/>
                    <a:pt x="4159" y="4587"/>
                    <a:pt x="4083" y="4587"/>
                  </a:cubicBezTo>
                  <a:close/>
                  <a:moveTo>
                    <a:pt x="4494" y="4587"/>
                  </a:moveTo>
                  <a:cubicBezTo>
                    <a:pt x="4418" y="4587"/>
                    <a:pt x="4355" y="4667"/>
                    <a:pt x="4355" y="4764"/>
                  </a:cubicBezTo>
                  <a:cubicBezTo>
                    <a:pt x="4355" y="4862"/>
                    <a:pt x="4418" y="4941"/>
                    <a:pt x="4494" y="4941"/>
                  </a:cubicBezTo>
                  <a:cubicBezTo>
                    <a:pt x="4570" y="4941"/>
                    <a:pt x="4631" y="4862"/>
                    <a:pt x="4631" y="4764"/>
                  </a:cubicBezTo>
                  <a:cubicBezTo>
                    <a:pt x="4631" y="4667"/>
                    <a:pt x="4570" y="4587"/>
                    <a:pt x="4494" y="4587"/>
                  </a:cubicBezTo>
                  <a:close/>
                  <a:moveTo>
                    <a:pt x="4864" y="4587"/>
                  </a:moveTo>
                  <a:cubicBezTo>
                    <a:pt x="4787" y="4587"/>
                    <a:pt x="4725" y="4667"/>
                    <a:pt x="4725" y="4764"/>
                  </a:cubicBezTo>
                  <a:cubicBezTo>
                    <a:pt x="4725" y="4862"/>
                    <a:pt x="4787" y="4941"/>
                    <a:pt x="4864" y="4941"/>
                  </a:cubicBezTo>
                  <a:cubicBezTo>
                    <a:pt x="4940" y="4941"/>
                    <a:pt x="5001" y="4862"/>
                    <a:pt x="5001" y="4764"/>
                  </a:cubicBezTo>
                  <a:cubicBezTo>
                    <a:pt x="5001" y="4667"/>
                    <a:pt x="4940" y="4587"/>
                    <a:pt x="4864" y="4587"/>
                  </a:cubicBezTo>
                  <a:close/>
                  <a:moveTo>
                    <a:pt x="5274" y="4587"/>
                  </a:moveTo>
                  <a:cubicBezTo>
                    <a:pt x="5198" y="4587"/>
                    <a:pt x="5136" y="4667"/>
                    <a:pt x="5136" y="4764"/>
                  </a:cubicBezTo>
                  <a:cubicBezTo>
                    <a:pt x="5136" y="4862"/>
                    <a:pt x="5198" y="4941"/>
                    <a:pt x="5274" y="4941"/>
                  </a:cubicBezTo>
                  <a:cubicBezTo>
                    <a:pt x="5351" y="4941"/>
                    <a:pt x="5412" y="4862"/>
                    <a:pt x="5412" y="4764"/>
                  </a:cubicBezTo>
                  <a:cubicBezTo>
                    <a:pt x="5412" y="4667"/>
                    <a:pt x="5351" y="4587"/>
                    <a:pt x="5274" y="4587"/>
                  </a:cubicBezTo>
                  <a:close/>
                  <a:moveTo>
                    <a:pt x="5685" y="4587"/>
                  </a:moveTo>
                  <a:cubicBezTo>
                    <a:pt x="5609" y="4587"/>
                    <a:pt x="5547" y="4667"/>
                    <a:pt x="5547" y="4764"/>
                  </a:cubicBezTo>
                  <a:cubicBezTo>
                    <a:pt x="5547" y="4862"/>
                    <a:pt x="5609" y="4941"/>
                    <a:pt x="5685" y="4941"/>
                  </a:cubicBezTo>
                  <a:cubicBezTo>
                    <a:pt x="5762" y="4941"/>
                    <a:pt x="5823" y="4862"/>
                    <a:pt x="5823" y="4764"/>
                  </a:cubicBezTo>
                  <a:cubicBezTo>
                    <a:pt x="5823" y="4667"/>
                    <a:pt x="5762" y="4587"/>
                    <a:pt x="5685" y="4587"/>
                  </a:cubicBezTo>
                  <a:close/>
                  <a:moveTo>
                    <a:pt x="6055" y="4587"/>
                  </a:moveTo>
                  <a:cubicBezTo>
                    <a:pt x="5979" y="4587"/>
                    <a:pt x="5916" y="4667"/>
                    <a:pt x="5916" y="4764"/>
                  </a:cubicBezTo>
                  <a:cubicBezTo>
                    <a:pt x="5916" y="4862"/>
                    <a:pt x="5979" y="4941"/>
                    <a:pt x="6055" y="4941"/>
                  </a:cubicBezTo>
                  <a:cubicBezTo>
                    <a:pt x="6132" y="4941"/>
                    <a:pt x="6193" y="4862"/>
                    <a:pt x="6193" y="4764"/>
                  </a:cubicBezTo>
                  <a:cubicBezTo>
                    <a:pt x="6193" y="4667"/>
                    <a:pt x="6132" y="4587"/>
                    <a:pt x="6055" y="4587"/>
                  </a:cubicBezTo>
                  <a:close/>
                  <a:moveTo>
                    <a:pt x="6425" y="4587"/>
                  </a:moveTo>
                  <a:cubicBezTo>
                    <a:pt x="6349" y="4587"/>
                    <a:pt x="6286" y="4667"/>
                    <a:pt x="6286" y="4764"/>
                  </a:cubicBezTo>
                  <a:cubicBezTo>
                    <a:pt x="6286" y="4862"/>
                    <a:pt x="6349" y="4941"/>
                    <a:pt x="6425" y="4941"/>
                  </a:cubicBezTo>
                  <a:cubicBezTo>
                    <a:pt x="6501" y="4941"/>
                    <a:pt x="6562" y="4862"/>
                    <a:pt x="6562" y="4764"/>
                  </a:cubicBezTo>
                  <a:cubicBezTo>
                    <a:pt x="6562" y="4667"/>
                    <a:pt x="6501" y="4587"/>
                    <a:pt x="6425" y="4587"/>
                  </a:cubicBezTo>
                  <a:close/>
                  <a:moveTo>
                    <a:pt x="6836" y="4587"/>
                  </a:moveTo>
                  <a:cubicBezTo>
                    <a:pt x="6759" y="4587"/>
                    <a:pt x="6697" y="4667"/>
                    <a:pt x="6697" y="4764"/>
                  </a:cubicBezTo>
                  <a:cubicBezTo>
                    <a:pt x="6697" y="4862"/>
                    <a:pt x="6759" y="4941"/>
                    <a:pt x="6836" y="4941"/>
                  </a:cubicBezTo>
                  <a:cubicBezTo>
                    <a:pt x="6912" y="4941"/>
                    <a:pt x="6973" y="4862"/>
                    <a:pt x="6973" y="4764"/>
                  </a:cubicBezTo>
                  <a:cubicBezTo>
                    <a:pt x="6973" y="4667"/>
                    <a:pt x="6912" y="4587"/>
                    <a:pt x="6836" y="4587"/>
                  </a:cubicBezTo>
                  <a:close/>
                  <a:moveTo>
                    <a:pt x="7247" y="4587"/>
                  </a:moveTo>
                  <a:cubicBezTo>
                    <a:pt x="7170" y="4587"/>
                    <a:pt x="7108" y="4667"/>
                    <a:pt x="7108" y="4764"/>
                  </a:cubicBezTo>
                  <a:cubicBezTo>
                    <a:pt x="7108" y="4862"/>
                    <a:pt x="7170" y="4941"/>
                    <a:pt x="7247" y="4941"/>
                  </a:cubicBezTo>
                  <a:cubicBezTo>
                    <a:pt x="7323" y="4941"/>
                    <a:pt x="7384" y="4862"/>
                    <a:pt x="7384" y="4764"/>
                  </a:cubicBezTo>
                  <a:cubicBezTo>
                    <a:pt x="7384" y="4667"/>
                    <a:pt x="7323" y="4587"/>
                    <a:pt x="7247" y="4587"/>
                  </a:cubicBezTo>
                  <a:close/>
                  <a:moveTo>
                    <a:pt x="7616" y="4587"/>
                  </a:moveTo>
                  <a:cubicBezTo>
                    <a:pt x="7540" y="4587"/>
                    <a:pt x="7478" y="4667"/>
                    <a:pt x="7478" y="4764"/>
                  </a:cubicBezTo>
                  <a:cubicBezTo>
                    <a:pt x="7478" y="4862"/>
                    <a:pt x="7540" y="4941"/>
                    <a:pt x="7616" y="4941"/>
                  </a:cubicBezTo>
                  <a:cubicBezTo>
                    <a:pt x="7693" y="4941"/>
                    <a:pt x="7754" y="4862"/>
                    <a:pt x="7754" y="4764"/>
                  </a:cubicBezTo>
                  <a:cubicBezTo>
                    <a:pt x="7754" y="4667"/>
                    <a:pt x="7693" y="4587"/>
                    <a:pt x="7616" y="4587"/>
                  </a:cubicBezTo>
                  <a:close/>
                  <a:moveTo>
                    <a:pt x="8027" y="4587"/>
                  </a:moveTo>
                  <a:cubicBezTo>
                    <a:pt x="7951" y="4587"/>
                    <a:pt x="7889" y="4667"/>
                    <a:pt x="7889" y="4764"/>
                  </a:cubicBezTo>
                  <a:cubicBezTo>
                    <a:pt x="7889" y="4862"/>
                    <a:pt x="7951" y="4941"/>
                    <a:pt x="8027" y="4941"/>
                  </a:cubicBezTo>
                  <a:cubicBezTo>
                    <a:pt x="8104" y="4941"/>
                    <a:pt x="8165" y="4862"/>
                    <a:pt x="8165" y="4764"/>
                  </a:cubicBezTo>
                  <a:cubicBezTo>
                    <a:pt x="8165" y="4667"/>
                    <a:pt x="8104" y="4587"/>
                    <a:pt x="8027" y="4587"/>
                  </a:cubicBezTo>
                  <a:close/>
                  <a:moveTo>
                    <a:pt x="8438" y="4587"/>
                  </a:moveTo>
                  <a:cubicBezTo>
                    <a:pt x="8362" y="4587"/>
                    <a:pt x="8299" y="4667"/>
                    <a:pt x="8299" y="4764"/>
                  </a:cubicBezTo>
                  <a:cubicBezTo>
                    <a:pt x="8299" y="4862"/>
                    <a:pt x="8362" y="4941"/>
                    <a:pt x="8438" y="4941"/>
                  </a:cubicBezTo>
                  <a:cubicBezTo>
                    <a:pt x="8515" y="4941"/>
                    <a:pt x="8576" y="4862"/>
                    <a:pt x="8576" y="4764"/>
                  </a:cubicBezTo>
                  <a:cubicBezTo>
                    <a:pt x="8576" y="4667"/>
                    <a:pt x="8515" y="4587"/>
                    <a:pt x="8438" y="4587"/>
                  </a:cubicBezTo>
                  <a:close/>
                  <a:moveTo>
                    <a:pt x="8808" y="4587"/>
                  </a:moveTo>
                  <a:cubicBezTo>
                    <a:pt x="8732" y="4587"/>
                    <a:pt x="8669" y="4667"/>
                    <a:pt x="8669" y="4764"/>
                  </a:cubicBezTo>
                  <a:cubicBezTo>
                    <a:pt x="8669" y="4862"/>
                    <a:pt x="8732" y="4941"/>
                    <a:pt x="8808" y="4941"/>
                  </a:cubicBezTo>
                  <a:cubicBezTo>
                    <a:pt x="8884" y="4941"/>
                    <a:pt x="8945" y="4862"/>
                    <a:pt x="8945" y="4764"/>
                  </a:cubicBezTo>
                  <a:cubicBezTo>
                    <a:pt x="8945" y="4667"/>
                    <a:pt x="8884" y="4587"/>
                    <a:pt x="8808" y="4587"/>
                  </a:cubicBezTo>
                  <a:close/>
                  <a:moveTo>
                    <a:pt x="9219" y="4587"/>
                  </a:moveTo>
                  <a:cubicBezTo>
                    <a:pt x="9142" y="4587"/>
                    <a:pt x="9080" y="4667"/>
                    <a:pt x="9080" y="4764"/>
                  </a:cubicBezTo>
                  <a:cubicBezTo>
                    <a:pt x="9080" y="4862"/>
                    <a:pt x="9142" y="4941"/>
                    <a:pt x="9219" y="4941"/>
                  </a:cubicBezTo>
                  <a:cubicBezTo>
                    <a:pt x="9295" y="4941"/>
                    <a:pt x="9356" y="4862"/>
                    <a:pt x="9356" y="4764"/>
                  </a:cubicBezTo>
                  <a:cubicBezTo>
                    <a:pt x="9356" y="4667"/>
                    <a:pt x="9295" y="4587"/>
                    <a:pt x="9219" y="4587"/>
                  </a:cubicBezTo>
                  <a:close/>
                  <a:moveTo>
                    <a:pt x="9589" y="4587"/>
                  </a:moveTo>
                  <a:cubicBezTo>
                    <a:pt x="9512" y="4587"/>
                    <a:pt x="9450" y="4667"/>
                    <a:pt x="9450" y="4764"/>
                  </a:cubicBezTo>
                  <a:cubicBezTo>
                    <a:pt x="9450" y="4862"/>
                    <a:pt x="9512" y="4941"/>
                    <a:pt x="9589" y="4941"/>
                  </a:cubicBezTo>
                  <a:cubicBezTo>
                    <a:pt x="9665" y="4941"/>
                    <a:pt x="9726" y="4862"/>
                    <a:pt x="9726" y="4764"/>
                  </a:cubicBezTo>
                  <a:cubicBezTo>
                    <a:pt x="9726" y="4667"/>
                    <a:pt x="9665" y="4587"/>
                    <a:pt x="9589" y="4587"/>
                  </a:cubicBezTo>
                  <a:close/>
                  <a:moveTo>
                    <a:pt x="9999" y="4587"/>
                  </a:moveTo>
                  <a:cubicBezTo>
                    <a:pt x="9923" y="4587"/>
                    <a:pt x="9861" y="4667"/>
                    <a:pt x="9861" y="4764"/>
                  </a:cubicBezTo>
                  <a:cubicBezTo>
                    <a:pt x="9861" y="4862"/>
                    <a:pt x="9923" y="4941"/>
                    <a:pt x="9999" y="4941"/>
                  </a:cubicBezTo>
                  <a:cubicBezTo>
                    <a:pt x="10076" y="4941"/>
                    <a:pt x="10137" y="4862"/>
                    <a:pt x="10137" y="4764"/>
                  </a:cubicBezTo>
                  <a:cubicBezTo>
                    <a:pt x="10137" y="4667"/>
                    <a:pt x="10076" y="4587"/>
                    <a:pt x="9999" y="4587"/>
                  </a:cubicBezTo>
                  <a:close/>
                  <a:moveTo>
                    <a:pt x="10410" y="4587"/>
                  </a:moveTo>
                  <a:cubicBezTo>
                    <a:pt x="10334" y="4587"/>
                    <a:pt x="10272" y="4667"/>
                    <a:pt x="10272" y="4764"/>
                  </a:cubicBezTo>
                  <a:cubicBezTo>
                    <a:pt x="10272" y="4862"/>
                    <a:pt x="10334" y="4941"/>
                    <a:pt x="10410" y="4941"/>
                  </a:cubicBezTo>
                  <a:cubicBezTo>
                    <a:pt x="10487" y="4941"/>
                    <a:pt x="10548" y="4862"/>
                    <a:pt x="10548" y="4764"/>
                  </a:cubicBezTo>
                  <a:cubicBezTo>
                    <a:pt x="10548" y="4667"/>
                    <a:pt x="10487" y="4587"/>
                    <a:pt x="10410" y="4587"/>
                  </a:cubicBezTo>
                  <a:close/>
                  <a:moveTo>
                    <a:pt x="10780" y="4587"/>
                  </a:moveTo>
                  <a:cubicBezTo>
                    <a:pt x="10704" y="4587"/>
                    <a:pt x="10641" y="4667"/>
                    <a:pt x="10641" y="4764"/>
                  </a:cubicBezTo>
                  <a:cubicBezTo>
                    <a:pt x="10641" y="4862"/>
                    <a:pt x="10704" y="4941"/>
                    <a:pt x="10780" y="4941"/>
                  </a:cubicBezTo>
                  <a:cubicBezTo>
                    <a:pt x="10856" y="4941"/>
                    <a:pt x="10917" y="4862"/>
                    <a:pt x="10917" y="4764"/>
                  </a:cubicBezTo>
                  <a:cubicBezTo>
                    <a:pt x="10917" y="4667"/>
                    <a:pt x="10856" y="4587"/>
                    <a:pt x="10780" y="4587"/>
                  </a:cubicBezTo>
                  <a:close/>
                  <a:moveTo>
                    <a:pt x="11191" y="4587"/>
                  </a:moveTo>
                  <a:cubicBezTo>
                    <a:pt x="11115" y="4587"/>
                    <a:pt x="11052" y="4667"/>
                    <a:pt x="11052" y="4764"/>
                  </a:cubicBezTo>
                  <a:cubicBezTo>
                    <a:pt x="11052" y="4862"/>
                    <a:pt x="11115" y="4941"/>
                    <a:pt x="11191" y="4941"/>
                  </a:cubicBezTo>
                  <a:cubicBezTo>
                    <a:pt x="11267" y="4941"/>
                    <a:pt x="11328" y="4862"/>
                    <a:pt x="11328" y="4764"/>
                  </a:cubicBezTo>
                  <a:cubicBezTo>
                    <a:pt x="11328" y="4667"/>
                    <a:pt x="11267" y="4587"/>
                    <a:pt x="11191" y="4587"/>
                  </a:cubicBezTo>
                  <a:close/>
                  <a:moveTo>
                    <a:pt x="11602" y="4587"/>
                  </a:moveTo>
                  <a:cubicBezTo>
                    <a:pt x="11525" y="4587"/>
                    <a:pt x="11463" y="4667"/>
                    <a:pt x="11463" y="4764"/>
                  </a:cubicBezTo>
                  <a:cubicBezTo>
                    <a:pt x="11463" y="4862"/>
                    <a:pt x="11525" y="4941"/>
                    <a:pt x="11602" y="4941"/>
                  </a:cubicBezTo>
                  <a:cubicBezTo>
                    <a:pt x="11678" y="4941"/>
                    <a:pt x="11739" y="4862"/>
                    <a:pt x="11739" y="4764"/>
                  </a:cubicBezTo>
                  <a:cubicBezTo>
                    <a:pt x="11739" y="4667"/>
                    <a:pt x="11678" y="4587"/>
                    <a:pt x="11602" y="4587"/>
                  </a:cubicBezTo>
                  <a:close/>
                  <a:moveTo>
                    <a:pt x="11972" y="4587"/>
                  </a:moveTo>
                  <a:cubicBezTo>
                    <a:pt x="11895" y="4587"/>
                    <a:pt x="11833" y="4667"/>
                    <a:pt x="11833" y="4764"/>
                  </a:cubicBezTo>
                  <a:cubicBezTo>
                    <a:pt x="11833" y="4862"/>
                    <a:pt x="11895" y="4941"/>
                    <a:pt x="11972" y="4941"/>
                  </a:cubicBezTo>
                  <a:cubicBezTo>
                    <a:pt x="12048" y="4941"/>
                    <a:pt x="12109" y="4862"/>
                    <a:pt x="12109" y="4764"/>
                  </a:cubicBezTo>
                  <a:cubicBezTo>
                    <a:pt x="12109" y="4667"/>
                    <a:pt x="12048" y="4587"/>
                    <a:pt x="11972" y="4587"/>
                  </a:cubicBezTo>
                  <a:close/>
                  <a:moveTo>
                    <a:pt x="12382" y="4587"/>
                  </a:moveTo>
                  <a:cubicBezTo>
                    <a:pt x="12306" y="4587"/>
                    <a:pt x="12244" y="4667"/>
                    <a:pt x="12244" y="4764"/>
                  </a:cubicBezTo>
                  <a:cubicBezTo>
                    <a:pt x="12244" y="4862"/>
                    <a:pt x="12306" y="4941"/>
                    <a:pt x="12382" y="4941"/>
                  </a:cubicBezTo>
                  <a:cubicBezTo>
                    <a:pt x="12459" y="4941"/>
                    <a:pt x="12520" y="4862"/>
                    <a:pt x="12520" y="4764"/>
                  </a:cubicBezTo>
                  <a:cubicBezTo>
                    <a:pt x="12520" y="4667"/>
                    <a:pt x="12459" y="4587"/>
                    <a:pt x="12382" y="4587"/>
                  </a:cubicBezTo>
                  <a:close/>
                  <a:moveTo>
                    <a:pt x="12793" y="4587"/>
                  </a:moveTo>
                  <a:cubicBezTo>
                    <a:pt x="12717" y="4587"/>
                    <a:pt x="12655" y="4667"/>
                    <a:pt x="12655" y="4764"/>
                  </a:cubicBezTo>
                  <a:cubicBezTo>
                    <a:pt x="12655" y="4862"/>
                    <a:pt x="12717" y="4941"/>
                    <a:pt x="12793" y="4941"/>
                  </a:cubicBezTo>
                  <a:cubicBezTo>
                    <a:pt x="12869" y="4941"/>
                    <a:pt x="12931" y="4862"/>
                    <a:pt x="12931" y="4764"/>
                  </a:cubicBezTo>
                  <a:cubicBezTo>
                    <a:pt x="12931" y="4667"/>
                    <a:pt x="12869" y="4587"/>
                    <a:pt x="12793" y="4587"/>
                  </a:cubicBezTo>
                  <a:close/>
                  <a:moveTo>
                    <a:pt x="13163" y="4587"/>
                  </a:moveTo>
                  <a:cubicBezTo>
                    <a:pt x="13087" y="4587"/>
                    <a:pt x="13024" y="4667"/>
                    <a:pt x="13024" y="4764"/>
                  </a:cubicBezTo>
                  <a:cubicBezTo>
                    <a:pt x="13024" y="4862"/>
                    <a:pt x="13087" y="4941"/>
                    <a:pt x="13163" y="4941"/>
                  </a:cubicBezTo>
                  <a:cubicBezTo>
                    <a:pt x="13239" y="4941"/>
                    <a:pt x="13301" y="4862"/>
                    <a:pt x="13301" y="4764"/>
                  </a:cubicBezTo>
                  <a:cubicBezTo>
                    <a:pt x="13301" y="4667"/>
                    <a:pt x="13239" y="4587"/>
                    <a:pt x="13163" y="4587"/>
                  </a:cubicBezTo>
                  <a:close/>
                  <a:moveTo>
                    <a:pt x="13574" y="4587"/>
                  </a:moveTo>
                  <a:cubicBezTo>
                    <a:pt x="13498" y="4587"/>
                    <a:pt x="13435" y="4667"/>
                    <a:pt x="13435" y="4764"/>
                  </a:cubicBezTo>
                  <a:cubicBezTo>
                    <a:pt x="13435" y="4862"/>
                    <a:pt x="13498" y="4941"/>
                    <a:pt x="13574" y="4941"/>
                  </a:cubicBezTo>
                  <a:cubicBezTo>
                    <a:pt x="13650" y="4941"/>
                    <a:pt x="13711" y="4862"/>
                    <a:pt x="13711" y="4764"/>
                  </a:cubicBezTo>
                  <a:cubicBezTo>
                    <a:pt x="13711" y="4667"/>
                    <a:pt x="13650" y="4587"/>
                    <a:pt x="13574" y="4587"/>
                  </a:cubicBezTo>
                  <a:close/>
                  <a:moveTo>
                    <a:pt x="13944" y="4587"/>
                  </a:moveTo>
                  <a:cubicBezTo>
                    <a:pt x="13868" y="4587"/>
                    <a:pt x="13805" y="4667"/>
                    <a:pt x="13805" y="4764"/>
                  </a:cubicBezTo>
                  <a:cubicBezTo>
                    <a:pt x="13805" y="4862"/>
                    <a:pt x="13868" y="4941"/>
                    <a:pt x="13944" y="4941"/>
                  </a:cubicBezTo>
                  <a:cubicBezTo>
                    <a:pt x="14020" y="4941"/>
                    <a:pt x="14081" y="4862"/>
                    <a:pt x="14081" y="4764"/>
                  </a:cubicBezTo>
                  <a:cubicBezTo>
                    <a:pt x="14081" y="4667"/>
                    <a:pt x="14020" y="4587"/>
                    <a:pt x="13944" y="4587"/>
                  </a:cubicBezTo>
                  <a:close/>
                  <a:moveTo>
                    <a:pt x="14355" y="4587"/>
                  </a:moveTo>
                  <a:cubicBezTo>
                    <a:pt x="14278" y="4587"/>
                    <a:pt x="14216" y="4667"/>
                    <a:pt x="14216" y="4764"/>
                  </a:cubicBezTo>
                  <a:cubicBezTo>
                    <a:pt x="14216" y="4862"/>
                    <a:pt x="14278" y="4941"/>
                    <a:pt x="14355" y="4941"/>
                  </a:cubicBezTo>
                  <a:cubicBezTo>
                    <a:pt x="14431" y="4941"/>
                    <a:pt x="14492" y="4862"/>
                    <a:pt x="14492" y="4764"/>
                  </a:cubicBezTo>
                  <a:cubicBezTo>
                    <a:pt x="14492" y="4667"/>
                    <a:pt x="14431" y="4587"/>
                    <a:pt x="14355" y="4587"/>
                  </a:cubicBezTo>
                  <a:close/>
                  <a:moveTo>
                    <a:pt x="14765" y="4587"/>
                  </a:moveTo>
                  <a:cubicBezTo>
                    <a:pt x="14689" y="4587"/>
                    <a:pt x="14627" y="4667"/>
                    <a:pt x="14627" y="4764"/>
                  </a:cubicBezTo>
                  <a:cubicBezTo>
                    <a:pt x="14627" y="4862"/>
                    <a:pt x="14689" y="4941"/>
                    <a:pt x="14765" y="4941"/>
                  </a:cubicBezTo>
                  <a:cubicBezTo>
                    <a:pt x="14842" y="4941"/>
                    <a:pt x="14903" y="4862"/>
                    <a:pt x="14903" y="4764"/>
                  </a:cubicBezTo>
                  <a:cubicBezTo>
                    <a:pt x="14903" y="4667"/>
                    <a:pt x="14842" y="4587"/>
                    <a:pt x="14765" y="4587"/>
                  </a:cubicBezTo>
                  <a:close/>
                  <a:moveTo>
                    <a:pt x="15176" y="4587"/>
                  </a:moveTo>
                  <a:cubicBezTo>
                    <a:pt x="15100" y="4587"/>
                    <a:pt x="15038" y="4667"/>
                    <a:pt x="15038" y="4764"/>
                  </a:cubicBezTo>
                  <a:cubicBezTo>
                    <a:pt x="15038" y="4862"/>
                    <a:pt x="15100" y="4941"/>
                    <a:pt x="15176" y="4941"/>
                  </a:cubicBezTo>
                  <a:cubicBezTo>
                    <a:pt x="15253" y="4941"/>
                    <a:pt x="15314" y="4862"/>
                    <a:pt x="15314" y="4764"/>
                  </a:cubicBezTo>
                  <a:cubicBezTo>
                    <a:pt x="15314" y="4667"/>
                    <a:pt x="15253" y="4587"/>
                    <a:pt x="15176" y="4587"/>
                  </a:cubicBezTo>
                  <a:close/>
                  <a:moveTo>
                    <a:pt x="15546" y="4587"/>
                  </a:moveTo>
                  <a:cubicBezTo>
                    <a:pt x="15470" y="4587"/>
                    <a:pt x="15407" y="4667"/>
                    <a:pt x="15407" y="4764"/>
                  </a:cubicBezTo>
                  <a:cubicBezTo>
                    <a:pt x="15407" y="4862"/>
                    <a:pt x="15470" y="4941"/>
                    <a:pt x="15546" y="4941"/>
                  </a:cubicBezTo>
                  <a:cubicBezTo>
                    <a:pt x="15623" y="4941"/>
                    <a:pt x="15684" y="4862"/>
                    <a:pt x="15684" y="4764"/>
                  </a:cubicBezTo>
                  <a:cubicBezTo>
                    <a:pt x="15684" y="4667"/>
                    <a:pt x="15623" y="4587"/>
                    <a:pt x="15546" y="4587"/>
                  </a:cubicBezTo>
                  <a:close/>
                  <a:moveTo>
                    <a:pt x="15957" y="4587"/>
                  </a:moveTo>
                  <a:cubicBezTo>
                    <a:pt x="15881" y="4587"/>
                    <a:pt x="15818" y="4667"/>
                    <a:pt x="15818" y="4764"/>
                  </a:cubicBezTo>
                  <a:cubicBezTo>
                    <a:pt x="15818" y="4862"/>
                    <a:pt x="15881" y="4941"/>
                    <a:pt x="15957" y="4941"/>
                  </a:cubicBezTo>
                  <a:cubicBezTo>
                    <a:pt x="16033" y="4941"/>
                    <a:pt x="16094" y="4862"/>
                    <a:pt x="16094" y="4764"/>
                  </a:cubicBezTo>
                  <a:cubicBezTo>
                    <a:pt x="16094" y="4667"/>
                    <a:pt x="16033" y="4587"/>
                    <a:pt x="15957" y="4587"/>
                  </a:cubicBezTo>
                  <a:close/>
                  <a:moveTo>
                    <a:pt x="16327" y="4587"/>
                  </a:moveTo>
                  <a:cubicBezTo>
                    <a:pt x="16251" y="4587"/>
                    <a:pt x="16188" y="4667"/>
                    <a:pt x="16188" y="4764"/>
                  </a:cubicBezTo>
                  <a:cubicBezTo>
                    <a:pt x="16188" y="4862"/>
                    <a:pt x="16251" y="4941"/>
                    <a:pt x="16327" y="4941"/>
                  </a:cubicBezTo>
                  <a:cubicBezTo>
                    <a:pt x="16403" y="4941"/>
                    <a:pt x="16464" y="4862"/>
                    <a:pt x="16464" y="4764"/>
                  </a:cubicBezTo>
                  <a:cubicBezTo>
                    <a:pt x="16464" y="4667"/>
                    <a:pt x="16403" y="4587"/>
                    <a:pt x="16327" y="4587"/>
                  </a:cubicBezTo>
                  <a:close/>
                  <a:moveTo>
                    <a:pt x="19121" y="4587"/>
                  </a:moveTo>
                  <a:cubicBezTo>
                    <a:pt x="19044" y="4587"/>
                    <a:pt x="18982" y="4667"/>
                    <a:pt x="18982" y="4764"/>
                  </a:cubicBezTo>
                  <a:cubicBezTo>
                    <a:pt x="18982" y="4862"/>
                    <a:pt x="19044" y="4942"/>
                    <a:pt x="19121" y="4942"/>
                  </a:cubicBezTo>
                  <a:cubicBezTo>
                    <a:pt x="19197" y="4942"/>
                    <a:pt x="19258" y="4862"/>
                    <a:pt x="19258" y="4764"/>
                  </a:cubicBezTo>
                  <a:cubicBezTo>
                    <a:pt x="19258" y="4667"/>
                    <a:pt x="19197" y="4587"/>
                    <a:pt x="19121" y="4587"/>
                  </a:cubicBezTo>
                  <a:close/>
                  <a:moveTo>
                    <a:pt x="19490" y="4587"/>
                  </a:moveTo>
                  <a:cubicBezTo>
                    <a:pt x="19414" y="4587"/>
                    <a:pt x="19352" y="4667"/>
                    <a:pt x="19352" y="4764"/>
                  </a:cubicBezTo>
                  <a:cubicBezTo>
                    <a:pt x="19352" y="4862"/>
                    <a:pt x="19414" y="4942"/>
                    <a:pt x="19490" y="4942"/>
                  </a:cubicBezTo>
                  <a:cubicBezTo>
                    <a:pt x="19567" y="4942"/>
                    <a:pt x="19628" y="4862"/>
                    <a:pt x="19628" y="4764"/>
                  </a:cubicBezTo>
                  <a:cubicBezTo>
                    <a:pt x="19628" y="4667"/>
                    <a:pt x="19567" y="4587"/>
                    <a:pt x="19490" y="4587"/>
                  </a:cubicBezTo>
                  <a:close/>
                  <a:moveTo>
                    <a:pt x="2111" y="5061"/>
                  </a:moveTo>
                  <a:cubicBezTo>
                    <a:pt x="2035" y="5061"/>
                    <a:pt x="1972" y="5141"/>
                    <a:pt x="1972" y="5239"/>
                  </a:cubicBezTo>
                  <a:cubicBezTo>
                    <a:pt x="1972" y="5337"/>
                    <a:pt x="2035" y="5415"/>
                    <a:pt x="2111" y="5415"/>
                  </a:cubicBezTo>
                  <a:cubicBezTo>
                    <a:pt x="2187" y="5415"/>
                    <a:pt x="2248" y="5337"/>
                    <a:pt x="2248" y="5239"/>
                  </a:cubicBezTo>
                  <a:cubicBezTo>
                    <a:pt x="2248" y="5141"/>
                    <a:pt x="2187" y="5061"/>
                    <a:pt x="2111" y="5061"/>
                  </a:cubicBezTo>
                  <a:close/>
                  <a:moveTo>
                    <a:pt x="2522" y="5061"/>
                  </a:moveTo>
                  <a:cubicBezTo>
                    <a:pt x="2445" y="5061"/>
                    <a:pt x="2383" y="5141"/>
                    <a:pt x="2383" y="5239"/>
                  </a:cubicBezTo>
                  <a:cubicBezTo>
                    <a:pt x="2383" y="5337"/>
                    <a:pt x="2445" y="5415"/>
                    <a:pt x="2522" y="5415"/>
                  </a:cubicBezTo>
                  <a:cubicBezTo>
                    <a:pt x="2598" y="5415"/>
                    <a:pt x="2659" y="5337"/>
                    <a:pt x="2659" y="5239"/>
                  </a:cubicBezTo>
                  <a:cubicBezTo>
                    <a:pt x="2659" y="5141"/>
                    <a:pt x="2598" y="5061"/>
                    <a:pt x="2522" y="5061"/>
                  </a:cubicBezTo>
                  <a:close/>
                  <a:moveTo>
                    <a:pt x="2891" y="5061"/>
                  </a:moveTo>
                  <a:cubicBezTo>
                    <a:pt x="2815" y="5061"/>
                    <a:pt x="2753" y="5141"/>
                    <a:pt x="2753" y="5239"/>
                  </a:cubicBezTo>
                  <a:cubicBezTo>
                    <a:pt x="2753" y="5337"/>
                    <a:pt x="2815" y="5415"/>
                    <a:pt x="2891" y="5415"/>
                  </a:cubicBezTo>
                  <a:cubicBezTo>
                    <a:pt x="2968" y="5415"/>
                    <a:pt x="3029" y="5337"/>
                    <a:pt x="3029" y="5239"/>
                  </a:cubicBezTo>
                  <a:cubicBezTo>
                    <a:pt x="3029" y="5141"/>
                    <a:pt x="2968" y="5061"/>
                    <a:pt x="2891" y="5061"/>
                  </a:cubicBezTo>
                  <a:close/>
                  <a:moveTo>
                    <a:pt x="3302" y="5061"/>
                  </a:moveTo>
                  <a:cubicBezTo>
                    <a:pt x="3226" y="5061"/>
                    <a:pt x="3164" y="5141"/>
                    <a:pt x="3164" y="5239"/>
                  </a:cubicBezTo>
                  <a:cubicBezTo>
                    <a:pt x="3164" y="5337"/>
                    <a:pt x="3226" y="5415"/>
                    <a:pt x="3302" y="5415"/>
                  </a:cubicBezTo>
                  <a:cubicBezTo>
                    <a:pt x="3379" y="5415"/>
                    <a:pt x="3440" y="5337"/>
                    <a:pt x="3440" y="5239"/>
                  </a:cubicBezTo>
                  <a:cubicBezTo>
                    <a:pt x="3440" y="5141"/>
                    <a:pt x="3379" y="5061"/>
                    <a:pt x="3302" y="5061"/>
                  </a:cubicBezTo>
                  <a:close/>
                  <a:moveTo>
                    <a:pt x="3713" y="5061"/>
                  </a:moveTo>
                  <a:cubicBezTo>
                    <a:pt x="3637" y="5061"/>
                    <a:pt x="3575" y="5141"/>
                    <a:pt x="3575" y="5239"/>
                  </a:cubicBezTo>
                  <a:cubicBezTo>
                    <a:pt x="3575" y="5337"/>
                    <a:pt x="3637" y="5415"/>
                    <a:pt x="3713" y="5415"/>
                  </a:cubicBezTo>
                  <a:cubicBezTo>
                    <a:pt x="3790" y="5415"/>
                    <a:pt x="3851" y="5337"/>
                    <a:pt x="3851" y="5239"/>
                  </a:cubicBezTo>
                  <a:cubicBezTo>
                    <a:pt x="3851" y="5141"/>
                    <a:pt x="3790" y="5061"/>
                    <a:pt x="3713" y="5061"/>
                  </a:cubicBezTo>
                  <a:close/>
                  <a:moveTo>
                    <a:pt x="4083" y="5061"/>
                  </a:moveTo>
                  <a:cubicBezTo>
                    <a:pt x="4007" y="5061"/>
                    <a:pt x="3944" y="5141"/>
                    <a:pt x="3944" y="5239"/>
                  </a:cubicBezTo>
                  <a:cubicBezTo>
                    <a:pt x="3944" y="5337"/>
                    <a:pt x="4007" y="5415"/>
                    <a:pt x="4083" y="5415"/>
                  </a:cubicBezTo>
                  <a:cubicBezTo>
                    <a:pt x="4159" y="5415"/>
                    <a:pt x="4220" y="5337"/>
                    <a:pt x="4220" y="5239"/>
                  </a:cubicBezTo>
                  <a:cubicBezTo>
                    <a:pt x="4220" y="5141"/>
                    <a:pt x="4159" y="5061"/>
                    <a:pt x="4083" y="5061"/>
                  </a:cubicBezTo>
                  <a:close/>
                  <a:moveTo>
                    <a:pt x="4494" y="5061"/>
                  </a:moveTo>
                  <a:cubicBezTo>
                    <a:pt x="4418" y="5061"/>
                    <a:pt x="4355" y="5141"/>
                    <a:pt x="4355" y="5239"/>
                  </a:cubicBezTo>
                  <a:cubicBezTo>
                    <a:pt x="4355" y="5337"/>
                    <a:pt x="4418" y="5415"/>
                    <a:pt x="4494" y="5415"/>
                  </a:cubicBezTo>
                  <a:cubicBezTo>
                    <a:pt x="4570" y="5415"/>
                    <a:pt x="4631" y="5337"/>
                    <a:pt x="4631" y="5239"/>
                  </a:cubicBezTo>
                  <a:cubicBezTo>
                    <a:pt x="4631" y="5141"/>
                    <a:pt x="4570" y="5061"/>
                    <a:pt x="4494" y="5061"/>
                  </a:cubicBezTo>
                  <a:close/>
                  <a:moveTo>
                    <a:pt x="4864" y="5061"/>
                  </a:moveTo>
                  <a:cubicBezTo>
                    <a:pt x="4787" y="5061"/>
                    <a:pt x="4725" y="5141"/>
                    <a:pt x="4725" y="5239"/>
                  </a:cubicBezTo>
                  <a:cubicBezTo>
                    <a:pt x="4725" y="5337"/>
                    <a:pt x="4787" y="5415"/>
                    <a:pt x="4864" y="5415"/>
                  </a:cubicBezTo>
                  <a:cubicBezTo>
                    <a:pt x="4940" y="5415"/>
                    <a:pt x="5001" y="5337"/>
                    <a:pt x="5001" y="5239"/>
                  </a:cubicBezTo>
                  <a:cubicBezTo>
                    <a:pt x="5001" y="5141"/>
                    <a:pt x="4940" y="5061"/>
                    <a:pt x="4864" y="5061"/>
                  </a:cubicBezTo>
                  <a:close/>
                  <a:moveTo>
                    <a:pt x="5274" y="5061"/>
                  </a:moveTo>
                  <a:cubicBezTo>
                    <a:pt x="5198" y="5061"/>
                    <a:pt x="5136" y="5141"/>
                    <a:pt x="5136" y="5239"/>
                  </a:cubicBezTo>
                  <a:cubicBezTo>
                    <a:pt x="5136" y="5337"/>
                    <a:pt x="5198" y="5415"/>
                    <a:pt x="5274" y="5415"/>
                  </a:cubicBezTo>
                  <a:cubicBezTo>
                    <a:pt x="5351" y="5415"/>
                    <a:pt x="5412" y="5337"/>
                    <a:pt x="5412" y="5239"/>
                  </a:cubicBezTo>
                  <a:cubicBezTo>
                    <a:pt x="5412" y="5141"/>
                    <a:pt x="5351" y="5061"/>
                    <a:pt x="5274" y="5061"/>
                  </a:cubicBezTo>
                  <a:close/>
                  <a:moveTo>
                    <a:pt x="5685" y="5061"/>
                  </a:moveTo>
                  <a:cubicBezTo>
                    <a:pt x="5609" y="5061"/>
                    <a:pt x="5547" y="5141"/>
                    <a:pt x="5547" y="5239"/>
                  </a:cubicBezTo>
                  <a:cubicBezTo>
                    <a:pt x="5547" y="5337"/>
                    <a:pt x="5609" y="5415"/>
                    <a:pt x="5685" y="5415"/>
                  </a:cubicBezTo>
                  <a:cubicBezTo>
                    <a:pt x="5762" y="5415"/>
                    <a:pt x="5823" y="5337"/>
                    <a:pt x="5823" y="5239"/>
                  </a:cubicBezTo>
                  <a:cubicBezTo>
                    <a:pt x="5823" y="5141"/>
                    <a:pt x="5762" y="5061"/>
                    <a:pt x="5685" y="5061"/>
                  </a:cubicBezTo>
                  <a:close/>
                  <a:moveTo>
                    <a:pt x="6055" y="5061"/>
                  </a:moveTo>
                  <a:cubicBezTo>
                    <a:pt x="5979" y="5061"/>
                    <a:pt x="5916" y="5141"/>
                    <a:pt x="5916" y="5239"/>
                  </a:cubicBezTo>
                  <a:cubicBezTo>
                    <a:pt x="5916" y="5337"/>
                    <a:pt x="5979" y="5415"/>
                    <a:pt x="6055" y="5415"/>
                  </a:cubicBezTo>
                  <a:cubicBezTo>
                    <a:pt x="6132" y="5415"/>
                    <a:pt x="6193" y="5337"/>
                    <a:pt x="6193" y="5239"/>
                  </a:cubicBezTo>
                  <a:cubicBezTo>
                    <a:pt x="6193" y="5141"/>
                    <a:pt x="6132" y="5061"/>
                    <a:pt x="6055" y="5061"/>
                  </a:cubicBezTo>
                  <a:close/>
                  <a:moveTo>
                    <a:pt x="6425" y="5061"/>
                  </a:moveTo>
                  <a:cubicBezTo>
                    <a:pt x="6349" y="5061"/>
                    <a:pt x="6286" y="5141"/>
                    <a:pt x="6286" y="5239"/>
                  </a:cubicBezTo>
                  <a:cubicBezTo>
                    <a:pt x="6286" y="5337"/>
                    <a:pt x="6349" y="5415"/>
                    <a:pt x="6425" y="5415"/>
                  </a:cubicBezTo>
                  <a:cubicBezTo>
                    <a:pt x="6501" y="5415"/>
                    <a:pt x="6562" y="5337"/>
                    <a:pt x="6562" y="5239"/>
                  </a:cubicBezTo>
                  <a:cubicBezTo>
                    <a:pt x="6562" y="5141"/>
                    <a:pt x="6501" y="5061"/>
                    <a:pt x="6425" y="5061"/>
                  </a:cubicBezTo>
                  <a:close/>
                  <a:moveTo>
                    <a:pt x="6836" y="5061"/>
                  </a:moveTo>
                  <a:cubicBezTo>
                    <a:pt x="6759" y="5061"/>
                    <a:pt x="6697" y="5141"/>
                    <a:pt x="6697" y="5239"/>
                  </a:cubicBezTo>
                  <a:cubicBezTo>
                    <a:pt x="6697" y="5337"/>
                    <a:pt x="6759" y="5415"/>
                    <a:pt x="6836" y="5415"/>
                  </a:cubicBezTo>
                  <a:cubicBezTo>
                    <a:pt x="6912" y="5415"/>
                    <a:pt x="6973" y="5337"/>
                    <a:pt x="6973" y="5239"/>
                  </a:cubicBezTo>
                  <a:cubicBezTo>
                    <a:pt x="6973" y="5141"/>
                    <a:pt x="6912" y="5061"/>
                    <a:pt x="6836" y="5061"/>
                  </a:cubicBezTo>
                  <a:close/>
                  <a:moveTo>
                    <a:pt x="7247" y="5061"/>
                  </a:moveTo>
                  <a:cubicBezTo>
                    <a:pt x="7170" y="5061"/>
                    <a:pt x="7108" y="5141"/>
                    <a:pt x="7108" y="5239"/>
                  </a:cubicBezTo>
                  <a:cubicBezTo>
                    <a:pt x="7108" y="5337"/>
                    <a:pt x="7170" y="5415"/>
                    <a:pt x="7247" y="5415"/>
                  </a:cubicBezTo>
                  <a:cubicBezTo>
                    <a:pt x="7323" y="5415"/>
                    <a:pt x="7384" y="5337"/>
                    <a:pt x="7384" y="5239"/>
                  </a:cubicBezTo>
                  <a:cubicBezTo>
                    <a:pt x="7384" y="5141"/>
                    <a:pt x="7323" y="5061"/>
                    <a:pt x="7247" y="5061"/>
                  </a:cubicBezTo>
                  <a:close/>
                  <a:moveTo>
                    <a:pt x="7616" y="5061"/>
                  </a:moveTo>
                  <a:cubicBezTo>
                    <a:pt x="7540" y="5061"/>
                    <a:pt x="7478" y="5141"/>
                    <a:pt x="7478" y="5239"/>
                  </a:cubicBezTo>
                  <a:cubicBezTo>
                    <a:pt x="7478" y="5337"/>
                    <a:pt x="7540" y="5415"/>
                    <a:pt x="7616" y="5415"/>
                  </a:cubicBezTo>
                  <a:cubicBezTo>
                    <a:pt x="7693" y="5415"/>
                    <a:pt x="7754" y="5337"/>
                    <a:pt x="7754" y="5239"/>
                  </a:cubicBezTo>
                  <a:cubicBezTo>
                    <a:pt x="7754" y="5141"/>
                    <a:pt x="7693" y="5061"/>
                    <a:pt x="7616" y="5061"/>
                  </a:cubicBezTo>
                  <a:close/>
                  <a:moveTo>
                    <a:pt x="8027" y="5061"/>
                  </a:moveTo>
                  <a:cubicBezTo>
                    <a:pt x="7951" y="5061"/>
                    <a:pt x="7889" y="5141"/>
                    <a:pt x="7889" y="5239"/>
                  </a:cubicBezTo>
                  <a:cubicBezTo>
                    <a:pt x="7889" y="5337"/>
                    <a:pt x="7951" y="5415"/>
                    <a:pt x="8027" y="5415"/>
                  </a:cubicBezTo>
                  <a:cubicBezTo>
                    <a:pt x="8104" y="5415"/>
                    <a:pt x="8165" y="5337"/>
                    <a:pt x="8165" y="5239"/>
                  </a:cubicBezTo>
                  <a:cubicBezTo>
                    <a:pt x="8165" y="5141"/>
                    <a:pt x="8104" y="5061"/>
                    <a:pt x="8027" y="5061"/>
                  </a:cubicBezTo>
                  <a:close/>
                  <a:moveTo>
                    <a:pt x="8438" y="5061"/>
                  </a:moveTo>
                  <a:cubicBezTo>
                    <a:pt x="8362" y="5061"/>
                    <a:pt x="8299" y="5141"/>
                    <a:pt x="8299" y="5239"/>
                  </a:cubicBezTo>
                  <a:cubicBezTo>
                    <a:pt x="8299" y="5337"/>
                    <a:pt x="8362" y="5415"/>
                    <a:pt x="8438" y="5415"/>
                  </a:cubicBezTo>
                  <a:cubicBezTo>
                    <a:pt x="8515" y="5415"/>
                    <a:pt x="8576" y="5337"/>
                    <a:pt x="8576" y="5239"/>
                  </a:cubicBezTo>
                  <a:cubicBezTo>
                    <a:pt x="8576" y="5141"/>
                    <a:pt x="8515" y="5061"/>
                    <a:pt x="8438" y="5061"/>
                  </a:cubicBezTo>
                  <a:close/>
                  <a:moveTo>
                    <a:pt x="8808" y="5061"/>
                  </a:moveTo>
                  <a:cubicBezTo>
                    <a:pt x="8732" y="5061"/>
                    <a:pt x="8669" y="5141"/>
                    <a:pt x="8669" y="5239"/>
                  </a:cubicBezTo>
                  <a:cubicBezTo>
                    <a:pt x="8669" y="5337"/>
                    <a:pt x="8732" y="5415"/>
                    <a:pt x="8808" y="5415"/>
                  </a:cubicBezTo>
                  <a:cubicBezTo>
                    <a:pt x="8884" y="5415"/>
                    <a:pt x="8945" y="5337"/>
                    <a:pt x="8945" y="5239"/>
                  </a:cubicBezTo>
                  <a:cubicBezTo>
                    <a:pt x="8945" y="5141"/>
                    <a:pt x="8884" y="5061"/>
                    <a:pt x="8808" y="5061"/>
                  </a:cubicBezTo>
                  <a:close/>
                  <a:moveTo>
                    <a:pt x="9219" y="5061"/>
                  </a:moveTo>
                  <a:cubicBezTo>
                    <a:pt x="9142" y="5061"/>
                    <a:pt x="9080" y="5141"/>
                    <a:pt x="9080" y="5239"/>
                  </a:cubicBezTo>
                  <a:cubicBezTo>
                    <a:pt x="9080" y="5337"/>
                    <a:pt x="9142" y="5415"/>
                    <a:pt x="9219" y="5415"/>
                  </a:cubicBezTo>
                  <a:cubicBezTo>
                    <a:pt x="9295" y="5415"/>
                    <a:pt x="9356" y="5337"/>
                    <a:pt x="9356" y="5239"/>
                  </a:cubicBezTo>
                  <a:cubicBezTo>
                    <a:pt x="9356" y="5141"/>
                    <a:pt x="9295" y="5061"/>
                    <a:pt x="9219" y="5061"/>
                  </a:cubicBezTo>
                  <a:close/>
                  <a:moveTo>
                    <a:pt x="9589" y="5061"/>
                  </a:moveTo>
                  <a:cubicBezTo>
                    <a:pt x="9512" y="5061"/>
                    <a:pt x="9450" y="5141"/>
                    <a:pt x="9450" y="5239"/>
                  </a:cubicBezTo>
                  <a:cubicBezTo>
                    <a:pt x="9450" y="5337"/>
                    <a:pt x="9512" y="5415"/>
                    <a:pt x="9589" y="5415"/>
                  </a:cubicBezTo>
                  <a:cubicBezTo>
                    <a:pt x="9665" y="5415"/>
                    <a:pt x="9726" y="5337"/>
                    <a:pt x="9726" y="5239"/>
                  </a:cubicBezTo>
                  <a:cubicBezTo>
                    <a:pt x="9726" y="5141"/>
                    <a:pt x="9665" y="5061"/>
                    <a:pt x="9589" y="5061"/>
                  </a:cubicBezTo>
                  <a:close/>
                  <a:moveTo>
                    <a:pt x="9999" y="5061"/>
                  </a:moveTo>
                  <a:cubicBezTo>
                    <a:pt x="9923" y="5061"/>
                    <a:pt x="9861" y="5141"/>
                    <a:pt x="9861" y="5239"/>
                  </a:cubicBezTo>
                  <a:cubicBezTo>
                    <a:pt x="9861" y="5337"/>
                    <a:pt x="9923" y="5415"/>
                    <a:pt x="9999" y="5415"/>
                  </a:cubicBezTo>
                  <a:cubicBezTo>
                    <a:pt x="10076" y="5415"/>
                    <a:pt x="10137" y="5337"/>
                    <a:pt x="10137" y="5239"/>
                  </a:cubicBezTo>
                  <a:cubicBezTo>
                    <a:pt x="10137" y="5141"/>
                    <a:pt x="10076" y="5061"/>
                    <a:pt x="9999" y="5061"/>
                  </a:cubicBezTo>
                  <a:close/>
                  <a:moveTo>
                    <a:pt x="10410" y="5061"/>
                  </a:moveTo>
                  <a:cubicBezTo>
                    <a:pt x="10334" y="5061"/>
                    <a:pt x="10272" y="5141"/>
                    <a:pt x="10272" y="5239"/>
                  </a:cubicBezTo>
                  <a:cubicBezTo>
                    <a:pt x="10272" y="5337"/>
                    <a:pt x="10334" y="5415"/>
                    <a:pt x="10410" y="5415"/>
                  </a:cubicBezTo>
                  <a:cubicBezTo>
                    <a:pt x="10487" y="5415"/>
                    <a:pt x="10548" y="5337"/>
                    <a:pt x="10548" y="5239"/>
                  </a:cubicBezTo>
                  <a:cubicBezTo>
                    <a:pt x="10548" y="5141"/>
                    <a:pt x="10487" y="5061"/>
                    <a:pt x="10410" y="5061"/>
                  </a:cubicBezTo>
                  <a:close/>
                  <a:moveTo>
                    <a:pt x="10780" y="5061"/>
                  </a:moveTo>
                  <a:cubicBezTo>
                    <a:pt x="10704" y="5061"/>
                    <a:pt x="10641" y="5141"/>
                    <a:pt x="10641" y="5239"/>
                  </a:cubicBezTo>
                  <a:cubicBezTo>
                    <a:pt x="10641" y="5337"/>
                    <a:pt x="10704" y="5415"/>
                    <a:pt x="10780" y="5415"/>
                  </a:cubicBezTo>
                  <a:cubicBezTo>
                    <a:pt x="10856" y="5415"/>
                    <a:pt x="10917" y="5337"/>
                    <a:pt x="10917" y="5239"/>
                  </a:cubicBezTo>
                  <a:cubicBezTo>
                    <a:pt x="10917" y="5141"/>
                    <a:pt x="10856" y="5061"/>
                    <a:pt x="10780" y="5061"/>
                  </a:cubicBezTo>
                  <a:close/>
                  <a:moveTo>
                    <a:pt x="11191" y="5061"/>
                  </a:moveTo>
                  <a:cubicBezTo>
                    <a:pt x="11115" y="5061"/>
                    <a:pt x="11052" y="5141"/>
                    <a:pt x="11052" y="5239"/>
                  </a:cubicBezTo>
                  <a:cubicBezTo>
                    <a:pt x="11052" y="5337"/>
                    <a:pt x="11115" y="5415"/>
                    <a:pt x="11191" y="5415"/>
                  </a:cubicBezTo>
                  <a:cubicBezTo>
                    <a:pt x="11267" y="5415"/>
                    <a:pt x="11328" y="5337"/>
                    <a:pt x="11328" y="5239"/>
                  </a:cubicBezTo>
                  <a:cubicBezTo>
                    <a:pt x="11328" y="5141"/>
                    <a:pt x="11267" y="5061"/>
                    <a:pt x="11191" y="5061"/>
                  </a:cubicBezTo>
                  <a:close/>
                  <a:moveTo>
                    <a:pt x="11602" y="5061"/>
                  </a:moveTo>
                  <a:cubicBezTo>
                    <a:pt x="11525" y="5061"/>
                    <a:pt x="11463" y="5141"/>
                    <a:pt x="11463" y="5239"/>
                  </a:cubicBezTo>
                  <a:cubicBezTo>
                    <a:pt x="11463" y="5337"/>
                    <a:pt x="11525" y="5415"/>
                    <a:pt x="11602" y="5415"/>
                  </a:cubicBezTo>
                  <a:cubicBezTo>
                    <a:pt x="11678" y="5415"/>
                    <a:pt x="11739" y="5337"/>
                    <a:pt x="11739" y="5239"/>
                  </a:cubicBezTo>
                  <a:cubicBezTo>
                    <a:pt x="11739" y="5141"/>
                    <a:pt x="11678" y="5061"/>
                    <a:pt x="11602" y="5061"/>
                  </a:cubicBezTo>
                  <a:close/>
                  <a:moveTo>
                    <a:pt x="11972" y="5061"/>
                  </a:moveTo>
                  <a:cubicBezTo>
                    <a:pt x="11895" y="5061"/>
                    <a:pt x="11833" y="5141"/>
                    <a:pt x="11833" y="5239"/>
                  </a:cubicBezTo>
                  <a:cubicBezTo>
                    <a:pt x="11833" y="5337"/>
                    <a:pt x="11895" y="5415"/>
                    <a:pt x="11972" y="5415"/>
                  </a:cubicBezTo>
                  <a:cubicBezTo>
                    <a:pt x="12048" y="5415"/>
                    <a:pt x="12109" y="5337"/>
                    <a:pt x="12109" y="5239"/>
                  </a:cubicBezTo>
                  <a:cubicBezTo>
                    <a:pt x="12109" y="5141"/>
                    <a:pt x="12048" y="5061"/>
                    <a:pt x="11972" y="5061"/>
                  </a:cubicBezTo>
                  <a:close/>
                  <a:moveTo>
                    <a:pt x="12382" y="5061"/>
                  </a:moveTo>
                  <a:cubicBezTo>
                    <a:pt x="12306" y="5061"/>
                    <a:pt x="12244" y="5141"/>
                    <a:pt x="12244" y="5239"/>
                  </a:cubicBezTo>
                  <a:cubicBezTo>
                    <a:pt x="12244" y="5337"/>
                    <a:pt x="12306" y="5415"/>
                    <a:pt x="12382" y="5415"/>
                  </a:cubicBezTo>
                  <a:cubicBezTo>
                    <a:pt x="12459" y="5415"/>
                    <a:pt x="12520" y="5337"/>
                    <a:pt x="12520" y="5239"/>
                  </a:cubicBezTo>
                  <a:cubicBezTo>
                    <a:pt x="12520" y="5141"/>
                    <a:pt x="12459" y="5061"/>
                    <a:pt x="12382" y="5061"/>
                  </a:cubicBezTo>
                  <a:close/>
                  <a:moveTo>
                    <a:pt x="12793" y="5061"/>
                  </a:moveTo>
                  <a:cubicBezTo>
                    <a:pt x="12717" y="5061"/>
                    <a:pt x="12655" y="5141"/>
                    <a:pt x="12655" y="5239"/>
                  </a:cubicBezTo>
                  <a:cubicBezTo>
                    <a:pt x="12655" y="5337"/>
                    <a:pt x="12717" y="5415"/>
                    <a:pt x="12793" y="5415"/>
                  </a:cubicBezTo>
                  <a:cubicBezTo>
                    <a:pt x="12869" y="5415"/>
                    <a:pt x="12931" y="5337"/>
                    <a:pt x="12931" y="5239"/>
                  </a:cubicBezTo>
                  <a:cubicBezTo>
                    <a:pt x="12931" y="5141"/>
                    <a:pt x="12869" y="5061"/>
                    <a:pt x="12793" y="5061"/>
                  </a:cubicBezTo>
                  <a:close/>
                  <a:moveTo>
                    <a:pt x="13163" y="5061"/>
                  </a:moveTo>
                  <a:cubicBezTo>
                    <a:pt x="13087" y="5061"/>
                    <a:pt x="13024" y="5141"/>
                    <a:pt x="13024" y="5239"/>
                  </a:cubicBezTo>
                  <a:cubicBezTo>
                    <a:pt x="13024" y="5337"/>
                    <a:pt x="13087" y="5415"/>
                    <a:pt x="13163" y="5415"/>
                  </a:cubicBezTo>
                  <a:cubicBezTo>
                    <a:pt x="13239" y="5415"/>
                    <a:pt x="13301" y="5337"/>
                    <a:pt x="13301" y="5239"/>
                  </a:cubicBezTo>
                  <a:cubicBezTo>
                    <a:pt x="13301" y="5141"/>
                    <a:pt x="13239" y="5061"/>
                    <a:pt x="13163" y="5061"/>
                  </a:cubicBezTo>
                  <a:close/>
                  <a:moveTo>
                    <a:pt x="13574" y="5061"/>
                  </a:moveTo>
                  <a:cubicBezTo>
                    <a:pt x="13498" y="5061"/>
                    <a:pt x="13435" y="5141"/>
                    <a:pt x="13435" y="5239"/>
                  </a:cubicBezTo>
                  <a:cubicBezTo>
                    <a:pt x="13435" y="5337"/>
                    <a:pt x="13498" y="5415"/>
                    <a:pt x="13574" y="5415"/>
                  </a:cubicBezTo>
                  <a:cubicBezTo>
                    <a:pt x="13650" y="5415"/>
                    <a:pt x="13711" y="5337"/>
                    <a:pt x="13711" y="5239"/>
                  </a:cubicBezTo>
                  <a:cubicBezTo>
                    <a:pt x="13711" y="5141"/>
                    <a:pt x="13650" y="5061"/>
                    <a:pt x="13574" y="5061"/>
                  </a:cubicBezTo>
                  <a:close/>
                  <a:moveTo>
                    <a:pt x="13944" y="5061"/>
                  </a:moveTo>
                  <a:cubicBezTo>
                    <a:pt x="13868" y="5061"/>
                    <a:pt x="13805" y="5141"/>
                    <a:pt x="13805" y="5239"/>
                  </a:cubicBezTo>
                  <a:cubicBezTo>
                    <a:pt x="13805" y="5337"/>
                    <a:pt x="13868" y="5415"/>
                    <a:pt x="13944" y="5415"/>
                  </a:cubicBezTo>
                  <a:cubicBezTo>
                    <a:pt x="14020" y="5415"/>
                    <a:pt x="14081" y="5337"/>
                    <a:pt x="14081" y="5239"/>
                  </a:cubicBezTo>
                  <a:cubicBezTo>
                    <a:pt x="14081" y="5141"/>
                    <a:pt x="14020" y="5061"/>
                    <a:pt x="13944" y="5061"/>
                  </a:cubicBezTo>
                  <a:close/>
                  <a:moveTo>
                    <a:pt x="14355" y="5061"/>
                  </a:moveTo>
                  <a:cubicBezTo>
                    <a:pt x="14278" y="5061"/>
                    <a:pt x="14216" y="5141"/>
                    <a:pt x="14216" y="5239"/>
                  </a:cubicBezTo>
                  <a:cubicBezTo>
                    <a:pt x="14216" y="5337"/>
                    <a:pt x="14278" y="5415"/>
                    <a:pt x="14355" y="5415"/>
                  </a:cubicBezTo>
                  <a:cubicBezTo>
                    <a:pt x="14431" y="5415"/>
                    <a:pt x="14492" y="5337"/>
                    <a:pt x="14492" y="5239"/>
                  </a:cubicBezTo>
                  <a:cubicBezTo>
                    <a:pt x="14492" y="5141"/>
                    <a:pt x="14431" y="5061"/>
                    <a:pt x="14355" y="5061"/>
                  </a:cubicBezTo>
                  <a:close/>
                  <a:moveTo>
                    <a:pt x="14765" y="5061"/>
                  </a:moveTo>
                  <a:cubicBezTo>
                    <a:pt x="14689" y="5061"/>
                    <a:pt x="14627" y="5141"/>
                    <a:pt x="14627" y="5239"/>
                  </a:cubicBezTo>
                  <a:cubicBezTo>
                    <a:pt x="14627" y="5337"/>
                    <a:pt x="14689" y="5415"/>
                    <a:pt x="14765" y="5415"/>
                  </a:cubicBezTo>
                  <a:cubicBezTo>
                    <a:pt x="14842" y="5415"/>
                    <a:pt x="14903" y="5337"/>
                    <a:pt x="14903" y="5239"/>
                  </a:cubicBezTo>
                  <a:cubicBezTo>
                    <a:pt x="14903" y="5141"/>
                    <a:pt x="14842" y="5061"/>
                    <a:pt x="14765" y="5061"/>
                  </a:cubicBezTo>
                  <a:close/>
                  <a:moveTo>
                    <a:pt x="15176" y="5061"/>
                  </a:moveTo>
                  <a:cubicBezTo>
                    <a:pt x="15100" y="5061"/>
                    <a:pt x="15038" y="5141"/>
                    <a:pt x="15038" y="5239"/>
                  </a:cubicBezTo>
                  <a:cubicBezTo>
                    <a:pt x="15038" y="5337"/>
                    <a:pt x="15100" y="5415"/>
                    <a:pt x="15176" y="5415"/>
                  </a:cubicBezTo>
                  <a:cubicBezTo>
                    <a:pt x="15253" y="5415"/>
                    <a:pt x="15314" y="5337"/>
                    <a:pt x="15314" y="5239"/>
                  </a:cubicBezTo>
                  <a:cubicBezTo>
                    <a:pt x="15314" y="5141"/>
                    <a:pt x="15253" y="5061"/>
                    <a:pt x="15176" y="5061"/>
                  </a:cubicBezTo>
                  <a:close/>
                  <a:moveTo>
                    <a:pt x="15546" y="5061"/>
                  </a:moveTo>
                  <a:cubicBezTo>
                    <a:pt x="15470" y="5061"/>
                    <a:pt x="15407" y="5141"/>
                    <a:pt x="15407" y="5239"/>
                  </a:cubicBezTo>
                  <a:cubicBezTo>
                    <a:pt x="15407" y="5337"/>
                    <a:pt x="15470" y="5415"/>
                    <a:pt x="15546" y="5415"/>
                  </a:cubicBezTo>
                  <a:cubicBezTo>
                    <a:pt x="15623" y="5415"/>
                    <a:pt x="15684" y="5337"/>
                    <a:pt x="15684" y="5239"/>
                  </a:cubicBezTo>
                  <a:cubicBezTo>
                    <a:pt x="15684" y="5141"/>
                    <a:pt x="15623" y="5061"/>
                    <a:pt x="15546" y="5061"/>
                  </a:cubicBezTo>
                  <a:close/>
                  <a:moveTo>
                    <a:pt x="15957" y="5061"/>
                  </a:moveTo>
                  <a:cubicBezTo>
                    <a:pt x="15881" y="5061"/>
                    <a:pt x="15818" y="5141"/>
                    <a:pt x="15818" y="5239"/>
                  </a:cubicBezTo>
                  <a:cubicBezTo>
                    <a:pt x="15818" y="5337"/>
                    <a:pt x="15881" y="5415"/>
                    <a:pt x="15957" y="5415"/>
                  </a:cubicBezTo>
                  <a:cubicBezTo>
                    <a:pt x="16033" y="5415"/>
                    <a:pt x="16094" y="5337"/>
                    <a:pt x="16094" y="5239"/>
                  </a:cubicBezTo>
                  <a:cubicBezTo>
                    <a:pt x="16094" y="5141"/>
                    <a:pt x="16033" y="5061"/>
                    <a:pt x="15957" y="5061"/>
                  </a:cubicBezTo>
                  <a:close/>
                  <a:moveTo>
                    <a:pt x="16327" y="5061"/>
                  </a:moveTo>
                  <a:cubicBezTo>
                    <a:pt x="16251" y="5061"/>
                    <a:pt x="16188" y="5141"/>
                    <a:pt x="16188" y="5239"/>
                  </a:cubicBezTo>
                  <a:cubicBezTo>
                    <a:pt x="16188" y="5337"/>
                    <a:pt x="16251" y="5415"/>
                    <a:pt x="16327" y="5415"/>
                  </a:cubicBezTo>
                  <a:cubicBezTo>
                    <a:pt x="16403" y="5415"/>
                    <a:pt x="16464" y="5337"/>
                    <a:pt x="16464" y="5239"/>
                  </a:cubicBezTo>
                  <a:cubicBezTo>
                    <a:pt x="16464" y="5141"/>
                    <a:pt x="16403" y="5061"/>
                    <a:pt x="16327" y="5061"/>
                  </a:cubicBezTo>
                  <a:close/>
                  <a:moveTo>
                    <a:pt x="19490" y="5061"/>
                  </a:moveTo>
                  <a:cubicBezTo>
                    <a:pt x="19414" y="5061"/>
                    <a:pt x="19352" y="5141"/>
                    <a:pt x="19352" y="5239"/>
                  </a:cubicBezTo>
                  <a:cubicBezTo>
                    <a:pt x="19352" y="5337"/>
                    <a:pt x="19414" y="5415"/>
                    <a:pt x="19490" y="5415"/>
                  </a:cubicBezTo>
                  <a:cubicBezTo>
                    <a:pt x="19567" y="5415"/>
                    <a:pt x="19628" y="5337"/>
                    <a:pt x="19628" y="5239"/>
                  </a:cubicBezTo>
                  <a:cubicBezTo>
                    <a:pt x="19628" y="5141"/>
                    <a:pt x="19567" y="5061"/>
                    <a:pt x="19490" y="5061"/>
                  </a:cubicBezTo>
                  <a:close/>
                  <a:moveTo>
                    <a:pt x="19901" y="5114"/>
                  </a:moveTo>
                  <a:cubicBezTo>
                    <a:pt x="19825" y="5114"/>
                    <a:pt x="19763" y="5194"/>
                    <a:pt x="19763" y="5292"/>
                  </a:cubicBezTo>
                  <a:cubicBezTo>
                    <a:pt x="19763" y="5390"/>
                    <a:pt x="19825" y="5468"/>
                    <a:pt x="19901" y="5468"/>
                  </a:cubicBezTo>
                  <a:cubicBezTo>
                    <a:pt x="19978" y="5468"/>
                    <a:pt x="20039" y="5390"/>
                    <a:pt x="20039" y="5292"/>
                  </a:cubicBezTo>
                  <a:cubicBezTo>
                    <a:pt x="20039" y="5194"/>
                    <a:pt x="19978" y="5114"/>
                    <a:pt x="19901" y="5114"/>
                  </a:cubicBezTo>
                  <a:close/>
                  <a:moveTo>
                    <a:pt x="2111" y="5588"/>
                  </a:moveTo>
                  <a:cubicBezTo>
                    <a:pt x="2035" y="5588"/>
                    <a:pt x="1972" y="5668"/>
                    <a:pt x="1972" y="5766"/>
                  </a:cubicBezTo>
                  <a:cubicBezTo>
                    <a:pt x="1972" y="5864"/>
                    <a:pt x="2035" y="5942"/>
                    <a:pt x="2111" y="5942"/>
                  </a:cubicBezTo>
                  <a:cubicBezTo>
                    <a:pt x="2187" y="5942"/>
                    <a:pt x="2248" y="5864"/>
                    <a:pt x="2248" y="5766"/>
                  </a:cubicBezTo>
                  <a:cubicBezTo>
                    <a:pt x="2248" y="5668"/>
                    <a:pt x="2187" y="5588"/>
                    <a:pt x="2111" y="5588"/>
                  </a:cubicBezTo>
                  <a:close/>
                  <a:moveTo>
                    <a:pt x="2522" y="5588"/>
                  </a:moveTo>
                  <a:cubicBezTo>
                    <a:pt x="2445" y="5588"/>
                    <a:pt x="2383" y="5668"/>
                    <a:pt x="2383" y="5766"/>
                  </a:cubicBezTo>
                  <a:cubicBezTo>
                    <a:pt x="2383" y="5864"/>
                    <a:pt x="2445" y="5942"/>
                    <a:pt x="2522" y="5942"/>
                  </a:cubicBezTo>
                  <a:cubicBezTo>
                    <a:pt x="2598" y="5942"/>
                    <a:pt x="2659" y="5864"/>
                    <a:pt x="2659" y="5766"/>
                  </a:cubicBezTo>
                  <a:cubicBezTo>
                    <a:pt x="2659" y="5668"/>
                    <a:pt x="2598" y="5588"/>
                    <a:pt x="2522" y="5588"/>
                  </a:cubicBezTo>
                  <a:close/>
                  <a:moveTo>
                    <a:pt x="2891" y="5588"/>
                  </a:moveTo>
                  <a:cubicBezTo>
                    <a:pt x="2815" y="5588"/>
                    <a:pt x="2753" y="5668"/>
                    <a:pt x="2753" y="5766"/>
                  </a:cubicBezTo>
                  <a:cubicBezTo>
                    <a:pt x="2753" y="5864"/>
                    <a:pt x="2815" y="5942"/>
                    <a:pt x="2891" y="5942"/>
                  </a:cubicBezTo>
                  <a:cubicBezTo>
                    <a:pt x="2968" y="5942"/>
                    <a:pt x="3029" y="5864"/>
                    <a:pt x="3029" y="5766"/>
                  </a:cubicBezTo>
                  <a:cubicBezTo>
                    <a:pt x="3029" y="5668"/>
                    <a:pt x="2968" y="5588"/>
                    <a:pt x="2891" y="5588"/>
                  </a:cubicBezTo>
                  <a:close/>
                  <a:moveTo>
                    <a:pt x="3302" y="5588"/>
                  </a:moveTo>
                  <a:cubicBezTo>
                    <a:pt x="3226" y="5588"/>
                    <a:pt x="3164" y="5668"/>
                    <a:pt x="3164" y="5766"/>
                  </a:cubicBezTo>
                  <a:cubicBezTo>
                    <a:pt x="3164" y="5864"/>
                    <a:pt x="3226" y="5942"/>
                    <a:pt x="3302" y="5942"/>
                  </a:cubicBezTo>
                  <a:cubicBezTo>
                    <a:pt x="3379" y="5942"/>
                    <a:pt x="3440" y="5864"/>
                    <a:pt x="3440" y="5766"/>
                  </a:cubicBezTo>
                  <a:cubicBezTo>
                    <a:pt x="3440" y="5668"/>
                    <a:pt x="3379" y="5588"/>
                    <a:pt x="3302" y="5588"/>
                  </a:cubicBezTo>
                  <a:close/>
                  <a:moveTo>
                    <a:pt x="3713" y="5588"/>
                  </a:moveTo>
                  <a:cubicBezTo>
                    <a:pt x="3637" y="5588"/>
                    <a:pt x="3575" y="5668"/>
                    <a:pt x="3575" y="5766"/>
                  </a:cubicBezTo>
                  <a:cubicBezTo>
                    <a:pt x="3575" y="5864"/>
                    <a:pt x="3637" y="5942"/>
                    <a:pt x="3713" y="5942"/>
                  </a:cubicBezTo>
                  <a:cubicBezTo>
                    <a:pt x="3790" y="5942"/>
                    <a:pt x="3851" y="5864"/>
                    <a:pt x="3851" y="5766"/>
                  </a:cubicBezTo>
                  <a:cubicBezTo>
                    <a:pt x="3851" y="5668"/>
                    <a:pt x="3790" y="5588"/>
                    <a:pt x="3713" y="5588"/>
                  </a:cubicBezTo>
                  <a:close/>
                  <a:moveTo>
                    <a:pt x="4083" y="5588"/>
                  </a:moveTo>
                  <a:cubicBezTo>
                    <a:pt x="4007" y="5588"/>
                    <a:pt x="3944" y="5668"/>
                    <a:pt x="3944" y="5766"/>
                  </a:cubicBezTo>
                  <a:cubicBezTo>
                    <a:pt x="3944" y="5864"/>
                    <a:pt x="4007" y="5942"/>
                    <a:pt x="4083" y="5942"/>
                  </a:cubicBezTo>
                  <a:cubicBezTo>
                    <a:pt x="4159" y="5942"/>
                    <a:pt x="4220" y="5864"/>
                    <a:pt x="4220" y="5766"/>
                  </a:cubicBezTo>
                  <a:cubicBezTo>
                    <a:pt x="4220" y="5668"/>
                    <a:pt x="4159" y="5588"/>
                    <a:pt x="4083" y="5588"/>
                  </a:cubicBezTo>
                  <a:close/>
                  <a:moveTo>
                    <a:pt x="4494" y="5588"/>
                  </a:moveTo>
                  <a:cubicBezTo>
                    <a:pt x="4418" y="5588"/>
                    <a:pt x="4355" y="5668"/>
                    <a:pt x="4355" y="5766"/>
                  </a:cubicBezTo>
                  <a:cubicBezTo>
                    <a:pt x="4355" y="5864"/>
                    <a:pt x="4418" y="5942"/>
                    <a:pt x="4494" y="5942"/>
                  </a:cubicBezTo>
                  <a:cubicBezTo>
                    <a:pt x="4570" y="5942"/>
                    <a:pt x="4631" y="5864"/>
                    <a:pt x="4631" y="5766"/>
                  </a:cubicBezTo>
                  <a:cubicBezTo>
                    <a:pt x="4631" y="5668"/>
                    <a:pt x="4570" y="5588"/>
                    <a:pt x="4494" y="5588"/>
                  </a:cubicBezTo>
                  <a:close/>
                  <a:moveTo>
                    <a:pt x="4864" y="5588"/>
                  </a:moveTo>
                  <a:cubicBezTo>
                    <a:pt x="4787" y="5588"/>
                    <a:pt x="4725" y="5668"/>
                    <a:pt x="4725" y="5766"/>
                  </a:cubicBezTo>
                  <a:cubicBezTo>
                    <a:pt x="4725" y="5864"/>
                    <a:pt x="4787" y="5942"/>
                    <a:pt x="4864" y="5942"/>
                  </a:cubicBezTo>
                  <a:cubicBezTo>
                    <a:pt x="4940" y="5942"/>
                    <a:pt x="5001" y="5864"/>
                    <a:pt x="5001" y="5766"/>
                  </a:cubicBezTo>
                  <a:cubicBezTo>
                    <a:pt x="5001" y="5668"/>
                    <a:pt x="4940" y="5588"/>
                    <a:pt x="4864" y="5588"/>
                  </a:cubicBezTo>
                  <a:close/>
                  <a:moveTo>
                    <a:pt x="5274" y="5588"/>
                  </a:moveTo>
                  <a:cubicBezTo>
                    <a:pt x="5198" y="5588"/>
                    <a:pt x="5136" y="5668"/>
                    <a:pt x="5136" y="5766"/>
                  </a:cubicBezTo>
                  <a:cubicBezTo>
                    <a:pt x="5136" y="5864"/>
                    <a:pt x="5198" y="5942"/>
                    <a:pt x="5274" y="5942"/>
                  </a:cubicBezTo>
                  <a:cubicBezTo>
                    <a:pt x="5351" y="5942"/>
                    <a:pt x="5412" y="5864"/>
                    <a:pt x="5412" y="5766"/>
                  </a:cubicBezTo>
                  <a:cubicBezTo>
                    <a:pt x="5412" y="5668"/>
                    <a:pt x="5351" y="5588"/>
                    <a:pt x="5274" y="5588"/>
                  </a:cubicBezTo>
                  <a:close/>
                  <a:moveTo>
                    <a:pt x="5637" y="5588"/>
                  </a:moveTo>
                  <a:cubicBezTo>
                    <a:pt x="5564" y="5588"/>
                    <a:pt x="5506" y="5664"/>
                    <a:pt x="5506" y="5756"/>
                  </a:cubicBezTo>
                  <a:cubicBezTo>
                    <a:pt x="5506" y="5849"/>
                    <a:pt x="5564" y="5924"/>
                    <a:pt x="5637" y="5924"/>
                  </a:cubicBezTo>
                  <a:cubicBezTo>
                    <a:pt x="5709" y="5924"/>
                    <a:pt x="5768" y="5849"/>
                    <a:pt x="5768" y="5756"/>
                  </a:cubicBezTo>
                  <a:cubicBezTo>
                    <a:pt x="5768" y="5664"/>
                    <a:pt x="5709" y="5588"/>
                    <a:pt x="5637" y="5588"/>
                  </a:cubicBezTo>
                  <a:close/>
                  <a:moveTo>
                    <a:pt x="6047" y="5588"/>
                  </a:moveTo>
                  <a:cubicBezTo>
                    <a:pt x="5975" y="5588"/>
                    <a:pt x="5916" y="5664"/>
                    <a:pt x="5916" y="5756"/>
                  </a:cubicBezTo>
                  <a:cubicBezTo>
                    <a:pt x="5916" y="5849"/>
                    <a:pt x="5975" y="5924"/>
                    <a:pt x="6047" y="5924"/>
                  </a:cubicBezTo>
                  <a:cubicBezTo>
                    <a:pt x="6120" y="5924"/>
                    <a:pt x="6178" y="5849"/>
                    <a:pt x="6178" y="5756"/>
                  </a:cubicBezTo>
                  <a:cubicBezTo>
                    <a:pt x="6178" y="5664"/>
                    <a:pt x="6120" y="5588"/>
                    <a:pt x="6047" y="5588"/>
                  </a:cubicBezTo>
                  <a:close/>
                  <a:moveTo>
                    <a:pt x="6466" y="5588"/>
                  </a:moveTo>
                  <a:cubicBezTo>
                    <a:pt x="6390" y="5588"/>
                    <a:pt x="6327" y="5668"/>
                    <a:pt x="6327" y="5766"/>
                  </a:cubicBezTo>
                  <a:cubicBezTo>
                    <a:pt x="6327" y="5864"/>
                    <a:pt x="6390" y="5942"/>
                    <a:pt x="6466" y="5942"/>
                  </a:cubicBezTo>
                  <a:cubicBezTo>
                    <a:pt x="6542" y="5942"/>
                    <a:pt x="6603" y="5864"/>
                    <a:pt x="6603" y="5766"/>
                  </a:cubicBezTo>
                  <a:cubicBezTo>
                    <a:pt x="6603" y="5668"/>
                    <a:pt x="6542" y="5588"/>
                    <a:pt x="6466" y="5588"/>
                  </a:cubicBezTo>
                  <a:close/>
                  <a:moveTo>
                    <a:pt x="6836" y="5588"/>
                  </a:moveTo>
                  <a:cubicBezTo>
                    <a:pt x="6759" y="5588"/>
                    <a:pt x="6697" y="5668"/>
                    <a:pt x="6697" y="5766"/>
                  </a:cubicBezTo>
                  <a:cubicBezTo>
                    <a:pt x="6697" y="5864"/>
                    <a:pt x="6759" y="5942"/>
                    <a:pt x="6836" y="5942"/>
                  </a:cubicBezTo>
                  <a:cubicBezTo>
                    <a:pt x="6912" y="5942"/>
                    <a:pt x="6973" y="5864"/>
                    <a:pt x="6973" y="5766"/>
                  </a:cubicBezTo>
                  <a:cubicBezTo>
                    <a:pt x="6973" y="5668"/>
                    <a:pt x="6912" y="5588"/>
                    <a:pt x="6836" y="5588"/>
                  </a:cubicBezTo>
                  <a:close/>
                  <a:moveTo>
                    <a:pt x="7247" y="5588"/>
                  </a:moveTo>
                  <a:cubicBezTo>
                    <a:pt x="7170" y="5588"/>
                    <a:pt x="7108" y="5668"/>
                    <a:pt x="7108" y="5766"/>
                  </a:cubicBezTo>
                  <a:cubicBezTo>
                    <a:pt x="7108" y="5864"/>
                    <a:pt x="7170" y="5942"/>
                    <a:pt x="7247" y="5942"/>
                  </a:cubicBezTo>
                  <a:cubicBezTo>
                    <a:pt x="7323" y="5942"/>
                    <a:pt x="7384" y="5864"/>
                    <a:pt x="7384" y="5766"/>
                  </a:cubicBezTo>
                  <a:cubicBezTo>
                    <a:pt x="7384" y="5668"/>
                    <a:pt x="7323" y="5588"/>
                    <a:pt x="7247" y="5588"/>
                  </a:cubicBezTo>
                  <a:close/>
                  <a:moveTo>
                    <a:pt x="7616" y="5588"/>
                  </a:moveTo>
                  <a:cubicBezTo>
                    <a:pt x="7540" y="5588"/>
                    <a:pt x="7478" y="5668"/>
                    <a:pt x="7478" y="5766"/>
                  </a:cubicBezTo>
                  <a:cubicBezTo>
                    <a:pt x="7478" y="5864"/>
                    <a:pt x="7540" y="5942"/>
                    <a:pt x="7616" y="5942"/>
                  </a:cubicBezTo>
                  <a:cubicBezTo>
                    <a:pt x="7693" y="5942"/>
                    <a:pt x="7754" y="5864"/>
                    <a:pt x="7754" y="5766"/>
                  </a:cubicBezTo>
                  <a:cubicBezTo>
                    <a:pt x="7754" y="5668"/>
                    <a:pt x="7693" y="5588"/>
                    <a:pt x="7616" y="5588"/>
                  </a:cubicBezTo>
                  <a:close/>
                  <a:moveTo>
                    <a:pt x="8027" y="5588"/>
                  </a:moveTo>
                  <a:cubicBezTo>
                    <a:pt x="7951" y="5588"/>
                    <a:pt x="7889" y="5668"/>
                    <a:pt x="7889" y="5766"/>
                  </a:cubicBezTo>
                  <a:cubicBezTo>
                    <a:pt x="7889" y="5864"/>
                    <a:pt x="7951" y="5942"/>
                    <a:pt x="8027" y="5942"/>
                  </a:cubicBezTo>
                  <a:cubicBezTo>
                    <a:pt x="8104" y="5942"/>
                    <a:pt x="8165" y="5864"/>
                    <a:pt x="8165" y="5766"/>
                  </a:cubicBezTo>
                  <a:cubicBezTo>
                    <a:pt x="8165" y="5668"/>
                    <a:pt x="8104" y="5588"/>
                    <a:pt x="8027" y="5588"/>
                  </a:cubicBezTo>
                  <a:close/>
                  <a:moveTo>
                    <a:pt x="8438" y="5588"/>
                  </a:moveTo>
                  <a:cubicBezTo>
                    <a:pt x="8362" y="5588"/>
                    <a:pt x="8299" y="5668"/>
                    <a:pt x="8299" y="5766"/>
                  </a:cubicBezTo>
                  <a:cubicBezTo>
                    <a:pt x="8299" y="5864"/>
                    <a:pt x="8362" y="5942"/>
                    <a:pt x="8438" y="5942"/>
                  </a:cubicBezTo>
                  <a:cubicBezTo>
                    <a:pt x="8515" y="5942"/>
                    <a:pt x="8576" y="5864"/>
                    <a:pt x="8576" y="5766"/>
                  </a:cubicBezTo>
                  <a:cubicBezTo>
                    <a:pt x="8576" y="5668"/>
                    <a:pt x="8515" y="5588"/>
                    <a:pt x="8438" y="5588"/>
                  </a:cubicBezTo>
                  <a:close/>
                  <a:moveTo>
                    <a:pt x="8808" y="5588"/>
                  </a:moveTo>
                  <a:cubicBezTo>
                    <a:pt x="8732" y="5588"/>
                    <a:pt x="8669" y="5668"/>
                    <a:pt x="8669" y="5766"/>
                  </a:cubicBezTo>
                  <a:cubicBezTo>
                    <a:pt x="8669" y="5864"/>
                    <a:pt x="8732" y="5942"/>
                    <a:pt x="8808" y="5942"/>
                  </a:cubicBezTo>
                  <a:cubicBezTo>
                    <a:pt x="8884" y="5942"/>
                    <a:pt x="8945" y="5864"/>
                    <a:pt x="8945" y="5766"/>
                  </a:cubicBezTo>
                  <a:cubicBezTo>
                    <a:pt x="8945" y="5668"/>
                    <a:pt x="8884" y="5588"/>
                    <a:pt x="8808" y="5588"/>
                  </a:cubicBezTo>
                  <a:close/>
                  <a:moveTo>
                    <a:pt x="9219" y="5588"/>
                  </a:moveTo>
                  <a:cubicBezTo>
                    <a:pt x="9142" y="5588"/>
                    <a:pt x="9080" y="5668"/>
                    <a:pt x="9080" y="5766"/>
                  </a:cubicBezTo>
                  <a:cubicBezTo>
                    <a:pt x="9080" y="5864"/>
                    <a:pt x="9142" y="5942"/>
                    <a:pt x="9219" y="5942"/>
                  </a:cubicBezTo>
                  <a:cubicBezTo>
                    <a:pt x="9295" y="5942"/>
                    <a:pt x="9356" y="5864"/>
                    <a:pt x="9356" y="5766"/>
                  </a:cubicBezTo>
                  <a:cubicBezTo>
                    <a:pt x="9356" y="5668"/>
                    <a:pt x="9295" y="5588"/>
                    <a:pt x="9219" y="5588"/>
                  </a:cubicBezTo>
                  <a:close/>
                  <a:moveTo>
                    <a:pt x="9589" y="5588"/>
                  </a:moveTo>
                  <a:cubicBezTo>
                    <a:pt x="9512" y="5588"/>
                    <a:pt x="9450" y="5668"/>
                    <a:pt x="9450" y="5766"/>
                  </a:cubicBezTo>
                  <a:cubicBezTo>
                    <a:pt x="9450" y="5864"/>
                    <a:pt x="9512" y="5942"/>
                    <a:pt x="9589" y="5942"/>
                  </a:cubicBezTo>
                  <a:cubicBezTo>
                    <a:pt x="9665" y="5942"/>
                    <a:pt x="9726" y="5864"/>
                    <a:pt x="9726" y="5766"/>
                  </a:cubicBezTo>
                  <a:cubicBezTo>
                    <a:pt x="9726" y="5668"/>
                    <a:pt x="9665" y="5588"/>
                    <a:pt x="9589" y="5588"/>
                  </a:cubicBezTo>
                  <a:close/>
                  <a:moveTo>
                    <a:pt x="9999" y="5588"/>
                  </a:moveTo>
                  <a:cubicBezTo>
                    <a:pt x="9923" y="5588"/>
                    <a:pt x="9861" y="5668"/>
                    <a:pt x="9861" y="5766"/>
                  </a:cubicBezTo>
                  <a:cubicBezTo>
                    <a:pt x="9861" y="5864"/>
                    <a:pt x="9923" y="5942"/>
                    <a:pt x="9999" y="5942"/>
                  </a:cubicBezTo>
                  <a:cubicBezTo>
                    <a:pt x="10076" y="5942"/>
                    <a:pt x="10137" y="5864"/>
                    <a:pt x="10137" y="5766"/>
                  </a:cubicBezTo>
                  <a:cubicBezTo>
                    <a:pt x="10137" y="5668"/>
                    <a:pt x="10076" y="5588"/>
                    <a:pt x="9999" y="5588"/>
                  </a:cubicBezTo>
                  <a:close/>
                  <a:moveTo>
                    <a:pt x="10410" y="5588"/>
                  </a:moveTo>
                  <a:cubicBezTo>
                    <a:pt x="10334" y="5588"/>
                    <a:pt x="10272" y="5668"/>
                    <a:pt x="10272" y="5766"/>
                  </a:cubicBezTo>
                  <a:cubicBezTo>
                    <a:pt x="10272" y="5864"/>
                    <a:pt x="10334" y="5942"/>
                    <a:pt x="10410" y="5942"/>
                  </a:cubicBezTo>
                  <a:cubicBezTo>
                    <a:pt x="10487" y="5942"/>
                    <a:pt x="10548" y="5864"/>
                    <a:pt x="10548" y="5766"/>
                  </a:cubicBezTo>
                  <a:cubicBezTo>
                    <a:pt x="10548" y="5668"/>
                    <a:pt x="10487" y="5588"/>
                    <a:pt x="10410" y="5588"/>
                  </a:cubicBezTo>
                  <a:close/>
                  <a:moveTo>
                    <a:pt x="10780" y="5588"/>
                  </a:moveTo>
                  <a:cubicBezTo>
                    <a:pt x="10704" y="5588"/>
                    <a:pt x="10641" y="5668"/>
                    <a:pt x="10641" y="5766"/>
                  </a:cubicBezTo>
                  <a:cubicBezTo>
                    <a:pt x="10641" y="5864"/>
                    <a:pt x="10704" y="5942"/>
                    <a:pt x="10780" y="5942"/>
                  </a:cubicBezTo>
                  <a:cubicBezTo>
                    <a:pt x="10856" y="5942"/>
                    <a:pt x="10917" y="5864"/>
                    <a:pt x="10917" y="5766"/>
                  </a:cubicBezTo>
                  <a:cubicBezTo>
                    <a:pt x="10917" y="5668"/>
                    <a:pt x="10856" y="5588"/>
                    <a:pt x="10780" y="5588"/>
                  </a:cubicBezTo>
                  <a:close/>
                  <a:moveTo>
                    <a:pt x="11191" y="5588"/>
                  </a:moveTo>
                  <a:cubicBezTo>
                    <a:pt x="11115" y="5588"/>
                    <a:pt x="11052" y="5668"/>
                    <a:pt x="11052" y="5766"/>
                  </a:cubicBezTo>
                  <a:cubicBezTo>
                    <a:pt x="11052" y="5864"/>
                    <a:pt x="11115" y="5942"/>
                    <a:pt x="11191" y="5942"/>
                  </a:cubicBezTo>
                  <a:cubicBezTo>
                    <a:pt x="11267" y="5942"/>
                    <a:pt x="11328" y="5864"/>
                    <a:pt x="11328" y="5766"/>
                  </a:cubicBezTo>
                  <a:cubicBezTo>
                    <a:pt x="11328" y="5668"/>
                    <a:pt x="11267" y="5588"/>
                    <a:pt x="11191" y="5588"/>
                  </a:cubicBezTo>
                  <a:close/>
                  <a:moveTo>
                    <a:pt x="11602" y="5588"/>
                  </a:moveTo>
                  <a:cubicBezTo>
                    <a:pt x="11526" y="5588"/>
                    <a:pt x="11463" y="5668"/>
                    <a:pt x="11463" y="5766"/>
                  </a:cubicBezTo>
                  <a:cubicBezTo>
                    <a:pt x="11463" y="5864"/>
                    <a:pt x="11526" y="5942"/>
                    <a:pt x="11602" y="5942"/>
                  </a:cubicBezTo>
                  <a:cubicBezTo>
                    <a:pt x="11678" y="5942"/>
                    <a:pt x="11739" y="5864"/>
                    <a:pt x="11739" y="5766"/>
                  </a:cubicBezTo>
                  <a:cubicBezTo>
                    <a:pt x="11739" y="5668"/>
                    <a:pt x="11678" y="5588"/>
                    <a:pt x="11602" y="5588"/>
                  </a:cubicBezTo>
                  <a:close/>
                  <a:moveTo>
                    <a:pt x="11972" y="5588"/>
                  </a:moveTo>
                  <a:cubicBezTo>
                    <a:pt x="11895" y="5588"/>
                    <a:pt x="11833" y="5668"/>
                    <a:pt x="11833" y="5766"/>
                  </a:cubicBezTo>
                  <a:cubicBezTo>
                    <a:pt x="11833" y="5864"/>
                    <a:pt x="11895" y="5942"/>
                    <a:pt x="11972" y="5942"/>
                  </a:cubicBezTo>
                  <a:cubicBezTo>
                    <a:pt x="12048" y="5942"/>
                    <a:pt x="12109" y="5864"/>
                    <a:pt x="12109" y="5766"/>
                  </a:cubicBezTo>
                  <a:cubicBezTo>
                    <a:pt x="12109" y="5668"/>
                    <a:pt x="12048" y="5588"/>
                    <a:pt x="11972" y="5588"/>
                  </a:cubicBezTo>
                  <a:close/>
                  <a:moveTo>
                    <a:pt x="12382" y="5588"/>
                  </a:moveTo>
                  <a:cubicBezTo>
                    <a:pt x="12306" y="5588"/>
                    <a:pt x="12244" y="5668"/>
                    <a:pt x="12244" y="5766"/>
                  </a:cubicBezTo>
                  <a:cubicBezTo>
                    <a:pt x="12244" y="5864"/>
                    <a:pt x="12306" y="5942"/>
                    <a:pt x="12382" y="5942"/>
                  </a:cubicBezTo>
                  <a:cubicBezTo>
                    <a:pt x="12459" y="5942"/>
                    <a:pt x="12520" y="5864"/>
                    <a:pt x="12520" y="5766"/>
                  </a:cubicBezTo>
                  <a:cubicBezTo>
                    <a:pt x="12520" y="5668"/>
                    <a:pt x="12459" y="5588"/>
                    <a:pt x="12382" y="5588"/>
                  </a:cubicBezTo>
                  <a:close/>
                  <a:moveTo>
                    <a:pt x="12752" y="5588"/>
                  </a:moveTo>
                  <a:cubicBezTo>
                    <a:pt x="12676" y="5588"/>
                    <a:pt x="12614" y="5668"/>
                    <a:pt x="12614" y="5766"/>
                  </a:cubicBezTo>
                  <a:cubicBezTo>
                    <a:pt x="12614" y="5864"/>
                    <a:pt x="12676" y="5942"/>
                    <a:pt x="12752" y="5942"/>
                  </a:cubicBezTo>
                  <a:cubicBezTo>
                    <a:pt x="12829" y="5942"/>
                    <a:pt x="12890" y="5864"/>
                    <a:pt x="12890" y="5766"/>
                  </a:cubicBezTo>
                  <a:cubicBezTo>
                    <a:pt x="12890" y="5668"/>
                    <a:pt x="12829" y="5588"/>
                    <a:pt x="12752" y="5588"/>
                  </a:cubicBezTo>
                  <a:close/>
                  <a:moveTo>
                    <a:pt x="13163" y="5588"/>
                  </a:moveTo>
                  <a:cubicBezTo>
                    <a:pt x="13087" y="5588"/>
                    <a:pt x="13024" y="5668"/>
                    <a:pt x="13024" y="5766"/>
                  </a:cubicBezTo>
                  <a:cubicBezTo>
                    <a:pt x="13024" y="5864"/>
                    <a:pt x="13087" y="5942"/>
                    <a:pt x="13163" y="5942"/>
                  </a:cubicBezTo>
                  <a:cubicBezTo>
                    <a:pt x="13240" y="5942"/>
                    <a:pt x="13301" y="5864"/>
                    <a:pt x="13301" y="5766"/>
                  </a:cubicBezTo>
                  <a:cubicBezTo>
                    <a:pt x="13301" y="5668"/>
                    <a:pt x="13240" y="5588"/>
                    <a:pt x="13163" y="5588"/>
                  </a:cubicBezTo>
                  <a:close/>
                  <a:moveTo>
                    <a:pt x="13574" y="5588"/>
                  </a:moveTo>
                  <a:cubicBezTo>
                    <a:pt x="13498" y="5588"/>
                    <a:pt x="13435" y="5668"/>
                    <a:pt x="13435" y="5766"/>
                  </a:cubicBezTo>
                  <a:cubicBezTo>
                    <a:pt x="13435" y="5864"/>
                    <a:pt x="13498" y="5942"/>
                    <a:pt x="13574" y="5942"/>
                  </a:cubicBezTo>
                  <a:cubicBezTo>
                    <a:pt x="13650" y="5942"/>
                    <a:pt x="13711" y="5864"/>
                    <a:pt x="13711" y="5766"/>
                  </a:cubicBezTo>
                  <a:cubicBezTo>
                    <a:pt x="13711" y="5668"/>
                    <a:pt x="13650" y="5588"/>
                    <a:pt x="13574" y="5588"/>
                  </a:cubicBezTo>
                  <a:close/>
                  <a:moveTo>
                    <a:pt x="13985" y="5588"/>
                  </a:moveTo>
                  <a:cubicBezTo>
                    <a:pt x="13908" y="5588"/>
                    <a:pt x="13846" y="5668"/>
                    <a:pt x="13846" y="5766"/>
                  </a:cubicBezTo>
                  <a:cubicBezTo>
                    <a:pt x="13846" y="5864"/>
                    <a:pt x="13908" y="5942"/>
                    <a:pt x="13985" y="5942"/>
                  </a:cubicBezTo>
                  <a:cubicBezTo>
                    <a:pt x="14061" y="5942"/>
                    <a:pt x="14122" y="5864"/>
                    <a:pt x="14122" y="5766"/>
                  </a:cubicBezTo>
                  <a:cubicBezTo>
                    <a:pt x="14122" y="5668"/>
                    <a:pt x="14061" y="5588"/>
                    <a:pt x="13985" y="5588"/>
                  </a:cubicBezTo>
                  <a:close/>
                  <a:moveTo>
                    <a:pt x="14355" y="5588"/>
                  </a:moveTo>
                  <a:cubicBezTo>
                    <a:pt x="14278" y="5588"/>
                    <a:pt x="14216" y="5668"/>
                    <a:pt x="14216" y="5766"/>
                  </a:cubicBezTo>
                  <a:cubicBezTo>
                    <a:pt x="14216" y="5864"/>
                    <a:pt x="14278" y="5942"/>
                    <a:pt x="14355" y="5942"/>
                  </a:cubicBezTo>
                  <a:cubicBezTo>
                    <a:pt x="14431" y="5942"/>
                    <a:pt x="14492" y="5864"/>
                    <a:pt x="14492" y="5766"/>
                  </a:cubicBezTo>
                  <a:cubicBezTo>
                    <a:pt x="14492" y="5668"/>
                    <a:pt x="14431" y="5588"/>
                    <a:pt x="14355" y="5588"/>
                  </a:cubicBezTo>
                  <a:close/>
                  <a:moveTo>
                    <a:pt x="14765" y="5588"/>
                  </a:moveTo>
                  <a:cubicBezTo>
                    <a:pt x="14689" y="5588"/>
                    <a:pt x="14627" y="5668"/>
                    <a:pt x="14627" y="5766"/>
                  </a:cubicBezTo>
                  <a:cubicBezTo>
                    <a:pt x="14627" y="5864"/>
                    <a:pt x="14689" y="5942"/>
                    <a:pt x="14765" y="5942"/>
                  </a:cubicBezTo>
                  <a:cubicBezTo>
                    <a:pt x="14842" y="5942"/>
                    <a:pt x="14903" y="5864"/>
                    <a:pt x="14903" y="5766"/>
                  </a:cubicBezTo>
                  <a:cubicBezTo>
                    <a:pt x="14903" y="5668"/>
                    <a:pt x="14842" y="5588"/>
                    <a:pt x="14765" y="5588"/>
                  </a:cubicBezTo>
                  <a:close/>
                  <a:moveTo>
                    <a:pt x="15135" y="5588"/>
                  </a:moveTo>
                  <a:cubicBezTo>
                    <a:pt x="15059" y="5588"/>
                    <a:pt x="14997" y="5668"/>
                    <a:pt x="14997" y="5766"/>
                  </a:cubicBezTo>
                  <a:cubicBezTo>
                    <a:pt x="14997" y="5864"/>
                    <a:pt x="15059" y="5942"/>
                    <a:pt x="15135" y="5942"/>
                  </a:cubicBezTo>
                  <a:cubicBezTo>
                    <a:pt x="15212" y="5942"/>
                    <a:pt x="15273" y="5864"/>
                    <a:pt x="15273" y="5766"/>
                  </a:cubicBezTo>
                  <a:cubicBezTo>
                    <a:pt x="15273" y="5668"/>
                    <a:pt x="15212" y="5588"/>
                    <a:pt x="15135" y="5588"/>
                  </a:cubicBezTo>
                  <a:close/>
                  <a:moveTo>
                    <a:pt x="15546" y="5588"/>
                  </a:moveTo>
                  <a:cubicBezTo>
                    <a:pt x="15470" y="5588"/>
                    <a:pt x="15407" y="5668"/>
                    <a:pt x="15407" y="5766"/>
                  </a:cubicBezTo>
                  <a:cubicBezTo>
                    <a:pt x="15407" y="5864"/>
                    <a:pt x="15470" y="5942"/>
                    <a:pt x="15546" y="5942"/>
                  </a:cubicBezTo>
                  <a:cubicBezTo>
                    <a:pt x="15623" y="5942"/>
                    <a:pt x="15684" y="5864"/>
                    <a:pt x="15684" y="5766"/>
                  </a:cubicBezTo>
                  <a:cubicBezTo>
                    <a:pt x="15684" y="5668"/>
                    <a:pt x="15623" y="5588"/>
                    <a:pt x="15546" y="5588"/>
                  </a:cubicBezTo>
                  <a:close/>
                  <a:moveTo>
                    <a:pt x="15957" y="5588"/>
                  </a:moveTo>
                  <a:cubicBezTo>
                    <a:pt x="15881" y="5588"/>
                    <a:pt x="15818" y="5668"/>
                    <a:pt x="15818" y="5766"/>
                  </a:cubicBezTo>
                  <a:cubicBezTo>
                    <a:pt x="15818" y="5864"/>
                    <a:pt x="15881" y="5942"/>
                    <a:pt x="15957" y="5942"/>
                  </a:cubicBezTo>
                  <a:cubicBezTo>
                    <a:pt x="16033" y="5942"/>
                    <a:pt x="16094" y="5864"/>
                    <a:pt x="16094" y="5766"/>
                  </a:cubicBezTo>
                  <a:cubicBezTo>
                    <a:pt x="16094" y="5668"/>
                    <a:pt x="16033" y="5588"/>
                    <a:pt x="15957" y="5588"/>
                  </a:cubicBezTo>
                  <a:close/>
                  <a:moveTo>
                    <a:pt x="16327" y="5588"/>
                  </a:moveTo>
                  <a:cubicBezTo>
                    <a:pt x="16250" y="5588"/>
                    <a:pt x="16188" y="5668"/>
                    <a:pt x="16188" y="5766"/>
                  </a:cubicBezTo>
                  <a:cubicBezTo>
                    <a:pt x="16188" y="5864"/>
                    <a:pt x="16250" y="5942"/>
                    <a:pt x="16327" y="5942"/>
                  </a:cubicBezTo>
                  <a:cubicBezTo>
                    <a:pt x="16403" y="5942"/>
                    <a:pt x="16464" y="5864"/>
                    <a:pt x="16464" y="5766"/>
                  </a:cubicBezTo>
                  <a:cubicBezTo>
                    <a:pt x="16464" y="5668"/>
                    <a:pt x="16403" y="5588"/>
                    <a:pt x="16327" y="5588"/>
                  </a:cubicBezTo>
                  <a:close/>
                  <a:moveTo>
                    <a:pt x="16738" y="5588"/>
                  </a:moveTo>
                  <a:cubicBezTo>
                    <a:pt x="16661" y="5588"/>
                    <a:pt x="16599" y="5668"/>
                    <a:pt x="16599" y="5766"/>
                  </a:cubicBezTo>
                  <a:cubicBezTo>
                    <a:pt x="16599" y="5864"/>
                    <a:pt x="16661" y="5942"/>
                    <a:pt x="16738" y="5942"/>
                  </a:cubicBezTo>
                  <a:cubicBezTo>
                    <a:pt x="16814" y="5942"/>
                    <a:pt x="16875" y="5864"/>
                    <a:pt x="16875" y="5766"/>
                  </a:cubicBezTo>
                  <a:cubicBezTo>
                    <a:pt x="16875" y="5668"/>
                    <a:pt x="16814" y="5588"/>
                    <a:pt x="16738" y="5588"/>
                  </a:cubicBezTo>
                  <a:close/>
                  <a:moveTo>
                    <a:pt x="17149" y="5588"/>
                  </a:moveTo>
                  <a:cubicBezTo>
                    <a:pt x="17072" y="5588"/>
                    <a:pt x="17010" y="5668"/>
                    <a:pt x="17010" y="5766"/>
                  </a:cubicBezTo>
                  <a:cubicBezTo>
                    <a:pt x="17010" y="5864"/>
                    <a:pt x="17072" y="5942"/>
                    <a:pt x="17149" y="5942"/>
                  </a:cubicBezTo>
                  <a:cubicBezTo>
                    <a:pt x="17225" y="5942"/>
                    <a:pt x="17286" y="5864"/>
                    <a:pt x="17286" y="5766"/>
                  </a:cubicBezTo>
                  <a:cubicBezTo>
                    <a:pt x="17286" y="5668"/>
                    <a:pt x="17225" y="5588"/>
                    <a:pt x="17149" y="5588"/>
                  </a:cubicBezTo>
                  <a:close/>
                  <a:moveTo>
                    <a:pt x="19490" y="5588"/>
                  </a:moveTo>
                  <a:cubicBezTo>
                    <a:pt x="19414" y="5588"/>
                    <a:pt x="19352" y="5668"/>
                    <a:pt x="19352" y="5766"/>
                  </a:cubicBezTo>
                  <a:cubicBezTo>
                    <a:pt x="19352" y="5864"/>
                    <a:pt x="19414" y="5942"/>
                    <a:pt x="19490" y="5942"/>
                  </a:cubicBezTo>
                  <a:cubicBezTo>
                    <a:pt x="19567" y="5942"/>
                    <a:pt x="19628" y="5864"/>
                    <a:pt x="19628" y="5766"/>
                  </a:cubicBezTo>
                  <a:cubicBezTo>
                    <a:pt x="19628" y="5668"/>
                    <a:pt x="19567" y="5588"/>
                    <a:pt x="19490" y="5588"/>
                  </a:cubicBezTo>
                  <a:close/>
                  <a:moveTo>
                    <a:pt x="19901" y="5588"/>
                  </a:moveTo>
                  <a:cubicBezTo>
                    <a:pt x="19825" y="5588"/>
                    <a:pt x="19763" y="5668"/>
                    <a:pt x="19763" y="5766"/>
                  </a:cubicBezTo>
                  <a:cubicBezTo>
                    <a:pt x="19763" y="5864"/>
                    <a:pt x="19825" y="5942"/>
                    <a:pt x="19901" y="5942"/>
                  </a:cubicBezTo>
                  <a:cubicBezTo>
                    <a:pt x="19978" y="5942"/>
                    <a:pt x="20039" y="5864"/>
                    <a:pt x="20039" y="5766"/>
                  </a:cubicBezTo>
                  <a:cubicBezTo>
                    <a:pt x="20039" y="5668"/>
                    <a:pt x="19978" y="5588"/>
                    <a:pt x="19901" y="5588"/>
                  </a:cubicBezTo>
                  <a:close/>
                  <a:moveTo>
                    <a:pt x="1741" y="6063"/>
                  </a:moveTo>
                  <a:cubicBezTo>
                    <a:pt x="1665" y="6063"/>
                    <a:pt x="1602" y="6143"/>
                    <a:pt x="1602" y="6241"/>
                  </a:cubicBezTo>
                  <a:cubicBezTo>
                    <a:pt x="1602" y="6339"/>
                    <a:pt x="1665" y="6417"/>
                    <a:pt x="1741" y="6417"/>
                  </a:cubicBezTo>
                  <a:cubicBezTo>
                    <a:pt x="1817" y="6417"/>
                    <a:pt x="1878" y="6339"/>
                    <a:pt x="1878" y="6241"/>
                  </a:cubicBezTo>
                  <a:cubicBezTo>
                    <a:pt x="1878" y="6143"/>
                    <a:pt x="1817" y="6063"/>
                    <a:pt x="1741" y="6063"/>
                  </a:cubicBezTo>
                  <a:close/>
                  <a:moveTo>
                    <a:pt x="2111" y="6063"/>
                  </a:moveTo>
                  <a:cubicBezTo>
                    <a:pt x="2035" y="6063"/>
                    <a:pt x="1972" y="6143"/>
                    <a:pt x="1972" y="6241"/>
                  </a:cubicBezTo>
                  <a:cubicBezTo>
                    <a:pt x="1972" y="6339"/>
                    <a:pt x="2035" y="6417"/>
                    <a:pt x="2111" y="6417"/>
                  </a:cubicBezTo>
                  <a:cubicBezTo>
                    <a:pt x="2187" y="6417"/>
                    <a:pt x="2248" y="6339"/>
                    <a:pt x="2248" y="6241"/>
                  </a:cubicBezTo>
                  <a:cubicBezTo>
                    <a:pt x="2248" y="6143"/>
                    <a:pt x="2187" y="6063"/>
                    <a:pt x="2111" y="6063"/>
                  </a:cubicBezTo>
                  <a:close/>
                  <a:moveTo>
                    <a:pt x="2522" y="6063"/>
                  </a:moveTo>
                  <a:cubicBezTo>
                    <a:pt x="2445" y="6063"/>
                    <a:pt x="2383" y="6143"/>
                    <a:pt x="2383" y="6241"/>
                  </a:cubicBezTo>
                  <a:cubicBezTo>
                    <a:pt x="2383" y="6339"/>
                    <a:pt x="2445" y="6417"/>
                    <a:pt x="2522" y="6417"/>
                  </a:cubicBezTo>
                  <a:cubicBezTo>
                    <a:pt x="2598" y="6417"/>
                    <a:pt x="2659" y="6339"/>
                    <a:pt x="2659" y="6241"/>
                  </a:cubicBezTo>
                  <a:cubicBezTo>
                    <a:pt x="2659" y="6143"/>
                    <a:pt x="2598" y="6063"/>
                    <a:pt x="2522" y="6063"/>
                  </a:cubicBezTo>
                  <a:close/>
                  <a:moveTo>
                    <a:pt x="2891" y="6063"/>
                  </a:moveTo>
                  <a:cubicBezTo>
                    <a:pt x="2815" y="6063"/>
                    <a:pt x="2753" y="6143"/>
                    <a:pt x="2753" y="6241"/>
                  </a:cubicBezTo>
                  <a:cubicBezTo>
                    <a:pt x="2753" y="6339"/>
                    <a:pt x="2815" y="6417"/>
                    <a:pt x="2891" y="6417"/>
                  </a:cubicBezTo>
                  <a:cubicBezTo>
                    <a:pt x="2968" y="6417"/>
                    <a:pt x="3029" y="6339"/>
                    <a:pt x="3029" y="6241"/>
                  </a:cubicBezTo>
                  <a:cubicBezTo>
                    <a:pt x="3029" y="6143"/>
                    <a:pt x="2968" y="6063"/>
                    <a:pt x="2891" y="6063"/>
                  </a:cubicBezTo>
                  <a:close/>
                  <a:moveTo>
                    <a:pt x="3302" y="6063"/>
                  </a:moveTo>
                  <a:cubicBezTo>
                    <a:pt x="3226" y="6063"/>
                    <a:pt x="3164" y="6143"/>
                    <a:pt x="3164" y="6241"/>
                  </a:cubicBezTo>
                  <a:cubicBezTo>
                    <a:pt x="3164" y="6339"/>
                    <a:pt x="3226" y="6417"/>
                    <a:pt x="3302" y="6417"/>
                  </a:cubicBezTo>
                  <a:cubicBezTo>
                    <a:pt x="3379" y="6417"/>
                    <a:pt x="3440" y="6339"/>
                    <a:pt x="3440" y="6241"/>
                  </a:cubicBezTo>
                  <a:cubicBezTo>
                    <a:pt x="3440" y="6143"/>
                    <a:pt x="3379" y="6063"/>
                    <a:pt x="3302" y="6063"/>
                  </a:cubicBezTo>
                  <a:close/>
                  <a:moveTo>
                    <a:pt x="3713" y="6063"/>
                  </a:moveTo>
                  <a:cubicBezTo>
                    <a:pt x="3637" y="6063"/>
                    <a:pt x="3575" y="6143"/>
                    <a:pt x="3575" y="6241"/>
                  </a:cubicBezTo>
                  <a:cubicBezTo>
                    <a:pt x="3575" y="6339"/>
                    <a:pt x="3637" y="6417"/>
                    <a:pt x="3713" y="6417"/>
                  </a:cubicBezTo>
                  <a:cubicBezTo>
                    <a:pt x="3790" y="6417"/>
                    <a:pt x="3851" y="6339"/>
                    <a:pt x="3851" y="6241"/>
                  </a:cubicBezTo>
                  <a:cubicBezTo>
                    <a:pt x="3851" y="6143"/>
                    <a:pt x="3790" y="6063"/>
                    <a:pt x="3713" y="6063"/>
                  </a:cubicBezTo>
                  <a:close/>
                  <a:moveTo>
                    <a:pt x="4083" y="6063"/>
                  </a:moveTo>
                  <a:cubicBezTo>
                    <a:pt x="4007" y="6063"/>
                    <a:pt x="3944" y="6143"/>
                    <a:pt x="3944" y="6241"/>
                  </a:cubicBezTo>
                  <a:cubicBezTo>
                    <a:pt x="3944" y="6339"/>
                    <a:pt x="4007" y="6417"/>
                    <a:pt x="4083" y="6417"/>
                  </a:cubicBezTo>
                  <a:cubicBezTo>
                    <a:pt x="4159" y="6417"/>
                    <a:pt x="4220" y="6339"/>
                    <a:pt x="4220" y="6241"/>
                  </a:cubicBezTo>
                  <a:cubicBezTo>
                    <a:pt x="4220" y="6143"/>
                    <a:pt x="4159" y="6063"/>
                    <a:pt x="4083" y="6063"/>
                  </a:cubicBezTo>
                  <a:close/>
                  <a:moveTo>
                    <a:pt x="4494" y="6063"/>
                  </a:moveTo>
                  <a:cubicBezTo>
                    <a:pt x="4418" y="6063"/>
                    <a:pt x="4355" y="6143"/>
                    <a:pt x="4355" y="6241"/>
                  </a:cubicBezTo>
                  <a:cubicBezTo>
                    <a:pt x="4355" y="6339"/>
                    <a:pt x="4418" y="6417"/>
                    <a:pt x="4494" y="6417"/>
                  </a:cubicBezTo>
                  <a:cubicBezTo>
                    <a:pt x="4570" y="6417"/>
                    <a:pt x="4631" y="6339"/>
                    <a:pt x="4631" y="6241"/>
                  </a:cubicBezTo>
                  <a:cubicBezTo>
                    <a:pt x="4631" y="6143"/>
                    <a:pt x="4570" y="6063"/>
                    <a:pt x="4494" y="6063"/>
                  </a:cubicBezTo>
                  <a:close/>
                  <a:moveTo>
                    <a:pt x="4864" y="6063"/>
                  </a:moveTo>
                  <a:cubicBezTo>
                    <a:pt x="4787" y="6063"/>
                    <a:pt x="4725" y="6143"/>
                    <a:pt x="4725" y="6241"/>
                  </a:cubicBezTo>
                  <a:cubicBezTo>
                    <a:pt x="4725" y="6339"/>
                    <a:pt x="4787" y="6417"/>
                    <a:pt x="4864" y="6417"/>
                  </a:cubicBezTo>
                  <a:cubicBezTo>
                    <a:pt x="4940" y="6417"/>
                    <a:pt x="5001" y="6339"/>
                    <a:pt x="5001" y="6241"/>
                  </a:cubicBezTo>
                  <a:cubicBezTo>
                    <a:pt x="5001" y="6143"/>
                    <a:pt x="4940" y="6063"/>
                    <a:pt x="4864" y="6063"/>
                  </a:cubicBezTo>
                  <a:close/>
                  <a:moveTo>
                    <a:pt x="5274" y="6063"/>
                  </a:moveTo>
                  <a:cubicBezTo>
                    <a:pt x="5198" y="6063"/>
                    <a:pt x="5136" y="6143"/>
                    <a:pt x="5136" y="6241"/>
                  </a:cubicBezTo>
                  <a:cubicBezTo>
                    <a:pt x="5136" y="6339"/>
                    <a:pt x="5198" y="6417"/>
                    <a:pt x="5274" y="6417"/>
                  </a:cubicBezTo>
                  <a:cubicBezTo>
                    <a:pt x="5351" y="6417"/>
                    <a:pt x="5412" y="6339"/>
                    <a:pt x="5412" y="6241"/>
                  </a:cubicBezTo>
                  <a:cubicBezTo>
                    <a:pt x="5412" y="6143"/>
                    <a:pt x="5351" y="6063"/>
                    <a:pt x="5274" y="6063"/>
                  </a:cubicBezTo>
                  <a:close/>
                  <a:moveTo>
                    <a:pt x="5637" y="6063"/>
                  </a:moveTo>
                  <a:cubicBezTo>
                    <a:pt x="5564" y="6063"/>
                    <a:pt x="5506" y="6138"/>
                    <a:pt x="5506" y="6231"/>
                  </a:cubicBezTo>
                  <a:cubicBezTo>
                    <a:pt x="5506" y="6323"/>
                    <a:pt x="5564" y="6399"/>
                    <a:pt x="5637" y="6399"/>
                  </a:cubicBezTo>
                  <a:cubicBezTo>
                    <a:pt x="5709" y="6399"/>
                    <a:pt x="5768" y="6323"/>
                    <a:pt x="5768" y="6231"/>
                  </a:cubicBezTo>
                  <a:cubicBezTo>
                    <a:pt x="5768" y="6138"/>
                    <a:pt x="5709" y="6063"/>
                    <a:pt x="5637" y="6063"/>
                  </a:cubicBezTo>
                  <a:close/>
                  <a:moveTo>
                    <a:pt x="6047" y="6063"/>
                  </a:moveTo>
                  <a:cubicBezTo>
                    <a:pt x="5975" y="6063"/>
                    <a:pt x="5916" y="6138"/>
                    <a:pt x="5916" y="6231"/>
                  </a:cubicBezTo>
                  <a:cubicBezTo>
                    <a:pt x="5916" y="6323"/>
                    <a:pt x="5975" y="6399"/>
                    <a:pt x="6047" y="6399"/>
                  </a:cubicBezTo>
                  <a:cubicBezTo>
                    <a:pt x="6120" y="6399"/>
                    <a:pt x="6178" y="6323"/>
                    <a:pt x="6178" y="6231"/>
                  </a:cubicBezTo>
                  <a:cubicBezTo>
                    <a:pt x="6178" y="6138"/>
                    <a:pt x="6120" y="6063"/>
                    <a:pt x="6047" y="6063"/>
                  </a:cubicBezTo>
                  <a:close/>
                  <a:moveTo>
                    <a:pt x="6466" y="6063"/>
                  </a:moveTo>
                  <a:cubicBezTo>
                    <a:pt x="6390" y="6063"/>
                    <a:pt x="6327" y="6143"/>
                    <a:pt x="6327" y="6241"/>
                  </a:cubicBezTo>
                  <a:cubicBezTo>
                    <a:pt x="6327" y="6339"/>
                    <a:pt x="6390" y="6417"/>
                    <a:pt x="6466" y="6417"/>
                  </a:cubicBezTo>
                  <a:cubicBezTo>
                    <a:pt x="6542" y="6417"/>
                    <a:pt x="6603" y="6339"/>
                    <a:pt x="6603" y="6241"/>
                  </a:cubicBezTo>
                  <a:cubicBezTo>
                    <a:pt x="6603" y="6143"/>
                    <a:pt x="6542" y="6063"/>
                    <a:pt x="6466" y="6063"/>
                  </a:cubicBezTo>
                  <a:close/>
                  <a:moveTo>
                    <a:pt x="6836" y="6063"/>
                  </a:moveTo>
                  <a:cubicBezTo>
                    <a:pt x="6759" y="6063"/>
                    <a:pt x="6697" y="6143"/>
                    <a:pt x="6697" y="6241"/>
                  </a:cubicBezTo>
                  <a:cubicBezTo>
                    <a:pt x="6697" y="6339"/>
                    <a:pt x="6759" y="6417"/>
                    <a:pt x="6836" y="6417"/>
                  </a:cubicBezTo>
                  <a:cubicBezTo>
                    <a:pt x="6912" y="6417"/>
                    <a:pt x="6973" y="6339"/>
                    <a:pt x="6973" y="6241"/>
                  </a:cubicBezTo>
                  <a:cubicBezTo>
                    <a:pt x="6973" y="6143"/>
                    <a:pt x="6912" y="6063"/>
                    <a:pt x="6836" y="6063"/>
                  </a:cubicBezTo>
                  <a:close/>
                  <a:moveTo>
                    <a:pt x="7247" y="6063"/>
                  </a:moveTo>
                  <a:cubicBezTo>
                    <a:pt x="7170" y="6063"/>
                    <a:pt x="7108" y="6143"/>
                    <a:pt x="7108" y="6241"/>
                  </a:cubicBezTo>
                  <a:cubicBezTo>
                    <a:pt x="7108" y="6339"/>
                    <a:pt x="7170" y="6417"/>
                    <a:pt x="7247" y="6417"/>
                  </a:cubicBezTo>
                  <a:cubicBezTo>
                    <a:pt x="7323" y="6417"/>
                    <a:pt x="7384" y="6339"/>
                    <a:pt x="7384" y="6241"/>
                  </a:cubicBezTo>
                  <a:cubicBezTo>
                    <a:pt x="7384" y="6143"/>
                    <a:pt x="7323" y="6063"/>
                    <a:pt x="7247" y="6063"/>
                  </a:cubicBezTo>
                  <a:close/>
                  <a:moveTo>
                    <a:pt x="7616" y="6063"/>
                  </a:moveTo>
                  <a:cubicBezTo>
                    <a:pt x="7540" y="6063"/>
                    <a:pt x="7478" y="6143"/>
                    <a:pt x="7478" y="6241"/>
                  </a:cubicBezTo>
                  <a:cubicBezTo>
                    <a:pt x="7478" y="6339"/>
                    <a:pt x="7540" y="6417"/>
                    <a:pt x="7616" y="6417"/>
                  </a:cubicBezTo>
                  <a:cubicBezTo>
                    <a:pt x="7693" y="6417"/>
                    <a:pt x="7754" y="6339"/>
                    <a:pt x="7754" y="6241"/>
                  </a:cubicBezTo>
                  <a:cubicBezTo>
                    <a:pt x="7754" y="6143"/>
                    <a:pt x="7693" y="6063"/>
                    <a:pt x="7616" y="6063"/>
                  </a:cubicBezTo>
                  <a:close/>
                  <a:moveTo>
                    <a:pt x="8027" y="6063"/>
                  </a:moveTo>
                  <a:cubicBezTo>
                    <a:pt x="7951" y="6063"/>
                    <a:pt x="7889" y="6143"/>
                    <a:pt x="7889" y="6241"/>
                  </a:cubicBezTo>
                  <a:cubicBezTo>
                    <a:pt x="7889" y="6339"/>
                    <a:pt x="7951" y="6417"/>
                    <a:pt x="8027" y="6417"/>
                  </a:cubicBezTo>
                  <a:cubicBezTo>
                    <a:pt x="8104" y="6417"/>
                    <a:pt x="8165" y="6339"/>
                    <a:pt x="8165" y="6241"/>
                  </a:cubicBezTo>
                  <a:cubicBezTo>
                    <a:pt x="8165" y="6143"/>
                    <a:pt x="8104" y="6063"/>
                    <a:pt x="8027" y="6063"/>
                  </a:cubicBezTo>
                  <a:close/>
                  <a:moveTo>
                    <a:pt x="8438" y="6063"/>
                  </a:moveTo>
                  <a:cubicBezTo>
                    <a:pt x="8362" y="6063"/>
                    <a:pt x="8299" y="6143"/>
                    <a:pt x="8299" y="6241"/>
                  </a:cubicBezTo>
                  <a:cubicBezTo>
                    <a:pt x="8299" y="6339"/>
                    <a:pt x="8362" y="6417"/>
                    <a:pt x="8438" y="6417"/>
                  </a:cubicBezTo>
                  <a:cubicBezTo>
                    <a:pt x="8515" y="6417"/>
                    <a:pt x="8576" y="6339"/>
                    <a:pt x="8576" y="6241"/>
                  </a:cubicBezTo>
                  <a:cubicBezTo>
                    <a:pt x="8576" y="6143"/>
                    <a:pt x="8515" y="6063"/>
                    <a:pt x="8438" y="6063"/>
                  </a:cubicBezTo>
                  <a:close/>
                  <a:moveTo>
                    <a:pt x="8808" y="6063"/>
                  </a:moveTo>
                  <a:cubicBezTo>
                    <a:pt x="8732" y="6063"/>
                    <a:pt x="8669" y="6143"/>
                    <a:pt x="8669" y="6241"/>
                  </a:cubicBezTo>
                  <a:cubicBezTo>
                    <a:pt x="8669" y="6339"/>
                    <a:pt x="8732" y="6417"/>
                    <a:pt x="8808" y="6417"/>
                  </a:cubicBezTo>
                  <a:cubicBezTo>
                    <a:pt x="8884" y="6417"/>
                    <a:pt x="8945" y="6339"/>
                    <a:pt x="8945" y="6241"/>
                  </a:cubicBezTo>
                  <a:cubicBezTo>
                    <a:pt x="8945" y="6143"/>
                    <a:pt x="8884" y="6063"/>
                    <a:pt x="8808" y="6063"/>
                  </a:cubicBezTo>
                  <a:close/>
                  <a:moveTo>
                    <a:pt x="9219" y="6063"/>
                  </a:moveTo>
                  <a:cubicBezTo>
                    <a:pt x="9142" y="6063"/>
                    <a:pt x="9080" y="6143"/>
                    <a:pt x="9080" y="6241"/>
                  </a:cubicBezTo>
                  <a:cubicBezTo>
                    <a:pt x="9080" y="6339"/>
                    <a:pt x="9142" y="6417"/>
                    <a:pt x="9219" y="6417"/>
                  </a:cubicBezTo>
                  <a:cubicBezTo>
                    <a:pt x="9295" y="6417"/>
                    <a:pt x="9356" y="6339"/>
                    <a:pt x="9356" y="6241"/>
                  </a:cubicBezTo>
                  <a:cubicBezTo>
                    <a:pt x="9356" y="6143"/>
                    <a:pt x="9295" y="6063"/>
                    <a:pt x="9219" y="6063"/>
                  </a:cubicBezTo>
                  <a:close/>
                  <a:moveTo>
                    <a:pt x="9589" y="6063"/>
                  </a:moveTo>
                  <a:cubicBezTo>
                    <a:pt x="9512" y="6063"/>
                    <a:pt x="9450" y="6143"/>
                    <a:pt x="9450" y="6241"/>
                  </a:cubicBezTo>
                  <a:cubicBezTo>
                    <a:pt x="9450" y="6339"/>
                    <a:pt x="9512" y="6417"/>
                    <a:pt x="9589" y="6417"/>
                  </a:cubicBezTo>
                  <a:cubicBezTo>
                    <a:pt x="9665" y="6417"/>
                    <a:pt x="9726" y="6339"/>
                    <a:pt x="9726" y="6241"/>
                  </a:cubicBezTo>
                  <a:cubicBezTo>
                    <a:pt x="9726" y="6143"/>
                    <a:pt x="9665" y="6063"/>
                    <a:pt x="9589" y="6063"/>
                  </a:cubicBezTo>
                  <a:close/>
                  <a:moveTo>
                    <a:pt x="9999" y="6063"/>
                  </a:moveTo>
                  <a:cubicBezTo>
                    <a:pt x="9923" y="6063"/>
                    <a:pt x="9861" y="6143"/>
                    <a:pt x="9861" y="6241"/>
                  </a:cubicBezTo>
                  <a:cubicBezTo>
                    <a:pt x="9861" y="6339"/>
                    <a:pt x="9923" y="6417"/>
                    <a:pt x="9999" y="6417"/>
                  </a:cubicBezTo>
                  <a:cubicBezTo>
                    <a:pt x="10076" y="6417"/>
                    <a:pt x="10137" y="6339"/>
                    <a:pt x="10137" y="6241"/>
                  </a:cubicBezTo>
                  <a:cubicBezTo>
                    <a:pt x="10137" y="6143"/>
                    <a:pt x="10076" y="6063"/>
                    <a:pt x="9999" y="6063"/>
                  </a:cubicBezTo>
                  <a:close/>
                  <a:moveTo>
                    <a:pt x="10410" y="6063"/>
                  </a:moveTo>
                  <a:cubicBezTo>
                    <a:pt x="10334" y="6063"/>
                    <a:pt x="10272" y="6143"/>
                    <a:pt x="10272" y="6241"/>
                  </a:cubicBezTo>
                  <a:cubicBezTo>
                    <a:pt x="10272" y="6339"/>
                    <a:pt x="10334" y="6417"/>
                    <a:pt x="10410" y="6417"/>
                  </a:cubicBezTo>
                  <a:cubicBezTo>
                    <a:pt x="10487" y="6417"/>
                    <a:pt x="10548" y="6339"/>
                    <a:pt x="10548" y="6241"/>
                  </a:cubicBezTo>
                  <a:cubicBezTo>
                    <a:pt x="10548" y="6143"/>
                    <a:pt x="10487" y="6063"/>
                    <a:pt x="10410" y="6063"/>
                  </a:cubicBezTo>
                  <a:close/>
                  <a:moveTo>
                    <a:pt x="10780" y="6063"/>
                  </a:moveTo>
                  <a:cubicBezTo>
                    <a:pt x="10704" y="6063"/>
                    <a:pt x="10641" y="6143"/>
                    <a:pt x="10641" y="6241"/>
                  </a:cubicBezTo>
                  <a:cubicBezTo>
                    <a:pt x="10641" y="6339"/>
                    <a:pt x="10704" y="6417"/>
                    <a:pt x="10780" y="6417"/>
                  </a:cubicBezTo>
                  <a:cubicBezTo>
                    <a:pt x="10856" y="6417"/>
                    <a:pt x="10917" y="6339"/>
                    <a:pt x="10917" y="6241"/>
                  </a:cubicBezTo>
                  <a:cubicBezTo>
                    <a:pt x="10917" y="6143"/>
                    <a:pt x="10856" y="6063"/>
                    <a:pt x="10780" y="6063"/>
                  </a:cubicBezTo>
                  <a:close/>
                  <a:moveTo>
                    <a:pt x="11191" y="6063"/>
                  </a:moveTo>
                  <a:cubicBezTo>
                    <a:pt x="11115" y="6063"/>
                    <a:pt x="11052" y="6143"/>
                    <a:pt x="11052" y="6241"/>
                  </a:cubicBezTo>
                  <a:cubicBezTo>
                    <a:pt x="11052" y="6339"/>
                    <a:pt x="11115" y="6417"/>
                    <a:pt x="11191" y="6417"/>
                  </a:cubicBezTo>
                  <a:cubicBezTo>
                    <a:pt x="11267" y="6417"/>
                    <a:pt x="11328" y="6339"/>
                    <a:pt x="11328" y="6241"/>
                  </a:cubicBezTo>
                  <a:cubicBezTo>
                    <a:pt x="11328" y="6143"/>
                    <a:pt x="11267" y="6063"/>
                    <a:pt x="11191" y="6063"/>
                  </a:cubicBezTo>
                  <a:close/>
                  <a:moveTo>
                    <a:pt x="11602" y="6063"/>
                  </a:moveTo>
                  <a:cubicBezTo>
                    <a:pt x="11526" y="6063"/>
                    <a:pt x="11463" y="6143"/>
                    <a:pt x="11463" y="6241"/>
                  </a:cubicBezTo>
                  <a:cubicBezTo>
                    <a:pt x="11463" y="6339"/>
                    <a:pt x="11526" y="6417"/>
                    <a:pt x="11602" y="6417"/>
                  </a:cubicBezTo>
                  <a:cubicBezTo>
                    <a:pt x="11678" y="6417"/>
                    <a:pt x="11739" y="6339"/>
                    <a:pt x="11739" y="6241"/>
                  </a:cubicBezTo>
                  <a:cubicBezTo>
                    <a:pt x="11739" y="6143"/>
                    <a:pt x="11678" y="6063"/>
                    <a:pt x="11602" y="6063"/>
                  </a:cubicBezTo>
                  <a:close/>
                  <a:moveTo>
                    <a:pt x="11972" y="6063"/>
                  </a:moveTo>
                  <a:cubicBezTo>
                    <a:pt x="11895" y="6063"/>
                    <a:pt x="11833" y="6143"/>
                    <a:pt x="11833" y="6241"/>
                  </a:cubicBezTo>
                  <a:cubicBezTo>
                    <a:pt x="11833" y="6339"/>
                    <a:pt x="11895" y="6417"/>
                    <a:pt x="11972" y="6417"/>
                  </a:cubicBezTo>
                  <a:cubicBezTo>
                    <a:pt x="12048" y="6417"/>
                    <a:pt x="12109" y="6339"/>
                    <a:pt x="12109" y="6241"/>
                  </a:cubicBezTo>
                  <a:cubicBezTo>
                    <a:pt x="12109" y="6143"/>
                    <a:pt x="12048" y="6063"/>
                    <a:pt x="11972" y="6063"/>
                  </a:cubicBezTo>
                  <a:close/>
                  <a:moveTo>
                    <a:pt x="12382" y="6063"/>
                  </a:moveTo>
                  <a:cubicBezTo>
                    <a:pt x="12306" y="6063"/>
                    <a:pt x="12244" y="6143"/>
                    <a:pt x="12244" y="6241"/>
                  </a:cubicBezTo>
                  <a:cubicBezTo>
                    <a:pt x="12244" y="6339"/>
                    <a:pt x="12306" y="6417"/>
                    <a:pt x="12382" y="6417"/>
                  </a:cubicBezTo>
                  <a:cubicBezTo>
                    <a:pt x="12459" y="6417"/>
                    <a:pt x="12520" y="6339"/>
                    <a:pt x="12520" y="6241"/>
                  </a:cubicBezTo>
                  <a:cubicBezTo>
                    <a:pt x="12520" y="6143"/>
                    <a:pt x="12459" y="6063"/>
                    <a:pt x="12382" y="6063"/>
                  </a:cubicBezTo>
                  <a:close/>
                  <a:moveTo>
                    <a:pt x="12752" y="6063"/>
                  </a:moveTo>
                  <a:cubicBezTo>
                    <a:pt x="12676" y="6063"/>
                    <a:pt x="12614" y="6143"/>
                    <a:pt x="12614" y="6241"/>
                  </a:cubicBezTo>
                  <a:cubicBezTo>
                    <a:pt x="12614" y="6339"/>
                    <a:pt x="12676" y="6417"/>
                    <a:pt x="12752" y="6417"/>
                  </a:cubicBezTo>
                  <a:cubicBezTo>
                    <a:pt x="12829" y="6417"/>
                    <a:pt x="12890" y="6339"/>
                    <a:pt x="12890" y="6241"/>
                  </a:cubicBezTo>
                  <a:cubicBezTo>
                    <a:pt x="12890" y="6143"/>
                    <a:pt x="12829" y="6063"/>
                    <a:pt x="12752" y="6063"/>
                  </a:cubicBezTo>
                  <a:close/>
                  <a:moveTo>
                    <a:pt x="13163" y="6063"/>
                  </a:moveTo>
                  <a:cubicBezTo>
                    <a:pt x="13087" y="6063"/>
                    <a:pt x="13024" y="6143"/>
                    <a:pt x="13024" y="6241"/>
                  </a:cubicBezTo>
                  <a:cubicBezTo>
                    <a:pt x="13024" y="6339"/>
                    <a:pt x="13087" y="6417"/>
                    <a:pt x="13163" y="6417"/>
                  </a:cubicBezTo>
                  <a:cubicBezTo>
                    <a:pt x="13240" y="6417"/>
                    <a:pt x="13301" y="6339"/>
                    <a:pt x="13301" y="6241"/>
                  </a:cubicBezTo>
                  <a:cubicBezTo>
                    <a:pt x="13301" y="6143"/>
                    <a:pt x="13240" y="6063"/>
                    <a:pt x="13163" y="6063"/>
                  </a:cubicBezTo>
                  <a:close/>
                  <a:moveTo>
                    <a:pt x="13574" y="6063"/>
                  </a:moveTo>
                  <a:cubicBezTo>
                    <a:pt x="13498" y="6063"/>
                    <a:pt x="13435" y="6143"/>
                    <a:pt x="13435" y="6241"/>
                  </a:cubicBezTo>
                  <a:cubicBezTo>
                    <a:pt x="13435" y="6339"/>
                    <a:pt x="13498" y="6417"/>
                    <a:pt x="13574" y="6417"/>
                  </a:cubicBezTo>
                  <a:cubicBezTo>
                    <a:pt x="13650" y="6417"/>
                    <a:pt x="13711" y="6339"/>
                    <a:pt x="13711" y="6241"/>
                  </a:cubicBezTo>
                  <a:cubicBezTo>
                    <a:pt x="13711" y="6143"/>
                    <a:pt x="13650" y="6063"/>
                    <a:pt x="13574" y="6063"/>
                  </a:cubicBezTo>
                  <a:close/>
                  <a:moveTo>
                    <a:pt x="13985" y="6063"/>
                  </a:moveTo>
                  <a:cubicBezTo>
                    <a:pt x="13908" y="6063"/>
                    <a:pt x="13846" y="6143"/>
                    <a:pt x="13846" y="6241"/>
                  </a:cubicBezTo>
                  <a:cubicBezTo>
                    <a:pt x="13846" y="6339"/>
                    <a:pt x="13908" y="6417"/>
                    <a:pt x="13985" y="6417"/>
                  </a:cubicBezTo>
                  <a:cubicBezTo>
                    <a:pt x="14061" y="6417"/>
                    <a:pt x="14122" y="6339"/>
                    <a:pt x="14122" y="6241"/>
                  </a:cubicBezTo>
                  <a:cubicBezTo>
                    <a:pt x="14122" y="6143"/>
                    <a:pt x="14061" y="6063"/>
                    <a:pt x="13985" y="6063"/>
                  </a:cubicBezTo>
                  <a:close/>
                  <a:moveTo>
                    <a:pt x="14355" y="6063"/>
                  </a:moveTo>
                  <a:cubicBezTo>
                    <a:pt x="14278" y="6063"/>
                    <a:pt x="14216" y="6143"/>
                    <a:pt x="14216" y="6241"/>
                  </a:cubicBezTo>
                  <a:cubicBezTo>
                    <a:pt x="14216" y="6339"/>
                    <a:pt x="14278" y="6417"/>
                    <a:pt x="14355" y="6417"/>
                  </a:cubicBezTo>
                  <a:cubicBezTo>
                    <a:pt x="14431" y="6417"/>
                    <a:pt x="14492" y="6339"/>
                    <a:pt x="14492" y="6241"/>
                  </a:cubicBezTo>
                  <a:cubicBezTo>
                    <a:pt x="14492" y="6143"/>
                    <a:pt x="14431" y="6063"/>
                    <a:pt x="14355" y="6063"/>
                  </a:cubicBezTo>
                  <a:close/>
                  <a:moveTo>
                    <a:pt x="14765" y="6063"/>
                  </a:moveTo>
                  <a:cubicBezTo>
                    <a:pt x="14689" y="6063"/>
                    <a:pt x="14627" y="6143"/>
                    <a:pt x="14627" y="6241"/>
                  </a:cubicBezTo>
                  <a:cubicBezTo>
                    <a:pt x="14627" y="6339"/>
                    <a:pt x="14689" y="6417"/>
                    <a:pt x="14765" y="6417"/>
                  </a:cubicBezTo>
                  <a:cubicBezTo>
                    <a:pt x="14842" y="6417"/>
                    <a:pt x="14903" y="6339"/>
                    <a:pt x="14903" y="6241"/>
                  </a:cubicBezTo>
                  <a:cubicBezTo>
                    <a:pt x="14903" y="6143"/>
                    <a:pt x="14842" y="6063"/>
                    <a:pt x="14765" y="6063"/>
                  </a:cubicBezTo>
                  <a:close/>
                  <a:moveTo>
                    <a:pt x="15135" y="6063"/>
                  </a:moveTo>
                  <a:cubicBezTo>
                    <a:pt x="15059" y="6063"/>
                    <a:pt x="14997" y="6143"/>
                    <a:pt x="14997" y="6241"/>
                  </a:cubicBezTo>
                  <a:cubicBezTo>
                    <a:pt x="14997" y="6339"/>
                    <a:pt x="15059" y="6417"/>
                    <a:pt x="15135" y="6417"/>
                  </a:cubicBezTo>
                  <a:cubicBezTo>
                    <a:pt x="15212" y="6417"/>
                    <a:pt x="15273" y="6339"/>
                    <a:pt x="15273" y="6241"/>
                  </a:cubicBezTo>
                  <a:cubicBezTo>
                    <a:pt x="15273" y="6143"/>
                    <a:pt x="15212" y="6063"/>
                    <a:pt x="15135" y="6063"/>
                  </a:cubicBezTo>
                  <a:close/>
                  <a:moveTo>
                    <a:pt x="15546" y="6063"/>
                  </a:moveTo>
                  <a:cubicBezTo>
                    <a:pt x="15470" y="6063"/>
                    <a:pt x="15407" y="6143"/>
                    <a:pt x="15407" y="6241"/>
                  </a:cubicBezTo>
                  <a:cubicBezTo>
                    <a:pt x="15407" y="6339"/>
                    <a:pt x="15470" y="6417"/>
                    <a:pt x="15546" y="6417"/>
                  </a:cubicBezTo>
                  <a:cubicBezTo>
                    <a:pt x="15623" y="6417"/>
                    <a:pt x="15684" y="6339"/>
                    <a:pt x="15684" y="6241"/>
                  </a:cubicBezTo>
                  <a:cubicBezTo>
                    <a:pt x="15684" y="6143"/>
                    <a:pt x="15623" y="6063"/>
                    <a:pt x="15546" y="6063"/>
                  </a:cubicBezTo>
                  <a:close/>
                  <a:moveTo>
                    <a:pt x="15957" y="6063"/>
                  </a:moveTo>
                  <a:cubicBezTo>
                    <a:pt x="15881" y="6063"/>
                    <a:pt x="15818" y="6143"/>
                    <a:pt x="15818" y="6241"/>
                  </a:cubicBezTo>
                  <a:cubicBezTo>
                    <a:pt x="15818" y="6339"/>
                    <a:pt x="15881" y="6417"/>
                    <a:pt x="15957" y="6417"/>
                  </a:cubicBezTo>
                  <a:cubicBezTo>
                    <a:pt x="16033" y="6417"/>
                    <a:pt x="16094" y="6339"/>
                    <a:pt x="16094" y="6241"/>
                  </a:cubicBezTo>
                  <a:cubicBezTo>
                    <a:pt x="16094" y="6143"/>
                    <a:pt x="16033" y="6063"/>
                    <a:pt x="15957" y="6063"/>
                  </a:cubicBezTo>
                  <a:close/>
                  <a:moveTo>
                    <a:pt x="16327" y="6063"/>
                  </a:moveTo>
                  <a:cubicBezTo>
                    <a:pt x="16250" y="6063"/>
                    <a:pt x="16188" y="6143"/>
                    <a:pt x="16188" y="6241"/>
                  </a:cubicBezTo>
                  <a:cubicBezTo>
                    <a:pt x="16188" y="6339"/>
                    <a:pt x="16250" y="6417"/>
                    <a:pt x="16327" y="6417"/>
                  </a:cubicBezTo>
                  <a:cubicBezTo>
                    <a:pt x="16403" y="6417"/>
                    <a:pt x="16464" y="6339"/>
                    <a:pt x="16464" y="6241"/>
                  </a:cubicBezTo>
                  <a:cubicBezTo>
                    <a:pt x="16464" y="6143"/>
                    <a:pt x="16403" y="6063"/>
                    <a:pt x="16327" y="6063"/>
                  </a:cubicBezTo>
                  <a:close/>
                  <a:moveTo>
                    <a:pt x="16738" y="6063"/>
                  </a:moveTo>
                  <a:cubicBezTo>
                    <a:pt x="16661" y="6063"/>
                    <a:pt x="16599" y="6143"/>
                    <a:pt x="16599" y="6241"/>
                  </a:cubicBezTo>
                  <a:cubicBezTo>
                    <a:pt x="16599" y="6339"/>
                    <a:pt x="16661" y="6417"/>
                    <a:pt x="16738" y="6417"/>
                  </a:cubicBezTo>
                  <a:cubicBezTo>
                    <a:pt x="16814" y="6417"/>
                    <a:pt x="16875" y="6339"/>
                    <a:pt x="16875" y="6241"/>
                  </a:cubicBezTo>
                  <a:cubicBezTo>
                    <a:pt x="16875" y="6143"/>
                    <a:pt x="16814" y="6063"/>
                    <a:pt x="16738" y="6063"/>
                  </a:cubicBezTo>
                  <a:close/>
                  <a:moveTo>
                    <a:pt x="17149" y="6063"/>
                  </a:moveTo>
                  <a:cubicBezTo>
                    <a:pt x="17072" y="6063"/>
                    <a:pt x="17010" y="6143"/>
                    <a:pt x="17010" y="6241"/>
                  </a:cubicBezTo>
                  <a:cubicBezTo>
                    <a:pt x="17010" y="6339"/>
                    <a:pt x="17072" y="6417"/>
                    <a:pt x="17149" y="6417"/>
                  </a:cubicBezTo>
                  <a:cubicBezTo>
                    <a:pt x="17225" y="6417"/>
                    <a:pt x="17286" y="6339"/>
                    <a:pt x="17286" y="6241"/>
                  </a:cubicBezTo>
                  <a:cubicBezTo>
                    <a:pt x="17286" y="6143"/>
                    <a:pt x="17225" y="6063"/>
                    <a:pt x="17149" y="6063"/>
                  </a:cubicBezTo>
                  <a:close/>
                  <a:moveTo>
                    <a:pt x="17518" y="6063"/>
                  </a:moveTo>
                  <a:cubicBezTo>
                    <a:pt x="17442" y="6063"/>
                    <a:pt x="17380" y="6143"/>
                    <a:pt x="17380" y="6241"/>
                  </a:cubicBezTo>
                  <a:cubicBezTo>
                    <a:pt x="17380" y="6339"/>
                    <a:pt x="17442" y="6417"/>
                    <a:pt x="17518" y="6417"/>
                  </a:cubicBezTo>
                  <a:cubicBezTo>
                    <a:pt x="17595" y="6417"/>
                    <a:pt x="17656" y="6339"/>
                    <a:pt x="17656" y="6241"/>
                  </a:cubicBezTo>
                  <a:cubicBezTo>
                    <a:pt x="17656" y="6143"/>
                    <a:pt x="17595" y="6063"/>
                    <a:pt x="17518" y="6063"/>
                  </a:cubicBezTo>
                  <a:close/>
                  <a:moveTo>
                    <a:pt x="17888" y="6115"/>
                  </a:moveTo>
                  <a:cubicBezTo>
                    <a:pt x="17812" y="6115"/>
                    <a:pt x="17749" y="6196"/>
                    <a:pt x="17749" y="6293"/>
                  </a:cubicBezTo>
                  <a:cubicBezTo>
                    <a:pt x="17749" y="6391"/>
                    <a:pt x="17812" y="6470"/>
                    <a:pt x="17888" y="6470"/>
                  </a:cubicBezTo>
                  <a:cubicBezTo>
                    <a:pt x="17964" y="6470"/>
                    <a:pt x="18025" y="6391"/>
                    <a:pt x="18025" y="6293"/>
                  </a:cubicBezTo>
                  <a:cubicBezTo>
                    <a:pt x="18025" y="6196"/>
                    <a:pt x="17964" y="6115"/>
                    <a:pt x="17888" y="6115"/>
                  </a:cubicBezTo>
                  <a:close/>
                  <a:moveTo>
                    <a:pt x="1741" y="6537"/>
                  </a:moveTo>
                  <a:cubicBezTo>
                    <a:pt x="1665" y="6537"/>
                    <a:pt x="1602" y="6617"/>
                    <a:pt x="1602" y="6715"/>
                  </a:cubicBezTo>
                  <a:cubicBezTo>
                    <a:pt x="1602" y="6813"/>
                    <a:pt x="1665" y="6893"/>
                    <a:pt x="1741" y="6893"/>
                  </a:cubicBezTo>
                  <a:cubicBezTo>
                    <a:pt x="1817" y="6893"/>
                    <a:pt x="1878" y="6813"/>
                    <a:pt x="1878" y="6715"/>
                  </a:cubicBezTo>
                  <a:cubicBezTo>
                    <a:pt x="1878" y="6617"/>
                    <a:pt x="1817" y="6537"/>
                    <a:pt x="1741" y="6537"/>
                  </a:cubicBezTo>
                  <a:close/>
                  <a:moveTo>
                    <a:pt x="2111" y="6537"/>
                  </a:moveTo>
                  <a:cubicBezTo>
                    <a:pt x="2035" y="6537"/>
                    <a:pt x="1972" y="6617"/>
                    <a:pt x="1972" y="6715"/>
                  </a:cubicBezTo>
                  <a:cubicBezTo>
                    <a:pt x="1972" y="6813"/>
                    <a:pt x="2035" y="6893"/>
                    <a:pt x="2111" y="6893"/>
                  </a:cubicBezTo>
                  <a:cubicBezTo>
                    <a:pt x="2187" y="6893"/>
                    <a:pt x="2248" y="6813"/>
                    <a:pt x="2248" y="6715"/>
                  </a:cubicBezTo>
                  <a:cubicBezTo>
                    <a:pt x="2248" y="6617"/>
                    <a:pt x="2187" y="6537"/>
                    <a:pt x="2111" y="6537"/>
                  </a:cubicBezTo>
                  <a:close/>
                  <a:moveTo>
                    <a:pt x="2522" y="6537"/>
                  </a:moveTo>
                  <a:cubicBezTo>
                    <a:pt x="2445" y="6537"/>
                    <a:pt x="2383" y="6617"/>
                    <a:pt x="2383" y="6715"/>
                  </a:cubicBezTo>
                  <a:cubicBezTo>
                    <a:pt x="2383" y="6813"/>
                    <a:pt x="2445" y="6893"/>
                    <a:pt x="2522" y="6893"/>
                  </a:cubicBezTo>
                  <a:cubicBezTo>
                    <a:pt x="2598" y="6893"/>
                    <a:pt x="2659" y="6813"/>
                    <a:pt x="2659" y="6715"/>
                  </a:cubicBezTo>
                  <a:cubicBezTo>
                    <a:pt x="2659" y="6617"/>
                    <a:pt x="2598" y="6537"/>
                    <a:pt x="2522" y="6537"/>
                  </a:cubicBezTo>
                  <a:close/>
                  <a:moveTo>
                    <a:pt x="2891" y="6537"/>
                  </a:moveTo>
                  <a:cubicBezTo>
                    <a:pt x="2815" y="6537"/>
                    <a:pt x="2753" y="6617"/>
                    <a:pt x="2753" y="6715"/>
                  </a:cubicBezTo>
                  <a:cubicBezTo>
                    <a:pt x="2753" y="6813"/>
                    <a:pt x="2815" y="6893"/>
                    <a:pt x="2891" y="6893"/>
                  </a:cubicBezTo>
                  <a:cubicBezTo>
                    <a:pt x="2968" y="6893"/>
                    <a:pt x="3029" y="6813"/>
                    <a:pt x="3029" y="6715"/>
                  </a:cubicBezTo>
                  <a:cubicBezTo>
                    <a:pt x="3029" y="6617"/>
                    <a:pt x="2968" y="6537"/>
                    <a:pt x="2891" y="6537"/>
                  </a:cubicBezTo>
                  <a:close/>
                  <a:moveTo>
                    <a:pt x="3302" y="6537"/>
                  </a:moveTo>
                  <a:cubicBezTo>
                    <a:pt x="3226" y="6537"/>
                    <a:pt x="3164" y="6617"/>
                    <a:pt x="3164" y="6715"/>
                  </a:cubicBezTo>
                  <a:cubicBezTo>
                    <a:pt x="3164" y="6813"/>
                    <a:pt x="3226" y="6893"/>
                    <a:pt x="3302" y="6893"/>
                  </a:cubicBezTo>
                  <a:cubicBezTo>
                    <a:pt x="3379" y="6893"/>
                    <a:pt x="3440" y="6813"/>
                    <a:pt x="3440" y="6715"/>
                  </a:cubicBezTo>
                  <a:cubicBezTo>
                    <a:pt x="3440" y="6617"/>
                    <a:pt x="3379" y="6537"/>
                    <a:pt x="3302" y="6537"/>
                  </a:cubicBezTo>
                  <a:close/>
                  <a:moveTo>
                    <a:pt x="3713" y="6537"/>
                  </a:moveTo>
                  <a:cubicBezTo>
                    <a:pt x="3637" y="6537"/>
                    <a:pt x="3575" y="6617"/>
                    <a:pt x="3575" y="6715"/>
                  </a:cubicBezTo>
                  <a:cubicBezTo>
                    <a:pt x="3575" y="6813"/>
                    <a:pt x="3637" y="6893"/>
                    <a:pt x="3713" y="6893"/>
                  </a:cubicBezTo>
                  <a:cubicBezTo>
                    <a:pt x="3790" y="6893"/>
                    <a:pt x="3851" y="6813"/>
                    <a:pt x="3851" y="6715"/>
                  </a:cubicBezTo>
                  <a:cubicBezTo>
                    <a:pt x="3851" y="6617"/>
                    <a:pt x="3790" y="6537"/>
                    <a:pt x="3713" y="6537"/>
                  </a:cubicBezTo>
                  <a:close/>
                  <a:moveTo>
                    <a:pt x="4083" y="6537"/>
                  </a:moveTo>
                  <a:cubicBezTo>
                    <a:pt x="4007" y="6537"/>
                    <a:pt x="3944" y="6617"/>
                    <a:pt x="3944" y="6715"/>
                  </a:cubicBezTo>
                  <a:cubicBezTo>
                    <a:pt x="3944" y="6813"/>
                    <a:pt x="4007" y="6893"/>
                    <a:pt x="4083" y="6893"/>
                  </a:cubicBezTo>
                  <a:cubicBezTo>
                    <a:pt x="4159" y="6893"/>
                    <a:pt x="4220" y="6813"/>
                    <a:pt x="4220" y="6715"/>
                  </a:cubicBezTo>
                  <a:cubicBezTo>
                    <a:pt x="4220" y="6617"/>
                    <a:pt x="4159" y="6537"/>
                    <a:pt x="4083" y="6537"/>
                  </a:cubicBezTo>
                  <a:close/>
                  <a:moveTo>
                    <a:pt x="4494" y="6537"/>
                  </a:moveTo>
                  <a:cubicBezTo>
                    <a:pt x="4418" y="6537"/>
                    <a:pt x="4355" y="6617"/>
                    <a:pt x="4355" y="6715"/>
                  </a:cubicBezTo>
                  <a:cubicBezTo>
                    <a:pt x="4355" y="6813"/>
                    <a:pt x="4418" y="6893"/>
                    <a:pt x="4494" y="6893"/>
                  </a:cubicBezTo>
                  <a:cubicBezTo>
                    <a:pt x="4570" y="6893"/>
                    <a:pt x="4631" y="6813"/>
                    <a:pt x="4631" y="6715"/>
                  </a:cubicBezTo>
                  <a:cubicBezTo>
                    <a:pt x="4631" y="6617"/>
                    <a:pt x="4570" y="6537"/>
                    <a:pt x="4494" y="6537"/>
                  </a:cubicBezTo>
                  <a:close/>
                  <a:moveTo>
                    <a:pt x="4864" y="6537"/>
                  </a:moveTo>
                  <a:cubicBezTo>
                    <a:pt x="4787" y="6537"/>
                    <a:pt x="4725" y="6617"/>
                    <a:pt x="4725" y="6715"/>
                  </a:cubicBezTo>
                  <a:cubicBezTo>
                    <a:pt x="4725" y="6813"/>
                    <a:pt x="4787" y="6893"/>
                    <a:pt x="4864" y="6893"/>
                  </a:cubicBezTo>
                  <a:cubicBezTo>
                    <a:pt x="4940" y="6893"/>
                    <a:pt x="5001" y="6813"/>
                    <a:pt x="5001" y="6715"/>
                  </a:cubicBezTo>
                  <a:cubicBezTo>
                    <a:pt x="5001" y="6617"/>
                    <a:pt x="4940" y="6537"/>
                    <a:pt x="4864" y="6537"/>
                  </a:cubicBezTo>
                  <a:close/>
                  <a:moveTo>
                    <a:pt x="5274" y="6537"/>
                  </a:moveTo>
                  <a:cubicBezTo>
                    <a:pt x="5198" y="6537"/>
                    <a:pt x="5136" y="6617"/>
                    <a:pt x="5136" y="6715"/>
                  </a:cubicBezTo>
                  <a:cubicBezTo>
                    <a:pt x="5136" y="6813"/>
                    <a:pt x="5198" y="6893"/>
                    <a:pt x="5274" y="6893"/>
                  </a:cubicBezTo>
                  <a:cubicBezTo>
                    <a:pt x="5351" y="6893"/>
                    <a:pt x="5412" y="6813"/>
                    <a:pt x="5412" y="6715"/>
                  </a:cubicBezTo>
                  <a:cubicBezTo>
                    <a:pt x="5412" y="6617"/>
                    <a:pt x="5351" y="6537"/>
                    <a:pt x="5274" y="6537"/>
                  </a:cubicBezTo>
                  <a:close/>
                  <a:moveTo>
                    <a:pt x="5685" y="6537"/>
                  </a:moveTo>
                  <a:cubicBezTo>
                    <a:pt x="5609" y="6537"/>
                    <a:pt x="5547" y="6617"/>
                    <a:pt x="5547" y="6715"/>
                  </a:cubicBezTo>
                  <a:cubicBezTo>
                    <a:pt x="5547" y="6813"/>
                    <a:pt x="5609" y="6893"/>
                    <a:pt x="5685" y="6893"/>
                  </a:cubicBezTo>
                  <a:cubicBezTo>
                    <a:pt x="5762" y="6893"/>
                    <a:pt x="5823" y="6813"/>
                    <a:pt x="5823" y="6715"/>
                  </a:cubicBezTo>
                  <a:cubicBezTo>
                    <a:pt x="5823" y="6617"/>
                    <a:pt x="5762" y="6537"/>
                    <a:pt x="5685" y="6537"/>
                  </a:cubicBezTo>
                  <a:close/>
                  <a:moveTo>
                    <a:pt x="6055" y="6537"/>
                  </a:moveTo>
                  <a:cubicBezTo>
                    <a:pt x="5979" y="6537"/>
                    <a:pt x="5916" y="6617"/>
                    <a:pt x="5916" y="6715"/>
                  </a:cubicBezTo>
                  <a:cubicBezTo>
                    <a:pt x="5916" y="6813"/>
                    <a:pt x="5979" y="6893"/>
                    <a:pt x="6055" y="6893"/>
                  </a:cubicBezTo>
                  <a:cubicBezTo>
                    <a:pt x="6132" y="6893"/>
                    <a:pt x="6193" y="6813"/>
                    <a:pt x="6193" y="6715"/>
                  </a:cubicBezTo>
                  <a:cubicBezTo>
                    <a:pt x="6193" y="6617"/>
                    <a:pt x="6132" y="6537"/>
                    <a:pt x="6055" y="6537"/>
                  </a:cubicBezTo>
                  <a:close/>
                  <a:moveTo>
                    <a:pt x="6466" y="6537"/>
                  </a:moveTo>
                  <a:cubicBezTo>
                    <a:pt x="6390" y="6537"/>
                    <a:pt x="6327" y="6617"/>
                    <a:pt x="6327" y="6715"/>
                  </a:cubicBezTo>
                  <a:cubicBezTo>
                    <a:pt x="6327" y="6813"/>
                    <a:pt x="6390" y="6893"/>
                    <a:pt x="6466" y="6893"/>
                  </a:cubicBezTo>
                  <a:cubicBezTo>
                    <a:pt x="6542" y="6893"/>
                    <a:pt x="6603" y="6813"/>
                    <a:pt x="6603" y="6715"/>
                  </a:cubicBezTo>
                  <a:cubicBezTo>
                    <a:pt x="6603" y="6617"/>
                    <a:pt x="6542" y="6537"/>
                    <a:pt x="6466" y="6537"/>
                  </a:cubicBezTo>
                  <a:close/>
                  <a:moveTo>
                    <a:pt x="6836" y="6537"/>
                  </a:moveTo>
                  <a:cubicBezTo>
                    <a:pt x="6759" y="6537"/>
                    <a:pt x="6697" y="6617"/>
                    <a:pt x="6697" y="6715"/>
                  </a:cubicBezTo>
                  <a:cubicBezTo>
                    <a:pt x="6697" y="6813"/>
                    <a:pt x="6759" y="6893"/>
                    <a:pt x="6836" y="6893"/>
                  </a:cubicBezTo>
                  <a:cubicBezTo>
                    <a:pt x="6912" y="6893"/>
                    <a:pt x="6973" y="6813"/>
                    <a:pt x="6973" y="6715"/>
                  </a:cubicBezTo>
                  <a:cubicBezTo>
                    <a:pt x="6973" y="6617"/>
                    <a:pt x="6912" y="6537"/>
                    <a:pt x="6836" y="6537"/>
                  </a:cubicBezTo>
                  <a:close/>
                  <a:moveTo>
                    <a:pt x="7247" y="6537"/>
                  </a:moveTo>
                  <a:cubicBezTo>
                    <a:pt x="7170" y="6537"/>
                    <a:pt x="7108" y="6617"/>
                    <a:pt x="7108" y="6715"/>
                  </a:cubicBezTo>
                  <a:cubicBezTo>
                    <a:pt x="7108" y="6813"/>
                    <a:pt x="7170" y="6893"/>
                    <a:pt x="7247" y="6893"/>
                  </a:cubicBezTo>
                  <a:cubicBezTo>
                    <a:pt x="7323" y="6893"/>
                    <a:pt x="7384" y="6813"/>
                    <a:pt x="7384" y="6715"/>
                  </a:cubicBezTo>
                  <a:cubicBezTo>
                    <a:pt x="7384" y="6617"/>
                    <a:pt x="7323" y="6537"/>
                    <a:pt x="7247" y="6537"/>
                  </a:cubicBezTo>
                  <a:close/>
                  <a:moveTo>
                    <a:pt x="7616" y="6537"/>
                  </a:moveTo>
                  <a:cubicBezTo>
                    <a:pt x="7540" y="6537"/>
                    <a:pt x="7478" y="6617"/>
                    <a:pt x="7478" y="6715"/>
                  </a:cubicBezTo>
                  <a:cubicBezTo>
                    <a:pt x="7478" y="6813"/>
                    <a:pt x="7540" y="6893"/>
                    <a:pt x="7616" y="6893"/>
                  </a:cubicBezTo>
                  <a:cubicBezTo>
                    <a:pt x="7693" y="6893"/>
                    <a:pt x="7754" y="6813"/>
                    <a:pt x="7754" y="6715"/>
                  </a:cubicBezTo>
                  <a:cubicBezTo>
                    <a:pt x="7754" y="6617"/>
                    <a:pt x="7693" y="6537"/>
                    <a:pt x="7616" y="6537"/>
                  </a:cubicBezTo>
                  <a:close/>
                  <a:moveTo>
                    <a:pt x="8027" y="6537"/>
                  </a:moveTo>
                  <a:cubicBezTo>
                    <a:pt x="7951" y="6537"/>
                    <a:pt x="7889" y="6617"/>
                    <a:pt x="7889" y="6715"/>
                  </a:cubicBezTo>
                  <a:cubicBezTo>
                    <a:pt x="7889" y="6813"/>
                    <a:pt x="7951" y="6893"/>
                    <a:pt x="8027" y="6893"/>
                  </a:cubicBezTo>
                  <a:cubicBezTo>
                    <a:pt x="8104" y="6893"/>
                    <a:pt x="8165" y="6813"/>
                    <a:pt x="8165" y="6715"/>
                  </a:cubicBezTo>
                  <a:cubicBezTo>
                    <a:pt x="8165" y="6617"/>
                    <a:pt x="8104" y="6537"/>
                    <a:pt x="8027" y="6537"/>
                  </a:cubicBezTo>
                  <a:close/>
                  <a:moveTo>
                    <a:pt x="8438" y="6537"/>
                  </a:moveTo>
                  <a:cubicBezTo>
                    <a:pt x="8362" y="6537"/>
                    <a:pt x="8299" y="6617"/>
                    <a:pt x="8299" y="6715"/>
                  </a:cubicBezTo>
                  <a:cubicBezTo>
                    <a:pt x="8299" y="6813"/>
                    <a:pt x="8362" y="6893"/>
                    <a:pt x="8438" y="6893"/>
                  </a:cubicBezTo>
                  <a:cubicBezTo>
                    <a:pt x="8515" y="6893"/>
                    <a:pt x="8576" y="6813"/>
                    <a:pt x="8576" y="6715"/>
                  </a:cubicBezTo>
                  <a:cubicBezTo>
                    <a:pt x="8576" y="6617"/>
                    <a:pt x="8515" y="6537"/>
                    <a:pt x="8438" y="6537"/>
                  </a:cubicBezTo>
                  <a:close/>
                  <a:moveTo>
                    <a:pt x="8808" y="6537"/>
                  </a:moveTo>
                  <a:cubicBezTo>
                    <a:pt x="8732" y="6537"/>
                    <a:pt x="8669" y="6617"/>
                    <a:pt x="8669" y="6715"/>
                  </a:cubicBezTo>
                  <a:cubicBezTo>
                    <a:pt x="8669" y="6813"/>
                    <a:pt x="8732" y="6893"/>
                    <a:pt x="8808" y="6893"/>
                  </a:cubicBezTo>
                  <a:cubicBezTo>
                    <a:pt x="8884" y="6893"/>
                    <a:pt x="8945" y="6813"/>
                    <a:pt x="8945" y="6715"/>
                  </a:cubicBezTo>
                  <a:cubicBezTo>
                    <a:pt x="8945" y="6617"/>
                    <a:pt x="8884" y="6537"/>
                    <a:pt x="8808" y="6537"/>
                  </a:cubicBezTo>
                  <a:close/>
                  <a:moveTo>
                    <a:pt x="9219" y="6537"/>
                  </a:moveTo>
                  <a:cubicBezTo>
                    <a:pt x="9142" y="6537"/>
                    <a:pt x="9080" y="6617"/>
                    <a:pt x="9080" y="6715"/>
                  </a:cubicBezTo>
                  <a:cubicBezTo>
                    <a:pt x="9080" y="6813"/>
                    <a:pt x="9142" y="6893"/>
                    <a:pt x="9219" y="6893"/>
                  </a:cubicBezTo>
                  <a:cubicBezTo>
                    <a:pt x="9295" y="6893"/>
                    <a:pt x="9356" y="6813"/>
                    <a:pt x="9356" y="6715"/>
                  </a:cubicBezTo>
                  <a:cubicBezTo>
                    <a:pt x="9356" y="6617"/>
                    <a:pt x="9295" y="6537"/>
                    <a:pt x="9219" y="6537"/>
                  </a:cubicBezTo>
                  <a:close/>
                  <a:moveTo>
                    <a:pt x="9589" y="6537"/>
                  </a:moveTo>
                  <a:cubicBezTo>
                    <a:pt x="9512" y="6537"/>
                    <a:pt x="9450" y="6617"/>
                    <a:pt x="9450" y="6715"/>
                  </a:cubicBezTo>
                  <a:cubicBezTo>
                    <a:pt x="9450" y="6813"/>
                    <a:pt x="9512" y="6893"/>
                    <a:pt x="9589" y="6893"/>
                  </a:cubicBezTo>
                  <a:cubicBezTo>
                    <a:pt x="9665" y="6893"/>
                    <a:pt x="9726" y="6813"/>
                    <a:pt x="9726" y="6715"/>
                  </a:cubicBezTo>
                  <a:cubicBezTo>
                    <a:pt x="9726" y="6617"/>
                    <a:pt x="9665" y="6537"/>
                    <a:pt x="9589" y="6537"/>
                  </a:cubicBezTo>
                  <a:close/>
                  <a:moveTo>
                    <a:pt x="9999" y="6537"/>
                  </a:moveTo>
                  <a:cubicBezTo>
                    <a:pt x="9923" y="6537"/>
                    <a:pt x="9861" y="6617"/>
                    <a:pt x="9861" y="6715"/>
                  </a:cubicBezTo>
                  <a:cubicBezTo>
                    <a:pt x="9861" y="6813"/>
                    <a:pt x="9923" y="6893"/>
                    <a:pt x="9999" y="6893"/>
                  </a:cubicBezTo>
                  <a:cubicBezTo>
                    <a:pt x="10076" y="6893"/>
                    <a:pt x="10137" y="6813"/>
                    <a:pt x="10137" y="6715"/>
                  </a:cubicBezTo>
                  <a:cubicBezTo>
                    <a:pt x="10137" y="6617"/>
                    <a:pt x="10076" y="6537"/>
                    <a:pt x="9999" y="6537"/>
                  </a:cubicBezTo>
                  <a:close/>
                  <a:moveTo>
                    <a:pt x="16738" y="6537"/>
                  </a:moveTo>
                  <a:cubicBezTo>
                    <a:pt x="16661" y="6537"/>
                    <a:pt x="16599" y="6617"/>
                    <a:pt x="16599" y="6715"/>
                  </a:cubicBezTo>
                  <a:cubicBezTo>
                    <a:pt x="16599" y="6813"/>
                    <a:pt x="16661" y="6891"/>
                    <a:pt x="16738" y="6891"/>
                  </a:cubicBezTo>
                  <a:cubicBezTo>
                    <a:pt x="16814" y="6891"/>
                    <a:pt x="16875" y="6813"/>
                    <a:pt x="16875" y="6715"/>
                  </a:cubicBezTo>
                  <a:cubicBezTo>
                    <a:pt x="16875" y="6617"/>
                    <a:pt x="16814" y="6537"/>
                    <a:pt x="16738" y="6537"/>
                  </a:cubicBezTo>
                  <a:close/>
                  <a:moveTo>
                    <a:pt x="17149" y="6537"/>
                  </a:moveTo>
                  <a:cubicBezTo>
                    <a:pt x="17072" y="6537"/>
                    <a:pt x="17010" y="6617"/>
                    <a:pt x="17010" y="6715"/>
                  </a:cubicBezTo>
                  <a:cubicBezTo>
                    <a:pt x="17010" y="6813"/>
                    <a:pt x="17072" y="6891"/>
                    <a:pt x="17149" y="6891"/>
                  </a:cubicBezTo>
                  <a:cubicBezTo>
                    <a:pt x="17225" y="6891"/>
                    <a:pt x="17286" y="6813"/>
                    <a:pt x="17286" y="6715"/>
                  </a:cubicBezTo>
                  <a:cubicBezTo>
                    <a:pt x="17286" y="6617"/>
                    <a:pt x="17225" y="6537"/>
                    <a:pt x="17149" y="6537"/>
                  </a:cubicBezTo>
                  <a:close/>
                  <a:moveTo>
                    <a:pt x="17518" y="6537"/>
                  </a:moveTo>
                  <a:cubicBezTo>
                    <a:pt x="17442" y="6537"/>
                    <a:pt x="17380" y="6617"/>
                    <a:pt x="17380" y="6715"/>
                  </a:cubicBezTo>
                  <a:cubicBezTo>
                    <a:pt x="17380" y="6813"/>
                    <a:pt x="17442" y="6891"/>
                    <a:pt x="17518" y="6891"/>
                  </a:cubicBezTo>
                  <a:cubicBezTo>
                    <a:pt x="17595" y="6891"/>
                    <a:pt x="17656" y="6813"/>
                    <a:pt x="17656" y="6715"/>
                  </a:cubicBezTo>
                  <a:cubicBezTo>
                    <a:pt x="17656" y="6617"/>
                    <a:pt x="17595" y="6537"/>
                    <a:pt x="17518" y="6537"/>
                  </a:cubicBezTo>
                  <a:close/>
                  <a:moveTo>
                    <a:pt x="18299" y="6537"/>
                  </a:moveTo>
                  <a:cubicBezTo>
                    <a:pt x="18223" y="6537"/>
                    <a:pt x="18160" y="6617"/>
                    <a:pt x="18160" y="6715"/>
                  </a:cubicBezTo>
                  <a:cubicBezTo>
                    <a:pt x="18160" y="6813"/>
                    <a:pt x="18223" y="6891"/>
                    <a:pt x="18299" y="6891"/>
                  </a:cubicBezTo>
                  <a:cubicBezTo>
                    <a:pt x="18375" y="6891"/>
                    <a:pt x="18436" y="6813"/>
                    <a:pt x="18436" y="6715"/>
                  </a:cubicBezTo>
                  <a:cubicBezTo>
                    <a:pt x="18436" y="6617"/>
                    <a:pt x="18375" y="6537"/>
                    <a:pt x="18299" y="6537"/>
                  </a:cubicBezTo>
                  <a:close/>
                  <a:moveTo>
                    <a:pt x="10410" y="6590"/>
                  </a:moveTo>
                  <a:cubicBezTo>
                    <a:pt x="10334" y="6590"/>
                    <a:pt x="10272" y="6670"/>
                    <a:pt x="10272" y="6768"/>
                  </a:cubicBezTo>
                  <a:cubicBezTo>
                    <a:pt x="10272" y="6866"/>
                    <a:pt x="10334" y="6944"/>
                    <a:pt x="10410" y="6944"/>
                  </a:cubicBezTo>
                  <a:cubicBezTo>
                    <a:pt x="10487" y="6944"/>
                    <a:pt x="10548" y="6866"/>
                    <a:pt x="10548" y="6768"/>
                  </a:cubicBezTo>
                  <a:cubicBezTo>
                    <a:pt x="10548" y="6670"/>
                    <a:pt x="10487" y="6590"/>
                    <a:pt x="10410" y="6590"/>
                  </a:cubicBezTo>
                  <a:close/>
                  <a:moveTo>
                    <a:pt x="10780" y="6590"/>
                  </a:moveTo>
                  <a:cubicBezTo>
                    <a:pt x="10704" y="6590"/>
                    <a:pt x="10641" y="6670"/>
                    <a:pt x="10641" y="6768"/>
                  </a:cubicBezTo>
                  <a:cubicBezTo>
                    <a:pt x="10641" y="6866"/>
                    <a:pt x="10704" y="6944"/>
                    <a:pt x="10780" y="6944"/>
                  </a:cubicBezTo>
                  <a:cubicBezTo>
                    <a:pt x="10856" y="6944"/>
                    <a:pt x="10917" y="6866"/>
                    <a:pt x="10917" y="6768"/>
                  </a:cubicBezTo>
                  <a:cubicBezTo>
                    <a:pt x="10917" y="6670"/>
                    <a:pt x="10856" y="6590"/>
                    <a:pt x="10780" y="6590"/>
                  </a:cubicBezTo>
                  <a:close/>
                  <a:moveTo>
                    <a:pt x="11191" y="6590"/>
                  </a:moveTo>
                  <a:cubicBezTo>
                    <a:pt x="11115" y="6590"/>
                    <a:pt x="11052" y="6670"/>
                    <a:pt x="11052" y="6768"/>
                  </a:cubicBezTo>
                  <a:cubicBezTo>
                    <a:pt x="11052" y="6866"/>
                    <a:pt x="11115" y="6944"/>
                    <a:pt x="11191" y="6944"/>
                  </a:cubicBezTo>
                  <a:cubicBezTo>
                    <a:pt x="11267" y="6944"/>
                    <a:pt x="11328" y="6866"/>
                    <a:pt x="11328" y="6768"/>
                  </a:cubicBezTo>
                  <a:cubicBezTo>
                    <a:pt x="11328" y="6670"/>
                    <a:pt x="11267" y="6590"/>
                    <a:pt x="11191" y="6590"/>
                  </a:cubicBezTo>
                  <a:close/>
                  <a:moveTo>
                    <a:pt x="11602" y="6590"/>
                  </a:moveTo>
                  <a:cubicBezTo>
                    <a:pt x="11526" y="6590"/>
                    <a:pt x="11463" y="6670"/>
                    <a:pt x="11463" y="6768"/>
                  </a:cubicBezTo>
                  <a:cubicBezTo>
                    <a:pt x="11463" y="6866"/>
                    <a:pt x="11526" y="6944"/>
                    <a:pt x="11602" y="6944"/>
                  </a:cubicBezTo>
                  <a:cubicBezTo>
                    <a:pt x="11678" y="6944"/>
                    <a:pt x="11739" y="6866"/>
                    <a:pt x="11739" y="6768"/>
                  </a:cubicBezTo>
                  <a:cubicBezTo>
                    <a:pt x="11739" y="6670"/>
                    <a:pt x="11678" y="6590"/>
                    <a:pt x="11602" y="6590"/>
                  </a:cubicBezTo>
                  <a:close/>
                  <a:moveTo>
                    <a:pt x="11972" y="6590"/>
                  </a:moveTo>
                  <a:cubicBezTo>
                    <a:pt x="11895" y="6590"/>
                    <a:pt x="11833" y="6670"/>
                    <a:pt x="11833" y="6768"/>
                  </a:cubicBezTo>
                  <a:cubicBezTo>
                    <a:pt x="11833" y="6866"/>
                    <a:pt x="11895" y="6944"/>
                    <a:pt x="11972" y="6944"/>
                  </a:cubicBezTo>
                  <a:cubicBezTo>
                    <a:pt x="12048" y="6944"/>
                    <a:pt x="12109" y="6866"/>
                    <a:pt x="12109" y="6768"/>
                  </a:cubicBezTo>
                  <a:cubicBezTo>
                    <a:pt x="12109" y="6670"/>
                    <a:pt x="12048" y="6590"/>
                    <a:pt x="11972" y="6590"/>
                  </a:cubicBezTo>
                  <a:close/>
                  <a:moveTo>
                    <a:pt x="12382" y="6590"/>
                  </a:moveTo>
                  <a:cubicBezTo>
                    <a:pt x="12306" y="6590"/>
                    <a:pt x="12244" y="6670"/>
                    <a:pt x="12244" y="6768"/>
                  </a:cubicBezTo>
                  <a:cubicBezTo>
                    <a:pt x="12244" y="6866"/>
                    <a:pt x="12306" y="6944"/>
                    <a:pt x="12382" y="6944"/>
                  </a:cubicBezTo>
                  <a:cubicBezTo>
                    <a:pt x="12459" y="6944"/>
                    <a:pt x="12520" y="6866"/>
                    <a:pt x="12520" y="6768"/>
                  </a:cubicBezTo>
                  <a:cubicBezTo>
                    <a:pt x="12520" y="6670"/>
                    <a:pt x="12459" y="6590"/>
                    <a:pt x="12382" y="6590"/>
                  </a:cubicBezTo>
                  <a:close/>
                  <a:moveTo>
                    <a:pt x="12793" y="6590"/>
                  </a:moveTo>
                  <a:cubicBezTo>
                    <a:pt x="12717" y="6590"/>
                    <a:pt x="12655" y="6670"/>
                    <a:pt x="12655" y="6768"/>
                  </a:cubicBezTo>
                  <a:cubicBezTo>
                    <a:pt x="12655" y="6866"/>
                    <a:pt x="12717" y="6944"/>
                    <a:pt x="12793" y="6944"/>
                  </a:cubicBezTo>
                  <a:cubicBezTo>
                    <a:pt x="12869" y="6944"/>
                    <a:pt x="12931" y="6866"/>
                    <a:pt x="12931" y="6768"/>
                  </a:cubicBezTo>
                  <a:cubicBezTo>
                    <a:pt x="12931" y="6670"/>
                    <a:pt x="12869" y="6590"/>
                    <a:pt x="12793" y="6590"/>
                  </a:cubicBezTo>
                  <a:close/>
                  <a:moveTo>
                    <a:pt x="13163" y="6590"/>
                  </a:moveTo>
                  <a:cubicBezTo>
                    <a:pt x="13087" y="6590"/>
                    <a:pt x="13024" y="6670"/>
                    <a:pt x="13024" y="6768"/>
                  </a:cubicBezTo>
                  <a:cubicBezTo>
                    <a:pt x="13024" y="6866"/>
                    <a:pt x="13087" y="6944"/>
                    <a:pt x="13163" y="6944"/>
                  </a:cubicBezTo>
                  <a:cubicBezTo>
                    <a:pt x="13239" y="6944"/>
                    <a:pt x="13301" y="6866"/>
                    <a:pt x="13301" y="6768"/>
                  </a:cubicBezTo>
                  <a:cubicBezTo>
                    <a:pt x="13301" y="6670"/>
                    <a:pt x="13239" y="6590"/>
                    <a:pt x="13163" y="6590"/>
                  </a:cubicBezTo>
                  <a:close/>
                  <a:moveTo>
                    <a:pt x="13574" y="6590"/>
                  </a:moveTo>
                  <a:cubicBezTo>
                    <a:pt x="13498" y="6590"/>
                    <a:pt x="13435" y="6670"/>
                    <a:pt x="13435" y="6768"/>
                  </a:cubicBezTo>
                  <a:cubicBezTo>
                    <a:pt x="13435" y="6866"/>
                    <a:pt x="13498" y="6944"/>
                    <a:pt x="13574" y="6944"/>
                  </a:cubicBezTo>
                  <a:cubicBezTo>
                    <a:pt x="13650" y="6944"/>
                    <a:pt x="13711" y="6866"/>
                    <a:pt x="13711" y="6768"/>
                  </a:cubicBezTo>
                  <a:cubicBezTo>
                    <a:pt x="13711" y="6670"/>
                    <a:pt x="13650" y="6590"/>
                    <a:pt x="13574" y="6590"/>
                  </a:cubicBezTo>
                  <a:close/>
                  <a:moveTo>
                    <a:pt x="13944" y="6590"/>
                  </a:moveTo>
                  <a:cubicBezTo>
                    <a:pt x="13868" y="6590"/>
                    <a:pt x="13805" y="6670"/>
                    <a:pt x="13805" y="6768"/>
                  </a:cubicBezTo>
                  <a:cubicBezTo>
                    <a:pt x="13805" y="6866"/>
                    <a:pt x="13868" y="6944"/>
                    <a:pt x="13944" y="6944"/>
                  </a:cubicBezTo>
                  <a:cubicBezTo>
                    <a:pt x="14020" y="6944"/>
                    <a:pt x="14081" y="6866"/>
                    <a:pt x="14081" y="6768"/>
                  </a:cubicBezTo>
                  <a:cubicBezTo>
                    <a:pt x="14081" y="6670"/>
                    <a:pt x="14020" y="6590"/>
                    <a:pt x="13944" y="6590"/>
                  </a:cubicBezTo>
                  <a:close/>
                  <a:moveTo>
                    <a:pt x="14355" y="6590"/>
                  </a:moveTo>
                  <a:cubicBezTo>
                    <a:pt x="14278" y="6590"/>
                    <a:pt x="14216" y="6670"/>
                    <a:pt x="14216" y="6768"/>
                  </a:cubicBezTo>
                  <a:cubicBezTo>
                    <a:pt x="14216" y="6866"/>
                    <a:pt x="14278" y="6944"/>
                    <a:pt x="14355" y="6944"/>
                  </a:cubicBezTo>
                  <a:cubicBezTo>
                    <a:pt x="14431" y="6944"/>
                    <a:pt x="14492" y="6866"/>
                    <a:pt x="14492" y="6768"/>
                  </a:cubicBezTo>
                  <a:cubicBezTo>
                    <a:pt x="14492" y="6670"/>
                    <a:pt x="14431" y="6590"/>
                    <a:pt x="14355" y="6590"/>
                  </a:cubicBezTo>
                  <a:close/>
                  <a:moveTo>
                    <a:pt x="14765" y="6590"/>
                  </a:moveTo>
                  <a:cubicBezTo>
                    <a:pt x="14689" y="6590"/>
                    <a:pt x="14627" y="6670"/>
                    <a:pt x="14627" y="6768"/>
                  </a:cubicBezTo>
                  <a:cubicBezTo>
                    <a:pt x="14627" y="6866"/>
                    <a:pt x="14689" y="6944"/>
                    <a:pt x="14765" y="6944"/>
                  </a:cubicBezTo>
                  <a:cubicBezTo>
                    <a:pt x="14842" y="6944"/>
                    <a:pt x="14903" y="6866"/>
                    <a:pt x="14903" y="6768"/>
                  </a:cubicBezTo>
                  <a:cubicBezTo>
                    <a:pt x="14903" y="6670"/>
                    <a:pt x="14842" y="6590"/>
                    <a:pt x="14765" y="6590"/>
                  </a:cubicBezTo>
                  <a:close/>
                  <a:moveTo>
                    <a:pt x="15176" y="6590"/>
                  </a:moveTo>
                  <a:cubicBezTo>
                    <a:pt x="15100" y="6590"/>
                    <a:pt x="15038" y="6670"/>
                    <a:pt x="15038" y="6768"/>
                  </a:cubicBezTo>
                  <a:cubicBezTo>
                    <a:pt x="15038" y="6866"/>
                    <a:pt x="15100" y="6944"/>
                    <a:pt x="15176" y="6944"/>
                  </a:cubicBezTo>
                  <a:cubicBezTo>
                    <a:pt x="15253" y="6944"/>
                    <a:pt x="15314" y="6866"/>
                    <a:pt x="15314" y="6768"/>
                  </a:cubicBezTo>
                  <a:cubicBezTo>
                    <a:pt x="15314" y="6670"/>
                    <a:pt x="15253" y="6590"/>
                    <a:pt x="15176" y="6590"/>
                  </a:cubicBezTo>
                  <a:close/>
                  <a:moveTo>
                    <a:pt x="15546" y="6590"/>
                  </a:moveTo>
                  <a:cubicBezTo>
                    <a:pt x="15470" y="6590"/>
                    <a:pt x="15407" y="6670"/>
                    <a:pt x="15407" y="6768"/>
                  </a:cubicBezTo>
                  <a:cubicBezTo>
                    <a:pt x="15407" y="6866"/>
                    <a:pt x="15470" y="6944"/>
                    <a:pt x="15546" y="6944"/>
                  </a:cubicBezTo>
                  <a:cubicBezTo>
                    <a:pt x="15623" y="6944"/>
                    <a:pt x="15684" y="6866"/>
                    <a:pt x="15684" y="6768"/>
                  </a:cubicBezTo>
                  <a:cubicBezTo>
                    <a:pt x="15684" y="6670"/>
                    <a:pt x="15623" y="6590"/>
                    <a:pt x="15546" y="6590"/>
                  </a:cubicBezTo>
                  <a:close/>
                  <a:moveTo>
                    <a:pt x="15957" y="6590"/>
                  </a:moveTo>
                  <a:cubicBezTo>
                    <a:pt x="15881" y="6590"/>
                    <a:pt x="15818" y="6670"/>
                    <a:pt x="15818" y="6768"/>
                  </a:cubicBezTo>
                  <a:cubicBezTo>
                    <a:pt x="15818" y="6866"/>
                    <a:pt x="15881" y="6944"/>
                    <a:pt x="15957" y="6944"/>
                  </a:cubicBezTo>
                  <a:cubicBezTo>
                    <a:pt x="16033" y="6944"/>
                    <a:pt x="16094" y="6866"/>
                    <a:pt x="16094" y="6768"/>
                  </a:cubicBezTo>
                  <a:cubicBezTo>
                    <a:pt x="16094" y="6670"/>
                    <a:pt x="16033" y="6590"/>
                    <a:pt x="15957" y="6590"/>
                  </a:cubicBezTo>
                  <a:close/>
                  <a:moveTo>
                    <a:pt x="16327" y="6590"/>
                  </a:moveTo>
                  <a:cubicBezTo>
                    <a:pt x="16251" y="6590"/>
                    <a:pt x="16188" y="6670"/>
                    <a:pt x="16188" y="6768"/>
                  </a:cubicBezTo>
                  <a:cubicBezTo>
                    <a:pt x="16188" y="6866"/>
                    <a:pt x="16251" y="6944"/>
                    <a:pt x="16327" y="6944"/>
                  </a:cubicBezTo>
                  <a:cubicBezTo>
                    <a:pt x="16403" y="6944"/>
                    <a:pt x="16464" y="6866"/>
                    <a:pt x="16464" y="6768"/>
                  </a:cubicBezTo>
                  <a:cubicBezTo>
                    <a:pt x="16464" y="6670"/>
                    <a:pt x="16403" y="6590"/>
                    <a:pt x="16327" y="6590"/>
                  </a:cubicBezTo>
                  <a:close/>
                  <a:moveTo>
                    <a:pt x="3671" y="7064"/>
                  </a:moveTo>
                  <a:cubicBezTo>
                    <a:pt x="3595" y="7064"/>
                    <a:pt x="3533" y="7144"/>
                    <a:pt x="3533" y="7242"/>
                  </a:cubicBezTo>
                  <a:cubicBezTo>
                    <a:pt x="3533" y="7340"/>
                    <a:pt x="3595" y="7419"/>
                    <a:pt x="3671" y="7419"/>
                  </a:cubicBezTo>
                  <a:cubicBezTo>
                    <a:pt x="3747" y="7419"/>
                    <a:pt x="3809" y="7340"/>
                    <a:pt x="3809" y="7242"/>
                  </a:cubicBezTo>
                  <a:cubicBezTo>
                    <a:pt x="3809" y="7144"/>
                    <a:pt x="3747" y="7064"/>
                    <a:pt x="3671" y="7064"/>
                  </a:cubicBezTo>
                  <a:close/>
                  <a:moveTo>
                    <a:pt x="4083" y="7064"/>
                  </a:moveTo>
                  <a:cubicBezTo>
                    <a:pt x="4007" y="7064"/>
                    <a:pt x="3944" y="7144"/>
                    <a:pt x="3944" y="7242"/>
                  </a:cubicBezTo>
                  <a:cubicBezTo>
                    <a:pt x="3944" y="7340"/>
                    <a:pt x="4007" y="7419"/>
                    <a:pt x="4083" y="7419"/>
                  </a:cubicBezTo>
                  <a:cubicBezTo>
                    <a:pt x="4159" y="7419"/>
                    <a:pt x="4220" y="7340"/>
                    <a:pt x="4220" y="7242"/>
                  </a:cubicBezTo>
                  <a:cubicBezTo>
                    <a:pt x="4220" y="7144"/>
                    <a:pt x="4159" y="7064"/>
                    <a:pt x="4083" y="7064"/>
                  </a:cubicBezTo>
                  <a:close/>
                  <a:moveTo>
                    <a:pt x="4453" y="7064"/>
                  </a:moveTo>
                  <a:cubicBezTo>
                    <a:pt x="4376" y="7064"/>
                    <a:pt x="4314" y="7144"/>
                    <a:pt x="4314" y="7242"/>
                  </a:cubicBezTo>
                  <a:cubicBezTo>
                    <a:pt x="4314" y="7340"/>
                    <a:pt x="4376" y="7419"/>
                    <a:pt x="4453" y="7419"/>
                  </a:cubicBezTo>
                  <a:cubicBezTo>
                    <a:pt x="4529" y="7419"/>
                    <a:pt x="4590" y="7340"/>
                    <a:pt x="4590" y="7242"/>
                  </a:cubicBezTo>
                  <a:cubicBezTo>
                    <a:pt x="4590" y="7144"/>
                    <a:pt x="4529" y="7064"/>
                    <a:pt x="4453" y="7064"/>
                  </a:cubicBezTo>
                  <a:close/>
                  <a:moveTo>
                    <a:pt x="4864" y="7064"/>
                  </a:moveTo>
                  <a:cubicBezTo>
                    <a:pt x="4787" y="7064"/>
                    <a:pt x="4725" y="7144"/>
                    <a:pt x="4725" y="7242"/>
                  </a:cubicBezTo>
                  <a:cubicBezTo>
                    <a:pt x="4725" y="7340"/>
                    <a:pt x="4787" y="7419"/>
                    <a:pt x="4864" y="7419"/>
                  </a:cubicBezTo>
                  <a:cubicBezTo>
                    <a:pt x="4940" y="7419"/>
                    <a:pt x="5001" y="7340"/>
                    <a:pt x="5001" y="7242"/>
                  </a:cubicBezTo>
                  <a:cubicBezTo>
                    <a:pt x="5001" y="7144"/>
                    <a:pt x="4940" y="7064"/>
                    <a:pt x="4864" y="7064"/>
                  </a:cubicBezTo>
                  <a:close/>
                  <a:moveTo>
                    <a:pt x="5274" y="7064"/>
                  </a:moveTo>
                  <a:cubicBezTo>
                    <a:pt x="5198" y="7064"/>
                    <a:pt x="5136" y="7144"/>
                    <a:pt x="5136" y="7242"/>
                  </a:cubicBezTo>
                  <a:cubicBezTo>
                    <a:pt x="5136" y="7340"/>
                    <a:pt x="5198" y="7419"/>
                    <a:pt x="5274" y="7419"/>
                  </a:cubicBezTo>
                  <a:cubicBezTo>
                    <a:pt x="5351" y="7419"/>
                    <a:pt x="5412" y="7340"/>
                    <a:pt x="5412" y="7242"/>
                  </a:cubicBezTo>
                  <a:cubicBezTo>
                    <a:pt x="5412" y="7144"/>
                    <a:pt x="5351" y="7064"/>
                    <a:pt x="5274" y="7064"/>
                  </a:cubicBezTo>
                  <a:close/>
                  <a:moveTo>
                    <a:pt x="5644" y="7064"/>
                  </a:moveTo>
                  <a:cubicBezTo>
                    <a:pt x="5568" y="7064"/>
                    <a:pt x="5506" y="7144"/>
                    <a:pt x="5506" y="7242"/>
                  </a:cubicBezTo>
                  <a:cubicBezTo>
                    <a:pt x="5506" y="7340"/>
                    <a:pt x="5568" y="7419"/>
                    <a:pt x="5644" y="7419"/>
                  </a:cubicBezTo>
                  <a:cubicBezTo>
                    <a:pt x="5720" y="7419"/>
                    <a:pt x="5782" y="7340"/>
                    <a:pt x="5782" y="7242"/>
                  </a:cubicBezTo>
                  <a:cubicBezTo>
                    <a:pt x="5782" y="7144"/>
                    <a:pt x="5720" y="7064"/>
                    <a:pt x="5644" y="7064"/>
                  </a:cubicBezTo>
                  <a:close/>
                  <a:moveTo>
                    <a:pt x="6055" y="7064"/>
                  </a:moveTo>
                  <a:cubicBezTo>
                    <a:pt x="5979" y="7064"/>
                    <a:pt x="5916" y="7144"/>
                    <a:pt x="5916" y="7242"/>
                  </a:cubicBezTo>
                  <a:cubicBezTo>
                    <a:pt x="5916" y="7340"/>
                    <a:pt x="5979" y="7419"/>
                    <a:pt x="6055" y="7419"/>
                  </a:cubicBezTo>
                  <a:cubicBezTo>
                    <a:pt x="6132" y="7419"/>
                    <a:pt x="6193" y="7340"/>
                    <a:pt x="6193" y="7242"/>
                  </a:cubicBezTo>
                  <a:cubicBezTo>
                    <a:pt x="6193" y="7144"/>
                    <a:pt x="6132" y="7064"/>
                    <a:pt x="6055" y="7064"/>
                  </a:cubicBezTo>
                  <a:close/>
                  <a:moveTo>
                    <a:pt x="6425" y="7064"/>
                  </a:moveTo>
                  <a:cubicBezTo>
                    <a:pt x="6349" y="7064"/>
                    <a:pt x="6286" y="7144"/>
                    <a:pt x="6286" y="7242"/>
                  </a:cubicBezTo>
                  <a:cubicBezTo>
                    <a:pt x="6286" y="7340"/>
                    <a:pt x="6349" y="7419"/>
                    <a:pt x="6425" y="7419"/>
                  </a:cubicBezTo>
                  <a:cubicBezTo>
                    <a:pt x="6501" y="7419"/>
                    <a:pt x="6562" y="7340"/>
                    <a:pt x="6562" y="7242"/>
                  </a:cubicBezTo>
                  <a:cubicBezTo>
                    <a:pt x="6562" y="7144"/>
                    <a:pt x="6501" y="7064"/>
                    <a:pt x="6425" y="7064"/>
                  </a:cubicBezTo>
                  <a:close/>
                  <a:moveTo>
                    <a:pt x="6836" y="7064"/>
                  </a:moveTo>
                  <a:cubicBezTo>
                    <a:pt x="6759" y="7064"/>
                    <a:pt x="6697" y="7144"/>
                    <a:pt x="6697" y="7242"/>
                  </a:cubicBezTo>
                  <a:cubicBezTo>
                    <a:pt x="6697" y="7340"/>
                    <a:pt x="6759" y="7419"/>
                    <a:pt x="6836" y="7419"/>
                  </a:cubicBezTo>
                  <a:cubicBezTo>
                    <a:pt x="6912" y="7419"/>
                    <a:pt x="6973" y="7340"/>
                    <a:pt x="6973" y="7242"/>
                  </a:cubicBezTo>
                  <a:cubicBezTo>
                    <a:pt x="6973" y="7144"/>
                    <a:pt x="6912" y="7064"/>
                    <a:pt x="6836" y="7064"/>
                  </a:cubicBezTo>
                  <a:close/>
                  <a:moveTo>
                    <a:pt x="7247" y="7064"/>
                  </a:moveTo>
                  <a:cubicBezTo>
                    <a:pt x="7170" y="7064"/>
                    <a:pt x="7108" y="7144"/>
                    <a:pt x="7108" y="7242"/>
                  </a:cubicBezTo>
                  <a:cubicBezTo>
                    <a:pt x="7108" y="7340"/>
                    <a:pt x="7170" y="7419"/>
                    <a:pt x="7247" y="7419"/>
                  </a:cubicBezTo>
                  <a:cubicBezTo>
                    <a:pt x="7323" y="7419"/>
                    <a:pt x="7384" y="7340"/>
                    <a:pt x="7384" y="7242"/>
                  </a:cubicBezTo>
                  <a:cubicBezTo>
                    <a:pt x="7384" y="7144"/>
                    <a:pt x="7323" y="7064"/>
                    <a:pt x="7247" y="7064"/>
                  </a:cubicBezTo>
                  <a:close/>
                  <a:moveTo>
                    <a:pt x="7616" y="7064"/>
                  </a:moveTo>
                  <a:cubicBezTo>
                    <a:pt x="7540" y="7064"/>
                    <a:pt x="7478" y="7144"/>
                    <a:pt x="7478" y="7242"/>
                  </a:cubicBezTo>
                  <a:cubicBezTo>
                    <a:pt x="7478" y="7340"/>
                    <a:pt x="7540" y="7419"/>
                    <a:pt x="7616" y="7419"/>
                  </a:cubicBezTo>
                  <a:cubicBezTo>
                    <a:pt x="7693" y="7419"/>
                    <a:pt x="7754" y="7340"/>
                    <a:pt x="7754" y="7242"/>
                  </a:cubicBezTo>
                  <a:cubicBezTo>
                    <a:pt x="7754" y="7144"/>
                    <a:pt x="7693" y="7064"/>
                    <a:pt x="7616" y="7064"/>
                  </a:cubicBezTo>
                  <a:close/>
                  <a:moveTo>
                    <a:pt x="8027" y="7064"/>
                  </a:moveTo>
                  <a:cubicBezTo>
                    <a:pt x="7951" y="7064"/>
                    <a:pt x="7889" y="7144"/>
                    <a:pt x="7889" y="7242"/>
                  </a:cubicBezTo>
                  <a:cubicBezTo>
                    <a:pt x="7889" y="7340"/>
                    <a:pt x="7951" y="7419"/>
                    <a:pt x="8027" y="7419"/>
                  </a:cubicBezTo>
                  <a:cubicBezTo>
                    <a:pt x="8104" y="7419"/>
                    <a:pt x="8165" y="7340"/>
                    <a:pt x="8165" y="7242"/>
                  </a:cubicBezTo>
                  <a:cubicBezTo>
                    <a:pt x="8165" y="7144"/>
                    <a:pt x="8104" y="7064"/>
                    <a:pt x="8027" y="7064"/>
                  </a:cubicBezTo>
                  <a:close/>
                  <a:moveTo>
                    <a:pt x="8438" y="7064"/>
                  </a:moveTo>
                  <a:cubicBezTo>
                    <a:pt x="8362" y="7064"/>
                    <a:pt x="8299" y="7144"/>
                    <a:pt x="8299" y="7242"/>
                  </a:cubicBezTo>
                  <a:cubicBezTo>
                    <a:pt x="8299" y="7340"/>
                    <a:pt x="8362" y="7419"/>
                    <a:pt x="8438" y="7419"/>
                  </a:cubicBezTo>
                  <a:cubicBezTo>
                    <a:pt x="8515" y="7419"/>
                    <a:pt x="8576" y="7340"/>
                    <a:pt x="8576" y="7242"/>
                  </a:cubicBezTo>
                  <a:cubicBezTo>
                    <a:pt x="8576" y="7144"/>
                    <a:pt x="8515" y="7064"/>
                    <a:pt x="8438" y="7064"/>
                  </a:cubicBezTo>
                  <a:close/>
                  <a:moveTo>
                    <a:pt x="8808" y="7064"/>
                  </a:moveTo>
                  <a:cubicBezTo>
                    <a:pt x="8732" y="7064"/>
                    <a:pt x="8669" y="7144"/>
                    <a:pt x="8669" y="7242"/>
                  </a:cubicBezTo>
                  <a:cubicBezTo>
                    <a:pt x="8669" y="7340"/>
                    <a:pt x="8732" y="7419"/>
                    <a:pt x="8808" y="7419"/>
                  </a:cubicBezTo>
                  <a:cubicBezTo>
                    <a:pt x="8884" y="7419"/>
                    <a:pt x="8945" y="7340"/>
                    <a:pt x="8945" y="7242"/>
                  </a:cubicBezTo>
                  <a:cubicBezTo>
                    <a:pt x="8945" y="7144"/>
                    <a:pt x="8884" y="7064"/>
                    <a:pt x="8808" y="7064"/>
                  </a:cubicBezTo>
                  <a:close/>
                  <a:moveTo>
                    <a:pt x="9219" y="7064"/>
                  </a:moveTo>
                  <a:cubicBezTo>
                    <a:pt x="9142" y="7064"/>
                    <a:pt x="9080" y="7144"/>
                    <a:pt x="9080" y="7242"/>
                  </a:cubicBezTo>
                  <a:cubicBezTo>
                    <a:pt x="9080" y="7340"/>
                    <a:pt x="9142" y="7419"/>
                    <a:pt x="9219" y="7419"/>
                  </a:cubicBezTo>
                  <a:cubicBezTo>
                    <a:pt x="9295" y="7419"/>
                    <a:pt x="9356" y="7340"/>
                    <a:pt x="9356" y="7242"/>
                  </a:cubicBezTo>
                  <a:cubicBezTo>
                    <a:pt x="9356" y="7144"/>
                    <a:pt x="9295" y="7064"/>
                    <a:pt x="9219" y="7064"/>
                  </a:cubicBezTo>
                  <a:close/>
                  <a:moveTo>
                    <a:pt x="9589" y="7064"/>
                  </a:moveTo>
                  <a:cubicBezTo>
                    <a:pt x="9512" y="7064"/>
                    <a:pt x="9450" y="7144"/>
                    <a:pt x="9450" y="7242"/>
                  </a:cubicBezTo>
                  <a:cubicBezTo>
                    <a:pt x="9450" y="7340"/>
                    <a:pt x="9512" y="7419"/>
                    <a:pt x="9589" y="7419"/>
                  </a:cubicBezTo>
                  <a:cubicBezTo>
                    <a:pt x="9665" y="7419"/>
                    <a:pt x="9726" y="7340"/>
                    <a:pt x="9726" y="7242"/>
                  </a:cubicBezTo>
                  <a:cubicBezTo>
                    <a:pt x="9726" y="7144"/>
                    <a:pt x="9665" y="7064"/>
                    <a:pt x="9589" y="7064"/>
                  </a:cubicBezTo>
                  <a:close/>
                  <a:moveTo>
                    <a:pt x="9999" y="7064"/>
                  </a:moveTo>
                  <a:cubicBezTo>
                    <a:pt x="9923" y="7064"/>
                    <a:pt x="9861" y="7144"/>
                    <a:pt x="9861" y="7242"/>
                  </a:cubicBezTo>
                  <a:cubicBezTo>
                    <a:pt x="9861" y="7340"/>
                    <a:pt x="9923" y="7419"/>
                    <a:pt x="9999" y="7419"/>
                  </a:cubicBezTo>
                  <a:cubicBezTo>
                    <a:pt x="10076" y="7419"/>
                    <a:pt x="10137" y="7340"/>
                    <a:pt x="10137" y="7242"/>
                  </a:cubicBezTo>
                  <a:cubicBezTo>
                    <a:pt x="10137" y="7144"/>
                    <a:pt x="10076" y="7064"/>
                    <a:pt x="9999" y="7064"/>
                  </a:cubicBezTo>
                  <a:close/>
                  <a:moveTo>
                    <a:pt x="10410" y="7064"/>
                  </a:moveTo>
                  <a:cubicBezTo>
                    <a:pt x="10334" y="7064"/>
                    <a:pt x="10272" y="7144"/>
                    <a:pt x="10272" y="7242"/>
                  </a:cubicBezTo>
                  <a:cubicBezTo>
                    <a:pt x="10272" y="7340"/>
                    <a:pt x="10334" y="7419"/>
                    <a:pt x="10410" y="7419"/>
                  </a:cubicBezTo>
                  <a:cubicBezTo>
                    <a:pt x="10487" y="7419"/>
                    <a:pt x="10548" y="7340"/>
                    <a:pt x="10548" y="7242"/>
                  </a:cubicBezTo>
                  <a:cubicBezTo>
                    <a:pt x="10548" y="7144"/>
                    <a:pt x="10487" y="7064"/>
                    <a:pt x="10410" y="7064"/>
                  </a:cubicBezTo>
                  <a:close/>
                  <a:moveTo>
                    <a:pt x="10780" y="7064"/>
                  </a:moveTo>
                  <a:cubicBezTo>
                    <a:pt x="10704" y="7064"/>
                    <a:pt x="10641" y="7144"/>
                    <a:pt x="10641" y="7242"/>
                  </a:cubicBezTo>
                  <a:cubicBezTo>
                    <a:pt x="10641" y="7340"/>
                    <a:pt x="10704" y="7419"/>
                    <a:pt x="10780" y="7419"/>
                  </a:cubicBezTo>
                  <a:cubicBezTo>
                    <a:pt x="10856" y="7419"/>
                    <a:pt x="10917" y="7340"/>
                    <a:pt x="10917" y="7242"/>
                  </a:cubicBezTo>
                  <a:cubicBezTo>
                    <a:pt x="10917" y="7144"/>
                    <a:pt x="10856" y="7064"/>
                    <a:pt x="10780" y="7064"/>
                  </a:cubicBezTo>
                  <a:close/>
                  <a:moveTo>
                    <a:pt x="11191" y="7064"/>
                  </a:moveTo>
                  <a:cubicBezTo>
                    <a:pt x="11115" y="7064"/>
                    <a:pt x="11052" y="7144"/>
                    <a:pt x="11052" y="7242"/>
                  </a:cubicBezTo>
                  <a:cubicBezTo>
                    <a:pt x="11052" y="7340"/>
                    <a:pt x="11115" y="7419"/>
                    <a:pt x="11191" y="7419"/>
                  </a:cubicBezTo>
                  <a:cubicBezTo>
                    <a:pt x="11267" y="7419"/>
                    <a:pt x="11328" y="7340"/>
                    <a:pt x="11328" y="7242"/>
                  </a:cubicBezTo>
                  <a:cubicBezTo>
                    <a:pt x="11328" y="7144"/>
                    <a:pt x="11267" y="7064"/>
                    <a:pt x="11191" y="7064"/>
                  </a:cubicBezTo>
                  <a:close/>
                  <a:moveTo>
                    <a:pt x="11602" y="7064"/>
                  </a:moveTo>
                  <a:cubicBezTo>
                    <a:pt x="11526" y="7064"/>
                    <a:pt x="11463" y="7144"/>
                    <a:pt x="11463" y="7242"/>
                  </a:cubicBezTo>
                  <a:cubicBezTo>
                    <a:pt x="11463" y="7340"/>
                    <a:pt x="11526" y="7419"/>
                    <a:pt x="11602" y="7419"/>
                  </a:cubicBezTo>
                  <a:cubicBezTo>
                    <a:pt x="11678" y="7419"/>
                    <a:pt x="11739" y="7340"/>
                    <a:pt x="11739" y="7242"/>
                  </a:cubicBezTo>
                  <a:cubicBezTo>
                    <a:pt x="11739" y="7144"/>
                    <a:pt x="11678" y="7064"/>
                    <a:pt x="11602" y="7064"/>
                  </a:cubicBezTo>
                  <a:close/>
                  <a:moveTo>
                    <a:pt x="11972" y="7064"/>
                  </a:moveTo>
                  <a:cubicBezTo>
                    <a:pt x="11895" y="7064"/>
                    <a:pt x="11833" y="7144"/>
                    <a:pt x="11833" y="7242"/>
                  </a:cubicBezTo>
                  <a:cubicBezTo>
                    <a:pt x="11833" y="7340"/>
                    <a:pt x="11895" y="7419"/>
                    <a:pt x="11972" y="7419"/>
                  </a:cubicBezTo>
                  <a:cubicBezTo>
                    <a:pt x="12048" y="7419"/>
                    <a:pt x="12109" y="7340"/>
                    <a:pt x="12109" y="7242"/>
                  </a:cubicBezTo>
                  <a:cubicBezTo>
                    <a:pt x="12109" y="7144"/>
                    <a:pt x="12048" y="7064"/>
                    <a:pt x="11972" y="7064"/>
                  </a:cubicBezTo>
                  <a:close/>
                  <a:moveTo>
                    <a:pt x="12382" y="7064"/>
                  </a:moveTo>
                  <a:cubicBezTo>
                    <a:pt x="12306" y="7064"/>
                    <a:pt x="12244" y="7144"/>
                    <a:pt x="12244" y="7242"/>
                  </a:cubicBezTo>
                  <a:cubicBezTo>
                    <a:pt x="12244" y="7340"/>
                    <a:pt x="12306" y="7419"/>
                    <a:pt x="12382" y="7419"/>
                  </a:cubicBezTo>
                  <a:cubicBezTo>
                    <a:pt x="12459" y="7419"/>
                    <a:pt x="12520" y="7340"/>
                    <a:pt x="12520" y="7242"/>
                  </a:cubicBezTo>
                  <a:cubicBezTo>
                    <a:pt x="12520" y="7144"/>
                    <a:pt x="12459" y="7064"/>
                    <a:pt x="12382" y="7064"/>
                  </a:cubicBezTo>
                  <a:close/>
                  <a:moveTo>
                    <a:pt x="12752" y="7064"/>
                  </a:moveTo>
                  <a:cubicBezTo>
                    <a:pt x="12676" y="7064"/>
                    <a:pt x="12614" y="7145"/>
                    <a:pt x="12614" y="7242"/>
                  </a:cubicBezTo>
                  <a:cubicBezTo>
                    <a:pt x="12614" y="7340"/>
                    <a:pt x="12676" y="7419"/>
                    <a:pt x="12752" y="7419"/>
                  </a:cubicBezTo>
                  <a:cubicBezTo>
                    <a:pt x="12829" y="7419"/>
                    <a:pt x="12890" y="7340"/>
                    <a:pt x="12890" y="7242"/>
                  </a:cubicBezTo>
                  <a:cubicBezTo>
                    <a:pt x="12890" y="7145"/>
                    <a:pt x="12829" y="7064"/>
                    <a:pt x="12752" y="7064"/>
                  </a:cubicBezTo>
                  <a:close/>
                  <a:moveTo>
                    <a:pt x="13163" y="7064"/>
                  </a:moveTo>
                  <a:cubicBezTo>
                    <a:pt x="13087" y="7064"/>
                    <a:pt x="13024" y="7145"/>
                    <a:pt x="13024" y="7242"/>
                  </a:cubicBezTo>
                  <a:cubicBezTo>
                    <a:pt x="13024" y="7340"/>
                    <a:pt x="13087" y="7419"/>
                    <a:pt x="13163" y="7419"/>
                  </a:cubicBezTo>
                  <a:cubicBezTo>
                    <a:pt x="13240" y="7419"/>
                    <a:pt x="13301" y="7340"/>
                    <a:pt x="13301" y="7242"/>
                  </a:cubicBezTo>
                  <a:cubicBezTo>
                    <a:pt x="13301" y="7145"/>
                    <a:pt x="13240" y="7064"/>
                    <a:pt x="13163" y="7064"/>
                  </a:cubicBezTo>
                  <a:close/>
                  <a:moveTo>
                    <a:pt x="13574" y="7064"/>
                  </a:moveTo>
                  <a:cubicBezTo>
                    <a:pt x="13498" y="7064"/>
                    <a:pt x="13435" y="7145"/>
                    <a:pt x="13435" y="7242"/>
                  </a:cubicBezTo>
                  <a:cubicBezTo>
                    <a:pt x="13435" y="7340"/>
                    <a:pt x="13498" y="7419"/>
                    <a:pt x="13574" y="7419"/>
                  </a:cubicBezTo>
                  <a:cubicBezTo>
                    <a:pt x="13650" y="7419"/>
                    <a:pt x="13711" y="7340"/>
                    <a:pt x="13711" y="7242"/>
                  </a:cubicBezTo>
                  <a:cubicBezTo>
                    <a:pt x="13711" y="7145"/>
                    <a:pt x="13650" y="7064"/>
                    <a:pt x="13574" y="7064"/>
                  </a:cubicBezTo>
                  <a:close/>
                  <a:moveTo>
                    <a:pt x="13985" y="7064"/>
                  </a:moveTo>
                  <a:cubicBezTo>
                    <a:pt x="13908" y="7064"/>
                    <a:pt x="13846" y="7145"/>
                    <a:pt x="13846" y="7242"/>
                  </a:cubicBezTo>
                  <a:cubicBezTo>
                    <a:pt x="13846" y="7340"/>
                    <a:pt x="13908" y="7419"/>
                    <a:pt x="13985" y="7419"/>
                  </a:cubicBezTo>
                  <a:cubicBezTo>
                    <a:pt x="14061" y="7419"/>
                    <a:pt x="14122" y="7340"/>
                    <a:pt x="14122" y="7242"/>
                  </a:cubicBezTo>
                  <a:cubicBezTo>
                    <a:pt x="14122" y="7145"/>
                    <a:pt x="14061" y="7064"/>
                    <a:pt x="13985" y="7064"/>
                  </a:cubicBezTo>
                  <a:close/>
                  <a:moveTo>
                    <a:pt x="14355" y="7064"/>
                  </a:moveTo>
                  <a:cubicBezTo>
                    <a:pt x="14278" y="7064"/>
                    <a:pt x="14216" y="7145"/>
                    <a:pt x="14216" y="7242"/>
                  </a:cubicBezTo>
                  <a:cubicBezTo>
                    <a:pt x="14216" y="7340"/>
                    <a:pt x="14278" y="7419"/>
                    <a:pt x="14355" y="7419"/>
                  </a:cubicBezTo>
                  <a:cubicBezTo>
                    <a:pt x="14431" y="7419"/>
                    <a:pt x="14492" y="7340"/>
                    <a:pt x="14492" y="7242"/>
                  </a:cubicBezTo>
                  <a:cubicBezTo>
                    <a:pt x="14492" y="7145"/>
                    <a:pt x="14431" y="7064"/>
                    <a:pt x="14355" y="7064"/>
                  </a:cubicBezTo>
                  <a:close/>
                  <a:moveTo>
                    <a:pt x="14765" y="7064"/>
                  </a:moveTo>
                  <a:cubicBezTo>
                    <a:pt x="14689" y="7064"/>
                    <a:pt x="14627" y="7145"/>
                    <a:pt x="14627" y="7242"/>
                  </a:cubicBezTo>
                  <a:cubicBezTo>
                    <a:pt x="14627" y="7340"/>
                    <a:pt x="14689" y="7419"/>
                    <a:pt x="14765" y="7419"/>
                  </a:cubicBezTo>
                  <a:cubicBezTo>
                    <a:pt x="14842" y="7419"/>
                    <a:pt x="14903" y="7340"/>
                    <a:pt x="14903" y="7242"/>
                  </a:cubicBezTo>
                  <a:cubicBezTo>
                    <a:pt x="14903" y="7145"/>
                    <a:pt x="14842" y="7064"/>
                    <a:pt x="14765" y="7064"/>
                  </a:cubicBezTo>
                  <a:close/>
                  <a:moveTo>
                    <a:pt x="15135" y="7064"/>
                  </a:moveTo>
                  <a:cubicBezTo>
                    <a:pt x="15059" y="7064"/>
                    <a:pt x="14997" y="7145"/>
                    <a:pt x="14997" y="7242"/>
                  </a:cubicBezTo>
                  <a:cubicBezTo>
                    <a:pt x="14997" y="7340"/>
                    <a:pt x="15059" y="7419"/>
                    <a:pt x="15135" y="7419"/>
                  </a:cubicBezTo>
                  <a:cubicBezTo>
                    <a:pt x="15212" y="7419"/>
                    <a:pt x="15273" y="7340"/>
                    <a:pt x="15273" y="7242"/>
                  </a:cubicBezTo>
                  <a:cubicBezTo>
                    <a:pt x="15273" y="7145"/>
                    <a:pt x="15212" y="7064"/>
                    <a:pt x="15135" y="7064"/>
                  </a:cubicBezTo>
                  <a:close/>
                  <a:moveTo>
                    <a:pt x="15546" y="7064"/>
                  </a:moveTo>
                  <a:cubicBezTo>
                    <a:pt x="15470" y="7064"/>
                    <a:pt x="15407" y="7145"/>
                    <a:pt x="15407" y="7242"/>
                  </a:cubicBezTo>
                  <a:cubicBezTo>
                    <a:pt x="15407" y="7340"/>
                    <a:pt x="15470" y="7419"/>
                    <a:pt x="15546" y="7419"/>
                  </a:cubicBezTo>
                  <a:cubicBezTo>
                    <a:pt x="15623" y="7419"/>
                    <a:pt x="15684" y="7340"/>
                    <a:pt x="15684" y="7242"/>
                  </a:cubicBezTo>
                  <a:cubicBezTo>
                    <a:pt x="15684" y="7145"/>
                    <a:pt x="15623" y="7064"/>
                    <a:pt x="15546" y="7064"/>
                  </a:cubicBezTo>
                  <a:close/>
                  <a:moveTo>
                    <a:pt x="15957" y="7064"/>
                  </a:moveTo>
                  <a:cubicBezTo>
                    <a:pt x="15881" y="7064"/>
                    <a:pt x="15818" y="7145"/>
                    <a:pt x="15818" y="7242"/>
                  </a:cubicBezTo>
                  <a:cubicBezTo>
                    <a:pt x="15818" y="7340"/>
                    <a:pt x="15881" y="7419"/>
                    <a:pt x="15957" y="7419"/>
                  </a:cubicBezTo>
                  <a:cubicBezTo>
                    <a:pt x="16033" y="7419"/>
                    <a:pt x="16094" y="7340"/>
                    <a:pt x="16094" y="7242"/>
                  </a:cubicBezTo>
                  <a:cubicBezTo>
                    <a:pt x="16094" y="7145"/>
                    <a:pt x="16033" y="7064"/>
                    <a:pt x="15957" y="7064"/>
                  </a:cubicBezTo>
                  <a:close/>
                  <a:moveTo>
                    <a:pt x="16327" y="7064"/>
                  </a:moveTo>
                  <a:cubicBezTo>
                    <a:pt x="16250" y="7064"/>
                    <a:pt x="16188" y="7145"/>
                    <a:pt x="16188" y="7242"/>
                  </a:cubicBezTo>
                  <a:cubicBezTo>
                    <a:pt x="16188" y="7340"/>
                    <a:pt x="16250" y="7419"/>
                    <a:pt x="16327" y="7419"/>
                  </a:cubicBezTo>
                  <a:cubicBezTo>
                    <a:pt x="16403" y="7419"/>
                    <a:pt x="16464" y="7340"/>
                    <a:pt x="16464" y="7242"/>
                  </a:cubicBezTo>
                  <a:cubicBezTo>
                    <a:pt x="16464" y="7145"/>
                    <a:pt x="16403" y="7064"/>
                    <a:pt x="16327" y="7064"/>
                  </a:cubicBezTo>
                  <a:close/>
                  <a:moveTo>
                    <a:pt x="16738" y="7064"/>
                  </a:moveTo>
                  <a:cubicBezTo>
                    <a:pt x="16661" y="7064"/>
                    <a:pt x="16599" y="7145"/>
                    <a:pt x="16599" y="7242"/>
                  </a:cubicBezTo>
                  <a:cubicBezTo>
                    <a:pt x="16599" y="7340"/>
                    <a:pt x="16661" y="7419"/>
                    <a:pt x="16738" y="7419"/>
                  </a:cubicBezTo>
                  <a:cubicBezTo>
                    <a:pt x="16814" y="7419"/>
                    <a:pt x="16875" y="7340"/>
                    <a:pt x="16875" y="7242"/>
                  </a:cubicBezTo>
                  <a:cubicBezTo>
                    <a:pt x="16875" y="7145"/>
                    <a:pt x="16814" y="7064"/>
                    <a:pt x="16738" y="7064"/>
                  </a:cubicBezTo>
                  <a:close/>
                  <a:moveTo>
                    <a:pt x="17149" y="7064"/>
                  </a:moveTo>
                  <a:cubicBezTo>
                    <a:pt x="17072" y="7064"/>
                    <a:pt x="17010" y="7145"/>
                    <a:pt x="17010" y="7242"/>
                  </a:cubicBezTo>
                  <a:cubicBezTo>
                    <a:pt x="17010" y="7340"/>
                    <a:pt x="17072" y="7419"/>
                    <a:pt x="17149" y="7419"/>
                  </a:cubicBezTo>
                  <a:cubicBezTo>
                    <a:pt x="17225" y="7419"/>
                    <a:pt x="17286" y="7340"/>
                    <a:pt x="17286" y="7242"/>
                  </a:cubicBezTo>
                  <a:cubicBezTo>
                    <a:pt x="17286" y="7145"/>
                    <a:pt x="17225" y="7064"/>
                    <a:pt x="17149" y="7064"/>
                  </a:cubicBezTo>
                  <a:close/>
                  <a:moveTo>
                    <a:pt x="17518" y="7064"/>
                  </a:moveTo>
                  <a:cubicBezTo>
                    <a:pt x="17442" y="7064"/>
                    <a:pt x="17380" y="7145"/>
                    <a:pt x="17380" y="7242"/>
                  </a:cubicBezTo>
                  <a:cubicBezTo>
                    <a:pt x="17380" y="7340"/>
                    <a:pt x="17442" y="7419"/>
                    <a:pt x="17518" y="7419"/>
                  </a:cubicBezTo>
                  <a:cubicBezTo>
                    <a:pt x="17595" y="7419"/>
                    <a:pt x="17656" y="7340"/>
                    <a:pt x="17656" y="7242"/>
                  </a:cubicBezTo>
                  <a:cubicBezTo>
                    <a:pt x="17656" y="7145"/>
                    <a:pt x="17595" y="7064"/>
                    <a:pt x="17518" y="7064"/>
                  </a:cubicBezTo>
                  <a:close/>
                  <a:moveTo>
                    <a:pt x="17929" y="7064"/>
                  </a:moveTo>
                  <a:cubicBezTo>
                    <a:pt x="17853" y="7064"/>
                    <a:pt x="17791" y="7145"/>
                    <a:pt x="17791" y="7242"/>
                  </a:cubicBezTo>
                  <a:cubicBezTo>
                    <a:pt x="17791" y="7340"/>
                    <a:pt x="17853" y="7419"/>
                    <a:pt x="17929" y="7419"/>
                  </a:cubicBezTo>
                  <a:cubicBezTo>
                    <a:pt x="18005" y="7419"/>
                    <a:pt x="18067" y="7340"/>
                    <a:pt x="18067" y="7242"/>
                  </a:cubicBezTo>
                  <a:cubicBezTo>
                    <a:pt x="18067" y="7145"/>
                    <a:pt x="18005" y="7064"/>
                    <a:pt x="17929" y="7064"/>
                  </a:cubicBezTo>
                  <a:close/>
                  <a:moveTo>
                    <a:pt x="18299" y="7064"/>
                  </a:moveTo>
                  <a:cubicBezTo>
                    <a:pt x="18223" y="7064"/>
                    <a:pt x="18160" y="7145"/>
                    <a:pt x="18160" y="7242"/>
                  </a:cubicBezTo>
                  <a:cubicBezTo>
                    <a:pt x="18160" y="7340"/>
                    <a:pt x="18223" y="7419"/>
                    <a:pt x="18299" y="7419"/>
                  </a:cubicBezTo>
                  <a:cubicBezTo>
                    <a:pt x="18375" y="7419"/>
                    <a:pt x="18436" y="7340"/>
                    <a:pt x="18436" y="7242"/>
                  </a:cubicBezTo>
                  <a:cubicBezTo>
                    <a:pt x="18436" y="7145"/>
                    <a:pt x="18375" y="7064"/>
                    <a:pt x="18299" y="7064"/>
                  </a:cubicBezTo>
                  <a:close/>
                  <a:moveTo>
                    <a:pt x="1741" y="7117"/>
                  </a:moveTo>
                  <a:cubicBezTo>
                    <a:pt x="1665" y="7117"/>
                    <a:pt x="1602" y="7197"/>
                    <a:pt x="1602" y="7295"/>
                  </a:cubicBezTo>
                  <a:cubicBezTo>
                    <a:pt x="1602" y="7393"/>
                    <a:pt x="1665" y="7471"/>
                    <a:pt x="1741" y="7471"/>
                  </a:cubicBezTo>
                  <a:cubicBezTo>
                    <a:pt x="1817" y="7471"/>
                    <a:pt x="1878" y="7393"/>
                    <a:pt x="1878" y="7295"/>
                  </a:cubicBezTo>
                  <a:cubicBezTo>
                    <a:pt x="1878" y="7197"/>
                    <a:pt x="1817" y="7117"/>
                    <a:pt x="1741" y="7117"/>
                  </a:cubicBezTo>
                  <a:close/>
                  <a:moveTo>
                    <a:pt x="2111" y="7117"/>
                  </a:moveTo>
                  <a:cubicBezTo>
                    <a:pt x="2035" y="7117"/>
                    <a:pt x="1972" y="7197"/>
                    <a:pt x="1972" y="7295"/>
                  </a:cubicBezTo>
                  <a:cubicBezTo>
                    <a:pt x="1972" y="7393"/>
                    <a:pt x="2035" y="7471"/>
                    <a:pt x="2111" y="7471"/>
                  </a:cubicBezTo>
                  <a:cubicBezTo>
                    <a:pt x="2187" y="7471"/>
                    <a:pt x="2248" y="7393"/>
                    <a:pt x="2248" y="7295"/>
                  </a:cubicBezTo>
                  <a:cubicBezTo>
                    <a:pt x="2248" y="7197"/>
                    <a:pt x="2187" y="7117"/>
                    <a:pt x="2111" y="7117"/>
                  </a:cubicBezTo>
                  <a:close/>
                  <a:moveTo>
                    <a:pt x="2522" y="7117"/>
                  </a:moveTo>
                  <a:cubicBezTo>
                    <a:pt x="2445" y="7117"/>
                    <a:pt x="2383" y="7197"/>
                    <a:pt x="2383" y="7295"/>
                  </a:cubicBezTo>
                  <a:cubicBezTo>
                    <a:pt x="2383" y="7393"/>
                    <a:pt x="2445" y="7471"/>
                    <a:pt x="2522" y="7471"/>
                  </a:cubicBezTo>
                  <a:cubicBezTo>
                    <a:pt x="2598" y="7471"/>
                    <a:pt x="2659" y="7393"/>
                    <a:pt x="2659" y="7295"/>
                  </a:cubicBezTo>
                  <a:cubicBezTo>
                    <a:pt x="2659" y="7197"/>
                    <a:pt x="2598" y="7117"/>
                    <a:pt x="2522" y="7117"/>
                  </a:cubicBezTo>
                  <a:close/>
                  <a:moveTo>
                    <a:pt x="2891" y="7117"/>
                  </a:moveTo>
                  <a:cubicBezTo>
                    <a:pt x="2815" y="7117"/>
                    <a:pt x="2753" y="7197"/>
                    <a:pt x="2753" y="7295"/>
                  </a:cubicBezTo>
                  <a:cubicBezTo>
                    <a:pt x="2753" y="7393"/>
                    <a:pt x="2815" y="7471"/>
                    <a:pt x="2891" y="7471"/>
                  </a:cubicBezTo>
                  <a:cubicBezTo>
                    <a:pt x="2968" y="7471"/>
                    <a:pt x="3029" y="7393"/>
                    <a:pt x="3029" y="7295"/>
                  </a:cubicBezTo>
                  <a:cubicBezTo>
                    <a:pt x="3029" y="7197"/>
                    <a:pt x="2968" y="7117"/>
                    <a:pt x="2891" y="7117"/>
                  </a:cubicBezTo>
                  <a:close/>
                  <a:moveTo>
                    <a:pt x="3302" y="7117"/>
                  </a:moveTo>
                  <a:cubicBezTo>
                    <a:pt x="3226" y="7117"/>
                    <a:pt x="3164" y="7197"/>
                    <a:pt x="3164" y="7295"/>
                  </a:cubicBezTo>
                  <a:cubicBezTo>
                    <a:pt x="3164" y="7393"/>
                    <a:pt x="3226" y="7471"/>
                    <a:pt x="3302" y="7471"/>
                  </a:cubicBezTo>
                  <a:cubicBezTo>
                    <a:pt x="3379" y="7471"/>
                    <a:pt x="3440" y="7393"/>
                    <a:pt x="3440" y="7295"/>
                  </a:cubicBezTo>
                  <a:cubicBezTo>
                    <a:pt x="3440" y="7197"/>
                    <a:pt x="3379" y="7117"/>
                    <a:pt x="3302" y="7117"/>
                  </a:cubicBezTo>
                  <a:close/>
                  <a:moveTo>
                    <a:pt x="1741" y="7592"/>
                  </a:moveTo>
                  <a:cubicBezTo>
                    <a:pt x="1665" y="7592"/>
                    <a:pt x="1602" y="7672"/>
                    <a:pt x="1602" y="7769"/>
                  </a:cubicBezTo>
                  <a:cubicBezTo>
                    <a:pt x="1602" y="7867"/>
                    <a:pt x="1665" y="7947"/>
                    <a:pt x="1741" y="7947"/>
                  </a:cubicBezTo>
                  <a:cubicBezTo>
                    <a:pt x="1817" y="7947"/>
                    <a:pt x="1878" y="7867"/>
                    <a:pt x="1878" y="7769"/>
                  </a:cubicBezTo>
                  <a:cubicBezTo>
                    <a:pt x="1878" y="7672"/>
                    <a:pt x="1817" y="7592"/>
                    <a:pt x="1741" y="7592"/>
                  </a:cubicBezTo>
                  <a:close/>
                  <a:moveTo>
                    <a:pt x="2111" y="7592"/>
                  </a:moveTo>
                  <a:cubicBezTo>
                    <a:pt x="2035" y="7592"/>
                    <a:pt x="1972" y="7672"/>
                    <a:pt x="1972" y="7769"/>
                  </a:cubicBezTo>
                  <a:cubicBezTo>
                    <a:pt x="1972" y="7867"/>
                    <a:pt x="2035" y="7947"/>
                    <a:pt x="2111" y="7947"/>
                  </a:cubicBezTo>
                  <a:cubicBezTo>
                    <a:pt x="2187" y="7947"/>
                    <a:pt x="2248" y="7867"/>
                    <a:pt x="2248" y="7769"/>
                  </a:cubicBezTo>
                  <a:cubicBezTo>
                    <a:pt x="2248" y="7672"/>
                    <a:pt x="2187" y="7592"/>
                    <a:pt x="2111" y="7592"/>
                  </a:cubicBezTo>
                  <a:close/>
                  <a:moveTo>
                    <a:pt x="2522" y="7592"/>
                  </a:moveTo>
                  <a:cubicBezTo>
                    <a:pt x="2445" y="7592"/>
                    <a:pt x="2383" y="7672"/>
                    <a:pt x="2383" y="7769"/>
                  </a:cubicBezTo>
                  <a:cubicBezTo>
                    <a:pt x="2383" y="7867"/>
                    <a:pt x="2445" y="7947"/>
                    <a:pt x="2522" y="7947"/>
                  </a:cubicBezTo>
                  <a:cubicBezTo>
                    <a:pt x="2598" y="7947"/>
                    <a:pt x="2659" y="7867"/>
                    <a:pt x="2659" y="7769"/>
                  </a:cubicBezTo>
                  <a:cubicBezTo>
                    <a:pt x="2659" y="7672"/>
                    <a:pt x="2598" y="7592"/>
                    <a:pt x="2522" y="7592"/>
                  </a:cubicBezTo>
                  <a:close/>
                  <a:moveTo>
                    <a:pt x="2891" y="7592"/>
                  </a:moveTo>
                  <a:cubicBezTo>
                    <a:pt x="2815" y="7592"/>
                    <a:pt x="2753" y="7672"/>
                    <a:pt x="2753" y="7769"/>
                  </a:cubicBezTo>
                  <a:cubicBezTo>
                    <a:pt x="2753" y="7867"/>
                    <a:pt x="2815" y="7947"/>
                    <a:pt x="2891" y="7947"/>
                  </a:cubicBezTo>
                  <a:cubicBezTo>
                    <a:pt x="2968" y="7947"/>
                    <a:pt x="3029" y="7867"/>
                    <a:pt x="3029" y="7769"/>
                  </a:cubicBezTo>
                  <a:cubicBezTo>
                    <a:pt x="3029" y="7672"/>
                    <a:pt x="2968" y="7592"/>
                    <a:pt x="2891" y="7592"/>
                  </a:cubicBezTo>
                  <a:close/>
                  <a:moveTo>
                    <a:pt x="3302" y="7592"/>
                  </a:moveTo>
                  <a:cubicBezTo>
                    <a:pt x="3226" y="7592"/>
                    <a:pt x="3164" y="7672"/>
                    <a:pt x="3164" y="7769"/>
                  </a:cubicBezTo>
                  <a:cubicBezTo>
                    <a:pt x="3164" y="7867"/>
                    <a:pt x="3226" y="7947"/>
                    <a:pt x="3302" y="7947"/>
                  </a:cubicBezTo>
                  <a:cubicBezTo>
                    <a:pt x="3379" y="7947"/>
                    <a:pt x="3440" y="7867"/>
                    <a:pt x="3440" y="7769"/>
                  </a:cubicBezTo>
                  <a:cubicBezTo>
                    <a:pt x="3440" y="7672"/>
                    <a:pt x="3379" y="7592"/>
                    <a:pt x="3302" y="7592"/>
                  </a:cubicBezTo>
                  <a:close/>
                  <a:moveTo>
                    <a:pt x="3713" y="7592"/>
                  </a:moveTo>
                  <a:cubicBezTo>
                    <a:pt x="3637" y="7592"/>
                    <a:pt x="3575" y="7671"/>
                    <a:pt x="3575" y="7769"/>
                  </a:cubicBezTo>
                  <a:cubicBezTo>
                    <a:pt x="3575" y="7867"/>
                    <a:pt x="3637" y="7946"/>
                    <a:pt x="3713" y="7946"/>
                  </a:cubicBezTo>
                  <a:cubicBezTo>
                    <a:pt x="3790" y="7946"/>
                    <a:pt x="3851" y="7867"/>
                    <a:pt x="3851" y="7769"/>
                  </a:cubicBezTo>
                  <a:cubicBezTo>
                    <a:pt x="3851" y="7672"/>
                    <a:pt x="3790" y="7592"/>
                    <a:pt x="3713" y="7592"/>
                  </a:cubicBezTo>
                  <a:close/>
                  <a:moveTo>
                    <a:pt x="4083" y="7592"/>
                  </a:moveTo>
                  <a:cubicBezTo>
                    <a:pt x="4007" y="7592"/>
                    <a:pt x="3944" y="7671"/>
                    <a:pt x="3944" y="7769"/>
                  </a:cubicBezTo>
                  <a:cubicBezTo>
                    <a:pt x="3944" y="7867"/>
                    <a:pt x="4007" y="7946"/>
                    <a:pt x="4083" y="7946"/>
                  </a:cubicBezTo>
                  <a:cubicBezTo>
                    <a:pt x="4159" y="7946"/>
                    <a:pt x="4220" y="7867"/>
                    <a:pt x="4220" y="7769"/>
                  </a:cubicBezTo>
                  <a:cubicBezTo>
                    <a:pt x="4220" y="7672"/>
                    <a:pt x="4159" y="7592"/>
                    <a:pt x="4083" y="7592"/>
                  </a:cubicBezTo>
                  <a:close/>
                  <a:moveTo>
                    <a:pt x="4453" y="7592"/>
                  </a:moveTo>
                  <a:cubicBezTo>
                    <a:pt x="4376" y="7592"/>
                    <a:pt x="4314" y="7671"/>
                    <a:pt x="4314" y="7769"/>
                  </a:cubicBezTo>
                  <a:cubicBezTo>
                    <a:pt x="4314" y="7867"/>
                    <a:pt x="4376" y="7946"/>
                    <a:pt x="4453" y="7946"/>
                  </a:cubicBezTo>
                  <a:cubicBezTo>
                    <a:pt x="4529" y="7946"/>
                    <a:pt x="4590" y="7867"/>
                    <a:pt x="4590" y="7769"/>
                  </a:cubicBezTo>
                  <a:cubicBezTo>
                    <a:pt x="4590" y="7672"/>
                    <a:pt x="4529" y="7592"/>
                    <a:pt x="4453" y="7592"/>
                  </a:cubicBezTo>
                  <a:close/>
                  <a:moveTo>
                    <a:pt x="4864" y="7592"/>
                  </a:moveTo>
                  <a:cubicBezTo>
                    <a:pt x="4787" y="7592"/>
                    <a:pt x="4725" y="7671"/>
                    <a:pt x="4725" y="7769"/>
                  </a:cubicBezTo>
                  <a:cubicBezTo>
                    <a:pt x="4725" y="7867"/>
                    <a:pt x="4787" y="7946"/>
                    <a:pt x="4864" y="7946"/>
                  </a:cubicBezTo>
                  <a:cubicBezTo>
                    <a:pt x="4940" y="7946"/>
                    <a:pt x="5001" y="7867"/>
                    <a:pt x="5001" y="7769"/>
                  </a:cubicBezTo>
                  <a:cubicBezTo>
                    <a:pt x="5001" y="7672"/>
                    <a:pt x="4940" y="7592"/>
                    <a:pt x="4864" y="7592"/>
                  </a:cubicBezTo>
                  <a:close/>
                  <a:moveTo>
                    <a:pt x="5274" y="7592"/>
                  </a:moveTo>
                  <a:cubicBezTo>
                    <a:pt x="5198" y="7592"/>
                    <a:pt x="5136" y="7671"/>
                    <a:pt x="5136" y="7769"/>
                  </a:cubicBezTo>
                  <a:cubicBezTo>
                    <a:pt x="5136" y="7867"/>
                    <a:pt x="5198" y="7946"/>
                    <a:pt x="5274" y="7946"/>
                  </a:cubicBezTo>
                  <a:cubicBezTo>
                    <a:pt x="5351" y="7946"/>
                    <a:pt x="5412" y="7867"/>
                    <a:pt x="5412" y="7769"/>
                  </a:cubicBezTo>
                  <a:cubicBezTo>
                    <a:pt x="5412" y="7672"/>
                    <a:pt x="5351" y="7592"/>
                    <a:pt x="5274" y="7592"/>
                  </a:cubicBezTo>
                  <a:close/>
                  <a:moveTo>
                    <a:pt x="5644" y="7592"/>
                  </a:moveTo>
                  <a:cubicBezTo>
                    <a:pt x="5568" y="7592"/>
                    <a:pt x="5506" y="7671"/>
                    <a:pt x="5506" y="7769"/>
                  </a:cubicBezTo>
                  <a:cubicBezTo>
                    <a:pt x="5506" y="7867"/>
                    <a:pt x="5568" y="7946"/>
                    <a:pt x="5644" y="7946"/>
                  </a:cubicBezTo>
                  <a:cubicBezTo>
                    <a:pt x="5720" y="7946"/>
                    <a:pt x="5782" y="7867"/>
                    <a:pt x="5782" y="7769"/>
                  </a:cubicBezTo>
                  <a:cubicBezTo>
                    <a:pt x="5782" y="7672"/>
                    <a:pt x="5720" y="7592"/>
                    <a:pt x="5644" y="7592"/>
                  </a:cubicBezTo>
                  <a:close/>
                  <a:moveTo>
                    <a:pt x="6055" y="7592"/>
                  </a:moveTo>
                  <a:cubicBezTo>
                    <a:pt x="5979" y="7592"/>
                    <a:pt x="5916" y="7671"/>
                    <a:pt x="5916" y="7769"/>
                  </a:cubicBezTo>
                  <a:cubicBezTo>
                    <a:pt x="5916" y="7867"/>
                    <a:pt x="5979" y="7946"/>
                    <a:pt x="6055" y="7946"/>
                  </a:cubicBezTo>
                  <a:cubicBezTo>
                    <a:pt x="6132" y="7946"/>
                    <a:pt x="6193" y="7867"/>
                    <a:pt x="6193" y="7769"/>
                  </a:cubicBezTo>
                  <a:cubicBezTo>
                    <a:pt x="6193" y="7672"/>
                    <a:pt x="6132" y="7592"/>
                    <a:pt x="6055" y="7592"/>
                  </a:cubicBezTo>
                  <a:close/>
                  <a:moveTo>
                    <a:pt x="6425" y="7592"/>
                  </a:moveTo>
                  <a:cubicBezTo>
                    <a:pt x="6349" y="7592"/>
                    <a:pt x="6286" y="7671"/>
                    <a:pt x="6286" y="7769"/>
                  </a:cubicBezTo>
                  <a:cubicBezTo>
                    <a:pt x="6286" y="7867"/>
                    <a:pt x="6349" y="7946"/>
                    <a:pt x="6425" y="7946"/>
                  </a:cubicBezTo>
                  <a:cubicBezTo>
                    <a:pt x="6501" y="7946"/>
                    <a:pt x="6562" y="7867"/>
                    <a:pt x="6562" y="7769"/>
                  </a:cubicBezTo>
                  <a:cubicBezTo>
                    <a:pt x="6562" y="7672"/>
                    <a:pt x="6501" y="7592"/>
                    <a:pt x="6425" y="7592"/>
                  </a:cubicBezTo>
                  <a:close/>
                  <a:moveTo>
                    <a:pt x="6836" y="7592"/>
                  </a:moveTo>
                  <a:cubicBezTo>
                    <a:pt x="6759" y="7592"/>
                    <a:pt x="6697" y="7671"/>
                    <a:pt x="6697" y="7769"/>
                  </a:cubicBezTo>
                  <a:cubicBezTo>
                    <a:pt x="6697" y="7867"/>
                    <a:pt x="6759" y="7946"/>
                    <a:pt x="6836" y="7946"/>
                  </a:cubicBezTo>
                  <a:cubicBezTo>
                    <a:pt x="6912" y="7946"/>
                    <a:pt x="6973" y="7867"/>
                    <a:pt x="6973" y="7769"/>
                  </a:cubicBezTo>
                  <a:cubicBezTo>
                    <a:pt x="6973" y="7672"/>
                    <a:pt x="6912" y="7592"/>
                    <a:pt x="6836" y="7592"/>
                  </a:cubicBezTo>
                  <a:close/>
                  <a:moveTo>
                    <a:pt x="7247" y="7592"/>
                  </a:moveTo>
                  <a:cubicBezTo>
                    <a:pt x="7170" y="7592"/>
                    <a:pt x="7108" y="7671"/>
                    <a:pt x="7108" y="7769"/>
                  </a:cubicBezTo>
                  <a:cubicBezTo>
                    <a:pt x="7108" y="7867"/>
                    <a:pt x="7170" y="7946"/>
                    <a:pt x="7247" y="7946"/>
                  </a:cubicBezTo>
                  <a:cubicBezTo>
                    <a:pt x="7323" y="7946"/>
                    <a:pt x="7384" y="7867"/>
                    <a:pt x="7384" y="7769"/>
                  </a:cubicBezTo>
                  <a:cubicBezTo>
                    <a:pt x="7384" y="7672"/>
                    <a:pt x="7323" y="7592"/>
                    <a:pt x="7247" y="7592"/>
                  </a:cubicBezTo>
                  <a:close/>
                  <a:moveTo>
                    <a:pt x="7616" y="7592"/>
                  </a:moveTo>
                  <a:cubicBezTo>
                    <a:pt x="7540" y="7592"/>
                    <a:pt x="7478" y="7671"/>
                    <a:pt x="7478" y="7769"/>
                  </a:cubicBezTo>
                  <a:cubicBezTo>
                    <a:pt x="7478" y="7867"/>
                    <a:pt x="7540" y="7946"/>
                    <a:pt x="7616" y="7946"/>
                  </a:cubicBezTo>
                  <a:cubicBezTo>
                    <a:pt x="7693" y="7946"/>
                    <a:pt x="7754" y="7867"/>
                    <a:pt x="7754" y="7769"/>
                  </a:cubicBezTo>
                  <a:cubicBezTo>
                    <a:pt x="7754" y="7672"/>
                    <a:pt x="7693" y="7592"/>
                    <a:pt x="7616" y="7592"/>
                  </a:cubicBezTo>
                  <a:close/>
                  <a:moveTo>
                    <a:pt x="8027" y="7592"/>
                  </a:moveTo>
                  <a:cubicBezTo>
                    <a:pt x="7951" y="7592"/>
                    <a:pt x="7889" y="7671"/>
                    <a:pt x="7889" y="7769"/>
                  </a:cubicBezTo>
                  <a:cubicBezTo>
                    <a:pt x="7889" y="7867"/>
                    <a:pt x="7951" y="7946"/>
                    <a:pt x="8027" y="7946"/>
                  </a:cubicBezTo>
                  <a:cubicBezTo>
                    <a:pt x="8104" y="7946"/>
                    <a:pt x="8165" y="7867"/>
                    <a:pt x="8165" y="7769"/>
                  </a:cubicBezTo>
                  <a:cubicBezTo>
                    <a:pt x="8165" y="7672"/>
                    <a:pt x="8104" y="7592"/>
                    <a:pt x="8027" y="7592"/>
                  </a:cubicBezTo>
                  <a:close/>
                  <a:moveTo>
                    <a:pt x="8438" y="7592"/>
                  </a:moveTo>
                  <a:cubicBezTo>
                    <a:pt x="8362" y="7592"/>
                    <a:pt x="8299" y="7671"/>
                    <a:pt x="8299" y="7769"/>
                  </a:cubicBezTo>
                  <a:cubicBezTo>
                    <a:pt x="8299" y="7867"/>
                    <a:pt x="8362" y="7946"/>
                    <a:pt x="8438" y="7946"/>
                  </a:cubicBezTo>
                  <a:cubicBezTo>
                    <a:pt x="8515" y="7946"/>
                    <a:pt x="8576" y="7867"/>
                    <a:pt x="8576" y="7769"/>
                  </a:cubicBezTo>
                  <a:cubicBezTo>
                    <a:pt x="8576" y="7672"/>
                    <a:pt x="8515" y="7592"/>
                    <a:pt x="8438" y="7592"/>
                  </a:cubicBezTo>
                  <a:close/>
                  <a:moveTo>
                    <a:pt x="8808" y="7592"/>
                  </a:moveTo>
                  <a:cubicBezTo>
                    <a:pt x="8732" y="7592"/>
                    <a:pt x="8669" y="7671"/>
                    <a:pt x="8669" y="7769"/>
                  </a:cubicBezTo>
                  <a:cubicBezTo>
                    <a:pt x="8669" y="7867"/>
                    <a:pt x="8732" y="7946"/>
                    <a:pt x="8808" y="7946"/>
                  </a:cubicBezTo>
                  <a:cubicBezTo>
                    <a:pt x="8884" y="7946"/>
                    <a:pt x="8945" y="7867"/>
                    <a:pt x="8945" y="7769"/>
                  </a:cubicBezTo>
                  <a:cubicBezTo>
                    <a:pt x="8945" y="7672"/>
                    <a:pt x="8884" y="7592"/>
                    <a:pt x="8808" y="7592"/>
                  </a:cubicBezTo>
                  <a:close/>
                  <a:moveTo>
                    <a:pt x="9219" y="7592"/>
                  </a:moveTo>
                  <a:cubicBezTo>
                    <a:pt x="9142" y="7592"/>
                    <a:pt x="9080" y="7671"/>
                    <a:pt x="9080" y="7769"/>
                  </a:cubicBezTo>
                  <a:cubicBezTo>
                    <a:pt x="9080" y="7867"/>
                    <a:pt x="9142" y="7946"/>
                    <a:pt x="9219" y="7946"/>
                  </a:cubicBezTo>
                  <a:cubicBezTo>
                    <a:pt x="9295" y="7946"/>
                    <a:pt x="9356" y="7867"/>
                    <a:pt x="9356" y="7769"/>
                  </a:cubicBezTo>
                  <a:cubicBezTo>
                    <a:pt x="9356" y="7672"/>
                    <a:pt x="9295" y="7592"/>
                    <a:pt x="9219" y="7592"/>
                  </a:cubicBezTo>
                  <a:close/>
                  <a:moveTo>
                    <a:pt x="9589" y="7592"/>
                  </a:moveTo>
                  <a:cubicBezTo>
                    <a:pt x="9512" y="7592"/>
                    <a:pt x="9450" y="7671"/>
                    <a:pt x="9450" y="7769"/>
                  </a:cubicBezTo>
                  <a:cubicBezTo>
                    <a:pt x="9450" y="7867"/>
                    <a:pt x="9512" y="7946"/>
                    <a:pt x="9589" y="7946"/>
                  </a:cubicBezTo>
                  <a:cubicBezTo>
                    <a:pt x="9665" y="7946"/>
                    <a:pt x="9726" y="7867"/>
                    <a:pt x="9726" y="7769"/>
                  </a:cubicBezTo>
                  <a:cubicBezTo>
                    <a:pt x="9726" y="7672"/>
                    <a:pt x="9665" y="7592"/>
                    <a:pt x="9589" y="7592"/>
                  </a:cubicBezTo>
                  <a:close/>
                  <a:moveTo>
                    <a:pt x="9999" y="7592"/>
                  </a:moveTo>
                  <a:cubicBezTo>
                    <a:pt x="9923" y="7592"/>
                    <a:pt x="9861" y="7671"/>
                    <a:pt x="9861" y="7769"/>
                  </a:cubicBezTo>
                  <a:cubicBezTo>
                    <a:pt x="9861" y="7867"/>
                    <a:pt x="9923" y="7946"/>
                    <a:pt x="9999" y="7946"/>
                  </a:cubicBezTo>
                  <a:cubicBezTo>
                    <a:pt x="10076" y="7946"/>
                    <a:pt x="10137" y="7867"/>
                    <a:pt x="10137" y="7769"/>
                  </a:cubicBezTo>
                  <a:cubicBezTo>
                    <a:pt x="10137" y="7672"/>
                    <a:pt x="10076" y="7592"/>
                    <a:pt x="9999" y="7592"/>
                  </a:cubicBezTo>
                  <a:close/>
                  <a:moveTo>
                    <a:pt x="10410" y="7592"/>
                  </a:moveTo>
                  <a:cubicBezTo>
                    <a:pt x="10334" y="7592"/>
                    <a:pt x="10272" y="7671"/>
                    <a:pt x="10272" y="7769"/>
                  </a:cubicBezTo>
                  <a:cubicBezTo>
                    <a:pt x="10272" y="7867"/>
                    <a:pt x="10334" y="7946"/>
                    <a:pt x="10410" y="7946"/>
                  </a:cubicBezTo>
                  <a:cubicBezTo>
                    <a:pt x="10487" y="7946"/>
                    <a:pt x="10548" y="7867"/>
                    <a:pt x="10548" y="7769"/>
                  </a:cubicBezTo>
                  <a:cubicBezTo>
                    <a:pt x="10548" y="7672"/>
                    <a:pt x="10487" y="7592"/>
                    <a:pt x="10410" y="7592"/>
                  </a:cubicBezTo>
                  <a:close/>
                  <a:moveTo>
                    <a:pt x="10780" y="7592"/>
                  </a:moveTo>
                  <a:cubicBezTo>
                    <a:pt x="10704" y="7592"/>
                    <a:pt x="10641" y="7671"/>
                    <a:pt x="10641" y="7769"/>
                  </a:cubicBezTo>
                  <a:cubicBezTo>
                    <a:pt x="10641" y="7867"/>
                    <a:pt x="10704" y="7946"/>
                    <a:pt x="10780" y="7946"/>
                  </a:cubicBezTo>
                  <a:cubicBezTo>
                    <a:pt x="10856" y="7946"/>
                    <a:pt x="10917" y="7867"/>
                    <a:pt x="10917" y="7769"/>
                  </a:cubicBezTo>
                  <a:cubicBezTo>
                    <a:pt x="10917" y="7672"/>
                    <a:pt x="10856" y="7592"/>
                    <a:pt x="10780" y="7592"/>
                  </a:cubicBezTo>
                  <a:close/>
                  <a:moveTo>
                    <a:pt x="11191" y="7592"/>
                  </a:moveTo>
                  <a:cubicBezTo>
                    <a:pt x="11115" y="7592"/>
                    <a:pt x="11052" y="7671"/>
                    <a:pt x="11052" y="7769"/>
                  </a:cubicBezTo>
                  <a:cubicBezTo>
                    <a:pt x="11052" y="7867"/>
                    <a:pt x="11115" y="7946"/>
                    <a:pt x="11191" y="7946"/>
                  </a:cubicBezTo>
                  <a:cubicBezTo>
                    <a:pt x="11267" y="7946"/>
                    <a:pt x="11328" y="7867"/>
                    <a:pt x="11328" y="7769"/>
                  </a:cubicBezTo>
                  <a:cubicBezTo>
                    <a:pt x="11328" y="7672"/>
                    <a:pt x="11267" y="7592"/>
                    <a:pt x="11191" y="7592"/>
                  </a:cubicBezTo>
                  <a:close/>
                  <a:moveTo>
                    <a:pt x="11602" y="7592"/>
                  </a:moveTo>
                  <a:cubicBezTo>
                    <a:pt x="11526" y="7592"/>
                    <a:pt x="11463" y="7671"/>
                    <a:pt x="11463" y="7769"/>
                  </a:cubicBezTo>
                  <a:cubicBezTo>
                    <a:pt x="11463" y="7867"/>
                    <a:pt x="11526" y="7946"/>
                    <a:pt x="11602" y="7946"/>
                  </a:cubicBezTo>
                  <a:cubicBezTo>
                    <a:pt x="11678" y="7946"/>
                    <a:pt x="11739" y="7867"/>
                    <a:pt x="11739" y="7769"/>
                  </a:cubicBezTo>
                  <a:cubicBezTo>
                    <a:pt x="11739" y="7672"/>
                    <a:pt x="11678" y="7592"/>
                    <a:pt x="11602" y="7592"/>
                  </a:cubicBezTo>
                  <a:close/>
                  <a:moveTo>
                    <a:pt x="11972" y="7592"/>
                  </a:moveTo>
                  <a:cubicBezTo>
                    <a:pt x="11895" y="7592"/>
                    <a:pt x="11833" y="7671"/>
                    <a:pt x="11833" y="7769"/>
                  </a:cubicBezTo>
                  <a:cubicBezTo>
                    <a:pt x="11833" y="7867"/>
                    <a:pt x="11895" y="7946"/>
                    <a:pt x="11972" y="7946"/>
                  </a:cubicBezTo>
                  <a:cubicBezTo>
                    <a:pt x="12048" y="7946"/>
                    <a:pt x="12109" y="7867"/>
                    <a:pt x="12109" y="7769"/>
                  </a:cubicBezTo>
                  <a:cubicBezTo>
                    <a:pt x="12109" y="7672"/>
                    <a:pt x="12048" y="7592"/>
                    <a:pt x="11972" y="7592"/>
                  </a:cubicBezTo>
                  <a:close/>
                  <a:moveTo>
                    <a:pt x="12382" y="7592"/>
                  </a:moveTo>
                  <a:cubicBezTo>
                    <a:pt x="12306" y="7592"/>
                    <a:pt x="12244" y="7671"/>
                    <a:pt x="12244" y="7769"/>
                  </a:cubicBezTo>
                  <a:cubicBezTo>
                    <a:pt x="12244" y="7867"/>
                    <a:pt x="12306" y="7946"/>
                    <a:pt x="12382" y="7946"/>
                  </a:cubicBezTo>
                  <a:cubicBezTo>
                    <a:pt x="12459" y="7946"/>
                    <a:pt x="12520" y="7867"/>
                    <a:pt x="12520" y="7769"/>
                  </a:cubicBezTo>
                  <a:cubicBezTo>
                    <a:pt x="12520" y="7672"/>
                    <a:pt x="12459" y="7592"/>
                    <a:pt x="12382" y="7592"/>
                  </a:cubicBezTo>
                  <a:close/>
                  <a:moveTo>
                    <a:pt x="12752" y="7592"/>
                  </a:moveTo>
                  <a:cubicBezTo>
                    <a:pt x="12676" y="7592"/>
                    <a:pt x="12614" y="7672"/>
                    <a:pt x="12614" y="7769"/>
                  </a:cubicBezTo>
                  <a:cubicBezTo>
                    <a:pt x="12614" y="7867"/>
                    <a:pt x="12676" y="7946"/>
                    <a:pt x="12752" y="7946"/>
                  </a:cubicBezTo>
                  <a:cubicBezTo>
                    <a:pt x="12829" y="7946"/>
                    <a:pt x="12890" y="7867"/>
                    <a:pt x="12890" y="7769"/>
                  </a:cubicBezTo>
                  <a:cubicBezTo>
                    <a:pt x="12890" y="7672"/>
                    <a:pt x="12829" y="7592"/>
                    <a:pt x="12752" y="7592"/>
                  </a:cubicBezTo>
                  <a:close/>
                  <a:moveTo>
                    <a:pt x="13163" y="7592"/>
                  </a:moveTo>
                  <a:cubicBezTo>
                    <a:pt x="13087" y="7592"/>
                    <a:pt x="13024" y="7672"/>
                    <a:pt x="13024" y="7769"/>
                  </a:cubicBezTo>
                  <a:cubicBezTo>
                    <a:pt x="13024" y="7867"/>
                    <a:pt x="13087" y="7946"/>
                    <a:pt x="13163" y="7946"/>
                  </a:cubicBezTo>
                  <a:cubicBezTo>
                    <a:pt x="13240" y="7946"/>
                    <a:pt x="13301" y="7867"/>
                    <a:pt x="13301" y="7769"/>
                  </a:cubicBezTo>
                  <a:cubicBezTo>
                    <a:pt x="13301" y="7672"/>
                    <a:pt x="13240" y="7592"/>
                    <a:pt x="13163" y="7592"/>
                  </a:cubicBezTo>
                  <a:close/>
                  <a:moveTo>
                    <a:pt x="13574" y="7592"/>
                  </a:moveTo>
                  <a:cubicBezTo>
                    <a:pt x="13498" y="7592"/>
                    <a:pt x="13435" y="7672"/>
                    <a:pt x="13435" y="7769"/>
                  </a:cubicBezTo>
                  <a:cubicBezTo>
                    <a:pt x="13435" y="7867"/>
                    <a:pt x="13498" y="7946"/>
                    <a:pt x="13574" y="7946"/>
                  </a:cubicBezTo>
                  <a:cubicBezTo>
                    <a:pt x="13650" y="7946"/>
                    <a:pt x="13711" y="7867"/>
                    <a:pt x="13711" y="7769"/>
                  </a:cubicBezTo>
                  <a:cubicBezTo>
                    <a:pt x="13711" y="7672"/>
                    <a:pt x="13650" y="7592"/>
                    <a:pt x="13574" y="7592"/>
                  </a:cubicBezTo>
                  <a:close/>
                  <a:moveTo>
                    <a:pt x="13985" y="7592"/>
                  </a:moveTo>
                  <a:cubicBezTo>
                    <a:pt x="13908" y="7592"/>
                    <a:pt x="13846" y="7672"/>
                    <a:pt x="13846" y="7769"/>
                  </a:cubicBezTo>
                  <a:cubicBezTo>
                    <a:pt x="13846" y="7867"/>
                    <a:pt x="13908" y="7946"/>
                    <a:pt x="13985" y="7946"/>
                  </a:cubicBezTo>
                  <a:cubicBezTo>
                    <a:pt x="14061" y="7946"/>
                    <a:pt x="14122" y="7867"/>
                    <a:pt x="14122" y="7769"/>
                  </a:cubicBezTo>
                  <a:cubicBezTo>
                    <a:pt x="14122" y="7672"/>
                    <a:pt x="14061" y="7592"/>
                    <a:pt x="13985" y="7592"/>
                  </a:cubicBezTo>
                  <a:close/>
                  <a:moveTo>
                    <a:pt x="14355" y="7592"/>
                  </a:moveTo>
                  <a:cubicBezTo>
                    <a:pt x="14278" y="7592"/>
                    <a:pt x="14216" y="7672"/>
                    <a:pt x="14216" y="7769"/>
                  </a:cubicBezTo>
                  <a:cubicBezTo>
                    <a:pt x="14216" y="7867"/>
                    <a:pt x="14278" y="7946"/>
                    <a:pt x="14355" y="7946"/>
                  </a:cubicBezTo>
                  <a:cubicBezTo>
                    <a:pt x="14431" y="7946"/>
                    <a:pt x="14492" y="7867"/>
                    <a:pt x="14492" y="7769"/>
                  </a:cubicBezTo>
                  <a:cubicBezTo>
                    <a:pt x="14492" y="7672"/>
                    <a:pt x="14431" y="7592"/>
                    <a:pt x="14355" y="7592"/>
                  </a:cubicBezTo>
                  <a:close/>
                  <a:moveTo>
                    <a:pt x="14765" y="7592"/>
                  </a:moveTo>
                  <a:cubicBezTo>
                    <a:pt x="14689" y="7592"/>
                    <a:pt x="14627" y="7672"/>
                    <a:pt x="14627" y="7769"/>
                  </a:cubicBezTo>
                  <a:cubicBezTo>
                    <a:pt x="14627" y="7867"/>
                    <a:pt x="14689" y="7946"/>
                    <a:pt x="14765" y="7946"/>
                  </a:cubicBezTo>
                  <a:cubicBezTo>
                    <a:pt x="14842" y="7946"/>
                    <a:pt x="14903" y="7867"/>
                    <a:pt x="14903" y="7769"/>
                  </a:cubicBezTo>
                  <a:cubicBezTo>
                    <a:pt x="14903" y="7672"/>
                    <a:pt x="14842" y="7592"/>
                    <a:pt x="14765" y="7592"/>
                  </a:cubicBezTo>
                  <a:close/>
                  <a:moveTo>
                    <a:pt x="15135" y="7592"/>
                  </a:moveTo>
                  <a:cubicBezTo>
                    <a:pt x="15059" y="7592"/>
                    <a:pt x="14997" y="7672"/>
                    <a:pt x="14997" y="7769"/>
                  </a:cubicBezTo>
                  <a:cubicBezTo>
                    <a:pt x="14997" y="7867"/>
                    <a:pt x="15059" y="7946"/>
                    <a:pt x="15135" y="7946"/>
                  </a:cubicBezTo>
                  <a:cubicBezTo>
                    <a:pt x="15212" y="7946"/>
                    <a:pt x="15273" y="7867"/>
                    <a:pt x="15273" y="7769"/>
                  </a:cubicBezTo>
                  <a:cubicBezTo>
                    <a:pt x="15273" y="7672"/>
                    <a:pt x="15212" y="7592"/>
                    <a:pt x="15135" y="7592"/>
                  </a:cubicBezTo>
                  <a:close/>
                  <a:moveTo>
                    <a:pt x="15546" y="7592"/>
                  </a:moveTo>
                  <a:cubicBezTo>
                    <a:pt x="15470" y="7592"/>
                    <a:pt x="15407" y="7672"/>
                    <a:pt x="15407" y="7769"/>
                  </a:cubicBezTo>
                  <a:cubicBezTo>
                    <a:pt x="15407" y="7867"/>
                    <a:pt x="15470" y="7946"/>
                    <a:pt x="15546" y="7946"/>
                  </a:cubicBezTo>
                  <a:cubicBezTo>
                    <a:pt x="15623" y="7946"/>
                    <a:pt x="15684" y="7867"/>
                    <a:pt x="15684" y="7769"/>
                  </a:cubicBezTo>
                  <a:cubicBezTo>
                    <a:pt x="15684" y="7672"/>
                    <a:pt x="15623" y="7592"/>
                    <a:pt x="15546" y="7592"/>
                  </a:cubicBezTo>
                  <a:close/>
                  <a:moveTo>
                    <a:pt x="15957" y="7592"/>
                  </a:moveTo>
                  <a:cubicBezTo>
                    <a:pt x="15881" y="7592"/>
                    <a:pt x="15818" y="7672"/>
                    <a:pt x="15818" y="7769"/>
                  </a:cubicBezTo>
                  <a:cubicBezTo>
                    <a:pt x="15818" y="7867"/>
                    <a:pt x="15881" y="7946"/>
                    <a:pt x="15957" y="7946"/>
                  </a:cubicBezTo>
                  <a:cubicBezTo>
                    <a:pt x="16033" y="7946"/>
                    <a:pt x="16094" y="7867"/>
                    <a:pt x="16094" y="7769"/>
                  </a:cubicBezTo>
                  <a:cubicBezTo>
                    <a:pt x="16094" y="7672"/>
                    <a:pt x="16033" y="7592"/>
                    <a:pt x="15957" y="7592"/>
                  </a:cubicBezTo>
                  <a:close/>
                  <a:moveTo>
                    <a:pt x="16327" y="7592"/>
                  </a:moveTo>
                  <a:cubicBezTo>
                    <a:pt x="16250" y="7592"/>
                    <a:pt x="16188" y="7672"/>
                    <a:pt x="16188" y="7769"/>
                  </a:cubicBezTo>
                  <a:cubicBezTo>
                    <a:pt x="16188" y="7867"/>
                    <a:pt x="16250" y="7946"/>
                    <a:pt x="16327" y="7946"/>
                  </a:cubicBezTo>
                  <a:cubicBezTo>
                    <a:pt x="16403" y="7946"/>
                    <a:pt x="16464" y="7867"/>
                    <a:pt x="16464" y="7769"/>
                  </a:cubicBezTo>
                  <a:cubicBezTo>
                    <a:pt x="16464" y="7672"/>
                    <a:pt x="16403" y="7592"/>
                    <a:pt x="16327" y="7592"/>
                  </a:cubicBezTo>
                  <a:close/>
                  <a:moveTo>
                    <a:pt x="16738" y="7592"/>
                  </a:moveTo>
                  <a:cubicBezTo>
                    <a:pt x="16661" y="7592"/>
                    <a:pt x="16599" y="7672"/>
                    <a:pt x="16599" y="7769"/>
                  </a:cubicBezTo>
                  <a:cubicBezTo>
                    <a:pt x="16599" y="7867"/>
                    <a:pt x="16661" y="7946"/>
                    <a:pt x="16738" y="7946"/>
                  </a:cubicBezTo>
                  <a:cubicBezTo>
                    <a:pt x="16814" y="7946"/>
                    <a:pt x="16875" y="7867"/>
                    <a:pt x="16875" y="7769"/>
                  </a:cubicBezTo>
                  <a:cubicBezTo>
                    <a:pt x="16875" y="7672"/>
                    <a:pt x="16814" y="7592"/>
                    <a:pt x="16738" y="7592"/>
                  </a:cubicBezTo>
                  <a:close/>
                  <a:moveTo>
                    <a:pt x="17149" y="7592"/>
                  </a:moveTo>
                  <a:cubicBezTo>
                    <a:pt x="17072" y="7592"/>
                    <a:pt x="17010" y="7672"/>
                    <a:pt x="17010" y="7769"/>
                  </a:cubicBezTo>
                  <a:cubicBezTo>
                    <a:pt x="17010" y="7867"/>
                    <a:pt x="17072" y="7946"/>
                    <a:pt x="17149" y="7946"/>
                  </a:cubicBezTo>
                  <a:cubicBezTo>
                    <a:pt x="17225" y="7946"/>
                    <a:pt x="17286" y="7867"/>
                    <a:pt x="17286" y="7769"/>
                  </a:cubicBezTo>
                  <a:cubicBezTo>
                    <a:pt x="17286" y="7672"/>
                    <a:pt x="17225" y="7592"/>
                    <a:pt x="17149" y="7592"/>
                  </a:cubicBezTo>
                  <a:close/>
                  <a:moveTo>
                    <a:pt x="17518" y="7592"/>
                  </a:moveTo>
                  <a:cubicBezTo>
                    <a:pt x="17442" y="7592"/>
                    <a:pt x="17380" y="7672"/>
                    <a:pt x="17380" y="7769"/>
                  </a:cubicBezTo>
                  <a:cubicBezTo>
                    <a:pt x="17380" y="7867"/>
                    <a:pt x="17442" y="7946"/>
                    <a:pt x="17518" y="7946"/>
                  </a:cubicBezTo>
                  <a:cubicBezTo>
                    <a:pt x="17595" y="7946"/>
                    <a:pt x="17656" y="7867"/>
                    <a:pt x="17656" y="7769"/>
                  </a:cubicBezTo>
                  <a:cubicBezTo>
                    <a:pt x="17656" y="7672"/>
                    <a:pt x="17595" y="7592"/>
                    <a:pt x="17518" y="7592"/>
                  </a:cubicBezTo>
                  <a:close/>
                  <a:moveTo>
                    <a:pt x="2111" y="8119"/>
                  </a:moveTo>
                  <a:cubicBezTo>
                    <a:pt x="2035" y="8119"/>
                    <a:pt x="1972" y="8199"/>
                    <a:pt x="1972" y="8297"/>
                  </a:cubicBezTo>
                  <a:cubicBezTo>
                    <a:pt x="1972" y="8395"/>
                    <a:pt x="2035" y="8473"/>
                    <a:pt x="2111" y="8473"/>
                  </a:cubicBezTo>
                  <a:cubicBezTo>
                    <a:pt x="2187" y="8473"/>
                    <a:pt x="2248" y="8395"/>
                    <a:pt x="2248" y="8297"/>
                  </a:cubicBezTo>
                  <a:cubicBezTo>
                    <a:pt x="2248" y="8199"/>
                    <a:pt x="2187" y="8119"/>
                    <a:pt x="2111" y="8119"/>
                  </a:cubicBezTo>
                  <a:close/>
                  <a:moveTo>
                    <a:pt x="2522" y="8119"/>
                  </a:moveTo>
                  <a:cubicBezTo>
                    <a:pt x="2445" y="8119"/>
                    <a:pt x="2383" y="8199"/>
                    <a:pt x="2383" y="8297"/>
                  </a:cubicBezTo>
                  <a:cubicBezTo>
                    <a:pt x="2383" y="8395"/>
                    <a:pt x="2445" y="8473"/>
                    <a:pt x="2522" y="8473"/>
                  </a:cubicBezTo>
                  <a:cubicBezTo>
                    <a:pt x="2598" y="8473"/>
                    <a:pt x="2659" y="8395"/>
                    <a:pt x="2659" y="8297"/>
                  </a:cubicBezTo>
                  <a:cubicBezTo>
                    <a:pt x="2659" y="8199"/>
                    <a:pt x="2598" y="8119"/>
                    <a:pt x="2522" y="8119"/>
                  </a:cubicBezTo>
                  <a:close/>
                  <a:moveTo>
                    <a:pt x="2891" y="8119"/>
                  </a:moveTo>
                  <a:cubicBezTo>
                    <a:pt x="2815" y="8119"/>
                    <a:pt x="2753" y="8199"/>
                    <a:pt x="2753" y="8297"/>
                  </a:cubicBezTo>
                  <a:cubicBezTo>
                    <a:pt x="2753" y="8395"/>
                    <a:pt x="2815" y="8473"/>
                    <a:pt x="2891" y="8473"/>
                  </a:cubicBezTo>
                  <a:cubicBezTo>
                    <a:pt x="2968" y="8473"/>
                    <a:pt x="3029" y="8395"/>
                    <a:pt x="3029" y="8297"/>
                  </a:cubicBezTo>
                  <a:cubicBezTo>
                    <a:pt x="3029" y="8199"/>
                    <a:pt x="2968" y="8119"/>
                    <a:pt x="2891" y="8119"/>
                  </a:cubicBezTo>
                  <a:close/>
                  <a:moveTo>
                    <a:pt x="3302" y="8119"/>
                  </a:moveTo>
                  <a:cubicBezTo>
                    <a:pt x="3226" y="8119"/>
                    <a:pt x="3164" y="8199"/>
                    <a:pt x="3164" y="8297"/>
                  </a:cubicBezTo>
                  <a:cubicBezTo>
                    <a:pt x="3164" y="8395"/>
                    <a:pt x="3226" y="8473"/>
                    <a:pt x="3302" y="8473"/>
                  </a:cubicBezTo>
                  <a:cubicBezTo>
                    <a:pt x="3379" y="8473"/>
                    <a:pt x="3440" y="8395"/>
                    <a:pt x="3440" y="8297"/>
                  </a:cubicBezTo>
                  <a:cubicBezTo>
                    <a:pt x="3440" y="8199"/>
                    <a:pt x="3379" y="8119"/>
                    <a:pt x="3302" y="8119"/>
                  </a:cubicBezTo>
                  <a:close/>
                  <a:moveTo>
                    <a:pt x="3713" y="8119"/>
                  </a:moveTo>
                  <a:cubicBezTo>
                    <a:pt x="3637" y="8119"/>
                    <a:pt x="3575" y="8199"/>
                    <a:pt x="3575" y="8297"/>
                  </a:cubicBezTo>
                  <a:cubicBezTo>
                    <a:pt x="3575" y="8395"/>
                    <a:pt x="3637" y="8473"/>
                    <a:pt x="3713" y="8473"/>
                  </a:cubicBezTo>
                  <a:cubicBezTo>
                    <a:pt x="3790" y="8473"/>
                    <a:pt x="3851" y="8395"/>
                    <a:pt x="3851" y="8297"/>
                  </a:cubicBezTo>
                  <a:cubicBezTo>
                    <a:pt x="3851" y="8199"/>
                    <a:pt x="3790" y="8119"/>
                    <a:pt x="3713" y="8119"/>
                  </a:cubicBezTo>
                  <a:close/>
                  <a:moveTo>
                    <a:pt x="4083" y="8119"/>
                  </a:moveTo>
                  <a:cubicBezTo>
                    <a:pt x="4007" y="8119"/>
                    <a:pt x="3944" y="8199"/>
                    <a:pt x="3944" y="8297"/>
                  </a:cubicBezTo>
                  <a:cubicBezTo>
                    <a:pt x="3944" y="8395"/>
                    <a:pt x="4007" y="8473"/>
                    <a:pt x="4083" y="8473"/>
                  </a:cubicBezTo>
                  <a:cubicBezTo>
                    <a:pt x="4159" y="8473"/>
                    <a:pt x="4220" y="8395"/>
                    <a:pt x="4220" y="8297"/>
                  </a:cubicBezTo>
                  <a:cubicBezTo>
                    <a:pt x="4220" y="8199"/>
                    <a:pt x="4159" y="8119"/>
                    <a:pt x="4083" y="8119"/>
                  </a:cubicBezTo>
                  <a:close/>
                  <a:moveTo>
                    <a:pt x="4453" y="8119"/>
                  </a:moveTo>
                  <a:cubicBezTo>
                    <a:pt x="4376" y="8119"/>
                    <a:pt x="4314" y="8199"/>
                    <a:pt x="4314" y="8297"/>
                  </a:cubicBezTo>
                  <a:cubicBezTo>
                    <a:pt x="4314" y="8395"/>
                    <a:pt x="4376" y="8473"/>
                    <a:pt x="4453" y="8473"/>
                  </a:cubicBezTo>
                  <a:cubicBezTo>
                    <a:pt x="4529" y="8473"/>
                    <a:pt x="4590" y="8395"/>
                    <a:pt x="4590" y="8297"/>
                  </a:cubicBezTo>
                  <a:cubicBezTo>
                    <a:pt x="4590" y="8199"/>
                    <a:pt x="4529" y="8119"/>
                    <a:pt x="4453" y="8119"/>
                  </a:cubicBezTo>
                  <a:close/>
                  <a:moveTo>
                    <a:pt x="4864" y="8119"/>
                  </a:moveTo>
                  <a:cubicBezTo>
                    <a:pt x="4787" y="8119"/>
                    <a:pt x="4725" y="8199"/>
                    <a:pt x="4725" y="8297"/>
                  </a:cubicBezTo>
                  <a:cubicBezTo>
                    <a:pt x="4725" y="8395"/>
                    <a:pt x="4787" y="8473"/>
                    <a:pt x="4864" y="8473"/>
                  </a:cubicBezTo>
                  <a:cubicBezTo>
                    <a:pt x="4940" y="8473"/>
                    <a:pt x="5001" y="8395"/>
                    <a:pt x="5001" y="8297"/>
                  </a:cubicBezTo>
                  <a:cubicBezTo>
                    <a:pt x="5001" y="8199"/>
                    <a:pt x="4940" y="8119"/>
                    <a:pt x="4864" y="8119"/>
                  </a:cubicBezTo>
                  <a:close/>
                  <a:moveTo>
                    <a:pt x="5274" y="8119"/>
                  </a:moveTo>
                  <a:cubicBezTo>
                    <a:pt x="5198" y="8119"/>
                    <a:pt x="5136" y="8199"/>
                    <a:pt x="5136" y="8297"/>
                  </a:cubicBezTo>
                  <a:cubicBezTo>
                    <a:pt x="5136" y="8395"/>
                    <a:pt x="5198" y="8473"/>
                    <a:pt x="5274" y="8473"/>
                  </a:cubicBezTo>
                  <a:cubicBezTo>
                    <a:pt x="5351" y="8473"/>
                    <a:pt x="5412" y="8395"/>
                    <a:pt x="5412" y="8297"/>
                  </a:cubicBezTo>
                  <a:cubicBezTo>
                    <a:pt x="5412" y="8199"/>
                    <a:pt x="5351" y="8119"/>
                    <a:pt x="5274" y="8119"/>
                  </a:cubicBezTo>
                  <a:close/>
                  <a:moveTo>
                    <a:pt x="5644" y="8119"/>
                  </a:moveTo>
                  <a:cubicBezTo>
                    <a:pt x="5568" y="8119"/>
                    <a:pt x="5506" y="8199"/>
                    <a:pt x="5506" y="8297"/>
                  </a:cubicBezTo>
                  <a:cubicBezTo>
                    <a:pt x="5506" y="8395"/>
                    <a:pt x="5568" y="8473"/>
                    <a:pt x="5644" y="8473"/>
                  </a:cubicBezTo>
                  <a:cubicBezTo>
                    <a:pt x="5720" y="8473"/>
                    <a:pt x="5782" y="8395"/>
                    <a:pt x="5782" y="8297"/>
                  </a:cubicBezTo>
                  <a:cubicBezTo>
                    <a:pt x="5782" y="8199"/>
                    <a:pt x="5720" y="8119"/>
                    <a:pt x="5644" y="8119"/>
                  </a:cubicBezTo>
                  <a:close/>
                  <a:moveTo>
                    <a:pt x="6055" y="8119"/>
                  </a:moveTo>
                  <a:cubicBezTo>
                    <a:pt x="5979" y="8119"/>
                    <a:pt x="5916" y="8199"/>
                    <a:pt x="5916" y="8297"/>
                  </a:cubicBezTo>
                  <a:cubicBezTo>
                    <a:pt x="5916" y="8395"/>
                    <a:pt x="5979" y="8473"/>
                    <a:pt x="6055" y="8473"/>
                  </a:cubicBezTo>
                  <a:cubicBezTo>
                    <a:pt x="6132" y="8473"/>
                    <a:pt x="6193" y="8395"/>
                    <a:pt x="6193" y="8297"/>
                  </a:cubicBezTo>
                  <a:cubicBezTo>
                    <a:pt x="6193" y="8199"/>
                    <a:pt x="6132" y="8119"/>
                    <a:pt x="6055" y="8119"/>
                  </a:cubicBezTo>
                  <a:close/>
                  <a:moveTo>
                    <a:pt x="6425" y="8119"/>
                  </a:moveTo>
                  <a:cubicBezTo>
                    <a:pt x="6349" y="8119"/>
                    <a:pt x="6286" y="8199"/>
                    <a:pt x="6286" y="8297"/>
                  </a:cubicBezTo>
                  <a:cubicBezTo>
                    <a:pt x="6286" y="8395"/>
                    <a:pt x="6349" y="8473"/>
                    <a:pt x="6425" y="8473"/>
                  </a:cubicBezTo>
                  <a:cubicBezTo>
                    <a:pt x="6501" y="8473"/>
                    <a:pt x="6562" y="8395"/>
                    <a:pt x="6562" y="8297"/>
                  </a:cubicBezTo>
                  <a:cubicBezTo>
                    <a:pt x="6562" y="8199"/>
                    <a:pt x="6501" y="8119"/>
                    <a:pt x="6425" y="8119"/>
                  </a:cubicBezTo>
                  <a:close/>
                  <a:moveTo>
                    <a:pt x="6836" y="8119"/>
                  </a:moveTo>
                  <a:cubicBezTo>
                    <a:pt x="6759" y="8119"/>
                    <a:pt x="6697" y="8199"/>
                    <a:pt x="6697" y="8297"/>
                  </a:cubicBezTo>
                  <a:cubicBezTo>
                    <a:pt x="6697" y="8395"/>
                    <a:pt x="6759" y="8473"/>
                    <a:pt x="6836" y="8473"/>
                  </a:cubicBezTo>
                  <a:cubicBezTo>
                    <a:pt x="6912" y="8473"/>
                    <a:pt x="6973" y="8395"/>
                    <a:pt x="6973" y="8297"/>
                  </a:cubicBezTo>
                  <a:cubicBezTo>
                    <a:pt x="6973" y="8199"/>
                    <a:pt x="6912" y="8119"/>
                    <a:pt x="6836" y="8119"/>
                  </a:cubicBezTo>
                  <a:close/>
                  <a:moveTo>
                    <a:pt x="7247" y="8119"/>
                  </a:moveTo>
                  <a:cubicBezTo>
                    <a:pt x="7170" y="8119"/>
                    <a:pt x="7108" y="8199"/>
                    <a:pt x="7108" y="8297"/>
                  </a:cubicBezTo>
                  <a:cubicBezTo>
                    <a:pt x="7108" y="8395"/>
                    <a:pt x="7170" y="8473"/>
                    <a:pt x="7247" y="8473"/>
                  </a:cubicBezTo>
                  <a:cubicBezTo>
                    <a:pt x="7323" y="8473"/>
                    <a:pt x="7384" y="8395"/>
                    <a:pt x="7384" y="8297"/>
                  </a:cubicBezTo>
                  <a:cubicBezTo>
                    <a:pt x="7384" y="8199"/>
                    <a:pt x="7323" y="8119"/>
                    <a:pt x="7247" y="8119"/>
                  </a:cubicBezTo>
                  <a:close/>
                  <a:moveTo>
                    <a:pt x="7616" y="8119"/>
                  </a:moveTo>
                  <a:cubicBezTo>
                    <a:pt x="7540" y="8119"/>
                    <a:pt x="7478" y="8199"/>
                    <a:pt x="7478" y="8297"/>
                  </a:cubicBezTo>
                  <a:cubicBezTo>
                    <a:pt x="7478" y="8395"/>
                    <a:pt x="7540" y="8473"/>
                    <a:pt x="7616" y="8473"/>
                  </a:cubicBezTo>
                  <a:cubicBezTo>
                    <a:pt x="7693" y="8473"/>
                    <a:pt x="7754" y="8395"/>
                    <a:pt x="7754" y="8297"/>
                  </a:cubicBezTo>
                  <a:cubicBezTo>
                    <a:pt x="7754" y="8199"/>
                    <a:pt x="7693" y="8119"/>
                    <a:pt x="7616" y="8119"/>
                  </a:cubicBezTo>
                  <a:close/>
                  <a:moveTo>
                    <a:pt x="8027" y="8119"/>
                  </a:moveTo>
                  <a:cubicBezTo>
                    <a:pt x="7951" y="8119"/>
                    <a:pt x="7889" y="8199"/>
                    <a:pt x="7889" y="8297"/>
                  </a:cubicBezTo>
                  <a:cubicBezTo>
                    <a:pt x="7889" y="8395"/>
                    <a:pt x="7951" y="8473"/>
                    <a:pt x="8027" y="8473"/>
                  </a:cubicBezTo>
                  <a:cubicBezTo>
                    <a:pt x="8104" y="8473"/>
                    <a:pt x="8165" y="8395"/>
                    <a:pt x="8165" y="8297"/>
                  </a:cubicBezTo>
                  <a:cubicBezTo>
                    <a:pt x="8165" y="8199"/>
                    <a:pt x="8104" y="8119"/>
                    <a:pt x="8027" y="8119"/>
                  </a:cubicBezTo>
                  <a:close/>
                  <a:moveTo>
                    <a:pt x="8438" y="8119"/>
                  </a:moveTo>
                  <a:cubicBezTo>
                    <a:pt x="8362" y="8119"/>
                    <a:pt x="8299" y="8199"/>
                    <a:pt x="8299" y="8297"/>
                  </a:cubicBezTo>
                  <a:cubicBezTo>
                    <a:pt x="8299" y="8395"/>
                    <a:pt x="8362" y="8473"/>
                    <a:pt x="8438" y="8473"/>
                  </a:cubicBezTo>
                  <a:cubicBezTo>
                    <a:pt x="8515" y="8473"/>
                    <a:pt x="8576" y="8395"/>
                    <a:pt x="8576" y="8297"/>
                  </a:cubicBezTo>
                  <a:cubicBezTo>
                    <a:pt x="8576" y="8199"/>
                    <a:pt x="8515" y="8119"/>
                    <a:pt x="8438" y="8119"/>
                  </a:cubicBezTo>
                  <a:close/>
                  <a:moveTo>
                    <a:pt x="8808" y="8119"/>
                  </a:moveTo>
                  <a:cubicBezTo>
                    <a:pt x="8732" y="8119"/>
                    <a:pt x="8669" y="8199"/>
                    <a:pt x="8669" y="8297"/>
                  </a:cubicBezTo>
                  <a:cubicBezTo>
                    <a:pt x="8669" y="8395"/>
                    <a:pt x="8732" y="8473"/>
                    <a:pt x="8808" y="8473"/>
                  </a:cubicBezTo>
                  <a:cubicBezTo>
                    <a:pt x="8884" y="8473"/>
                    <a:pt x="8945" y="8395"/>
                    <a:pt x="8945" y="8297"/>
                  </a:cubicBezTo>
                  <a:cubicBezTo>
                    <a:pt x="8945" y="8199"/>
                    <a:pt x="8884" y="8119"/>
                    <a:pt x="8808" y="8119"/>
                  </a:cubicBezTo>
                  <a:close/>
                  <a:moveTo>
                    <a:pt x="9219" y="8119"/>
                  </a:moveTo>
                  <a:cubicBezTo>
                    <a:pt x="9142" y="8119"/>
                    <a:pt x="9080" y="8199"/>
                    <a:pt x="9080" y="8297"/>
                  </a:cubicBezTo>
                  <a:cubicBezTo>
                    <a:pt x="9080" y="8395"/>
                    <a:pt x="9142" y="8473"/>
                    <a:pt x="9219" y="8473"/>
                  </a:cubicBezTo>
                  <a:cubicBezTo>
                    <a:pt x="9295" y="8473"/>
                    <a:pt x="9356" y="8395"/>
                    <a:pt x="9356" y="8297"/>
                  </a:cubicBezTo>
                  <a:cubicBezTo>
                    <a:pt x="9356" y="8199"/>
                    <a:pt x="9295" y="8119"/>
                    <a:pt x="9219" y="8119"/>
                  </a:cubicBezTo>
                  <a:close/>
                  <a:moveTo>
                    <a:pt x="9589" y="8119"/>
                  </a:moveTo>
                  <a:cubicBezTo>
                    <a:pt x="9512" y="8119"/>
                    <a:pt x="9450" y="8199"/>
                    <a:pt x="9450" y="8297"/>
                  </a:cubicBezTo>
                  <a:cubicBezTo>
                    <a:pt x="9450" y="8395"/>
                    <a:pt x="9512" y="8473"/>
                    <a:pt x="9589" y="8473"/>
                  </a:cubicBezTo>
                  <a:cubicBezTo>
                    <a:pt x="9665" y="8473"/>
                    <a:pt x="9726" y="8395"/>
                    <a:pt x="9726" y="8297"/>
                  </a:cubicBezTo>
                  <a:cubicBezTo>
                    <a:pt x="9726" y="8199"/>
                    <a:pt x="9665" y="8119"/>
                    <a:pt x="9589" y="8119"/>
                  </a:cubicBezTo>
                  <a:close/>
                  <a:moveTo>
                    <a:pt x="9999" y="8119"/>
                  </a:moveTo>
                  <a:cubicBezTo>
                    <a:pt x="9923" y="8119"/>
                    <a:pt x="9861" y="8199"/>
                    <a:pt x="9861" y="8297"/>
                  </a:cubicBezTo>
                  <a:cubicBezTo>
                    <a:pt x="9861" y="8395"/>
                    <a:pt x="9923" y="8473"/>
                    <a:pt x="9999" y="8473"/>
                  </a:cubicBezTo>
                  <a:cubicBezTo>
                    <a:pt x="10076" y="8473"/>
                    <a:pt x="10137" y="8395"/>
                    <a:pt x="10137" y="8297"/>
                  </a:cubicBezTo>
                  <a:cubicBezTo>
                    <a:pt x="10137" y="8199"/>
                    <a:pt x="10076" y="8119"/>
                    <a:pt x="9999" y="8119"/>
                  </a:cubicBezTo>
                  <a:close/>
                  <a:moveTo>
                    <a:pt x="10410" y="8119"/>
                  </a:moveTo>
                  <a:cubicBezTo>
                    <a:pt x="10334" y="8119"/>
                    <a:pt x="10272" y="8199"/>
                    <a:pt x="10272" y="8297"/>
                  </a:cubicBezTo>
                  <a:cubicBezTo>
                    <a:pt x="10272" y="8395"/>
                    <a:pt x="10334" y="8473"/>
                    <a:pt x="10410" y="8473"/>
                  </a:cubicBezTo>
                  <a:cubicBezTo>
                    <a:pt x="10487" y="8473"/>
                    <a:pt x="10548" y="8395"/>
                    <a:pt x="10548" y="8297"/>
                  </a:cubicBezTo>
                  <a:cubicBezTo>
                    <a:pt x="10548" y="8199"/>
                    <a:pt x="10487" y="8119"/>
                    <a:pt x="10410" y="8119"/>
                  </a:cubicBezTo>
                  <a:close/>
                  <a:moveTo>
                    <a:pt x="10780" y="8119"/>
                  </a:moveTo>
                  <a:cubicBezTo>
                    <a:pt x="10704" y="8119"/>
                    <a:pt x="10641" y="8199"/>
                    <a:pt x="10641" y="8297"/>
                  </a:cubicBezTo>
                  <a:cubicBezTo>
                    <a:pt x="10641" y="8395"/>
                    <a:pt x="10704" y="8473"/>
                    <a:pt x="10780" y="8473"/>
                  </a:cubicBezTo>
                  <a:cubicBezTo>
                    <a:pt x="10856" y="8473"/>
                    <a:pt x="10917" y="8395"/>
                    <a:pt x="10917" y="8297"/>
                  </a:cubicBezTo>
                  <a:cubicBezTo>
                    <a:pt x="10917" y="8199"/>
                    <a:pt x="10856" y="8119"/>
                    <a:pt x="10780" y="8119"/>
                  </a:cubicBezTo>
                  <a:close/>
                  <a:moveTo>
                    <a:pt x="11191" y="8119"/>
                  </a:moveTo>
                  <a:cubicBezTo>
                    <a:pt x="11115" y="8119"/>
                    <a:pt x="11052" y="8199"/>
                    <a:pt x="11052" y="8297"/>
                  </a:cubicBezTo>
                  <a:cubicBezTo>
                    <a:pt x="11052" y="8395"/>
                    <a:pt x="11115" y="8473"/>
                    <a:pt x="11191" y="8473"/>
                  </a:cubicBezTo>
                  <a:cubicBezTo>
                    <a:pt x="11267" y="8473"/>
                    <a:pt x="11328" y="8395"/>
                    <a:pt x="11328" y="8297"/>
                  </a:cubicBezTo>
                  <a:cubicBezTo>
                    <a:pt x="11328" y="8199"/>
                    <a:pt x="11267" y="8119"/>
                    <a:pt x="11191" y="8119"/>
                  </a:cubicBezTo>
                  <a:close/>
                  <a:moveTo>
                    <a:pt x="11602" y="8119"/>
                  </a:moveTo>
                  <a:cubicBezTo>
                    <a:pt x="11526" y="8119"/>
                    <a:pt x="11463" y="8199"/>
                    <a:pt x="11463" y="8297"/>
                  </a:cubicBezTo>
                  <a:cubicBezTo>
                    <a:pt x="11463" y="8395"/>
                    <a:pt x="11526" y="8473"/>
                    <a:pt x="11602" y="8473"/>
                  </a:cubicBezTo>
                  <a:cubicBezTo>
                    <a:pt x="11678" y="8473"/>
                    <a:pt x="11739" y="8395"/>
                    <a:pt x="11739" y="8297"/>
                  </a:cubicBezTo>
                  <a:cubicBezTo>
                    <a:pt x="11739" y="8199"/>
                    <a:pt x="11678" y="8119"/>
                    <a:pt x="11602" y="8119"/>
                  </a:cubicBezTo>
                  <a:close/>
                  <a:moveTo>
                    <a:pt x="11972" y="8119"/>
                  </a:moveTo>
                  <a:cubicBezTo>
                    <a:pt x="11895" y="8119"/>
                    <a:pt x="11833" y="8199"/>
                    <a:pt x="11833" y="8297"/>
                  </a:cubicBezTo>
                  <a:cubicBezTo>
                    <a:pt x="11833" y="8395"/>
                    <a:pt x="11895" y="8473"/>
                    <a:pt x="11972" y="8473"/>
                  </a:cubicBezTo>
                  <a:cubicBezTo>
                    <a:pt x="12048" y="8473"/>
                    <a:pt x="12109" y="8395"/>
                    <a:pt x="12109" y="8297"/>
                  </a:cubicBezTo>
                  <a:cubicBezTo>
                    <a:pt x="12109" y="8199"/>
                    <a:pt x="12048" y="8119"/>
                    <a:pt x="11972" y="8119"/>
                  </a:cubicBezTo>
                  <a:close/>
                  <a:moveTo>
                    <a:pt x="12382" y="8119"/>
                  </a:moveTo>
                  <a:cubicBezTo>
                    <a:pt x="12306" y="8119"/>
                    <a:pt x="12244" y="8199"/>
                    <a:pt x="12244" y="8297"/>
                  </a:cubicBezTo>
                  <a:cubicBezTo>
                    <a:pt x="12244" y="8395"/>
                    <a:pt x="12306" y="8473"/>
                    <a:pt x="12382" y="8473"/>
                  </a:cubicBezTo>
                  <a:cubicBezTo>
                    <a:pt x="12459" y="8473"/>
                    <a:pt x="12520" y="8395"/>
                    <a:pt x="12520" y="8297"/>
                  </a:cubicBezTo>
                  <a:cubicBezTo>
                    <a:pt x="12520" y="8199"/>
                    <a:pt x="12459" y="8119"/>
                    <a:pt x="12382" y="8119"/>
                  </a:cubicBezTo>
                  <a:close/>
                  <a:moveTo>
                    <a:pt x="12752" y="8119"/>
                  </a:moveTo>
                  <a:cubicBezTo>
                    <a:pt x="12676" y="8119"/>
                    <a:pt x="12614" y="8199"/>
                    <a:pt x="12614" y="8297"/>
                  </a:cubicBezTo>
                  <a:cubicBezTo>
                    <a:pt x="12614" y="8395"/>
                    <a:pt x="12676" y="8473"/>
                    <a:pt x="12752" y="8473"/>
                  </a:cubicBezTo>
                  <a:cubicBezTo>
                    <a:pt x="12829" y="8473"/>
                    <a:pt x="12890" y="8395"/>
                    <a:pt x="12890" y="8297"/>
                  </a:cubicBezTo>
                  <a:cubicBezTo>
                    <a:pt x="12890" y="8199"/>
                    <a:pt x="12829" y="8119"/>
                    <a:pt x="12752" y="8119"/>
                  </a:cubicBezTo>
                  <a:close/>
                  <a:moveTo>
                    <a:pt x="13163" y="8119"/>
                  </a:moveTo>
                  <a:cubicBezTo>
                    <a:pt x="13087" y="8119"/>
                    <a:pt x="13024" y="8199"/>
                    <a:pt x="13024" y="8297"/>
                  </a:cubicBezTo>
                  <a:cubicBezTo>
                    <a:pt x="13024" y="8395"/>
                    <a:pt x="13087" y="8473"/>
                    <a:pt x="13163" y="8473"/>
                  </a:cubicBezTo>
                  <a:cubicBezTo>
                    <a:pt x="13240" y="8473"/>
                    <a:pt x="13301" y="8395"/>
                    <a:pt x="13301" y="8297"/>
                  </a:cubicBezTo>
                  <a:cubicBezTo>
                    <a:pt x="13301" y="8199"/>
                    <a:pt x="13240" y="8119"/>
                    <a:pt x="13163" y="8119"/>
                  </a:cubicBezTo>
                  <a:close/>
                  <a:moveTo>
                    <a:pt x="13574" y="8119"/>
                  </a:moveTo>
                  <a:cubicBezTo>
                    <a:pt x="13498" y="8119"/>
                    <a:pt x="13435" y="8199"/>
                    <a:pt x="13435" y="8297"/>
                  </a:cubicBezTo>
                  <a:cubicBezTo>
                    <a:pt x="13435" y="8395"/>
                    <a:pt x="13498" y="8473"/>
                    <a:pt x="13574" y="8473"/>
                  </a:cubicBezTo>
                  <a:cubicBezTo>
                    <a:pt x="13650" y="8473"/>
                    <a:pt x="13711" y="8395"/>
                    <a:pt x="13711" y="8297"/>
                  </a:cubicBezTo>
                  <a:cubicBezTo>
                    <a:pt x="13711" y="8199"/>
                    <a:pt x="13650" y="8119"/>
                    <a:pt x="13574" y="8119"/>
                  </a:cubicBezTo>
                  <a:close/>
                  <a:moveTo>
                    <a:pt x="13985" y="8119"/>
                  </a:moveTo>
                  <a:cubicBezTo>
                    <a:pt x="13908" y="8119"/>
                    <a:pt x="13846" y="8199"/>
                    <a:pt x="13846" y="8297"/>
                  </a:cubicBezTo>
                  <a:cubicBezTo>
                    <a:pt x="13846" y="8395"/>
                    <a:pt x="13908" y="8473"/>
                    <a:pt x="13985" y="8473"/>
                  </a:cubicBezTo>
                  <a:cubicBezTo>
                    <a:pt x="14061" y="8473"/>
                    <a:pt x="14122" y="8395"/>
                    <a:pt x="14122" y="8297"/>
                  </a:cubicBezTo>
                  <a:cubicBezTo>
                    <a:pt x="14122" y="8199"/>
                    <a:pt x="14061" y="8119"/>
                    <a:pt x="13985" y="8119"/>
                  </a:cubicBezTo>
                  <a:close/>
                  <a:moveTo>
                    <a:pt x="14355" y="8119"/>
                  </a:moveTo>
                  <a:cubicBezTo>
                    <a:pt x="14278" y="8119"/>
                    <a:pt x="14216" y="8199"/>
                    <a:pt x="14216" y="8297"/>
                  </a:cubicBezTo>
                  <a:cubicBezTo>
                    <a:pt x="14216" y="8395"/>
                    <a:pt x="14278" y="8473"/>
                    <a:pt x="14355" y="8473"/>
                  </a:cubicBezTo>
                  <a:cubicBezTo>
                    <a:pt x="14431" y="8473"/>
                    <a:pt x="14492" y="8395"/>
                    <a:pt x="14492" y="8297"/>
                  </a:cubicBezTo>
                  <a:cubicBezTo>
                    <a:pt x="14492" y="8199"/>
                    <a:pt x="14431" y="8119"/>
                    <a:pt x="14355" y="8119"/>
                  </a:cubicBezTo>
                  <a:close/>
                  <a:moveTo>
                    <a:pt x="14765" y="8119"/>
                  </a:moveTo>
                  <a:cubicBezTo>
                    <a:pt x="14689" y="8119"/>
                    <a:pt x="14627" y="8199"/>
                    <a:pt x="14627" y="8297"/>
                  </a:cubicBezTo>
                  <a:cubicBezTo>
                    <a:pt x="14627" y="8395"/>
                    <a:pt x="14689" y="8473"/>
                    <a:pt x="14765" y="8473"/>
                  </a:cubicBezTo>
                  <a:cubicBezTo>
                    <a:pt x="14842" y="8473"/>
                    <a:pt x="14903" y="8395"/>
                    <a:pt x="14903" y="8297"/>
                  </a:cubicBezTo>
                  <a:cubicBezTo>
                    <a:pt x="14903" y="8199"/>
                    <a:pt x="14842" y="8119"/>
                    <a:pt x="14765" y="8119"/>
                  </a:cubicBezTo>
                  <a:close/>
                  <a:moveTo>
                    <a:pt x="15135" y="8119"/>
                  </a:moveTo>
                  <a:cubicBezTo>
                    <a:pt x="15059" y="8119"/>
                    <a:pt x="14997" y="8199"/>
                    <a:pt x="14997" y="8297"/>
                  </a:cubicBezTo>
                  <a:cubicBezTo>
                    <a:pt x="14997" y="8395"/>
                    <a:pt x="15059" y="8473"/>
                    <a:pt x="15135" y="8473"/>
                  </a:cubicBezTo>
                  <a:cubicBezTo>
                    <a:pt x="15212" y="8473"/>
                    <a:pt x="15273" y="8395"/>
                    <a:pt x="15273" y="8297"/>
                  </a:cubicBezTo>
                  <a:cubicBezTo>
                    <a:pt x="15273" y="8199"/>
                    <a:pt x="15212" y="8119"/>
                    <a:pt x="15135" y="8119"/>
                  </a:cubicBezTo>
                  <a:close/>
                  <a:moveTo>
                    <a:pt x="15546" y="8119"/>
                  </a:moveTo>
                  <a:cubicBezTo>
                    <a:pt x="15470" y="8119"/>
                    <a:pt x="15407" y="8199"/>
                    <a:pt x="15407" y="8297"/>
                  </a:cubicBezTo>
                  <a:cubicBezTo>
                    <a:pt x="15407" y="8395"/>
                    <a:pt x="15470" y="8473"/>
                    <a:pt x="15546" y="8473"/>
                  </a:cubicBezTo>
                  <a:cubicBezTo>
                    <a:pt x="15623" y="8473"/>
                    <a:pt x="15684" y="8395"/>
                    <a:pt x="15684" y="8297"/>
                  </a:cubicBezTo>
                  <a:cubicBezTo>
                    <a:pt x="15684" y="8199"/>
                    <a:pt x="15623" y="8119"/>
                    <a:pt x="15546" y="8119"/>
                  </a:cubicBezTo>
                  <a:close/>
                  <a:moveTo>
                    <a:pt x="15957" y="8119"/>
                  </a:moveTo>
                  <a:cubicBezTo>
                    <a:pt x="15881" y="8119"/>
                    <a:pt x="15818" y="8199"/>
                    <a:pt x="15818" y="8297"/>
                  </a:cubicBezTo>
                  <a:cubicBezTo>
                    <a:pt x="15818" y="8395"/>
                    <a:pt x="15881" y="8473"/>
                    <a:pt x="15957" y="8473"/>
                  </a:cubicBezTo>
                  <a:cubicBezTo>
                    <a:pt x="16033" y="8473"/>
                    <a:pt x="16094" y="8395"/>
                    <a:pt x="16094" y="8297"/>
                  </a:cubicBezTo>
                  <a:cubicBezTo>
                    <a:pt x="16094" y="8199"/>
                    <a:pt x="16033" y="8119"/>
                    <a:pt x="15957" y="8119"/>
                  </a:cubicBezTo>
                  <a:close/>
                  <a:moveTo>
                    <a:pt x="16327" y="8119"/>
                  </a:moveTo>
                  <a:cubicBezTo>
                    <a:pt x="16250" y="8119"/>
                    <a:pt x="16188" y="8199"/>
                    <a:pt x="16188" y="8297"/>
                  </a:cubicBezTo>
                  <a:cubicBezTo>
                    <a:pt x="16188" y="8395"/>
                    <a:pt x="16250" y="8473"/>
                    <a:pt x="16327" y="8473"/>
                  </a:cubicBezTo>
                  <a:cubicBezTo>
                    <a:pt x="16403" y="8473"/>
                    <a:pt x="16464" y="8395"/>
                    <a:pt x="16464" y="8297"/>
                  </a:cubicBezTo>
                  <a:cubicBezTo>
                    <a:pt x="16464" y="8199"/>
                    <a:pt x="16403" y="8119"/>
                    <a:pt x="16327" y="8119"/>
                  </a:cubicBezTo>
                  <a:close/>
                  <a:moveTo>
                    <a:pt x="16738" y="8119"/>
                  </a:moveTo>
                  <a:cubicBezTo>
                    <a:pt x="16661" y="8119"/>
                    <a:pt x="16599" y="8199"/>
                    <a:pt x="16599" y="8297"/>
                  </a:cubicBezTo>
                  <a:cubicBezTo>
                    <a:pt x="16599" y="8395"/>
                    <a:pt x="16661" y="8473"/>
                    <a:pt x="16738" y="8473"/>
                  </a:cubicBezTo>
                  <a:cubicBezTo>
                    <a:pt x="16814" y="8473"/>
                    <a:pt x="16875" y="8395"/>
                    <a:pt x="16875" y="8297"/>
                  </a:cubicBezTo>
                  <a:cubicBezTo>
                    <a:pt x="16875" y="8199"/>
                    <a:pt x="16814" y="8119"/>
                    <a:pt x="16738" y="8119"/>
                  </a:cubicBezTo>
                  <a:close/>
                  <a:moveTo>
                    <a:pt x="17149" y="8119"/>
                  </a:moveTo>
                  <a:cubicBezTo>
                    <a:pt x="17072" y="8119"/>
                    <a:pt x="17010" y="8199"/>
                    <a:pt x="17010" y="8297"/>
                  </a:cubicBezTo>
                  <a:cubicBezTo>
                    <a:pt x="17010" y="8395"/>
                    <a:pt x="17072" y="8473"/>
                    <a:pt x="17149" y="8473"/>
                  </a:cubicBezTo>
                  <a:cubicBezTo>
                    <a:pt x="17225" y="8473"/>
                    <a:pt x="17286" y="8395"/>
                    <a:pt x="17286" y="8297"/>
                  </a:cubicBezTo>
                  <a:cubicBezTo>
                    <a:pt x="17286" y="8199"/>
                    <a:pt x="17225" y="8119"/>
                    <a:pt x="17149" y="8119"/>
                  </a:cubicBezTo>
                  <a:close/>
                  <a:moveTo>
                    <a:pt x="17518" y="8119"/>
                  </a:moveTo>
                  <a:cubicBezTo>
                    <a:pt x="17442" y="8119"/>
                    <a:pt x="17380" y="8199"/>
                    <a:pt x="17380" y="8297"/>
                  </a:cubicBezTo>
                  <a:cubicBezTo>
                    <a:pt x="17380" y="8395"/>
                    <a:pt x="17442" y="8473"/>
                    <a:pt x="17518" y="8473"/>
                  </a:cubicBezTo>
                  <a:cubicBezTo>
                    <a:pt x="17595" y="8473"/>
                    <a:pt x="17656" y="8395"/>
                    <a:pt x="17656" y="8297"/>
                  </a:cubicBezTo>
                  <a:cubicBezTo>
                    <a:pt x="17656" y="8199"/>
                    <a:pt x="17595" y="8119"/>
                    <a:pt x="17518" y="8119"/>
                  </a:cubicBezTo>
                  <a:close/>
                  <a:moveTo>
                    <a:pt x="18710" y="8119"/>
                  </a:moveTo>
                  <a:cubicBezTo>
                    <a:pt x="18634" y="8119"/>
                    <a:pt x="18571" y="8199"/>
                    <a:pt x="18571" y="8297"/>
                  </a:cubicBezTo>
                  <a:cubicBezTo>
                    <a:pt x="18571" y="8395"/>
                    <a:pt x="18634" y="8473"/>
                    <a:pt x="18710" y="8473"/>
                  </a:cubicBezTo>
                  <a:cubicBezTo>
                    <a:pt x="18786" y="8473"/>
                    <a:pt x="18847" y="8395"/>
                    <a:pt x="18847" y="8297"/>
                  </a:cubicBezTo>
                  <a:cubicBezTo>
                    <a:pt x="18847" y="8199"/>
                    <a:pt x="18786" y="8119"/>
                    <a:pt x="18710" y="8119"/>
                  </a:cubicBezTo>
                  <a:close/>
                  <a:moveTo>
                    <a:pt x="19121" y="8119"/>
                  </a:moveTo>
                  <a:cubicBezTo>
                    <a:pt x="19045" y="8119"/>
                    <a:pt x="18982" y="8199"/>
                    <a:pt x="18982" y="8297"/>
                  </a:cubicBezTo>
                  <a:cubicBezTo>
                    <a:pt x="18982" y="8395"/>
                    <a:pt x="19045" y="8473"/>
                    <a:pt x="19121" y="8473"/>
                  </a:cubicBezTo>
                  <a:cubicBezTo>
                    <a:pt x="19197" y="8473"/>
                    <a:pt x="19258" y="8395"/>
                    <a:pt x="19258" y="8297"/>
                  </a:cubicBezTo>
                  <a:cubicBezTo>
                    <a:pt x="19258" y="8199"/>
                    <a:pt x="19197" y="8119"/>
                    <a:pt x="19121" y="8119"/>
                  </a:cubicBezTo>
                  <a:close/>
                  <a:moveTo>
                    <a:pt x="919" y="8593"/>
                  </a:moveTo>
                  <a:cubicBezTo>
                    <a:pt x="843" y="8593"/>
                    <a:pt x="781" y="8674"/>
                    <a:pt x="781" y="8771"/>
                  </a:cubicBezTo>
                  <a:cubicBezTo>
                    <a:pt x="781" y="8869"/>
                    <a:pt x="843" y="8947"/>
                    <a:pt x="919" y="8947"/>
                  </a:cubicBezTo>
                  <a:cubicBezTo>
                    <a:pt x="996" y="8947"/>
                    <a:pt x="1057" y="8869"/>
                    <a:pt x="1057" y="8771"/>
                  </a:cubicBezTo>
                  <a:cubicBezTo>
                    <a:pt x="1057" y="8674"/>
                    <a:pt x="996" y="8593"/>
                    <a:pt x="919" y="8593"/>
                  </a:cubicBezTo>
                  <a:close/>
                  <a:moveTo>
                    <a:pt x="1330" y="8593"/>
                  </a:moveTo>
                  <a:cubicBezTo>
                    <a:pt x="1254" y="8593"/>
                    <a:pt x="1192" y="8674"/>
                    <a:pt x="1192" y="8771"/>
                  </a:cubicBezTo>
                  <a:cubicBezTo>
                    <a:pt x="1192" y="8869"/>
                    <a:pt x="1254" y="8947"/>
                    <a:pt x="1330" y="8947"/>
                  </a:cubicBezTo>
                  <a:cubicBezTo>
                    <a:pt x="1406" y="8947"/>
                    <a:pt x="1468" y="8869"/>
                    <a:pt x="1468" y="8771"/>
                  </a:cubicBezTo>
                  <a:cubicBezTo>
                    <a:pt x="1468" y="8674"/>
                    <a:pt x="1406" y="8593"/>
                    <a:pt x="1330" y="8593"/>
                  </a:cubicBezTo>
                  <a:close/>
                  <a:moveTo>
                    <a:pt x="2522" y="8593"/>
                  </a:moveTo>
                  <a:cubicBezTo>
                    <a:pt x="2445" y="8593"/>
                    <a:pt x="2383" y="8673"/>
                    <a:pt x="2383" y="8771"/>
                  </a:cubicBezTo>
                  <a:cubicBezTo>
                    <a:pt x="2383" y="8869"/>
                    <a:pt x="2445" y="8947"/>
                    <a:pt x="2522" y="8947"/>
                  </a:cubicBezTo>
                  <a:cubicBezTo>
                    <a:pt x="2598" y="8947"/>
                    <a:pt x="2659" y="8869"/>
                    <a:pt x="2659" y="8771"/>
                  </a:cubicBezTo>
                  <a:cubicBezTo>
                    <a:pt x="2659" y="8673"/>
                    <a:pt x="2598" y="8593"/>
                    <a:pt x="2522" y="8593"/>
                  </a:cubicBezTo>
                  <a:close/>
                  <a:moveTo>
                    <a:pt x="2891" y="8593"/>
                  </a:moveTo>
                  <a:cubicBezTo>
                    <a:pt x="2815" y="8593"/>
                    <a:pt x="2753" y="8673"/>
                    <a:pt x="2753" y="8771"/>
                  </a:cubicBezTo>
                  <a:cubicBezTo>
                    <a:pt x="2753" y="8869"/>
                    <a:pt x="2815" y="8947"/>
                    <a:pt x="2891" y="8947"/>
                  </a:cubicBezTo>
                  <a:cubicBezTo>
                    <a:pt x="2968" y="8947"/>
                    <a:pt x="3029" y="8869"/>
                    <a:pt x="3029" y="8771"/>
                  </a:cubicBezTo>
                  <a:cubicBezTo>
                    <a:pt x="3029" y="8673"/>
                    <a:pt x="2968" y="8593"/>
                    <a:pt x="2891" y="8593"/>
                  </a:cubicBezTo>
                  <a:close/>
                  <a:moveTo>
                    <a:pt x="3302" y="8593"/>
                  </a:moveTo>
                  <a:cubicBezTo>
                    <a:pt x="3226" y="8593"/>
                    <a:pt x="3164" y="8673"/>
                    <a:pt x="3164" y="8771"/>
                  </a:cubicBezTo>
                  <a:cubicBezTo>
                    <a:pt x="3164" y="8869"/>
                    <a:pt x="3226" y="8947"/>
                    <a:pt x="3302" y="8947"/>
                  </a:cubicBezTo>
                  <a:cubicBezTo>
                    <a:pt x="3379" y="8947"/>
                    <a:pt x="3440" y="8869"/>
                    <a:pt x="3440" y="8771"/>
                  </a:cubicBezTo>
                  <a:cubicBezTo>
                    <a:pt x="3440" y="8673"/>
                    <a:pt x="3379" y="8593"/>
                    <a:pt x="3302" y="8593"/>
                  </a:cubicBezTo>
                  <a:close/>
                  <a:moveTo>
                    <a:pt x="3713" y="8646"/>
                  </a:moveTo>
                  <a:cubicBezTo>
                    <a:pt x="3637" y="8646"/>
                    <a:pt x="3575" y="8726"/>
                    <a:pt x="3575" y="8824"/>
                  </a:cubicBezTo>
                  <a:cubicBezTo>
                    <a:pt x="3575" y="8922"/>
                    <a:pt x="3637" y="9002"/>
                    <a:pt x="3713" y="9002"/>
                  </a:cubicBezTo>
                  <a:cubicBezTo>
                    <a:pt x="3790" y="9002"/>
                    <a:pt x="3851" y="8922"/>
                    <a:pt x="3851" y="8824"/>
                  </a:cubicBezTo>
                  <a:cubicBezTo>
                    <a:pt x="3851" y="8726"/>
                    <a:pt x="3790" y="8646"/>
                    <a:pt x="3713" y="8646"/>
                  </a:cubicBezTo>
                  <a:close/>
                  <a:moveTo>
                    <a:pt x="4083" y="8646"/>
                  </a:moveTo>
                  <a:cubicBezTo>
                    <a:pt x="4007" y="8646"/>
                    <a:pt x="3944" y="8726"/>
                    <a:pt x="3944" y="8824"/>
                  </a:cubicBezTo>
                  <a:cubicBezTo>
                    <a:pt x="3944" y="8922"/>
                    <a:pt x="4007" y="9002"/>
                    <a:pt x="4083" y="9002"/>
                  </a:cubicBezTo>
                  <a:cubicBezTo>
                    <a:pt x="4159" y="9002"/>
                    <a:pt x="4220" y="8922"/>
                    <a:pt x="4220" y="8824"/>
                  </a:cubicBezTo>
                  <a:cubicBezTo>
                    <a:pt x="4220" y="8726"/>
                    <a:pt x="4159" y="8646"/>
                    <a:pt x="4083" y="8646"/>
                  </a:cubicBezTo>
                  <a:close/>
                  <a:moveTo>
                    <a:pt x="4453" y="8646"/>
                  </a:moveTo>
                  <a:cubicBezTo>
                    <a:pt x="4376" y="8646"/>
                    <a:pt x="4314" y="8726"/>
                    <a:pt x="4314" y="8824"/>
                  </a:cubicBezTo>
                  <a:cubicBezTo>
                    <a:pt x="4314" y="8922"/>
                    <a:pt x="4376" y="9002"/>
                    <a:pt x="4453" y="9002"/>
                  </a:cubicBezTo>
                  <a:cubicBezTo>
                    <a:pt x="4529" y="9002"/>
                    <a:pt x="4590" y="8922"/>
                    <a:pt x="4590" y="8824"/>
                  </a:cubicBezTo>
                  <a:cubicBezTo>
                    <a:pt x="4590" y="8726"/>
                    <a:pt x="4529" y="8646"/>
                    <a:pt x="4453" y="8646"/>
                  </a:cubicBezTo>
                  <a:close/>
                  <a:moveTo>
                    <a:pt x="4864" y="8646"/>
                  </a:moveTo>
                  <a:cubicBezTo>
                    <a:pt x="4787" y="8646"/>
                    <a:pt x="4725" y="8726"/>
                    <a:pt x="4725" y="8824"/>
                  </a:cubicBezTo>
                  <a:cubicBezTo>
                    <a:pt x="4725" y="8922"/>
                    <a:pt x="4787" y="9002"/>
                    <a:pt x="4864" y="9002"/>
                  </a:cubicBezTo>
                  <a:cubicBezTo>
                    <a:pt x="4940" y="9002"/>
                    <a:pt x="5001" y="8922"/>
                    <a:pt x="5001" y="8824"/>
                  </a:cubicBezTo>
                  <a:cubicBezTo>
                    <a:pt x="5001" y="8726"/>
                    <a:pt x="4940" y="8646"/>
                    <a:pt x="4864" y="8646"/>
                  </a:cubicBezTo>
                  <a:close/>
                  <a:moveTo>
                    <a:pt x="5274" y="8646"/>
                  </a:moveTo>
                  <a:cubicBezTo>
                    <a:pt x="5198" y="8646"/>
                    <a:pt x="5136" y="8726"/>
                    <a:pt x="5136" y="8824"/>
                  </a:cubicBezTo>
                  <a:cubicBezTo>
                    <a:pt x="5136" y="8922"/>
                    <a:pt x="5198" y="9002"/>
                    <a:pt x="5274" y="9002"/>
                  </a:cubicBezTo>
                  <a:cubicBezTo>
                    <a:pt x="5351" y="9002"/>
                    <a:pt x="5412" y="8922"/>
                    <a:pt x="5412" y="8824"/>
                  </a:cubicBezTo>
                  <a:cubicBezTo>
                    <a:pt x="5412" y="8726"/>
                    <a:pt x="5351" y="8646"/>
                    <a:pt x="5274" y="8646"/>
                  </a:cubicBezTo>
                  <a:close/>
                  <a:moveTo>
                    <a:pt x="5644" y="8646"/>
                  </a:moveTo>
                  <a:cubicBezTo>
                    <a:pt x="5568" y="8646"/>
                    <a:pt x="5506" y="8726"/>
                    <a:pt x="5506" y="8824"/>
                  </a:cubicBezTo>
                  <a:cubicBezTo>
                    <a:pt x="5506" y="8922"/>
                    <a:pt x="5568" y="9002"/>
                    <a:pt x="5644" y="9002"/>
                  </a:cubicBezTo>
                  <a:cubicBezTo>
                    <a:pt x="5720" y="9002"/>
                    <a:pt x="5782" y="8922"/>
                    <a:pt x="5782" y="8824"/>
                  </a:cubicBezTo>
                  <a:cubicBezTo>
                    <a:pt x="5782" y="8726"/>
                    <a:pt x="5720" y="8646"/>
                    <a:pt x="5644" y="8646"/>
                  </a:cubicBezTo>
                  <a:close/>
                  <a:moveTo>
                    <a:pt x="6055" y="8646"/>
                  </a:moveTo>
                  <a:cubicBezTo>
                    <a:pt x="5979" y="8646"/>
                    <a:pt x="5916" y="8726"/>
                    <a:pt x="5916" y="8824"/>
                  </a:cubicBezTo>
                  <a:cubicBezTo>
                    <a:pt x="5916" y="8922"/>
                    <a:pt x="5979" y="9002"/>
                    <a:pt x="6055" y="9002"/>
                  </a:cubicBezTo>
                  <a:cubicBezTo>
                    <a:pt x="6132" y="9002"/>
                    <a:pt x="6193" y="8922"/>
                    <a:pt x="6193" y="8824"/>
                  </a:cubicBezTo>
                  <a:cubicBezTo>
                    <a:pt x="6193" y="8726"/>
                    <a:pt x="6132" y="8646"/>
                    <a:pt x="6055" y="8646"/>
                  </a:cubicBezTo>
                  <a:close/>
                  <a:moveTo>
                    <a:pt x="6425" y="8646"/>
                  </a:moveTo>
                  <a:cubicBezTo>
                    <a:pt x="6349" y="8646"/>
                    <a:pt x="6286" y="8726"/>
                    <a:pt x="6286" y="8824"/>
                  </a:cubicBezTo>
                  <a:cubicBezTo>
                    <a:pt x="6286" y="8922"/>
                    <a:pt x="6349" y="9002"/>
                    <a:pt x="6425" y="9002"/>
                  </a:cubicBezTo>
                  <a:cubicBezTo>
                    <a:pt x="6501" y="9002"/>
                    <a:pt x="6562" y="8922"/>
                    <a:pt x="6562" y="8824"/>
                  </a:cubicBezTo>
                  <a:cubicBezTo>
                    <a:pt x="6562" y="8726"/>
                    <a:pt x="6501" y="8646"/>
                    <a:pt x="6425" y="8646"/>
                  </a:cubicBezTo>
                  <a:close/>
                  <a:moveTo>
                    <a:pt x="6836" y="8646"/>
                  </a:moveTo>
                  <a:cubicBezTo>
                    <a:pt x="6759" y="8646"/>
                    <a:pt x="6697" y="8726"/>
                    <a:pt x="6697" y="8824"/>
                  </a:cubicBezTo>
                  <a:cubicBezTo>
                    <a:pt x="6697" y="8922"/>
                    <a:pt x="6759" y="9002"/>
                    <a:pt x="6836" y="9002"/>
                  </a:cubicBezTo>
                  <a:cubicBezTo>
                    <a:pt x="6912" y="9002"/>
                    <a:pt x="6973" y="8922"/>
                    <a:pt x="6973" y="8824"/>
                  </a:cubicBezTo>
                  <a:cubicBezTo>
                    <a:pt x="6973" y="8726"/>
                    <a:pt x="6912" y="8646"/>
                    <a:pt x="6836" y="8646"/>
                  </a:cubicBezTo>
                  <a:close/>
                  <a:moveTo>
                    <a:pt x="7247" y="8646"/>
                  </a:moveTo>
                  <a:cubicBezTo>
                    <a:pt x="7170" y="8646"/>
                    <a:pt x="7108" y="8726"/>
                    <a:pt x="7108" y="8824"/>
                  </a:cubicBezTo>
                  <a:cubicBezTo>
                    <a:pt x="7108" y="8922"/>
                    <a:pt x="7170" y="9002"/>
                    <a:pt x="7247" y="9002"/>
                  </a:cubicBezTo>
                  <a:cubicBezTo>
                    <a:pt x="7323" y="9002"/>
                    <a:pt x="7384" y="8922"/>
                    <a:pt x="7384" y="8824"/>
                  </a:cubicBezTo>
                  <a:cubicBezTo>
                    <a:pt x="7384" y="8726"/>
                    <a:pt x="7323" y="8646"/>
                    <a:pt x="7247" y="8646"/>
                  </a:cubicBezTo>
                  <a:close/>
                  <a:moveTo>
                    <a:pt x="7616" y="8646"/>
                  </a:moveTo>
                  <a:cubicBezTo>
                    <a:pt x="7540" y="8646"/>
                    <a:pt x="7478" y="8726"/>
                    <a:pt x="7478" y="8824"/>
                  </a:cubicBezTo>
                  <a:cubicBezTo>
                    <a:pt x="7478" y="8922"/>
                    <a:pt x="7540" y="9002"/>
                    <a:pt x="7616" y="9002"/>
                  </a:cubicBezTo>
                  <a:cubicBezTo>
                    <a:pt x="7693" y="9002"/>
                    <a:pt x="7754" y="8922"/>
                    <a:pt x="7754" y="8824"/>
                  </a:cubicBezTo>
                  <a:cubicBezTo>
                    <a:pt x="7754" y="8726"/>
                    <a:pt x="7693" y="8646"/>
                    <a:pt x="7616" y="8646"/>
                  </a:cubicBezTo>
                  <a:close/>
                  <a:moveTo>
                    <a:pt x="8027" y="8646"/>
                  </a:moveTo>
                  <a:cubicBezTo>
                    <a:pt x="7951" y="8646"/>
                    <a:pt x="7889" y="8726"/>
                    <a:pt x="7889" y="8824"/>
                  </a:cubicBezTo>
                  <a:cubicBezTo>
                    <a:pt x="7889" y="8922"/>
                    <a:pt x="7951" y="9002"/>
                    <a:pt x="8027" y="9002"/>
                  </a:cubicBezTo>
                  <a:cubicBezTo>
                    <a:pt x="8104" y="9002"/>
                    <a:pt x="8165" y="8922"/>
                    <a:pt x="8165" y="8824"/>
                  </a:cubicBezTo>
                  <a:cubicBezTo>
                    <a:pt x="8165" y="8726"/>
                    <a:pt x="8104" y="8646"/>
                    <a:pt x="8027" y="8646"/>
                  </a:cubicBezTo>
                  <a:close/>
                  <a:moveTo>
                    <a:pt x="8438" y="8646"/>
                  </a:moveTo>
                  <a:cubicBezTo>
                    <a:pt x="8362" y="8646"/>
                    <a:pt x="8299" y="8726"/>
                    <a:pt x="8299" y="8824"/>
                  </a:cubicBezTo>
                  <a:cubicBezTo>
                    <a:pt x="8299" y="8922"/>
                    <a:pt x="8362" y="9002"/>
                    <a:pt x="8438" y="9002"/>
                  </a:cubicBezTo>
                  <a:cubicBezTo>
                    <a:pt x="8515" y="9002"/>
                    <a:pt x="8576" y="8922"/>
                    <a:pt x="8576" y="8824"/>
                  </a:cubicBezTo>
                  <a:cubicBezTo>
                    <a:pt x="8576" y="8726"/>
                    <a:pt x="8515" y="8646"/>
                    <a:pt x="8438" y="8646"/>
                  </a:cubicBezTo>
                  <a:close/>
                  <a:moveTo>
                    <a:pt x="8808" y="8646"/>
                  </a:moveTo>
                  <a:cubicBezTo>
                    <a:pt x="8732" y="8646"/>
                    <a:pt x="8669" y="8726"/>
                    <a:pt x="8669" y="8824"/>
                  </a:cubicBezTo>
                  <a:cubicBezTo>
                    <a:pt x="8669" y="8922"/>
                    <a:pt x="8732" y="9002"/>
                    <a:pt x="8808" y="9002"/>
                  </a:cubicBezTo>
                  <a:cubicBezTo>
                    <a:pt x="8884" y="9002"/>
                    <a:pt x="8945" y="8922"/>
                    <a:pt x="8945" y="8824"/>
                  </a:cubicBezTo>
                  <a:cubicBezTo>
                    <a:pt x="8945" y="8726"/>
                    <a:pt x="8884" y="8646"/>
                    <a:pt x="8808" y="8646"/>
                  </a:cubicBezTo>
                  <a:close/>
                  <a:moveTo>
                    <a:pt x="9219" y="8646"/>
                  </a:moveTo>
                  <a:cubicBezTo>
                    <a:pt x="9142" y="8646"/>
                    <a:pt x="9080" y="8726"/>
                    <a:pt x="9080" y="8824"/>
                  </a:cubicBezTo>
                  <a:cubicBezTo>
                    <a:pt x="9080" y="8922"/>
                    <a:pt x="9142" y="9002"/>
                    <a:pt x="9219" y="9002"/>
                  </a:cubicBezTo>
                  <a:cubicBezTo>
                    <a:pt x="9295" y="9002"/>
                    <a:pt x="9356" y="8922"/>
                    <a:pt x="9356" y="8824"/>
                  </a:cubicBezTo>
                  <a:cubicBezTo>
                    <a:pt x="9356" y="8726"/>
                    <a:pt x="9295" y="8646"/>
                    <a:pt x="9219" y="8646"/>
                  </a:cubicBezTo>
                  <a:close/>
                  <a:moveTo>
                    <a:pt x="9589" y="8646"/>
                  </a:moveTo>
                  <a:cubicBezTo>
                    <a:pt x="9512" y="8646"/>
                    <a:pt x="9450" y="8726"/>
                    <a:pt x="9450" y="8824"/>
                  </a:cubicBezTo>
                  <a:cubicBezTo>
                    <a:pt x="9450" y="8922"/>
                    <a:pt x="9512" y="9002"/>
                    <a:pt x="9589" y="9002"/>
                  </a:cubicBezTo>
                  <a:cubicBezTo>
                    <a:pt x="9665" y="9002"/>
                    <a:pt x="9726" y="8922"/>
                    <a:pt x="9726" y="8824"/>
                  </a:cubicBezTo>
                  <a:cubicBezTo>
                    <a:pt x="9726" y="8726"/>
                    <a:pt x="9665" y="8646"/>
                    <a:pt x="9589" y="8646"/>
                  </a:cubicBezTo>
                  <a:close/>
                  <a:moveTo>
                    <a:pt x="9999" y="8646"/>
                  </a:moveTo>
                  <a:cubicBezTo>
                    <a:pt x="9923" y="8646"/>
                    <a:pt x="9861" y="8726"/>
                    <a:pt x="9861" y="8824"/>
                  </a:cubicBezTo>
                  <a:cubicBezTo>
                    <a:pt x="9861" y="8922"/>
                    <a:pt x="9923" y="9002"/>
                    <a:pt x="9999" y="9002"/>
                  </a:cubicBezTo>
                  <a:cubicBezTo>
                    <a:pt x="10076" y="9002"/>
                    <a:pt x="10137" y="8922"/>
                    <a:pt x="10137" y="8824"/>
                  </a:cubicBezTo>
                  <a:cubicBezTo>
                    <a:pt x="10137" y="8726"/>
                    <a:pt x="10076" y="8646"/>
                    <a:pt x="9999" y="8646"/>
                  </a:cubicBezTo>
                  <a:close/>
                  <a:moveTo>
                    <a:pt x="10410" y="8646"/>
                  </a:moveTo>
                  <a:cubicBezTo>
                    <a:pt x="10334" y="8646"/>
                    <a:pt x="10272" y="8726"/>
                    <a:pt x="10272" y="8824"/>
                  </a:cubicBezTo>
                  <a:cubicBezTo>
                    <a:pt x="10272" y="8922"/>
                    <a:pt x="10334" y="9002"/>
                    <a:pt x="10410" y="9002"/>
                  </a:cubicBezTo>
                  <a:cubicBezTo>
                    <a:pt x="10487" y="9002"/>
                    <a:pt x="10548" y="8922"/>
                    <a:pt x="10548" y="8824"/>
                  </a:cubicBezTo>
                  <a:cubicBezTo>
                    <a:pt x="10548" y="8726"/>
                    <a:pt x="10487" y="8646"/>
                    <a:pt x="10410" y="8646"/>
                  </a:cubicBezTo>
                  <a:close/>
                  <a:moveTo>
                    <a:pt x="10780" y="8646"/>
                  </a:moveTo>
                  <a:cubicBezTo>
                    <a:pt x="10704" y="8646"/>
                    <a:pt x="10641" y="8726"/>
                    <a:pt x="10641" y="8824"/>
                  </a:cubicBezTo>
                  <a:cubicBezTo>
                    <a:pt x="10641" y="8922"/>
                    <a:pt x="10704" y="9002"/>
                    <a:pt x="10780" y="9002"/>
                  </a:cubicBezTo>
                  <a:cubicBezTo>
                    <a:pt x="10856" y="9002"/>
                    <a:pt x="10917" y="8922"/>
                    <a:pt x="10917" y="8824"/>
                  </a:cubicBezTo>
                  <a:cubicBezTo>
                    <a:pt x="10917" y="8726"/>
                    <a:pt x="10856" y="8646"/>
                    <a:pt x="10780" y="8646"/>
                  </a:cubicBezTo>
                  <a:close/>
                  <a:moveTo>
                    <a:pt x="11191" y="8646"/>
                  </a:moveTo>
                  <a:cubicBezTo>
                    <a:pt x="11115" y="8646"/>
                    <a:pt x="11052" y="8726"/>
                    <a:pt x="11052" y="8824"/>
                  </a:cubicBezTo>
                  <a:cubicBezTo>
                    <a:pt x="11052" y="8922"/>
                    <a:pt x="11115" y="9002"/>
                    <a:pt x="11191" y="9002"/>
                  </a:cubicBezTo>
                  <a:cubicBezTo>
                    <a:pt x="11267" y="9002"/>
                    <a:pt x="11328" y="8922"/>
                    <a:pt x="11328" y="8824"/>
                  </a:cubicBezTo>
                  <a:cubicBezTo>
                    <a:pt x="11328" y="8726"/>
                    <a:pt x="11267" y="8646"/>
                    <a:pt x="11191" y="8646"/>
                  </a:cubicBezTo>
                  <a:close/>
                  <a:moveTo>
                    <a:pt x="11602" y="8646"/>
                  </a:moveTo>
                  <a:cubicBezTo>
                    <a:pt x="11526" y="8646"/>
                    <a:pt x="11463" y="8726"/>
                    <a:pt x="11463" y="8824"/>
                  </a:cubicBezTo>
                  <a:cubicBezTo>
                    <a:pt x="11463" y="8922"/>
                    <a:pt x="11526" y="9002"/>
                    <a:pt x="11602" y="9002"/>
                  </a:cubicBezTo>
                  <a:cubicBezTo>
                    <a:pt x="11678" y="9002"/>
                    <a:pt x="11739" y="8922"/>
                    <a:pt x="11739" y="8824"/>
                  </a:cubicBezTo>
                  <a:cubicBezTo>
                    <a:pt x="11739" y="8726"/>
                    <a:pt x="11678" y="8646"/>
                    <a:pt x="11602" y="8646"/>
                  </a:cubicBezTo>
                  <a:close/>
                  <a:moveTo>
                    <a:pt x="11972" y="8646"/>
                  </a:moveTo>
                  <a:cubicBezTo>
                    <a:pt x="11895" y="8646"/>
                    <a:pt x="11833" y="8726"/>
                    <a:pt x="11833" y="8824"/>
                  </a:cubicBezTo>
                  <a:cubicBezTo>
                    <a:pt x="11833" y="8922"/>
                    <a:pt x="11895" y="9002"/>
                    <a:pt x="11972" y="9002"/>
                  </a:cubicBezTo>
                  <a:cubicBezTo>
                    <a:pt x="12048" y="9002"/>
                    <a:pt x="12109" y="8922"/>
                    <a:pt x="12109" y="8824"/>
                  </a:cubicBezTo>
                  <a:cubicBezTo>
                    <a:pt x="12109" y="8726"/>
                    <a:pt x="12048" y="8646"/>
                    <a:pt x="11972" y="8646"/>
                  </a:cubicBezTo>
                  <a:close/>
                  <a:moveTo>
                    <a:pt x="12382" y="8646"/>
                  </a:moveTo>
                  <a:cubicBezTo>
                    <a:pt x="12306" y="8646"/>
                    <a:pt x="12244" y="8726"/>
                    <a:pt x="12244" y="8824"/>
                  </a:cubicBezTo>
                  <a:cubicBezTo>
                    <a:pt x="12244" y="8922"/>
                    <a:pt x="12306" y="9002"/>
                    <a:pt x="12382" y="9002"/>
                  </a:cubicBezTo>
                  <a:cubicBezTo>
                    <a:pt x="12459" y="9002"/>
                    <a:pt x="12520" y="8922"/>
                    <a:pt x="12520" y="8824"/>
                  </a:cubicBezTo>
                  <a:cubicBezTo>
                    <a:pt x="12520" y="8726"/>
                    <a:pt x="12459" y="8646"/>
                    <a:pt x="12382" y="8646"/>
                  </a:cubicBezTo>
                  <a:close/>
                  <a:moveTo>
                    <a:pt x="12752" y="8646"/>
                  </a:moveTo>
                  <a:cubicBezTo>
                    <a:pt x="12676" y="8646"/>
                    <a:pt x="12614" y="8726"/>
                    <a:pt x="12614" y="8824"/>
                  </a:cubicBezTo>
                  <a:cubicBezTo>
                    <a:pt x="12614" y="8922"/>
                    <a:pt x="12676" y="9002"/>
                    <a:pt x="12752" y="9002"/>
                  </a:cubicBezTo>
                  <a:cubicBezTo>
                    <a:pt x="12829" y="9002"/>
                    <a:pt x="12890" y="8922"/>
                    <a:pt x="12890" y="8824"/>
                  </a:cubicBezTo>
                  <a:cubicBezTo>
                    <a:pt x="12890" y="8726"/>
                    <a:pt x="12829" y="8646"/>
                    <a:pt x="12752" y="8646"/>
                  </a:cubicBezTo>
                  <a:close/>
                  <a:moveTo>
                    <a:pt x="13163" y="8646"/>
                  </a:moveTo>
                  <a:cubicBezTo>
                    <a:pt x="13087" y="8646"/>
                    <a:pt x="13024" y="8726"/>
                    <a:pt x="13024" y="8824"/>
                  </a:cubicBezTo>
                  <a:cubicBezTo>
                    <a:pt x="13024" y="8922"/>
                    <a:pt x="13087" y="9002"/>
                    <a:pt x="13163" y="9002"/>
                  </a:cubicBezTo>
                  <a:cubicBezTo>
                    <a:pt x="13240" y="9002"/>
                    <a:pt x="13301" y="8922"/>
                    <a:pt x="13301" y="8824"/>
                  </a:cubicBezTo>
                  <a:cubicBezTo>
                    <a:pt x="13301" y="8726"/>
                    <a:pt x="13240" y="8646"/>
                    <a:pt x="13163" y="8646"/>
                  </a:cubicBezTo>
                  <a:close/>
                  <a:moveTo>
                    <a:pt x="13574" y="8646"/>
                  </a:moveTo>
                  <a:cubicBezTo>
                    <a:pt x="13498" y="8646"/>
                    <a:pt x="13435" y="8726"/>
                    <a:pt x="13435" y="8824"/>
                  </a:cubicBezTo>
                  <a:cubicBezTo>
                    <a:pt x="13435" y="8922"/>
                    <a:pt x="13498" y="9002"/>
                    <a:pt x="13574" y="9002"/>
                  </a:cubicBezTo>
                  <a:cubicBezTo>
                    <a:pt x="13650" y="9002"/>
                    <a:pt x="13711" y="8922"/>
                    <a:pt x="13711" y="8824"/>
                  </a:cubicBezTo>
                  <a:cubicBezTo>
                    <a:pt x="13711" y="8726"/>
                    <a:pt x="13650" y="8646"/>
                    <a:pt x="13574" y="8646"/>
                  </a:cubicBezTo>
                  <a:close/>
                  <a:moveTo>
                    <a:pt x="13985" y="8646"/>
                  </a:moveTo>
                  <a:cubicBezTo>
                    <a:pt x="13908" y="8646"/>
                    <a:pt x="13846" y="8726"/>
                    <a:pt x="13846" y="8824"/>
                  </a:cubicBezTo>
                  <a:cubicBezTo>
                    <a:pt x="13846" y="8922"/>
                    <a:pt x="13908" y="9002"/>
                    <a:pt x="13985" y="9002"/>
                  </a:cubicBezTo>
                  <a:cubicBezTo>
                    <a:pt x="14061" y="9002"/>
                    <a:pt x="14122" y="8922"/>
                    <a:pt x="14122" y="8824"/>
                  </a:cubicBezTo>
                  <a:cubicBezTo>
                    <a:pt x="14122" y="8726"/>
                    <a:pt x="14061" y="8646"/>
                    <a:pt x="13985" y="8646"/>
                  </a:cubicBezTo>
                  <a:close/>
                  <a:moveTo>
                    <a:pt x="14355" y="8646"/>
                  </a:moveTo>
                  <a:cubicBezTo>
                    <a:pt x="14278" y="8646"/>
                    <a:pt x="14216" y="8726"/>
                    <a:pt x="14216" y="8824"/>
                  </a:cubicBezTo>
                  <a:cubicBezTo>
                    <a:pt x="14216" y="8922"/>
                    <a:pt x="14278" y="9002"/>
                    <a:pt x="14355" y="9002"/>
                  </a:cubicBezTo>
                  <a:cubicBezTo>
                    <a:pt x="14431" y="9002"/>
                    <a:pt x="14492" y="8922"/>
                    <a:pt x="14492" y="8824"/>
                  </a:cubicBezTo>
                  <a:cubicBezTo>
                    <a:pt x="14492" y="8726"/>
                    <a:pt x="14431" y="8646"/>
                    <a:pt x="14355" y="8646"/>
                  </a:cubicBezTo>
                  <a:close/>
                  <a:moveTo>
                    <a:pt x="14765" y="8646"/>
                  </a:moveTo>
                  <a:cubicBezTo>
                    <a:pt x="14689" y="8646"/>
                    <a:pt x="14627" y="8726"/>
                    <a:pt x="14627" y="8824"/>
                  </a:cubicBezTo>
                  <a:cubicBezTo>
                    <a:pt x="14627" y="8922"/>
                    <a:pt x="14689" y="9002"/>
                    <a:pt x="14765" y="9002"/>
                  </a:cubicBezTo>
                  <a:cubicBezTo>
                    <a:pt x="14842" y="9002"/>
                    <a:pt x="14903" y="8922"/>
                    <a:pt x="14903" y="8824"/>
                  </a:cubicBezTo>
                  <a:cubicBezTo>
                    <a:pt x="14903" y="8726"/>
                    <a:pt x="14842" y="8646"/>
                    <a:pt x="14765" y="8646"/>
                  </a:cubicBezTo>
                  <a:close/>
                  <a:moveTo>
                    <a:pt x="15135" y="8646"/>
                  </a:moveTo>
                  <a:cubicBezTo>
                    <a:pt x="15059" y="8646"/>
                    <a:pt x="14997" y="8726"/>
                    <a:pt x="14997" y="8824"/>
                  </a:cubicBezTo>
                  <a:cubicBezTo>
                    <a:pt x="14997" y="8922"/>
                    <a:pt x="15059" y="9002"/>
                    <a:pt x="15135" y="9002"/>
                  </a:cubicBezTo>
                  <a:cubicBezTo>
                    <a:pt x="15212" y="9002"/>
                    <a:pt x="15273" y="8922"/>
                    <a:pt x="15273" y="8824"/>
                  </a:cubicBezTo>
                  <a:cubicBezTo>
                    <a:pt x="15273" y="8726"/>
                    <a:pt x="15212" y="8646"/>
                    <a:pt x="15135" y="8646"/>
                  </a:cubicBezTo>
                  <a:close/>
                  <a:moveTo>
                    <a:pt x="15546" y="8646"/>
                  </a:moveTo>
                  <a:cubicBezTo>
                    <a:pt x="15470" y="8646"/>
                    <a:pt x="15407" y="8726"/>
                    <a:pt x="15407" y="8824"/>
                  </a:cubicBezTo>
                  <a:cubicBezTo>
                    <a:pt x="15407" y="8922"/>
                    <a:pt x="15470" y="9002"/>
                    <a:pt x="15546" y="9002"/>
                  </a:cubicBezTo>
                  <a:cubicBezTo>
                    <a:pt x="15623" y="9002"/>
                    <a:pt x="15684" y="8922"/>
                    <a:pt x="15684" y="8824"/>
                  </a:cubicBezTo>
                  <a:cubicBezTo>
                    <a:pt x="15684" y="8726"/>
                    <a:pt x="15623" y="8646"/>
                    <a:pt x="15546" y="8646"/>
                  </a:cubicBezTo>
                  <a:close/>
                  <a:moveTo>
                    <a:pt x="15957" y="8646"/>
                  </a:moveTo>
                  <a:cubicBezTo>
                    <a:pt x="15881" y="8646"/>
                    <a:pt x="15818" y="8726"/>
                    <a:pt x="15818" y="8824"/>
                  </a:cubicBezTo>
                  <a:cubicBezTo>
                    <a:pt x="15818" y="8922"/>
                    <a:pt x="15881" y="9002"/>
                    <a:pt x="15957" y="9002"/>
                  </a:cubicBezTo>
                  <a:cubicBezTo>
                    <a:pt x="16033" y="9002"/>
                    <a:pt x="16094" y="8922"/>
                    <a:pt x="16094" y="8824"/>
                  </a:cubicBezTo>
                  <a:cubicBezTo>
                    <a:pt x="16094" y="8726"/>
                    <a:pt x="16033" y="8646"/>
                    <a:pt x="15957" y="8646"/>
                  </a:cubicBezTo>
                  <a:close/>
                  <a:moveTo>
                    <a:pt x="16327" y="8646"/>
                  </a:moveTo>
                  <a:cubicBezTo>
                    <a:pt x="16250" y="8646"/>
                    <a:pt x="16188" y="8726"/>
                    <a:pt x="16188" y="8824"/>
                  </a:cubicBezTo>
                  <a:cubicBezTo>
                    <a:pt x="16188" y="8922"/>
                    <a:pt x="16250" y="9002"/>
                    <a:pt x="16327" y="9002"/>
                  </a:cubicBezTo>
                  <a:cubicBezTo>
                    <a:pt x="16403" y="9002"/>
                    <a:pt x="16464" y="8922"/>
                    <a:pt x="16464" y="8824"/>
                  </a:cubicBezTo>
                  <a:cubicBezTo>
                    <a:pt x="16464" y="8726"/>
                    <a:pt x="16403" y="8646"/>
                    <a:pt x="16327" y="8646"/>
                  </a:cubicBezTo>
                  <a:close/>
                  <a:moveTo>
                    <a:pt x="16738" y="8646"/>
                  </a:moveTo>
                  <a:cubicBezTo>
                    <a:pt x="16661" y="8646"/>
                    <a:pt x="16599" y="8726"/>
                    <a:pt x="16599" y="8824"/>
                  </a:cubicBezTo>
                  <a:cubicBezTo>
                    <a:pt x="16599" y="8922"/>
                    <a:pt x="16661" y="9002"/>
                    <a:pt x="16738" y="9002"/>
                  </a:cubicBezTo>
                  <a:cubicBezTo>
                    <a:pt x="16814" y="9002"/>
                    <a:pt x="16875" y="8922"/>
                    <a:pt x="16875" y="8824"/>
                  </a:cubicBezTo>
                  <a:cubicBezTo>
                    <a:pt x="16875" y="8726"/>
                    <a:pt x="16814" y="8646"/>
                    <a:pt x="16738" y="8646"/>
                  </a:cubicBezTo>
                  <a:close/>
                  <a:moveTo>
                    <a:pt x="17149" y="8646"/>
                  </a:moveTo>
                  <a:cubicBezTo>
                    <a:pt x="17072" y="8646"/>
                    <a:pt x="17010" y="8726"/>
                    <a:pt x="17010" y="8824"/>
                  </a:cubicBezTo>
                  <a:cubicBezTo>
                    <a:pt x="17010" y="8922"/>
                    <a:pt x="17072" y="9002"/>
                    <a:pt x="17149" y="9002"/>
                  </a:cubicBezTo>
                  <a:cubicBezTo>
                    <a:pt x="17225" y="9002"/>
                    <a:pt x="17286" y="8922"/>
                    <a:pt x="17286" y="8824"/>
                  </a:cubicBezTo>
                  <a:cubicBezTo>
                    <a:pt x="17286" y="8726"/>
                    <a:pt x="17225" y="8646"/>
                    <a:pt x="17149" y="8646"/>
                  </a:cubicBezTo>
                  <a:close/>
                  <a:moveTo>
                    <a:pt x="19121" y="9068"/>
                  </a:moveTo>
                  <a:cubicBezTo>
                    <a:pt x="19045" y="9068"/>
                    <a:pt x="18982" y="9148"/>
                    <a:pt x="18982" y="9246"/>
                  </a:cubicBezTo>
                  <a:cubicBezTo>
                    <a:pt x="18982" y="9344"/>
                    <a:pt x="19045" y="9422"/>
                    <a:pt x="19121" y="9422"/>
                  </a:cubicBezTo>
                  <a:cubicBezTo>
                    <a:pt x="19197" y="9422"/>
                    <a:pt x="19258" y="9344"/>
                    <a:pt x="19258" y="9246"/>
                  </a:cubicBezTo>
                  <a:cubicBezTo>
                    <a:pt x="19258" y="9148"/>
                    <a:pt x="19197" y="9068"/>
                    <a:pt x="19121" y="9068"/>
                  </a:cubicBezTo>
                  <a:close/>
                  <a:moveTo>
                    <a:pt x="139" y="9120"/>
                  </a:moveTo>
                  <a:cubicBezTo>
                    <a:pt x="62" y="9120"/>
                    <a:pt x="0" y="9200"/>
                    <a:pt x="0" y="9298"/>
                  </a:cubicBezTo>
                  <a:cubicBezTo>
                    <a:pt x="0" y="9397"/>
                    <a:pt x="62" y="9475"/>
                    <a:pt x="139" y="9475"/>
                  </a:cubicBezTo>
                  <a:cubicBezTo>
                    <a:pt x="215" y="9475"/>
                    <a:pt x="276" y="9397"/>
                    <a:pt x="276" y="9298"/>
                  </a:cubicBezTo>
                  <a:cubicBezTo>
                    <a:pt x="276" y="9200"/>
                    <a:pt x="215" y="9120"/>
                    <a:pt x="139" y="9120"/>
                  </a:cubicBezTo>
                  <a:close/>
                  <a:moveTo>
                    <a:pt x="550" y="9120"/>
                  </a:moveTo>
                  <a:cubicBezTo>
                    <a:pt x="473" y="9120"/>
                    <a:pt x="411" y="9200"/>
                    <a:pt x="411" y="9298"/>
                  </a:cubicBezTo>
                  <a:cubicBezTo>
                    <a:pt x="411" y="9397"/>
                    <a:pt x="473" y="9475"/>
                    <a:pt x="550" y="9475"/>
                  </a:cubicBezTo>
                  <a:cubicBezTo>
                    <a:pt x="626" y="9475"/>
                    <a:pt x="687" y="9397"/>
                    <a:pt x="687" y="9298"/>
                  </a:cubicBezTo>
                  <a:cubicBezTo>
                    <a:pt x="687" y="9200"/>
                    <a:pt x="626" y="9120"/>
                    <a:pt x="550" y="9120"/>
                  </a:cubicBezTo>
                  <a:close/>
                  <a:moveTo>
                    <a:pt x="919" y="9120"/>
                  </a:moveTo>
                  <a:cubicBezTo>
                    <a:pt x="843" y="9120"/>
                    <a:pt x="781" y="9200"/>
                    <a:pt x="781" y="9298"/>
                  </a:cubicBezTo>
                  <a:cubicBezTo>
                    <a:pt x="781" y="9397"/>
                    <a:pt x="843" y="9475"/>
                    <a:pt x="919" y="9475"/>
                  </a:cubicBezTo>
                  <a:cubicBezTo>
                    <a:pt x="996" y="9475"/>
                    <a:pt x="1057" y="9397"/>
                    <a:pt x="1057" y="9298"/>
                  </a:cubicBezTo>
                  <a:cubicBezTo>
                    <a:pt x="1057" y="9200"/>
                    <a:pt x="996" y="9120"/>
                    <a:pt x="919" y="9120"/>
                  </a:cubicBezTo>
                  <a:close/>
                  <a:moveTo>
                    <a:pt x="1330" y="9120"/>
                  </a:moveTo>
                  <a:cubicBezTo>
                    <a:pt x="1254" y="9120"/>
                    <a:pt x="1192" y="9200"/>
                    <a:pt x="1192" y="9298"/>
                  </a:cubicBezTo>
                  <a:cubicBezTo>
                    <a:pt x="1192" y="9397"/>
                    <a:pt x="1254" y="9475"/>
                    <a:pt x="1330" y="9475"/>
                  </a:cubicBezTo>
                  <a:cubicBezTo>
                    <a:pt x="1406" y="9475"/>
                    <a:pt x="1468" y="9397"/>
                    <a:pt x="1468" y="9298"/>
                  </a:cubicBezTo>
                  <a:cubicBezTo>
                    <a:pt x="1468" y="9200"/>
                    <a:pt x="1406" y="9120"/>
                    <a:pt x="1330" y="9120"/>
                  </a:cubicBezTo>
                  <a:close/>
                  <a:moveTo>
                    <a:pt x="1741" y="9120"/>
                  </a:moveTo>
                  <a:cubicBezTo>
                    <a:pt x="1665" y="9120"/>
                    <a:pt x="1602" y="9200"/>
                    <a:pt x="1602" y="9298"/>
                  </a:cubicBezTo>
                  <a:cubicBezTo>
                    <a:pt x="1602" y="9396"/>
                    <a:pt x="1665" y="9475"/>
                    <a:pt x="1741" y="9475"/>
                  </a:cubicBezTo>
                  <a:cubicBezTo>
                    <a:pt x="1817" y="9475"/>
                    <a:pt x="1878" y="9396"/>
                    <a:pt x="1878" y="9298"/>
                  </a:cubicBezTo>
                  <a:cubicBezTo>
                    <a:pt x="1878" y="9200"/>
                    <a:pt x="1817" y="9120"/>
                    <a:pt x="1741" y="9120"/>
                  </a:cubicBezTo>
                  <a:close/>
                  <a:moveTo>
                    <a:pt x="2111" y="9120"/>
                  </a:moveTo>
                  <a:cubicBezTo>
                    <a:pt x="2035" y="9120"/>
                    <a:pt x="1972" y="9201"/>
                    <a:pt x="1972" y="9298"/>
                  </a:cubicBezTo>
                  <a:cubicBezTo>
                    <a:pt x="1972" y="9396"/>
                    <a:pt x="2035" y="9475"/>
                    <a:pt x="2111" y="9475"/>
                  </a:cubicBezTo>
                  <a:cubicBezTo>
                    <a:pt x="2187" y="9475"/>
                    <a:pt x="2248" y="9396"/>
                    <a:pt x="2248" y="9298"/>
                  </a:cubicBezTo>
                  <a:cubicBezTo>
                    <a:pt x="2248" y="9201"/>
                    <a:pt x="2187" y="9120"/>
                    <a:pt x="2111" y="9120"/>
                  </a:cubicBezTo>
                  <a:close/>
                  <a:moveTo>
                    <a:pt x="2522" y="9120"/>
                  </a:moveTo>
                  <a:cubicBezTo>
                    <a:pt x="2445" y="9120"/>
                    <a:pt x="2383" y="9201"/>
                    <a:pt x="2383" y="9298"/>
                  </a:cubicBezTo>
                  <a:cubicBezTo>
                    <a:pt x="2383" y="9396"/>
                    <a:pt x="2445" y="9475"/>
                    <a:pt x="2522" y="9475"/>
                  </a:cubicBezTo>
                  <a:cubicBezTo>
                    <a:pt x="2598" y="9475"/>
                    <a:pt x="2659" y="9396"/>
                    <a:pt x="2659" y="9298"/>
                  </a:cubicBezTo>
                  <a:cubicBezTo>
                    <a:pt x="2659" y="9201"/>
                    <a:pt x="2598" y="9120"/>
                    <a:pt x="2522" y="9120"/>
                  </a:cubicBezTo>
                  <a:close/>
                  <a:moveTo>
                    <a:pt x="2891" y="9120"/>
                  </a:moveTo>
                  <a:cubicBezTo>
                    <a:pt x="2815" y="9120"/>
                    <a:pt x="2753" y="9201"/>
                    <a:pt x="2753" y="9298"/>
                  </a:cubicBezTo>
                  <a:cubicBezTo>
                    <a:pt x="2753" y="9396"/>
                    <a:pt x="2815" y="9475"/>
                    <a:pt x="2891" y="9475"/>
                  </a:cubicBezTo>
                  <a:cubicBezTo>
                    <a:pt x="2968" y="9475"/>
                    <a:pt x="3029" y="9396"/>
                    <a:pt x="3029" y="9298"/>
                  </a:cubicBezTo>
                  <a:cubicBezTo>
                    <a:pt x="3029" y="9201"/>
                    <a:pt x="2968" y="9120"/>
                    <a:pt x="2891" y="9120"/>
                  </a:cubicBezTo>
                  <a:close/>
                  <a:moveTo>
                    <a:pt x="3302" y="9120"/>
                  </a:moveTo>
                  <a:cubicBezTo>
                    <a:pt x="3226" y="9120"/>
                    <a:pt x="3164" y="9201"/>
                    <a:pt x="3164" y="9298"/>
                  </a:cubicBezTo>
                  <a:cubicBezTo>
                    <a:pt x="3164" y="9396"/>
                    <a:pt x="3226" y="9475"/>
                    <a:pt x="3302" y="9475"/>
                  </a:cubicBezTo>
                  <a:cubicBezTo>
                    <a:pt x="3379" y="9475"/>
                    <a:pt x="3440" y="9396"/>
                    <a:pt x="3440" y="9298"/>
                  </a:cubicBezTo>
                  <a:cubicBezTo>
                    <a:pt x="3440" y="9201"/>
                    <a:pt x="3379" y="9120"/>
                    <a:pt x="3302" y="9120"/>
                  </a:cubicBezTo>
                  <a:close/>
                  <a:moveTo>
                    <a:pt x="3713" y="9120"/>
                  </a:moveTo>
                  <a:cubicBezTo>
                    <a:pt x="3637" y="9120"/>
                    <a:pt x="3575" y="9201"/>
                    <a:pt x="3575" y="9298"/>
                  </a:cubicBezTo>
                  <a:cubicBezTo>
                    <a:pt x="3575" y="9396"/>
                    <a:pt x="3637" y="9475"/>
                    <a:pt x="3713" y="9475"/>
                  </a:cubicBezTo>
                  <a:cubicBezTo>
                    <a:pt x="3790" y="9475"/>
                    <a:pt x="3851" y="9396"/>
                    <a:pt x="3851" y="9298"/>
                  </a:cubicBezTo>
                  <a:cubicBezTo>
                    <a:pt x="3851" y="9201"/>
                    <a:pt x="3790" y="9120"/>
                    <a:pt x="3713" y="9120"/>
                  </a:cubicBezTo>
                  <a:close/>
                  <a:moveTo>
                    <a:pt x="4083" y="9120"/>
                  </a:moveTo>
                  <a:cubicBezTo>
                    <a:pt x="4007" y="9120"/>
                    <a:pt x="3944" y="9201"/>
                    <a:pt x="3944" y="9298"/>
                  </a:cubicBezTo>
                  <a:cubicBezTo>
                    <a:pt x="3944" y="9396"/>
                    <a:pt x="4007" y="9475"/>
                    <a:pt x="4083" y="9475"/>
                  </a:cubicBezTo>
                  <a:cubicBezTo>
                    <a:pt x="4159" y="9475"/>
                    <a:pt x="4220" y="9396"/>
                    <a:pt x="4220" y="9298"/>
                  </a:cubicBezTo>
                  <a:cubicBezTo>
                    <a:pt x="4220" y="9201"/>
                    <a:pt x="4159" y="9120"/>
                    <a:pt x="4083" y="9120"/>
                  </a:cubicBezTo>
                  <a:close/>
                  <a:moveTo>
                    <a:pt x="4453" y="9120"/>
                  </a:moveTo>
                  <a:cubicBezTo>
                    <a:pt x="4376" y="9120"/>
                    <a:pt x="4314" y="9201"/>
                    <a:pt x="4314" y="9298"/>
                  </a:cubicBezTo>
                  <a:cubicBezTo>
                    <a:pt x="4314" y="9396"/>
                    <a:pt x="4376" y="9475"/>
                    <a:pt x="4453" y="9475"/>
                  </a:cubicBezTo>
                  <a:cubicBezTo>
                    <a:pt x="4529" y="9475"/>
                    <a:pt x="4590" y="9396"/>
                    <a:pt x="4590" y="9298"/>
                  </a:cubicBezTo>
                  <a:cubicBezTo>
                    <a:pt x="4590" y="9201"/>
                    <a:pt x="4529" y="9120"/>
                    <a:pt x="4453" y="9120"/>
                  </a:cubicBezTo>
                  <a:close/>
                  <a:moveTo>
                    <a:pt x="4864" y="9120"/>
                  </a:moveTo>
                  <a:cubicBezTo>
                    <a:pt x="4787" y="9120"/>
                    <a:pt x="4725" y="9201"/>
                    <a:pt x="4725" y="9298"/>
                  </a:cubicBezTo>
                  <a:cubicBezTo>
                    <a:pt x="4725" y="9396"/>
                    <a:pt x="4787" y="9475"/>
                    <a:pt x="4864" y="9475"/>
                  </a:cubicBezTo>
                  <a:cubicBezTo>
                    <a:pt x="4940" y="9475"/>
                    <a:pt x="5001" y="9396"/>
                    <a:pt x="5001" y="9298"/>
                  </a:cubicBezTo>
                  <a:cubicBezTo>
                    <a:pt x="5001" y="9201"/>
                    <a:pt x="4940" y="9120"/>
                    <a:pt x="4864" y="9120"/>
                  </a:cubicBezTo>
                  <a:close/>
                  <a:moveTo>
                    <a:pt x="5274" y="9120"/>
                  </a:moveTo>
                  <a:cubicBezTo>
                    <a:pt x="5198" y="9120"/>
                    <a:pt x="5136" y="9201"/>
                    <a:pt x="5136" y="9298"/>
                  </a:cubicBezTo>
                  <a:cubicBezTo>
                    <a:pt x="5136" y="9396"/>
                    <a:pt x="5198" y="9475"/>
                    <a:pt x="5274" y="9475"/>
                  </a:cubicBezTo>
                  <a:cubicBezTo>
                    <a:pt x="5351" y="9475"/>
                    <a:pt x="5412" y="9396"/>
                    <a:pt x="5412" y="9298"/>
                  </a:cubicBezTo>
                  <a:cubicBezTo>
                    <a:pt x="5412" y="9201"/>
                    <a:pt x="5351" y="9120"/>
                    <a:pt x="5274" y="9120"/>
                  </a:cubicBezTo>
                  <a:close/>
                  <a:moveTo>
                    <a:pt x="5644" y="9120"/>
                  </a:moveTo>
                  <a:cubicBezTo>
                    <a:pt x="5568" y="9120"/>
                    <a:pt x="5506" y="9201"/>
                    <a:pt x="5506" y="9298"/>
                  </a:cubicBezTo>
                  <a:cubicBezTo>
                    <a:pt x="5506" y="9396"/>
                    <a:pt x="5568" y="9475"/>
                    <a:pt x="5644" y="9475"/>
                  </a:cubicBezTo>
                  <a:cubicBezTo>
                    <a:pt x="5720" y="9475"/>
                    <a:pt x="5782" y="9396"/>
                    <a:pt x="5782" y="9298"/>
                  </a:cubicBezTo>
                  <a:cubicBezTo>
                    <a:pt x="5782" y="9201"/>
                    <a:pt x="5720" y="9120"/>
                    <a:pt x="5644" y="9120"/>
                  </a:cubicBezTo>
                  <a:close/>
                  <a:moveTo>
                    <a:pt x="6055" y="9120"/>
                  </a:moveTo>
                  <a:cubicBezTo>
                    <a:pt x="5979" y="9120"/>
                    <a:pt x="5916" y="9201"/>
                    <a:pt x="5916" y="9298"/>
                  </a:cubicBezTo>
                  <a:cubicBezTo>
                    <a:pt x="5916" y="9396"/>
                    <a:pt x="5979" y="9475"/>
                    <a:pt x="6055" y="9475"/>
                  </a:cubicBezTo>
                  <a:cubicBezTo>
                    <a:pt x="6132" y="9475"/>
                    <a:pt x="6193" y="9396"/>
                    <a:pt x="6193" y="9298"/>
                  </a:cubicBezTo>
                  <a:cubicBezTo>
                    <a:pt x="6193" y="9201"/>
                    <a:pt x="6132" y="9120"/>
                    <a:pt x="6055" y="9120"/>
                  </a:cubicBezTo>
                  <a:close/>
                  <a:moveTo>
                    <a:pt x="6425" y="9120"/>
                  </a:moveTo>
                  <a:cubicBezTo>
                    <a:pt x="6349" y="9120"/>
                    <a:pt x="6286" y="9201"/>
                    <a:pt x="6286" y="9298"/>
                  </a:cubicBezTo>
                  <a:cubicBezTo>
                    <a:pt x="6286" y="9396"/>
                    <a:pt x="6349" y="9475"/>
                    <a:pt x="6425" y="9475"/>
                  </a:cubicBezTo>
                  <a:cubicBezTo>
                    <a:pt x="6501" y="9475"/>
                    <a:pt x="6562" y="9396"/>
                    <a:pt x="6562" y="9298"/>
                  </a:cubicBezTo>
                  <a:cubicBezTo>
                    <a:pt x="6562" y="9201"/>
                    <a:pt x="6501" y="9120"/>
                    <a:pt x="6425" y="9120"/>
                  </a:cubicBezTo>
                  <a:close/>
                  <a:moveTo>
                    <a:pt x="6836" y="9120"/>
                  </a:moveTo>
                  <a:cubicBezTo>
                    <a:pt x="6759" y="9120"/>
                    <a:pt x="6697" y="9201"/>
                    <a:pt x="6697" y="9298"/>
                  </a:cubicBezTo>
                  <a:cubicBezTo>
                    <a:pt x="6697" y="9396"/>
                    <a:pt x="6759" y="9475"/>
                    <a:pt x="6836" y="9475"/>
                  </a:cubicBezTo>
                  <a:cubicBezTo>
                    <a:pt x="6912" y="9475"/>
                    <a:pt x="6973" y="9396"/>
                    <a:pt x="6973" y="9298"/>
                  </a:cubicBezTo>
                  <a:cubicBezTo>
                    <a:pt x="6973" y="9201"/>
                    <a:pt x="6912" y="9120"/>
                    <a:pt x="6836" y="9120"/>
                  </a:cubicBezTo>
                  <a:close/>
                  <a:moveTo>
                    <a:pt x="7247" y="9120"/>
                  </a:moveTo>
                  <a:cubicBezTo>
                    <a:pt x="7170" y="9120"/>
                    <a:pt x="7108" y="9201"/>
                    <a:pt x="7108" y="9298"/>
                  </a:cubicBezTo>
                  <a:cubicBezTo>
                    <a:pt x="7108" y="9396"/>
                    <a:pt x="7170" y="9475"/>
                    <a:pt x="7247" y="9475"/>
                  </a:cubicBezTo>
                  <a:cubicBezTo>
                    <a:pt x="7323" y="9475"/>
                    <a:pt x="7384" y="9396"/>
                    <a:pt x="7384" y="9298"/>
                  </a:cubicBezTo>
                  <a:cubicBezTo>
                    <a:pt x="7384" y="9201"/>
                    <a:pt x="7323" y="9120"/>
                    <a:pt x="7247" y="9120"/>
                  </a:cubicBezTo>
                  <a:close/>
                  <a:moveTo>
                    <a:pt x="7616" y="9120"/>
                  </a:moveTo>
                  <a:cubicBezTo>
                    <a:pt x="7540" y="9120"/>
                    <a:pt x="7478" y="9201"/>
                    <a:pt x="7478" y="9298"/>
                  </a:cubicBezTo>
                  <a:cubicBezTo>
                    <a:pt x="7478" y="9396"/>
                    <a:pt x="7540" y="9475"/>
                    <a:pt x="7616" y="9475"/>
                  </a:cubicBezTo>
                  <a:cubicBezTo>
                    <a:pt x="7693" y="9475"/>
                    <a:pt x="7754" y="9396"/>
                    <a:pt x="7754" y="9298"/>
                  </a:cubicBezTo>
                  <a:cubicBezTo>
                    <a:pt x="7754" y="9201"/>
                    <a:pt x="7693" y="9120"/>
                    <a:pt x="7616" y="9120"/>
                  </a:cubicBezTo>
                  <a:close/>
                  <a:moveTo>
                    <a:pt x="8027" y="9120"/>
                  </a:moveTo>
                  <a:cubicBezTo>
                    <a:pt x="7951" y="9120"/>
                    <a:pt x="7889" y="9201"/>
                    <a:pt x="7889" y="9298"/>
                  </a:cubicBezTo>
                  <a:cubicBezTo>
                    <a:pt x="7889" y="9396"/>
                    <a:pt x="7951" y="9475"/>
                    <a:pt x="8027" y="9475"/>
                  </a:cubicBezTo>
                  <a:cubicBezTo>
                    <a:pt x="8104" y="9475"/>
                    <a:pt x="8165" y="9396"/>
                    <a:pt x="8165" y="9298"/>
                  </a:cubicBezTo>
                  <a:cubicBezTo>
                    <a:pt x="8165" y="9201"/>
                    <a:pt x="8104" y="9120"/>
                    <a:pt x="8027" y="9120"/>
                  </a:cubicBezTo>
                  <a:close/>
                  <a:moveTo>
                    <a:pt x="8438" y="9120"/>
                  </a:moveTo>
                  <a:cubicBezTo>
                    <a:pt x="8362" y="9120"/>
                    <a:pt x="8299" y="9201"/>
                    <a:pt x="8299" y="9298"/>
                  </a:cubicBezTo>
                  <a:cubicBezTo>
                    <a:pt x="8299" y="9396"/>
                    <a:pt x="8362" y="9475"/>
                    <a:pt x="8438" y="9475"/>
                  </a:cubicBezTo>
                  <a:cubicBezTo>
                    <a:pt x="8515" y="9475"/>
                    <a:pt x="8576" y="9396"/>
                    <a:pt x="8576" y="9298"/>
                  </a:cubicBezTo>
                  <a:cubicBezTo>
                    <a:pt x="8576" y="9201"/>
                    <a:pt x="8515" y="9120"/>
                    <a:pt x="8438" y="9120"/>
                  </a:cubicBezTo>
                  <a:close/>
                  <a:moveTo>
                    <a:pt x="8808" y="9120"/>
                  </a:moveTo>
                  <a:cubicBezTo>
                    <a:pt x="8732" y="9120"/>
                    <a:pt x="8669" y="9201"/>
                    <a:pt x="8669" y="9298"/>
                  </a:cubicBezTo>
                  <a:cubicBezTo>
                    <a:pt x="8669" y="9396"/>
                    <a:pt x="8732" y="9475"/>
                    <a:pt x="8808" y="9475"/>
                  </a:cubicBezTo>
                  <a:cubicBezTo>
                    <a:pt x="8884" y="9475"/>
                    <a:pt x="8945" y="9396"/>
                    <a:pt x="8945" y="9298"/>
                  </a:cubicBezTo>
                  <a:cubicBezTo>
                    <a:pt x="8945" y="9201"/>
                    <a:pt x="8884" y="9120"/>
                    <a:pt x="8808" y="9120"/>
                  </a:cubicBezTo>
                  <a:close/>
                  <a:moveTo>
                    <a:pt x="9219" y="9120"/>
                  </a:moveTo>
                  <a:cubicBezTo>
                    <a:pt x="9142" y="9120"/>
                    <a:pt x="9080" y="9201"/>
                    <a:pt x="9080" y="9298"/>
                  </a:cubicBezTo>
                  <a:cubicBezTo>
                    <a:pt x="9080" y="9396"/>
                    <a:pt x="9142" y="9475"/>
                    <a:pt x="9219" y="9475"/>
                  </a:cubicBezTo>
                  <a:cubicBezTo>
                    <a:pt x="9295" y="9475"/>
                    <a:pt x="9356" y="9396"/>
                    <a:pt x="9356" y="9298"/>
                  </a:cubicBezTo>
                  <a:cubicBezTo>
                    <a:pt x="9356" y="9201"/>
                    <a:pt x="9295" y="9120"/>
                    <a:pt x="9219" y="9120"/>
                  </a:cubicBezTo>
                  <a:close/>
                  <a:moveTo>
                    <a:pt x="9589" y="9120"/>
                  </a:moveTo>
                  <a:cubicBezTo>
                    <a:pt x="9512" y="9120"/>
                    <a:pt x="9450" y="9201"/>
                    <a:pt x="9450" y="9298"/>
                  </a:cubicBezTo>
                  <a:cubicBezTo>
                    <a:pt x="9450" y="9396"/>
                    <a:pt x="9512" y="9475"/>
                    <a:pt x="9589" y="9475"/>
                  </a:cubicBezTo>
                  <a:cubicBezTo>
                    <a:pt x="9665" y="9475"/>
                    <a:pt x="9726" y="9396"/>
                    <a:pt x="9726" y="9298"/>
                  </a:cubicBezTo>
                  <a:cubicBezTo>
                    <a:pt x="9726" y="9201"/>
                    <a:pt x="9665" y="9120"/>
                    <a:pt x="9589" y="9120"/>
                  </a:cubicBezTo>
                  <a:close/>
                  <a:moveTo>
                    <a:pt x="9999" y="9120"/>
                  </a:moveTo>
                  <a:cubicBezTo>
                    <a:pt x="9923" y="9120"/>
                    <a:pt x="9861" y="9201"/>
                    <a:pt x="9861" y="9298"/>
                  </a:cubicBezTo>
                  <a:cubicBezTo>
                    <a:pt x="9861" y="9396"/>
                    <a:pt x="9923" y="9475"/>
                    <a:pt x="9999" y="9475"/>
                  </a:cubicBezTo>
                  <a:cubicBezTo>
                    <a:pt x="10076" y="9475"/>
                    <a:pt x="10137" y="9396"/>
                    <a:pt x="10137" y="9298"/>
                  </a:cubicBezTo>
                  <a:cubicBezTo>
                    <a:pt x="10137" y="9201"/>
                    <a:pt x="10076" y="9120"/>
                    <a:pt x="9999" y="9120"/>
                  </a:cubicBezTo>
                  <a:close/>
                  <a:moveTo>
                    <a:pt x="10410" y="9120"/>
                  </a:moveTo>
                  <a:cubicBezTo>
                    <a:pt x="10334" y="9120"/>
                    <a:pt x="10272" y="9201"/>
                    <a:pt x="10272" y="9298"/>
                  </a:cubicBezTo>
                  <a:cubicBezTo>
                    <a:pt x="10272" y="9396"/>
                    <a:pt x="10334" y="9475"/>
                    <a:pt x="10410" y="9475"/>
                  </a:cubicBezTo>
                  <a:cubicBezTo>
                    <a:pt x="10487" y="9475"/>
                    <a:pt x="10548" y="9396"/>
                    <a:pt x="10548" y="9298"/>
                  </a:cubicBezTo>
                  <a:cubicBezTo>
                    <a:pt x="10548" y="9201"/>
                    <a:pt x="10487" y="9120"/>
                    <a:pt x="10410" y="9120"/>
                  </a:cubicBezTo>
                  <a:close/>
                  <a:moveTo>
                    <a:pt x="10780" y="9120"/>
                  </a:moveTo>
                  <a:cubicBezTo>
                    <a:pt x="10704" y="9120"/>
                    <a:pt x="10641" y="9201"/>
                    <a:pt x="10641" y="9298"/>
                  </a:cubicBezTo>
                  <a:cubicBezTo>
                    <a:pt x="10641" y="9396"/>
                    <a:pt x="10704" y="9475"/>
                    <a:pt x="10780" y="9475"/>
                  </a:cubicBezTo>
                  <a:cubicBezTo>
                    <a:pt x="10856" y="9475"/>
                    <a:pt x="10917" y="9396"/>
                    <a:pt x="10917" y="9298"/>
                  </a:cubicBezTo>
                  <a:cubicBezTo>
                    <a:pt x="10917" y="9201"/>
                    <a:pt x="10856" y="9120"/>
                    <a:pt x="10780" y="9120"/>
                  </a:cubicBezTo>
                  <a:close/>
                  <a:moveTo>
                    <a:pt x="11191" y="9120"/>
                  </a:moveTo>
                  <a:cubicBezTo>
                    <a:pt x="11115" y="9120"/>
                    <a:pt x="11052" y="9201"/>
                    <a:pt x="11052" y="9298"/>
                  </a:cubicBezTo>
                  <a:cubicBezTo>
                    <a:pt x="11052" y="9396"/>
                    <a:pt x="11115" y="9475"/>
                    <a:pt x="11191" y="9475"/>
                  </a:cubicBezTo>
                  <a:cubicBezTo>
                    <a:pt x="11267" y="9475"/>
                    <a:pt x="11328" y="9396"/>
                    <a:pt x="11328" y="9298"/>
                  </a:cubicBezTo>
                  <a:cubicBezTo>
                    <a:pt x="11328" y="9201"/>
                    <a:pt x="11267" y="9120"/>
                    <a:pt x="11191" y="9120"/>
                  </a:cubicBezTo>
                  <a:close/>
                  <a:moveTo>
                    <a:pt x="11602" y="9120"/>
                  </a:moveTo>
                  <a:cubicBezTo>
                    <a:pt x="11526" y="9120"/>
                    <a:pt x="11463" y="9201"/>
                    <a:pt x="11463" y="9298"/>
                  </a:cubicBezTo>
                  <a:cubicBezTo>
                    <a:pt x="11463" y="9396"/>
                    <a:pt x="11526" y="9475"/>
                    <a:pt x="11602" y="9475"/>
                  </a:cubicBezTo>
                  <a:cubicBezTo>
                    <a:pt x="11678" y="9475"/>
                    <a:pt x="11739" y="9396"/>
                    <a:pt x="11739" y="9298"/>
                  </a:cubicBezTo>
                  <a:cubicBezTo>
                    <a:pt x="11739" y="9201"/>
                    <a:pt x="11678" y="9120"/>
                    <a:pt x="11602" y="9120"/>
                  </a:cubicBezTo>
                  <a:close/>
                  <a:moveTo>
                    <a:pt x="11972" y="9120"/>
                  </a:moveTo>
                  <a:cubicBezTo>
                    <a:pt x="11895" y="9120"/>
                    <a:pt x="11833" y="9201"/>
                    <a:pt x="11833" y="9298"/>
                  </a:cubicBezTo>
                  <a:cubicBezTo>
                    <a:pt x="11833" y="9396"/>
                    <a:pt x="11895" y="9475"/>
                    <a:pt x="11972" y="9475"/>
                  </a:cubicBezTo>
                  <a:cubicBezTo>
                    <a:pt x="12048" y="9475"/>
                    <a:pt x="12109" y="9396"/>
                    <a:pt x="12109" y="9298"/>
                  </a:cubicBezTo>
                  <a:cubicBezTo>
                    <a:pt x="12109" y="9201"/>
                    <a:pt x="12048" y="9120"/>
                    <a:pt x="11972" y="9120"/>
                  </a:cubicBezTo>
                  <a:close/>
                  <a:moveTo>
                    <a:pt x="12382" y="9120"/>
                  </a:moveTo>
                  <a:cubicBezTo>
                    <a:pt x="12306" y="9120"/>
                    <a:pt x="12244" y="9201"/>
                    <a:pt x="12244" y="9298"/>
                  </a:cubicBezTo>
                  <a:cubicBezTo>
                    <a:pt x="12244" y="9396"/>
                    <a:pt x="12306" y="9475"/>
                    <a:pt x="12382" y="9475"/>
                  </a:cubicBezTo>
                  <a:cubicBezTo>
                    <a:pt x="12459" y="9475"/>
                    <a:pt x="12520" y="9396"/>
                    <a:pt x="12520" y="9298"/>
                  </a:cubicBezTo>
                  <a:cubicBezTo>
                    <a:pt x="12520" y="9201"/>
                    <a:pt x="12459" y="9120"/>
                    <a:pt x="12382" y="9120"/>
                  </a:cubicBezTo>
                  <a:close/>
                  <a:moveTo>
                    <a:pt x="12752" y="9120"/>
                  </a:moveTo>
                  <a:cubicBezTo>
                    <a:pt x="12676" y="9120"/>
                    <a:pt x="12614" y="9201"/>
                    <a:pt x="12614" y="9298"/>
                  </a:cubicBezTo>
                  <a:cubicBezTo>
                    <a:pt x="12614" y="9396"/>
                    <a:pt x="12676" y="9475"/>
                    <a:pt x="12752" y="9475"/>
                  </a:cubicBezTo>
                  <a:cubicBezTo>
                    <a:pt x="12829" y="9475"/>
                    <a:pt x="12890" y="9396"/>
                    <a:pt x="12890" y="9298"/>
                  </a:cubicBezTo>
                  <a:cubicBezTo>
                    <a:pt x="12890" y="9201"/>
                    <a:pt x="12829" y="9120"/>
                    <a:pt x="12752" y="9120"/>
                  </a:cubicBezTo>
                  <a:close/>
                  <a:moveTo>
                    <a:pt x="13163" y="9120"/>
                  </a:moveTo>
                  <a:cubicBezTo>
                    <a:pt x="13087" y="9120"/>
                    <a:pt x="13024" y="9201"/>
                    <a:pt x="13024" y="9298"/>
                  </a:cubicBezTo>
                  <a:cubicBezTo>
                    <a:pt x="13024" y="9396"/>
                    <a:pt x="13087" y="9475"/>
                    <a:pt x="13163" y="9475"/>
                  </a:cubicBezTo>
                  <a:cubicBezTo>
                    <a:pt x="13240" y="9475"/>
                    <a:pt x="13301" y="9396"/>
                    <a:pt x="13301" y="9298"/>
                  </a:cubicBezTo>
                  <a:cubicBezTo>
                    <a:pt x="13301" y="9201"/>
                    <a:pt x="13240" y="9120"/>
                    <a:pt x="13163" y="9120"/>
                  </a:cubicBezTo>
                  <a:close/>
                  <a:moveTo>
                    <a:pt x="13574" y="9120"/>
                  </a:moveTo>
                  <a:cubicBezTo>
                    <a:pt x="13498" y="9120"/>
                    <a:pt x="13435" y="9201"/>
                    <a:pt x="13435" y="9298"/>
                  </a:cubicBezTo>
                  <a:cubicBezTo>
                    <a:pt x="13435" y="9396"/>
                    <a:pt x="13498" y="9475"/>
                    <a:pt x="13574" y="9475"/>
                  </a:cubicBezTo>
                  <a:cubicBezTo>
                    <a:pt x="13650" y="9475"/>
                    <a:pt x="13711" y="9396"/>
                    <a:pt x="13711" y="9298"/>
                  </a:cubicBezTo>
                  <a:cubicBezTo>
                    <a:pt x="13711" y="9201"/>
                    <a:pt x="13650" y="9120"/>
                    <a:pt x="13574" y="9120"/>
                  </a:cubicBezTo>
                  <a:close/>
                  <a:moveTo>
                    <a:pt x="13985" y="9120"/>
                  </a:moveTo>
                  <a:cubicBezTo>
                    <a:pt x="13908" y="9120"/>
                    <a:pt x="13846" y="9201"/>
                    <a:pt x="13846" y="9298"/>
                  </a:cubicBezTo>
                  <a:cubicBezTo>
                    <a:pt x="13846" y="9396"/>
                    <a:pt x="13908" y="9475"/>
                    <a:pt x="13985" y="9475"/>
                  </a:cubicBezTo>
                  <a:cubicBezTo>
                    <a:pt x="14061" y="9475"/>
                    <a:pt x="14122" y="9396"/>
                    <a:pt x="14122" y="9298"/>
                  </a:cubicBezTo>
                  <a:cubicBezTo>
                    <a:pt x="14122" y="9201"/>
                    <a:pt x="14061" y="9120"/>
                    <a:pt x="13985" y="9120"/>
                  </a:cubicBezTo>
                  <a:close/>
                  <a:moveTo>
                    <a:pt x="14355" y="9120"/>
                  </a:moveTo>
                  <a:cubicBezTo>
                    <a:pt x="14278" y="9120"/>
                    <a:pt x="14216" y="9201"/>
                    <a:pt x="14216" y="9298"/>
                  </a:cubicBezTo>
                  <a:cubicBezTo>
                    <a:pt x="14216" y="9396"/>
                    <a:pt x="14278" y="9475"/>
                    <a:pt x="14355" y="9475"/>
                  </a:cubicBezTo>
                  <a:cubicBezTo>
                    <a:pt x="14431" y="9475"/>
                    <a:pt x="14492" y="9396"/>
                    <a:pt x="14492" y="9298"/>
                  </a:cubicBezTo>
                  <a:cubicBezTo>
                    <a:pt x="14492" y="9201"/>
                    <a:pt x="14431" y="9120"/>
                    <a:pt x="14355" y="9120"/>
                  </a:cubicBezTo>
                  <a:close/>
                  <a:moveTo>
                    <a:pt x="14765" y="9120"/>
                  </a:moveTo>
                  <a:cubicBezTo>
                    <a:pt x="14689" y="9120"/>
                    <a:pt x="14627" y="9201"/>
                    <a:pt x="14627" y="9298"/>
                  </a:cubicBezTo>
                  <a:cubicBezTo>
                    <a:pt x="14627" y="9396"/>
                    <a:pt x="14689" y="9475"/>
                    <a:pt x="14765" y="9475"/>
                  </a:cubicBezTo>
                  <a:cubicBezTo>
                    <a:pt x="14842" y="9475"/>
                    <a:pt x="14903" y="9396"/>
                    <a:pt x="14903" y="9298"/>
                  </a:cubicBezTo>
                  <a:cubicBezTo>
                    <a:pt x="14903" y="9201"/>
                    <a:pt x="14842" y="9120"/>
                    <a:pt x="14765" y="9120"/>
                  </a:cubicBezTo>
                  <a:close/>
                  <a:moveTo>
                    <a:pt x="15135" y="9120"/>
                  </a:moveTo>
                  <a:cubicBezTo>
                    <a:pt x="15059" y="9120"/>
                    <a:pt x="14997" y="9201"/>
                    <a:pt x="14997" y="9298"/>
                  </a:cubicBezTo>
                  <a:cubicBezTo>
                    <a:pt x="14997" y="9396"/>
                    <a:pt x="15059" y="9475"/>
                    <a:pt x="15135" y="9475"/>
                  </a:cubicBezTo>
                  <a:cubicBezTo>
                    <a:pt x="15212" y="9475"/>
                    <a:pt x="15273" y="9396"/>
                    <a:pt x="15273" y="9298"/>
                  </a:cubicBezTo>
                  <a:cubicBezTo>
                    <a:pt x="15273" y="9201"/>
                    <a:pt x="15212" y="9120"/>
                    <a:pt x="15135" y="9120"/>
                  </a:cubicBezTo>
                  <a:close/>
                  <a:moveTo>
                    <a:pt x="15546" y="9120"/>
                  </a:moveTo>
                  <a:cubicBezTo>
                    <a:pt x="15470" y="9120"/>
                    <a:pt x="15407" y="9201"/>
                    <a:pt x="15407" y="9298"/>
                  </a:cubicBezTo>
                  <a:cubicBezTo>
                    <a:pt x="15407" y="9396"/>
                    <a:pt x="15470" y="9475"/>
                    <a:pt x="15546" y="9475"/>
                  </a:cubicBezTo>
                  <a:cubicBezTo>
                    <a:pt x="15623" y="9475"/>
                    <a:pt x="15684" y="9396"/>
                    <a:pt x="15684" y="9298"/>
                  </a:cubicBezTo>
                  <a:cubicBezTo>
                    <a:pt x="15684" y="9201"/>
                    <a:pt x="15623" y="9120"/>
                    <a:pt x="15546" y="9120"/>
                  </a:cubicBezTo>
                  <a:close/>
                  <a:moveTo>
                    <a:pt x="15957" y="9120"/>
                  </a:moveTo>
                  <a:cubicBezTo>
                    <a:pt x="15881" y="9120"/>
                    <a:pt x="15818" y="9201"/>
                    <a:pt x="15818" y="9298"/>
                  </a:cubicBezTo>
                  <a:cubicBezTo>
                    <a:pt x="15818" y="9396"/>
                    <a:pt x="15881" y="9475"/>
                    <a:pt x="15957" y="9475"/>
                  </a:cubicBezTo>
                  <a:cubicBezTo>
                    <a:pt x="16033" y="9475"/>
                    <a:pt x="16094" y="9396"/>
                    <a:pt x="16094" y="9298"/>
                  </a:cubicBezTo>
                  <a:cubicBezTo>
                    <a:pt x="16094" y="9201"/>
                    <a:pt x="16033" y="9120"/>
                    <a:pt x="15957" y="9120"/>
                  </a:cubicBezTo>
                  <a:close/>
                  <a:moveTo>
                    <a:pt x="16738" y="9120"/>
                  </a:moveTo>
                  <a:cubicBezTo>
                    <a:pt x="16661" y="9120"/>
                    <a:pt x="16599" y="9201"/>
                    <a:pt x="16599" y="9298"/>
                  </a:cubicBezTo>
                  <a:cubicBezTo>
                    <a:pt x="16599" y="9396"/>
                    <a:pt x="16661" y="9475"/>
                    <a:pt x="16738" y="9475"/>
                  </a:cubicBezTo>
                  <a:cubicBezTo>
                    <a:pt x="16814" y="9475"/>
                    <a:pt x="16875" y="9396"/>
                    <a:pt x="16875" y="9298"/>
                  </a:cubicBezTo>
                  <a:cubicBezTo>
                    <a:pt x="16875" y="9201"/>
                    <a:pt x="16814" y="9120"/>
                    <a:pt x="16738" y="9120"/>
                  </a:cubicBezTo>
                  <a:close/>
                  <a:moveTo>
                    <a:pt x="139" y="9595"/>
                  </a:moveTo>
                  <a:cubicBezTo>
                    <a:pt x="62" y="9595"/>
                    <a:pt x="0" y="9675"/>
                    <a:pt x="0" y="9773"/>
                  </a:cubicBezTo>
                  <a:cubicBezTo>
                    <a:pt x="0" y="9871"/>
                    <a:pt x="62" y="9949"/>
                    <a:pt x="139" y="9949"/>
                  </a:cubicBezTo>
                  <a:cubicBezTo>
                    <a:pt x="215" y="9949"/>
                    <a:pt x="276" y="9871"/>
                    <a:pt x="276" y="9773"/>
                  </a:cubicBezTo>
                  <a:cubicBezTo>
                    <a:pt x="276" y="9675"/>
                    <a:pt x="215" y="9595"/>
                    <a:pt x="139" y="9595"/>
                  </a:cubicBezTo>
                  <a:close/>
                  <a:moveTo>
                    <a:pt x="555" y="9595"/>
                  </a:moveTo>
                  <a:cubicBezTo>
                    <a:pt x="478" y="9591"/>
                    <a:pt x="414" y="9668"/>
                    <a:pt x="411" y="9766"/>
                  </a:cubicBezTo>
                  <a:cubicBezTo>
                    <a:pt x="408" y="9864"/>
                    <a:pt x="468" y="9945"/>
                    <a:pt x="544" y="9949"/>
                  </a:cubicBezTo>
                  <a:cubicBezTo>
                    <a:pt x="621" y="9953"/>
                    <a:pt x="684" y="9877"/>
                    <a:pt x="687" y="9779"/>
                  </a:cubicBezTo>
                  <a:cubicBezTo>
                    <a:pt x="690" y="9682"/>
                    <a:pt x="631" y="9599"/>
                    <a:pt x="555" y="9595"/>
                  </a:cubicBezTo>
                  <a:close/>
                  <a:moveTo>
                    <a:pt x="919" y="9595"/>
                  </a:moveTo>
                  <a:cubicBezTo>
                    <a:pt x="843" y="9595"/>
                    <a:pt x="781" y="9675"/>
                    <a:pt x="781" y="9773"/>
                  </a:cubicBezTo>
                  <a:cubicBezTo>
                    <a:pt x="781" y="9871"/>
                    <a:pt x="843" y="9949"/>
                    <a:pt x="919" y="9949"/>
                  </a:cubicBezTo>
                  <a:cubicBezTo>
                    <a:pt x="996" y="9949"/>
                    <a:pt x="1057" y="9871"/>
                    <a:pt x="1057" y="9773"/>
                  </a:cubicBezTo>
                  <a:cubicBezTo>
                    <a:pt x="1057" y="9675"/>
                    <a:pt x="996" y="9595"/>
                    <a:pt x="919" y="9595"/>
                  </a:cubicBezTo>
                  <a:close/>
                  <a:moveTo>
                    <a:pt x="1330" y="9595"/>
                  </a:moveTo>
                  <a:cubicBezTo>
                    <a:pt x="1254" y="9595"/>
                    <a:pt x="1192" y="9675"/>
                    <a:pt x="1192" y="9773"/>
                  </a:cubicBezTo>
                  <a:cubicBezTo>
                    <a:pt x="1192" y="9871"/>
                    <a:pt x="1254" y="9949"/>
                    <a:pt x="1330" y="9949"/>
                  </a:cubicBezTo>
                  <a:cubicBezTo>
                    <a:pt x="1406" y="9949"/>
                    <a:pt x="1468" y="9871"/>
                    <a:pt x="1468" y="9773"/>
                  </a:cubicBezTo>
                  <a:cubicBezTo>
                    <a:pt x="1468" y="9675"/>
                    <a:pt x="1406" y="9595"/>
                    <a:pt x="1330" y="9595"/>
                  </a:cubicBezTo>
                  <a:close/>
                  <a:moveTo>
                    <a:pt x="1741" y="9595"/>
                  </a:moveTo>
                  <a:cubicBezTo>
                    <a:pt x="1665" y="9595"/>
                    <a:pt x="1602" y="9675"/>
                    <a:pt x="1602" y="9773"/>
                  </a:cubicBezTo>
                  <a:cubicBezTo>
                    <a:pt x="1602" y="9871"/>
                    <a:pt x="1665" y="9949"/>
                    <a:pt x="1741" y="9949"/>
                  </a:cubicBezTo>
                  <a:cubicBezTo>
                    <a:pt x="1817" y="9949"/>
                    <a:pt x="1878" y="9871"/>
                    <a:pt x="1878" y="9773"/>
                  </a:cubicBezTo>
                  <a:cubicBezTo>
                    <a:pt x="1878" y="9675"/>
                    <a:pt x="1817" y="9595"/>
                    <a:pt x="1741" y="9595"/>
                  </a:cubicBezTo>
                  <a:close/>
                  <a:moveTo>
                    <a:pt x="2111" y="9595"/>
                  </a:moveTo>
                  <a:cubicBezTo>
                    <a:pt x="2035" y="9595"/>
                    <a:pt x="1972" y="9675"/>
                    <a:pt x="1972" y="9773"/>
                  </a:cubicBezTo>
                  <a:cubicBezTo>
                    <a:pt x="1972" y="9870"/>
                    <a:pt x="2035" y="9951"/>
                    <a:pt x="2111" y="9951"/>
                  </a:cubicBezTo>
                  <a:cubicBezTo>
                    <a:pt x="2187" y="9951"/>
                    <a:pt x="2248" y="9870"/>
                    <a:pt x="2248" y="9773"/>
                  </a:cubicBezTo>
                  <a:cubicBezTo>
                    <a:pt x="2248" y="9675"/>
                    <a:pt x="2187" y="9595"/>
                    <a:pt x="2111" y="9595"/>
                  </a:cubicBezTo>
                  <a:close/>
                  <a:moveTo>
                    <a:pt x="2522" y="9595"/>
                  </a:moveTo>
                  <a:cubicBezTo>
                    <a:pt x="2445" y="9595"/>
                    <a:pt x="2383" y="9675"/>
                    <a:pt x="2383" y="9773"/>
                  </a:cubicBezTo>
                  <a:cubicBezTo>
                    <a:pt x="2383" y="9870"/>
                    <a:pt x="2445" y="9951"/>
                    <a:pt x="2522" y="9951"/>
                  </a:cubicBezTo>
                  <a:cubicBezTo>
                    <a:pt x="2598" y="9951"/>
                    <a:pt x="2659" y="9870"/>
                    <a:pt x="2659" y="9773"/>
                  </a:cubicBezTo>
                  <a:cubicBezTo>
                    <a:pt x="2659" y="9675"/>
                    <a:pt x="2598" y="9595"/>
                    <a:pt x="2522" y="9595"/>
                  </a:cubicBezTo>
                  <a:close/>
                  <a:moveTo>
                    <a:pt x="2891" y="9595"/>
                  </a:moveTo>
                  <a:cubicBezTo>
                    <a:pt x="2815" y="9595"/>
                    <a:pt x="2753" y="9675"/>
                    <a:pt x="2753" y="9773"/>
                  </a:cubicBezTo>
                  <a:cubicBezTo>
                    <a:pt x="2753" y="9870"/>
                    <a:pt x="2815" y="9951"/>
                    <a:pt x="2891" y="9951"/>
                  </a:cubicBezTo>
                  <a:cubicBezTo>
                    <a:pt x="2968" y="9951"/>
                    <a:pt x="3029" y="9870"/>
                    <a:pt x="3029" y="9773"/>
                  </a:cubicBezTo>
                  <a:cubicBezTo>
                    <a:pt x="3029" y="9675"/>
                    <a:pt x="2968" y="9595"/>
                    <a:pt x="2891" y="9595"/>
                  </a:cubicBezTo>
                  <a:close/>
                  <a:moveTo>
                    <a:pt x="3302" y="9648"/>
                  </a:moveTo>
                  <a:cubicBezTo>
                    <a:pt x="3226" y="9648"/>
                    <a:pt x="3164" y="9728"/>
                    <a:pt x="3164" y="9826"/>
                  </a:cubicBezTo>
                  <a:cubicBezTo>
                    <a:pt x="3164" y="9923"/>
                    <a:pt x="3226" y="10002"/>
                    <a:pt x="3302" y="10002"/>
                  </a:cubicBezTo>
                  <a:cubicBezTo>
                    <a:pt x="3378" y="10002"/>
                    <a:pt x="3440" y="9923"/>
                    <a:pt x="3440" y="9826"/>
                  </a:cubicBezTo>
                  <a:cubicBezTo>
                    <a:pt x="3440" y="9728"/>
                    <a:pt x="3378" y="9648"/>
                    <a:pt x="3302" y="9648"/>
                  </a:cubicBezTo>
                  <a:close/>
                  <a:moveTo>
                    <a:pt x="3713" y="9648"/>
                  </a:moveTo>
                  <a:cubicBezTo>
                    <a:pt x="3637" y="9648"/>
                    <a:pt x="3575" y="9728"/>
                    <a:pt x="3575" y="9826"/>
                  </a:cubicBezTo>
                  <a:cubicBezTo>
                    <a:pt x="3575" y="9923"/>
                    <a:pt x="3637" y="10002"/>
                    <a:pt x="3713" y="10002"/>
                  </a:cubicBezTo>
                  <a:cubicBezTo>
                    <a:pt x="3790" y="10002"/>
                    <a:pt x="3851" y="9923"/>
                    <a:pt x="3851" y="9826"/>
                  </a:cubicBezTo>
                  <a:cubicBezTo>
                    <a:pt x="3851" y="9728"/>
                    <a:pt x="3790" y="9648"/>
                    <a:pt x="3713" y="9648"/>
                  </a:cubicBezTo>
                  <a:close/>
                  <a:moveTo>
                    <a:pt x="4083" y="9648"/>
                  </a:moveTo>
                  <a:cubicBezTo>
                    <a:pt x="4007" y="9648"/>
                    <a:pt x="3944" y="9728"/>
                    <a:pt x="3944" y="9826"/>
                  </a:cubicBezTo>
                  <a:cubicBezTo>
                    <a:pt x="3944" y="9923"/>
                    <a:pt x="4007" y="10002"/>
                    <a:pt x="4083" y="10002"/>
                  </a:cubicBezTo>
                  <a:cubicBezTo>
                    <a:pt x="4159" y="10002"/>
                    <a:pt x="4220" y="9923"/>
                    <a:pt x="4220" y="9826"/>
                  </a:cubicBezTo>
                  <a:cubicBezTo>
                    <a:pt x="4220" y="9728"/>
                    <a:pt x="4159" y="9648"/>
                    <a:pt x="4083" y="9648"/>
                  </a:cubicBezTo>
                  <a:close/>
                  <a:moveTo>
                    <a:pt x="4453" y="9648"/>
                  </a:moveTo>
                  <a:cubicBezTo>
                    <a:pt x="4376" y="9648"/>
                    <a:pt x="4314" y="9728"/>
                    <a:pt x="4314" y="9826"/>
                  </a:cubicBezTo>
                  <a:cubicBezTo>
                    <a:pt x="4314" y="9923"/>
                    <a:pt x="4376" y="10002"/>
                    <a:pt x="4453" y="10002"/>
                  </a:cubicBezTo>
                  <a:cubicBezTo>
                    <a:pt x="4529" y="10002"/>
                    <a:pt x="4590" y="9923"/>
                    <a:pt x="4590" y="9826"/>
                  </a:cubicBezTo>
                  <a:cubicBezTo>
                    <a:pt x="4590" y="9728"/>
                    <a:pt x="4529" y="9648"/>
                    <a:pt x="4453" y="9648"/>
                  </a:cubicBezTo>
                  <a:close/>
                  <a:moveTo>
                    <a:pt x="4864" y="9648"/>
                  </a:moveTo>
                  <a:cubicBezTo>
                    <a:pt x="4787" y="9648"/>
                    <a:pt x="4725" y="9728"/>
                    <a:pt x="4725" y="9826"/>
                  </a:cubicBezTo>
                  <a:cubicBezTo>
                    <a:pt x="4725" y="9923"/>
                    <a:pt x="4787" y="10002"/>
                    <a:pt x="4864" y="10002"/>
                  </a:cubicBezTo>
                  <a:cubicBezTo>
                    <a:pt x="4940" y="10002"/>
                    <a:pt x="5001" y="9923"/>
                    <a:pt x="5001" y="9826"/>
                  </a:cubicBezTo>
                  <a:cubicBezTo>
                    <a:pt x="5001" y="9728"/>
                    <a:pt x="4940" y="9648"/>
                    <a:pt x="4864" y="9648"/>
                  </a:cubicBezTo>
                  <a:close/>
                  <a:moveTo>
                    <a:pt x="5274" y="9648"/>
                  </a:moveTo>
                  <a:cubicBezTo>
                    <a:pt x="5198" y="9648"/>
                    <a:pt x="5136" y="9728"/>
                    <a:pt x="5136" y="9826"/>
                  </a:cubicBezTo>
                  <a:cubicBezTo>
                    <a:pt x="5136" y="9923"/>
                    <a:pt x="5198" y="10002"/>
                    <a:pt x="5274" y="10002"/>
                  </a:cubicBezTo>
                  <a:cubicBezTo>
                    <a:pt x="5351" y="10002"/>
                    <a:pt x="5412" y="9923"/>
                    <a:pt x="5412" y="9826"/>
                  </a:cubicBezTo>
                  <a:cubicBezTo>
                    <a:pt x="5412" y="9728"/>
                    <a:pt x="5351" y="9648"/>
                    <a:pt x="5274" y="9648"/>
                  </a:cubicBezTo>
                  <a:close/>
                  <a:moveTo>
                    <a:pt x="5644" y="9648"/>
                  </a:moveTo>
                  <a:cubicBezTo>
                    <a:pt x="5568" y="9648"/>
                    <a:pt x="5506" y="9728"/>
                    <a:pt x="5506" y="9826"/>
                  </a:cubicBezTo>
                  <a:cubicBezTo>
                    <a:pt x="5506" y="9923"/>
                    <a:pt x="5568" y="10002"/>
                    <a:pt x="5644" y="10002"/>
                  </a:cubicBezTo>
                  <a:cubicBezTo>
                    <a:pt x="5720" y="10002"/>
                    <a:pt x="5782" y="9923"/>
                    <a:pt x="5782" y="9826"/>
                  </a:cubicBezTo>
                  <a:cubicBezTo>
                    <a:pt x="5782" y="9728"/>
                    <a:pt x="5720" y="9648"/>
                    <a:pt x="5644" y="9648"/>
                  </a:cubicBezTo>
                  <a:close/>
                  <a:moveTo>
                    <a:pt x="6055" y="9648"/>
                  </a:moveTo>
                  <a:cubicBezTo>
                    <a:pt x="5979" y="9648"/>
                    <a:pt x="5916" y="9728"/>
                    <a:pt x="5916" y="9826"/>
                  </a:cubicBezTo>
                  <a:cubicBezTo>
                    <a:pt x="5916" y="9923"/>
                    <a:pt x="5979" y="10002"/>
                    <a:pt x="6055" y="10002"/>
                  </a:cubicBezTo>
                  <a:cubicBezTo>
                    <a:pt x="6132" y="10002"/>
                    <a:pt x="6193" y="9923"/>
                    <a:pt x="6193" y="9826"/>
                  </a:cubicBezTo>
                  <a:cubicBezTo>
                    <a:pt x="6193" y="9728"/>
                    <a:pt x="6132" y="9648"/>
                    <a:pt x="6055" y="9648"/>
                  </a:cubicBezTo>
                  <a:close/>
                  <a:moveTo>
                    <a:pt x="6425" y="9648"/>
                  </a:moveTo>
                  <a:cubicBezTo>
                    <a:pt x="6349" y="9648"/>
                    <a:pt x="6286" y="9728"/>
                    <a:pt x="6286" y="9826"/>
                  </a:cubicBezTo>
                  <a:cubicBezTo>
                    <a:pt x="6286" y="9923"/>
                    <a:pt x="6349" y="10002"/>
                    <a:pt x="6425" y="10002"/>
                  </a:cubicBezTo>
                  <a:cubicBezTo>
                    <a:pt x="6501" y="10002"/>
                    <a:pt x="6562" y="9923"/>
                    <a:pt x="6562" y="9826"/>
                  </a:cubicBezTo>
                  <a:cubicBezTo>
                    <a:pt x="6562" y="9728"/>
                    <a:pt x="6501" y="9648"/>
                    <a:pt x="6425" y="9648"/>
                  </a:cubicBezTo>
                  <a:close/>
                  <a:moveTo>
                    <a:pt x="6836" y="9648"/>
                  </a:moveTo>
                  <a:cubicBezTo>
                    <a:pt x="6759" y="9648"/>
                    <a:pt x="6697" y="9728"/>
                    <a:pt x="6697" y="9826"/>
                  </a:cubicBezTo>
                  <a:cubicBezTo>
                    <a:pt x="6697" y="9923"/>
                    <a:pt x="6759" y="10002"/>
                    <a:pt x="6836" y="10002"/>
                  </a:cubicBezTo>
                  <a:cubicBezTo>
                    <a:pt x="6912" y="10002"/>
                    <a:pt x="6973" y="9923"/>
                    <a:pt x="6973" y="9826"/>
                  </a:cubicBezTo>
                  <a:cubicBezTo>
                    <a:pt x="6973" y="9728"/>
                    <a:pt x="6912" y="9648"/>
                    <a:pt x="6836" y="9648"/>
                  </a:cubicBezTo>
                  <a:close/>
                  <a:moveTo>
                    <a:pt x="7247" y="9648"/>
                  </a:moveTo>
                  <a:cubicBezTo>
                    <a:pt x="7170" y="9648"/>
                    <a:pt x="7108" y="9728"/>
                    <a:pt x="7108" y="9826"/>
                  </a:cubicBezTo>
                  <a:cubicBezTo>
                    <a:pt x="7108" y="9923"/>
                    <a:pt x="7170" y="10002"/>
                    <a:pt x="7247" y="10002"/>
                  </a:cubicBezTo>
                  <a:cubicBezTo>
                    <a:pt x="7323" y="10002"/>
                    <a:pt x="7384" y="9923"/>
                    <a:pt x="7384" y="9826"/>
                  </a:cubicBezTo>
                  <a:cubicBezTo>
                    <a:pt x="7384" y="9728"/>
                    <a:pt x="7323" y="9648"/>
                    <a:pt x="7247" y="9648"/>
                  </a:cubicBezTo>
                  <a:close/>
                  <a:moveTo>
                    <a:pt x="7616" y="9648"/>
                  </a:moveTo>
                  <a:cubicBezTo>
                    <a:pt x="7540" y="9648"/>
                    <a:pt x="7478" y="9728"/>
                    <a:pt x="7478" y="9826"/>
                  </a:cubicBezTo>
                  <a:cubicBezTo>
                    <a:pt x="7478" y="9923"/>
                    <a:pt x="7540" y="10002"/>
                    <a:pt x="7616" y="10002"/>
                  </a:cubicBezTo>
                  <a:cubicBezTo>
                    <a:pt x="7693" y="10002"/>
                    <a:pt x="7754" y="9923"/>
                    <a:pt x="7754" y="9826"/>
                  </a:cubicBezTo>
                  <a:cubicBezTo>
                    <a:pt x="7754" y="9728"/>
                    <a:pt x="7693" y="9648"/>
                    <a:pt x="7616" y="9648"/>
                  </a:cubicBezTo>
                  <a:close/>
                  <a:moveTo>
                    <a:pt x="8027" y="9648"/>
                  </a:moveTo>
                  <a:cubicBezTo>
                    <a:pt x="7951" y="9648"/>
                    <a:pt x="7889" y="9728"/>
                    <a:pt x="7889" y="9826"/>
                  </a:cubicBezTo>
                  <a:cubicBezTo>
                    <a:pt x="7889" y="9923"/>
                    <a:pt x="7951" y="10002"/>
                    <a:pt x="8027" y="10002"/>
                  </a:cubicBezTo>
                  <a:cubicBezTo>
                    <a:pt x="8104" y="10002"/>
                    <a:pt x="8165" y="9923"/>
                    <a:pt x="8165" y="9826"/>
                  </a:cubicBezTo>
                  <a:cubicBezTo>
                    <a:pt x="8165" y="9728"/>
                    <a:pt x="8104" y="9648"/>
                    <a:pt x="8027" y="9648"/>
                  </a:cubicBezTo>
                  <a:close/>
                  <a:moveTo>
                    <a:pt x="8438" y="9648"/>
                  </a:moveTo>
                  <a:cubicBezTo>
                    <a:pt x="8362" y="9648"/>
                    <a:pt x="8299" y="9728"/>
                    <a:pt x="8299" y="9826"/>
                  </a:cubicBezTo>
                  <a:cubicBezTo>
                    <a:pt x="8299" y="9923"/>
                    <a:pt x="8362" y="10002"/>
                    <a:pt x="8438" y="10002"/>
                  </a:cubicBezTo>
                  <a:cubicBezTo>
                    <a:pt x="8515" y="10002"/>
                    <a:pt x="8576" y="9923"/>
                    <a:pt x="8576" y="9826"/>
                  </a:cubicBezTo>
                  <a:cubicBezTo>
                    <a:pt x="8576" y="9728"/>
                    <a:pt x="8515" y="9648"/>
                    <a:pt x="8438" y="9648"/>
                  </a:cubicBezTo>
                  <a:close/>
                  <a:moveTo>
                    <a:pt x="8808" y="9648"/>
                  </a:moveTo>
                  <a:cubicBezTo>
                    <a:pt x="8732" y="9648"/>
                    <a:pt x="8669" y="9728"/>
                    <a:pt x="8669" y="9826"/>
                  </a:cubicBezTo>
                  <a:cubicBezTo>
                    <a:pt x="8669" y="9923"/>
                    <a:pt x="8732" y="10002"/>
                    <a:pt x="8808" y="10002"/>
                  </a:cubicBezTo>
                  <a:cubicBezTo>
                    <a:pt x="8884" y="10002"/>
                    <a:pt x="8945" y="9923"/>
                    <a:pt x="8945" y="9826"/>
                  </a:cubicBezTo>
                  <a:cubicBezTo>
                    <a:pt x="8945" y="9728"/>
                    <a:pt x="8884" y="9648"/>
                    <a:pt x="8808" y="9648"/>
                  </a:cubicBezTo>
                  <a:close/>
                  <a:moveTo>
                    <a:pt x="9219" y="9648"/>
                  </a:moveTo>
                  <a:cubicBezTo>
                    <a:pt x="9142" y="9648"/>
                    <a:pt x="9080" y="9728"/>
                    <a:pt x="9080" y="9826"/>
                  </a:cubicBezTo>
                  <a:cubicBezTo>
                    <a:pt x="9080" y="9923"/>
                    <a:pt x="9142" y="10002"/>
                    <a:pt x="9219" y="10002"/>
                  </a:cubicBezTo>
                  <a:cubicBezTo>
                    <a:pt x="9295" y="10002"/>
                    <a:pt x="9356" y="9923"/>
                    <a:pt x="9356" y="9826"/>
                  </a:cubicBezTo>
                  <a:cubicBezTo>
                    <a:pt x="9356" y="9728"/>
                    <a:pt x="9295" y="9648"/>
                    <a:pt x="9219" y="9648"/>
                  </a:cubicBezTo>
                  <a:close/>
                  <a:moveTo>
                    <a:pt x="9589" y="9648"/>
                  </a:moveTo>
                  <a:cubicBezTo>
                    <a:pt x="9512" y="9648"/>
                    <a:pt x="9450" y="9728"/>
                    <a:pt x="9450" y="9826"/>
                  </a:cubicBezTo>
                  <a:cubicBezTo>
                    <a:pt x="9450" y="9923"/>
                    <a:pt x="9512" y="10002"/>
                    <a:pt x="9589" y="10002"/>
                  </a:cubicBezTo>
                  <a:cubicBezTo>
                    <a:pt x="9665" y="10002"/>
                    <a:pt x="9726" y="9923"/>
                    <a:pt x="9726" y="9826"/>
                  </a:cubicBezTo>
                  <a:cubicBezTo>
                    <a:pt x="9726" y="9728"/>
                    <a:pt x="9665" y="9648"/>
                    <a:pt x="9589" y="9648"/>
                  </a:cubicBezTo>
                  <a:close/>
                  <a:moveTo>
                    <a:pt x="9999" y="9648"/>
                  </a:moveTo>
                  <a:cubicBezTo>
                    <a:pt x="9923" y="9648"/>
                    <a:pt x="9861" y="9728"/>
                    <a:pt x="9861" y="9826"/>
                  </a:cubicBezTo>
                  <a:cubicBezTo>
                    <a:pt x="9861" y="9923"/>
                    <a:pt x="9923" y="10002"/>
                    <a:pt x="9999" y="10002"/>
                  </a:cubicBezTo>
                  <a:cubicBezTo>
                    <a:pt x="10076" y="10002"/>
                    <a:pt x="10137" y="9923"/>
                    <a:pt x="10137" y="9826"/>
                  </a:cubicBezTo>
                  <a:cubicBezTo>
                    <a:pt x="10137" y="9728"/>
                    <a:pt x="10076" y="9648"/>
                    <a:pt x="9999" y="9648"/>
                  </a:cubicBezTo>
                  <a:close/>
                  <a:moveTo>
                    <a:pt x="10410" y="9648"/>
                  </a:moveTo>
                  <a:cubicBezTo>
                    <a:pt x="10334" y="9648"/>
                    <a:pt x="10272" y="9728"/>
                    <a:pt x="10272" y="9826"/>
                  </a:cubicBezTo>
                  <a:cubicBezTo>
                    <a:pt x="10272" y="9923"/>
                    <a:pt x="10334" y="10002"/>
                    <a:pt x="10410" y="10002"/>
                  </a:cubicBezTo>
                  <a:cubicBezTo>
                    <a:pt x="10487" y="10002"/>
                    <a:pt x="10548" y="9923"/>
                    <a:pt x="10548" y="9826"/>
                  </a:cubicBezTo>
                  <a:cubicBezTo>
                    <a:pt x="10548" y="9728"/>
                    <a:pt x="10487" y="9648"/>
                    <a:pt x="10410" y="9648"/>
                  </a:cubicBezTo>
                  <a:close/>
                  <a:moveTo>
                    <a:pt x="10780" y="9648"/>
                  </a:moveTo>
                  <a:cubicBezTo>
                    <a:pt x="10704" y="9648"/>
                    <a:pt x="10641" y="9728"/>
                    <a:pt x="10641" y="9826"/>
                  </a:cubicBezTo>
                  <a:cubicBezTo>
                    <a:pt x="10641" y="9923"/>
                    <a:pt x="10704" y="10002"/>
                    <a:pt x="10780" y="10002"/>
                  </a:cubicBezTo>
                  <a:cubicBezTo>
                    <a:pt x="10856" y="10002"/>
                    <a:pt x="10917" y="9923"/>
                    <a:pt x="10917" y="9826"/>
                  </a:cubicBezTo>
                  <a:cubicBezTo>
                    <a:pt x="10917" y="9728"/>
                    <a:pt x="10856" y="9648"/>
                    <a:pt x="10780" y="9648"/>
                  </a:cubicBezTo>
                  <a:close/>
                  <a:moveTo>
                    <a:pt x="11191" y="9648"/>
                  </a:moveTo>
                  <a:cubicBezTo>
                    <a:pt x="11115" y="9648"/>
                    <a:pt x="11052" y="9728"/>
                    <a:pt x="11052" y="9826"/>
                  </a:cubicBezTo>
                  <a:cubicBezTo>
                    <a:pt x="11052" y="9923"/>
                    <a:pt x="11115" y="10002"/>
                    <a:pt x="11191" y="10002"/>
                  </a:cubicBezTo>
                  <a:cubicBezTo>
                    <a:pt x="11267" y="10002"/>
                    <a:pt x="11328" y="9923"/>
                    <a:pt x="11328" y="9826"/>
                  </a:cubicBezTo>
                  <a:cubicBezTo>
                    <a:pt x="11328" y="9728"/>
                    <a:pt x="11267" y="9648"/>
                    <a:pt x="11191" y="9648"/>
                  </a:cubicBezTo>
                  <a:close/>
                  <a:moveTo>
                    <a:pt x="11602" y="9648"/>
                  </a:moveTo>
                  <a:cubicBezTo>
                    <a:pt x="11526" y="9648"/>
                    <a:pt x="11463" y="9728"/>
                    <a:pt x="11463" y="9826"/>
                  </a:cubicBezTo>
                  <a:cubicBezTo>
                    <a:pt x="11463" y="9923"/>
                    <a:pt x="11526" y="10002"/>
                    <a:pt x="11602" y="10002"/>
                  </a:cubicBezTo>
                  <a:cubicBezTo>
                    <a:pt x="11678" y="10002"/>
                    <a:pt x="11739" y="9923"/>
                    <a:pt x="11739" y="9826"/>
                  </a:cubicBezTo>
                  <a:cubicBezTo>
                    <a:pt x="11739" y="9728"/>
                    <a:pt x="11678" y="9648"/>
                    <a:pt x="11602" y="9648"/>
                  </a:cubicBezTo>
                  <a:close/>
                  <a:moveTo>
                    <a:pt x="11972" y="9648"/>
                  </a:moveTo>
                  <a:cubicBezTo>
                    <a:pt x="11895" y="9648"/>
                    <a:pt x="11833" y="9728"/>
                    <a:pt x="11833" y="9826"/>
                  </a:cubicBezTo>
                  <a:cubicBezTo>
                    <a:pt x="11833" y="9923"/>
                    <a:pt x="11895" y="10002"/>
                    <a:pt x="11972" y="10002"/>
                  </a:cubicBezTo>
                  <a:cubicBezTo>
                    <a:pt x="12048" y="10002"/>
                    <a:pt x="12109" y="9923"/>
                    <a:pt x="12109" y="9826"/>
                  </a:cubicBezTo>
                  <a:cubicBezTo>
                    <a:pt x="12109" y="9728"/>
                    <a:pt x="12048" y="9648"/>
                    <a:pt x="11972" y="9648"/>
                  </a:cubicBezTo>
                  <a:close/>
                  <a:moveTo>
                    <a:pt x="12382" y="9648"/>
                  </a:moveTo>
                  <a:cubicBezTo>
                    <a:pt x="12306" y="9648"/>
                    <a:pt x="12244" y="9728"/>
                    <a:pt x="12244" y="9826"/>
                  </a:cubicBezTo>
                  <a:cubicBezTo>
                    <a:pt x="12244" y="9923"/>
                    <a:pt x="12306" y="10002"/>
                    <a:pt x="12382" y="10002"/>
                  </a:cubicBezTo>
                  <a:cubicBezTo>
                    <a:pt x="12459" y="10002"/>
                    <a:pt x="12520" y="9923"/>
                    <a:pt x="12520" y="9826"/>
                  </a:cubicBezTo>
                  <a:cubicBezTo>
                    <a:pt x="12520" y="9728"/>
                    <a:pt x="12459" y="9648"/>
                    <a:pt x="12382" y="9648"/>
                  </a:cubicBezTo>
                  <a:close/>
                  <a:moveTo>
                    <a:pt x="12752" y="9648"/>
                  </a:moveTo>
                  <a:cubicBezTo>
                    <a:pt x="12676" y="9648"/>
                    <a:pt x="12614" y="9728"/>
                    <a:pt x="12614" y="9826"/>
                  </a:cubicBezTo>
                  <a:cubicBezTo>
                    <a:pt x="12614" y="9924"/>
                    <a:pt x="12676" y="10003"/>
                    <a:pt x="12752" y="10003"/>
                  </a:cubicBezTo>
                  <a:cubicBezTo>
                    <a:pt x="12829" y="10003"/>
                    <a:pt x="12890" y="9924"/>
                    <a:pt x="12890" y="9826"/>
                  </a:cubicBezTo>
                  <a:cubicBezTo>
                    <a:pt x="12890" y="9728"/>
                    <a:pt x="12829" y="9648"/>
                    <a:pt x="12752" y="9648"/>
                  </a:cubicBezTo>
                  <a:close/>
                  <a:moveTo>
                    <a:pt x="13163" y="9648"/>
                  </a:moveTo>
                  <a:cubicBezTo>
                    <a:pt x="13087" y="9648"/>
                    <a:pt x="13024" y="9728"/>
                    <a:pt x="13024" y="9826"/>
                  </a:cubicBezTo>
                  <a:cubicBezTo>
                    <a:pt x="13024" y="9924"/>
                    <a:pt x="13087" y="10003"/>
                    <a:pt x="13163" y="10003"/>
                  </a:cubicBezTo>
                  <a:cubicBezTo>
                    <a:pt x="13240" y="10003"/>
                    <a:pt x="13301" y="9924"/>
                    <a:pt x="13301" y="9826"/>
                  </a:cubicBezTo>
                  <a:cubicBezTo>
                    <a:pt x="13301" y="9728"/>
                    <a:pt x="13240" y="9648"/>
                    <a:pt x="13163" y="9648"/>
                  </a:cubicBezTo>
                  <a:close/>
                  <a:moveTo>
                    <a:pt x="13574" y="9648"/>
                  </a:moveTo>
                  <a:cubicBezTo>
                    <a:pt x="13498" y="9648"/>
                    <a:pt x="13435" y="9728"/>
                    <a:pt x="13435" y="9826"/>
                  </a:cubicBezTo>
                  <a:cubicBezTo>
                    <a:pt x="13435" y="9924"/>
                    <a:pt x="13498" y="10003"/>
                    <a:pt x="13574" y="10003"/>
                  </a:cubicBezTo>
                  <a:cubicBezTo>
                    <a:pt x="13650" y="10003"/>
                    <a:pt x="13711" y="9924"/>
                    <a:pt x="13711" y="9826"/>
                  </a:cubicBezTo>
                  <a:cubicBezTo>
                    <a:pt x="13711" y="9728"/>
                    <a:pt x="13650" y="9648"/>
                    <a:pt x="13574" y="9648"/>
                  </a:cubicBezTo>
                  <a:close/>
                  <a:moveTo>
                    <a:pt x="13985" y="9648"/>
                  </a:moveTo>
                  <a:cubicBezTo>
                    <a:pt x="13908" y="9648"/>
                    <a:pt x="13846" y="9728"/>
                    <a:pt x="13846" y="9826"/>
                  </a:cubicBezTo>
                  <a:cubicBezTo>
                    <a:pt x="13846" y="9924"/>
                    <a:pt x="13908" y="10003"/>
                    <a:pt x="13985" y="10003"/>
                  </a:cubicBezTo>
                  <a:cubicBezTo>
                    <a:pt x="14061" y="10003"/>
                    <a:pt x="14122" y="9924"/>
                    <a:pt x="14122" y="9826"/>
                  </a:cubicBezTo>
                  <a:cubicBezTo>
                    <a:pt x="14122" y="9728"/>
                    <a:pt x="14061" y="9648"/>
                    <a:pt x="13985" y="9648"/>
                  </a:cubicBezTo>
                  <a:close/>
                  <a:moveTo>
                    <a:pt x="14355" y="9648"/>
                  </a:moveTo>
                  <a:cubicBezTo>
                    <a:pt x="14278" y="9648"/>
                    <a:pt x="14216" y="9728"/>
                    <a:pt x="14216" y="9826"/>
                  </a:cubicBezTo>
                  <a:cubicBezTo>
                    <a:pt x="14216" y="9924"/>
                    <a:pt x="14278" y="10003"/>
                    <a:pt x="14355" y="10003"/>
                  </a:cubicBezTo>
                  <a:cubicBezTo>
                    <a:pt x="14431" y="10003"/>
                    <a:pt x="14492" y="9924"/>
                    <a:pt x="14492" y="9826"/>
                  </a:cubicBezTo>
                  <a:cubicBezTo>
                    <a:pt x="14492" y="9728"/>
                    <a:pt x="14431" y="9648"/>
                    <a:pt x="14355" y="9648"/>
                  </a:cubicBezTo>
                  <a:close/>
                  <a:moveTo>
                    <a:pt x="14765" y="9648"/>
                  </a:moveTo>
                  <a:cubicBezTo>
                    <a:pt x="14689" y="9648"/>
                    <a:pt x="14627" y="9728"/>
                    <a:pt x="14627" y="9826"/>
                  </a:cubicBezTo>
                  <a:cubicBezTo>
                    <a:pt x="14627" y="9924"/>
                    <a:pt x="14689" y="10003"/>
                    <a:pt x="14765" y="10003"/>
                  </a:cubicBezTo>
                  <a:cubicBezTo>
                    <a:pt x="14842" y="10003"/>
                    <a:pt x="14903" y="9924"/>
                    <a:pt x="14903" y="9826"/>
                  </a:cubicBezTo>
                  <a:cubicBezTo>
                    <a:pt x="14903" y="9728"/>
                    <a:pt x="14842" y="9648"/>
                    <a:pt x="14765" y="9648"/>
                  </a:cubicBezTo>
                  <a:close/>
                  <a:moveTo>
                    <a:pt x="15135" y="9648"/>
                  </a:moveTo>
                  <a:cubicBezTo>
                    <a:pt x="15059" y="9648"/>
                    <a:pt x="14997" y="9728"/>
                    <a:pt x="14997" y="9826"/>
                  </a:cubicBezTo>
                  <a:cubicBezTo>
                    <a:pt x="14997" y="9924"/>
                    <a:pt x="15059" y="10003"/>
                    <a:pt x="15135" y="10003"/>
                  </a:cubicBezTo>
                  <a:cubicBezTo>
                    <a:pt x="15212" y="10003"/>
                    <a:pt x="15273" y="9924"/>
                    <a:pt x="15273" y="9826"/>
                  </a:cubicBezTo>
                  <a:cubicBezTo>
                    <a:pt x="15273" y="9728"/>
                    <a:pt x="15212" y="9648"/>
                    <a:pt x="15135" y="9648"/>
                  </a:cubicBezTo>
                  <a:close/>
                  <a:moveTo>
                    <a:pt x="15546" y="9648"/>
                  </a:moveTo>
                  <a:cubicBezTo>
                    <a:pt x="15470" y="9648"/>
                    <a:pt x="15407" y="9728"/>
                    <a:pt x="15407" y="9826"/>
                  </a:cubicBezTo>
                  <a:cubicBezTo>
                    <a:pt x="15407" y="9924"/>
                    <a:pt x="15470" y="10003"/>
                    <a:pt x="15546" y="10003"/>
                  </a:cubicBezTo>
                  <a:cubicBezTo>
                    <a:pt x="15623" y="10003"/>
                    <a:pt x="15684" y="9924"/>
                    <a:pt x="15684" y="9826"/>
                  </a:cubicBezTo>
                  <a:cubicBezTo>
                    <a:pt x="15684" y="9728"/>
                    <a:pt x="15623" y="9648"/>
                    <a:pt x="15546" y="9648"/>
                  </a:cubicBezTo>
                  <a:close/>
                  <a:moveTo>
                    <a:pt x="15957" y="9648"/>
                  </a:moveTo>
                  <a:cubicBezTo>
                    <a:pt x="15881" y="9648"/>
                    <a:pt x="15818" y="9728"/>
                    <a:pt x="15818" y="9826"/>
                  </a:cubicBezTo>
                  <a:cubicBezTo>
                    <a:pt x="15818" y="9924"/>
                    <a:pt x="15881" y="10003"/>
                    <a:pt x="15957" y="10003"/>
                  </a:cubicBezTo>
                  <a:cubicBezTo>
                    <a:pt x="16033" y="10003"/>
                    <a:pt x="16094" y="9924"/>
                    <a:pt x="16094" y="9826"/>
                  </a:cubicBezTo>
                  <a:cubicBezTo>
                    <a:pt x="16094" y="9728"/>
                    <a:pt x="16033" y="9648"/>
                    <a:pt x="15957" y="9648"/>
                  </a:cubicBezTo>
                  <a:close/>
                  <a:moveTo>
                    <a:pt x="16738" y="9648"/>
                  </a:moveTo>
                  <a:cubicBezTo>
                    <a:pt x="16661" y="9648"/>
                    <a:pt x="16599" y="9728"/>
                    <a:pt x="16599" y="9826"/>
                  </a:cubicBezTo>
                  <a:cubicBezTo>
                    <a:pt x="16599" y="9924"/>
                    <a:pt x="16661" y="10003"/>
                    <a:pt x="16738" y="10003"/>
                  </a:cubicBezTo>
                  <a:cubicBezTo>
                    <a:pt x="16814" y="10003"/>
                    <a:pt x="16875" y="9924"/>
                    <a:pt x="16875" y="9826"/>
                  </a:cubicBezTo>
                  <a:cubicBezTo>
                    <a:pt x="16875" y="9728"/>
                    <a:pt x="16814" y="9648"/>
                    <a:pt x="16738" y="9648"/>
                  </a:cubicBezTo>
                  <a:close/>
                  <a:moveTo>
                    <a:pt x="17149" y="9648"/>
                  </a:moveTo>
                  <a:cubicBezTo>
                    <a:pt x="17072" y="9648"/>
                    <a:pt x="17010" y="9728"/>
                    <a:pt x="17010" y="9826"/>
                  </a:cubicBezTo>
                  <a:cubicBezTo>
                    <a:pt x="17010" y="9924"/>
                    <a:pt x="17072" y="10003"/>
                    <a:pt x="17149" y="10003"/>
                  </a:cubicBezTo>
                  <a:cubicBezTo>
                    <a:pt x="17225" y="10003"/>
                    <a:pt x="17286" y="9924"/>
                    <a:pt x="17286" y="9826"/>
                  </a:cubicBezTo>
                  <a:cubicBezTo>
                    <a:pt x="17286" y="9728"/>
                    <a:pt x="17225" y="9648"/>
                    <a:pt x="17149" y="9648"/>
                  </a:cubicBezTo>
                  <a:close/>
                  <a:moveTo>
                    <a:pt x="19121" y="9648"/>
                  </a:moveTo>
                  <a:cubicBezTo>
                    <a:pt x="19045" y="9648"/>
                    <a:pt x="18982" y="9728"/>
                    <a:pt x="18982" y="9826"/>
                  </a:cubicBezTo>
                  <a:cubicBezTo>
                    <a:pt x="18982" y="9924"/>
                    <a:pt x="19045" y="10003"/>
                    <a:pt x="19121" y="10003"/>
                  </a:cubicBezTo>
                  <a:cubicBezTo>
                    <a:pt x="19197" y="10003"/>
                    <a:pt x="19258" y="9924"/>
                    <a:pt x="19258" y="9826"/>
                  </a:cubicBezTo>
                  <a:cubicBezTo>
                    <a:pt x="19258" y="9728"/>
                    <a:pt x="19197" y="9648"/>
                    <a:pt x="19121" y="9648"/>
                  </a:cubicBezTo>
                  <a:close/>
                  <a:moveTo>
                    <a:pt x="1741" y="10069"/>
                  </a:moveTo>
                  <a:cubicBezTo>
                    <a:pt x="1665" y="10069"/>
                    <a:pt x="1602" y="10149"/>
                    <a:pt x="1602" y="10247"/>
                  </a:cubicBezTo>
                  <a:cubicBezTo>
                    <a:pt x="1602" y="10345"/>
                    <a:pt x="1665" y="10424"/>
                    <a:pt x="1741" y="10424"/>
                  </a:cubicBezTo>
                  <a:cubicBezTo>
                    <a:pt x="1817" y="10424"/>
                    <a:pt x="1878" y="10345"/>
                    <a:pt x="1878" y="10247"/>
                  </a:cubicBezTo>
                  <a:cubicBezTo>
                    <a:pt x="1878" y="10149"/>
                    <a:pt x="1817" y="10069"/>
                    <a:pt x="1741" y="10069"/>
                  </a:cubicBezTo>
                  <a:close/>
                  <a:moveTo>
                    <a:pt x="2111" y="10122"/>
                  </a:moveTo>
                  <a:cubicBezTo>
                    <a:pt x="2035" y="10122"/>
                    <a:pt x="1972" y="10202"/>
                    <a:pt x="1972" y="10300"/>
                  </a:cubicBezTo>
                  <a:cubicBezTo>
                    <a:pt x="1972" y="10398"/>
                    <a:pt x="2035" y="10476"/>
                    <a:pt x="2111" y="10476"/>
                  </a:cubicBezTo>
                  <a:cubicBezTo>
                    <a:pt x="2187" y="10476"/>
                    <a:pt x="2248" y="10398"/>
                    <a:pt x="2248" y="10300"/>
                  </a:cubicBezTo>
                  <a:cubicBezTo>
                    <a:pt x="2248" y="10202"/>
                    <a:pt x="2187" y="10122"/>
                    <a:pt x="2111" y="10122"/>
                  </a:cubicBezTo>
                  <a:close/>
                  <a:moveTo>
                    <a:pt x="2522" y="10122"/>
                  </a:moveTo>
                  <a:cubicBezTo>
                    <a:pt x="2445" y="10122"/>
                    <a:pt x="2383" y="10202"/>
                    <a:pt x="2383" y="10300"/>
                  </a:cubicBezTo>
                  <a:cubicBezTo>
                    <a:pt x="2383" y="10398"/>
                    <a:pt x="2445" y="10476"/>
                    <a:pt x="2522" y="10476"/>
                  </a:cubicBezTo>
                  <a:cubicBezTo>
                    <a:pt x="2598" y="10476"/>
                    <a:pt x="2659" y="10398"/>
                    <a:pt x="2659" y="10300"/>
                  </a:cubicBezTo>
                  <a:cubicBezTo>
                    <a:pt x="2659" y="10202"/>
                    <a:pt x="2598" y="10122"/>
                    <a:pt x="2522" y="10122"/>
                  </a:cubicBezTo>
                  <a:close/>
                  <a:moveTo>
                    <a:pt x="2891" y="10122"/>
                  </a:moveTo>
                  <a:cubicBezTo>
                    <a:pt x="2815" y="10122"/>
                    <a:pt x="2753" y="10202"/>
                    <a:pt x="2753" y="10300"/>
                  </a:cubicBezTo>
                  <a:cubicBezTo>
                    <a:pt x="2753" y="10398"/>
                    <a:pt x="2815" y="10476"/>
                    <a:pt x="2891" y="10476"/>
                  </a:cubicBezTo>
                  <a:cubicBezTo>
                    <a:pt x="2968" y="10476"/>
                    <a:pt x="3029" y="10398"/>
                    <a:pt x="3029" y="10300"/>
                  </a:cubicBezTo>
                  <a:cubicBezTo>
                    <a:pt x="3029" y="10202"/>
                    <a:pt x="2968" y="10122"/>
                    <a:pt x="2891" y="10122"/>
                  </a:cubicBezTo>
                  <a:close/>
                  <a:moveTo>
                    <a:pt x="3302" y="10122"/>
                  </a:moveTo>
                  <a:cubicBezTo>
                    <a:pt x="3226" y="10122"/>
                    <a:pt x="3164" y="10202"/>
                    <a:pt x="3164" y="10300"/>
                  </a:cubicBezTo>
                  <a:cubicBezTo>
                    <a:pt x="3164" y="10398"/>
                    <a:pt x="3226" y="10476"/>
                    <a:pt x="3302" y="10476"/>
                  </a:cubicBezTo>
                  <a:cubicBezTo>
                    <a:pt x="3379" y="10476"/>
                    <a:pt x="3440" y="10398"/>
                    <a:pt x="3440" y="10300"/>
                  </a:cubicBezTo>
                  <a:cubicBezTo>
                    <a:pt x="3440" y="10202"/>
                    <a:pt x="3379" y="10122"/>
                    <a:pt x="3302" y="10122"/>
                  </a:cubicBezTo>
                  <a:close/>
                  <a:moveTo>
                    <a:pt x="3713" y="10122"/>
                  </a:moveTo>
                  <a:cubicBezTo>
                    <a:pt x="3637" y="10122"/>
                    <a:pt x="3575" y="10202"/>
                    <a:pt x="3575" y="10300"/>
                  </a:cubicBezTo>
                  <a:cubicBezTo>
                    <a:pt x="3575" y="10398"/>
                    <a:pt x="3637" y="10476"/>
                    <a:pt x="3713" y="10476"/>
                  </a:cubicBezTo>
                  <a:cubicBezTo>
                    <a:pt x="3790" y="10476"/>
                    <a:pt x="3851" y="10398"/>
                    <a:pt x="3851" y="10300"/>
                  </a:cubicBezTo>
                  <a:cubicBezTo>
                    <a:pt x="3851" y="10202"/>
                    <a:pt x="3790" y="10122"/>
                    <a:pt x="3713" y="10122"/>
                  </a:cubicBezTo>
                  <a:close/>
                  <a:moveTo>
                    <a:pt x="4083" y="10122"/>
                  </a:moveTo>
                  <a:cubicBezTo>
                    <a:pt x="4007" y="10122"/>
                    <a:pt x="3944" y="10202"/>
                    <a:pt x="3944" y="10300"/>
                  </a:cubicBezTo>
                  <a:cubicBezTo>
                    <a:pt x="3944" y="10398"/>
                    <a:pt x="4007" y="10476"/>
                    <a:pt x="4083" y="10476"/>
                  </a:cubicBezTo>
                  <a:cubicBezTo>
                    <a:pt x="4159" y="10476"/>
                    <a:pt x="4220" y="10398"/>
                    <a:pt x="4220" y="10300"/>
                  </a:cubicBezTo>
                  <a:cubicBezTo>
                    <a:pt x="4220" y="10202"/>
                    <a:pt x="4159" y="10122"/>
                    <a:pt x="4083" y="10122"/>
                  </a:cubicBezTo>
                  <a:close/>
                  <a:moveTo>
                    <a:pt x="4453" y="10122"/>
                  </a:moveTo>
                  <a:cubicBezTo>
                    <a:pt x="4376" y="10122"/>
                    <a:pt x="4314" y="10202"/>
                    <a:pt x="4314" y="10300"/>
                  </a:cubicBezTo>
                  <a:cubicBezTo>
                    <a:pt x="4314" y="10398"/>
                    <a:pt x="4376" y="10476"/>
                    <a:pt x="4453" y="10476"/>
                  </a:cubicBezTo>
                  <a:cubicBezTo>
                    <a:pt x="4529" y="10476"/>
                    <a:pt x="4590" y="10398"/>
                    <a:pt x="4590" y="10300"/>
                  </a:cubicBezTo>
                  <a:cubicBezTo>
                    <a:pt x="4590" y="10202"/>
                    <a:pt x="4529" y="10122"/>
                    <a:pt x="4453" y="10122"/>
                  </a:cubicBezTo>
                  <a:close/>
                  <a:moveTo>
                    <a:pt x="4864" y="10122"/>
                  </a:moveTo>
                  <a:cubicBezTo>
                    <a:pt x="4787" y="10122"/>
                    <a:pt x="4725" y="10202"/>
                    <a:pt x="4725" y="10300"/>
                  </a:cubicBezTo>
                  <a:cubicBezTo>
                    <a:pt x="4725" y="10398"/>
                    <a:pt x="4787" y="10476"/>
                    <a:pt x="4864" y="10476"/>
                  </a:cubicBezTo>
                  <a:cubicBezTo>
                    <a:pt x="4940" y="10476"/>
                    <a:pt x="5001" y="10398"/>
                    <a:pt x="5001" y="10300"/>
                  </a:cubicBezTo>
                  <a:cubicBezTo>
                    <a:pt x="5001" y="10202"/>
                    <a:pt x="4940" y="10122"/>
                    <a:pt x="4864" y="10122"/>
                  </a:cubicBezTo>
                  <a:close/>
                  <a:moveTo>
                    <a:pt x="5274" y="10122"/>
                  </a:moveTo>
                  <a:cubicBezTo>
                    <a:pt x="5198" y="10122"/>
                    <a:pt x="5136" y="10202"/>
                    <a:pt x="5136" y="10300"/>
                  </a:cubicBezTo>
                  <a:cubicBezTo>
                    <a:pt x="5136" y="10398"/>
                    <a:pt x="5198" y="10476"/>
                    <a:pt x="5274" y="10476"/>
                  </a:cubicBezTo>
                  <a:cubicBezTo>
                    <a:pt x="5351" y="10476"/>
                    <a:pt x="5412" y="10398"/>
                    <a:pt x="5412" y="10300"/>
                  </a:cubicBezTo>
                  <a:cubicBezTo>
                    <a:pt x="5412" y="10202"/>
                    <a:pt x="5351" y="10122"/>
                    <a:pt x="5274" y="10122"/>
                  </a:cubicBezTo>
                  <a:close/>
                  <a:moveTo>
                    <a:pt x="5644" y="10122"/>
                  </a:moveTo>
                  <a:cubicBezTo>
                    <a:pt x="5568" y="10122"/>
                    <a:pt x="5506" y="10202"/>
                    <a:pt x="5506" y="10300"/>
                  </a:cubicBezTo>
                  <a:cubicBezTo>
                    <a:pt x="5506" y="10398"/>
                    <a:pt x="5568" y="10476"/>
                    <a:pt x="5644" y="10476"/>
                  </a:cubicBezTo>
                  <a:cubicBezTo>
                    <a:pt x="5720" y="10476"/>
                    <a:pt x="5782" y="10398"/>
                    <a:pt x="5782" y="10300"/>
                  </a:cubicBezTo>
                  <a:cubicBezTo>
                    <a:pt x="5782" y="10202"/>
                    <a:pt x="5720" y="10122"/>
                    <a:pt x="5644" y="10122"/>
                  </a:cubicBezTo>
                  <a:close/>
                  <a:moveTo>
                    <a:pt x="6055" y="10122"/>
                  </a:moveTo>
                  <a:cubicBezTo>
                    <a:pt x="5979" y="10122"/>
                    <a:pt x="5916" y="10202"/>
                    <a:pt x="5916" y="10300"/>
                  </a:cubicBezTo>
                  <a:cubicBezTo>
                    <a:pt x="5916" y="10398"/>
                    <a:pt x="5979" y="10476"/>
                    <a:pt x="6055" y="10476"/>
                  </a:cubicBezTo>
                  <a:cubicBezTo>
                    <a:pt x="6132" y="10476"/>
                    <a:pt x="6193" y="10398"/>
                    <a:pt x="6193" y="10300"/>
                  </a:cubicBezTo>
                  <a:cubicBezTo>
                    <a:pt x="6193" y="10202"/>
                    <a:pt x="6132" y="10122"/>
                    <a:pt x="6055" y="10122"/>
                  </a:cubicBezTo>
                  <a:close/>
                  <a:moveTo>
                    <a:pt x="6425" y="10122"/>
                  </a:moveTo>
                  <a:cubicBezTo>
                    <a:pt x="6349" y="10122"/>
                    <a:pt x="6286" y="10202"/>
                    <a:pt x="6286" y="10300"/>
                  </a:cubicBezTo>
                  <a:cubicBezTo>
                    <a:pt x="6286" y="10398"/>
                    <a:pt x="6349" y="10476"/>
                    <a:pt x="6425" y="10476"/>
                  </a:cubicBezTo>
                  <a:cubicBezTo>
                    <a:pt x="6501" y="10476"/>
                    <a:pt x="6562" y="10398"/>
                    <a:pt x="6562" y="10300"/>
                  </a:cubicBezTo>
                  <a:cubicBezTo>
                    <a:pt x="6562" y="10202"/>
                    <a:pt x="6501" y="10122"/>
                    <a:pt x="6425" y="10122"/>
                  </a:cubicBezTo>
                  <a:close/>
                  <a:moveTo>
                    <a:pt x="6836" y="10122"/>
                  </a:moveTo>
                  <a:cubicBezTo>
                    <a:pt x="6759" y="10122"/>
                    <a:pt x="6697" y="10202"/>
                    <a:pt x="6697" y="10300"/>
                  </a:cubicBezTo>
                  <a:cubicBezTo>
                    <a:pt x="6697" y="10398"/>
                    <a:pt x="6759" y="10476"/>
                    <a:pt x="6836" y="10476"/>
                  </a:cubicBezTo>
                  <a:cubicBezTo>
                    <a:pt x="6912" y="10476"/>
                    <a:pt x="6973" y="10398"/>
                    <a:pt x="6973" y="10300"/>
                  </a:cubicBezTo>
                  <a:cubicBezTo>
                    <a:pt x="6973" y="10202"/>
                    <a:pt x="6912" y="10122"/>
                    <a:pt x="6836" y="10122"/>
                  </a:cubicBezTo>
                  <a:close/>
                  <a:moveTo>
                    <a:pt x="7247" y="10122"/>
                  </a:moveTo>
                  <a:cubicBezTo>
                    <a:pt x="7170" y="10122"/>
                    <a:pt x="7108" y="10202"/>
                    <a:pt x="7108" y="10300"/>
                  </a:cubicBezTo>
                  <a:cubicBezTo>
                    <a:pt x="7108" y="10398"/>
                    <a:pt x="7170" y="10476"/>
                    <a:pt x="7247" y="10476"/>
                  </a:cubicBezTo>
                  <a:cubicBezTo>
                    <a:pt x="7323" y="10476"/>
                    <a:pt x="7384" y="10398"/>
                    <a:pt x="7384" y="10300"/>
                  </a:cubicBezTo>
                  <a:cubicBezTo>
                    <a:pt x="7384" y="10202"/>
                    <a:pt x="7323" y="10122"/>
                    <a:pt x="7247" y="10122"/>
                  </a:cubicBezTo>
                  <a:close/>
                  <a:moveTo>
                    <a:pt x="7616" y="10122"/>
                  </a:moveTo>
                  <a:cubicBezTo>
                    <a:pt x="7540" y="10122"/>
                    <a:pt x="7478" y="10202"/>
                    <a:pt x="7478" y="10300"/>
                  </a:cubicBezTo>
                  <a:cubicBezTo>
                    <a:pt x="7478" y="10398"/>
                    <a:pt x="7540" y="10476"/>
                    <a:pt x="7616" y="10476"/>
                  </a:cubicBezTo>
                  <a:cubicBezTo>
                    <a:pt x="7693" y="10476"/>
                    <a:pt x="7754" y="10398"/>
                    <a:pt x="7754" y="10300"/>
                  </a:cubicBezTo>
                  <a:cubicBezTo>
                    <a:pt x="7754" y="10202"/>
                    <a:pt x="7693" y="10122"/>
                    <a:pt x="7616" y="10122"/>
                  </a:cubicBezTo>
                  <a:close/>
                  <a:moveTo>
                    <a:pt x="8027" y="10122"/>
                  </a:moveTo>
                  <a:cubicBezTo>
                    <a:pt x="7951" y="10122"/>
                    <a:pt x="7889" y="10202"/>
                    <a:pt x="7889" y="10300"/>
                  </a:cubicBezTo>
                  <a:cubicBezTo>
                    <a:pt x="7889" y="10398"/>
                    <a:pt x="7951" y="10476"/>
                    <a:pt x="8027" y="10476"/>
                  </a:cubicBezTo>
                  <a:cubicBezTo>
                    <a:pt x="8104" y="10476"/>
                    <a:pt x="8165" y="10398"/>
                    <a:pt x="8165" y="10300"/>
                  </a:cubicBezTo>
                  <a:cubicBezTo>
                    <a:pt x="8165" y="10202"/>
                    <a:pt x="8104" y="10122"/>
                    <a:pt x="8027" y="10122"/>
                  </a:cubicBezTo>
                  <a:close/>
                  <a:moveTo>
                    <a:pt x="8438" y="10122"/>
                  </a:moveTo>
                  <a:cubicBezTo>
                    <a:pt x="8362" y="10122"/>
                    <a:pt x="8299" y="10202"/>
                    <a:pt x="8299" y="10300"/>
                  </a:cubicBezTo>
                  <a:cubicBezTo>
                    <a:pt x="8299" y="10398"/>
                    <a:pt x="8362" y="10476"/>
                    <a:pt x="8438" y="10476"/>
                  </a:cubicBezTo>
                  <a:cubicBezTo>
                    <a:pt x="8515" y="10476"/>
                    <a:pt x="8576" y="10398"/>
                    <a:pt x="8576" y="10300"/>
                  </a:cubicBezTo>
                  <a:cubicBezTo>
                    <a:pt x="8576" y="10202"/>
                    <a:pt x="8515" y="10122"/>
                    <a:pt x="8438" y="10122"/>
                  </a:cubicBezTo>
                  <a:close/>
                  <a:moveTo>
                    <a:pt x="8808" y="10122"/>
                  </a:moveTo>
                  <a:cubicBezTo>
                    <a:pt x="8732" y="10122"/>
                    <a:pt x="8669" y="10202"/>
                    <a:pt x="8669" y="10300"/>
                  </a:cubicBezTo>
                  <a:cubicBezTo>
                    <a:pt x="8669" y="10398"/>
                    <a:pt x="8732" y="10476"/>
                    <a:pt x="8808" y="10476"/>
                  </a:cubicBezTo>
                  <a:cubicBezTo>
                    <a:pt x="8884" y="10476"/>
                    <a:pt x="8945" y="10398"/>
                    <a:pt x="8945" y="10300"/>
                  </a:cubicBezTo>
                  <a:cubicBezTo>
                    <a:pt x="8945" y="10202"/>
                    <a:pt x="8884" y="10122"/>
                    <a:pt x="8808" y="10122"/>
                  </a:cubicBezTo>
                  <a:close/>
                  <a:moveTo>
                    <a:pt x="9219" y="10122"/>
                  </a:moveTo>
                  <a:cubicBezTo>
                    <a:pt x="9142" y="10122"/>
                    <a:pt x="9080" y="10202"/>
                    <a:pt x="9080" y="10300"/>
                  </a:cubicBezTo>
                  <a:cubicBezTo>
                    <a:pt x="9080" y="10398"/>
                    <a:pt x="9142" y="10476"/>
                    <a:pt x="9219" y="10476"/>
                  </a:cubicBezTo>
                  <a:cubicBezTo>
                    <a:pt x="9295" y="10476"/>
                    <a:pt x="9356" y="10398"/>
                    <a:pt x="9356" y="10300"/>
                  </a:cubicBezTo>
                  <a:cubicBezTo>
                    <a:pt x="9356" y="10202"/>
                    <a:pt x="9295" y="10122"/>
                    <a:pt x="9219" y="10122"/>
                  </a:cubicBezTo>
                  <a:close/>
                  <a:moveTo>
                    <a:pt x="9589" y="10122"/>
                  </a:moveTo>
                  <a:cubicBezTo>
                    <a:pt x="9512" y="10122"/>
                    <a:pt x="9450" y="10202"/>
                    <a:pt x="9450" y="10300"/>
                  </a:cubicBezTo>
                  <a:cubicBezTo>
                    <a:pt x="9450" y="10398"/>
                    <a:pt x="9512" y="10476"/>
                    <a:pt x="9589" y="10476"/>
                  </a:cubicBezTo>
                  <a:cubicBezTo>
                    <a:pt x="9665" y="10476"/>
                    <a:pt x="9726" y="10398"/>
                    <a:pt x="9726" y="10300"/>
                  </a:cubicBezTo>
                  <a:cubicBezTo>
                    <a:pt x="9726" y="10202"/>
                    <a:pt x="9665" y="10122"/>
                    <a:pt x="9589" y="10122"/>
                  </a:cubicBezTo>
                  <a:close/>
                  <a:moveTo>
                    <a:pt x="9999" y="10122"/>
                  </a:moveTo>
                  <a:cubicBezTo>
                    <a:pt x="9923" y="10122"/>
                    <a:pt x="9861" y="10202"/>
                    <a:pt x="9861" y="10300"/>
                  </a:cubicBezTo>
                  <a:cubicBezTo>
                    <a:pt x="9861" y="10398"/>
                    <a:pt x="9923" y="10476"/>
                    <a:pt x="9999" y="10476"/>
                  </a:cubicBezTo>
                  <a:cubicBezTo>
                    <a:pt x="10076" y="10476"/>
                    <a:pt x="10137" y="10398"/>
                    <a:pt x="10137" y="10300"/>
                  </a:cubicBezTo>
                  <a:cubicBezTo>
                    <a:pt x="10137" y="10202"/>
                    <a:pt x="10076" y="10122"/>
                    <a:pt x="9999" y="10122"/>
                  </a:cubicBezTo>
                  <a:close/>
                  <a:moveTo>
                    <a:pt x="10410" y="10122"/>
                  </a:moveTo>
                  <a:cubicBezTo>
                    <a:pt x="10334" y="10122"/>
                    <a:pt x="10272" y="10202"/>
                    <a:pt x="10272" y="10300"/>
                  </a:cubicBezTo>
                  <a:cubicBezTo>
                    <a:pt x="10272" y="10398"/>
                    <a:pt x="10334" y="10476"/>
                    <a:pt x="10410" y="10476"/>
                  </a:cubicBezTo>
                  <a:cubicBezTo>
                    <a:pt x="10487" y="10476"/>
                    <a:pt x="10548" y="10398"/>
                    <a:pt x="10548" y="10300"/>
                  </a:cubicBezTo>
                  <a:cubicBezTo>
                    <a:pt x="10548" y="10202"/>
                    <a:pt x="10487" y="10122"/>
                    <a:pt x="10410" y="10122"/>
                  </a:cubicBezTo>
                  <a:close/>
                  <a:moveTo>
                    <a:pt x="10780" y="10122"/>
                  </a:moveTo>
                  <a:cubicBezTo>
                    <a:pt x="10704" y="10122"/>
                    <a:pt x="10641" y="10202"/>
                    <a:pt x="10641" y="10300"/>
                  </a:cubicBezTo>
                  <a:cubicBezTo>
                    <a:pt x="10641" y="10398"/>
                    <a:pt x="10704" y="10476"/>
                    <a:pt x="10780" y="10476"/>
                  </a:cubicBezTo>
                  <a:cubicBezTo>
                    <a:pt x="10856" y="10476"/>
                    <a:pt x="10917" y="10398"/>
                    <a:pt x="10917" y="10300"/>
                  </a:cubicBezTo>
                  <a:cubicBezTo>
                    <a:pt x="10917" y="10202"/>
                    <a:pt x="10856" y="10122"/>
                    <a:pt x="10780" y="10122"/>
                  </a:cubicBezTo>
                  <a:close/>
                  <a:moveTo>
                    <a:pt x="11191" y="10122"/>
                  </a:moveTo>
                  <a:cubicBezTo>
                    <a:pt x="11115" y="10122"/>
                    <a:pt x="11052" y="10202"/>
                    <a:pt x="11052" y="10300"/>
                  </a:cubicBezTo>
                  <a:cubicBezTo>
                    <a:pt x="11052" y="10398"/>
                    <a:pt x="11115" y="10476"/>
                    <a:pt x="11191" y="10476"/>
                  </a:cubicBezTo>
                  <a:cubicBezTo>
                    <a:pt x="11267" y="10476"/>
                    <a:pt x="11328" y="10398"/>
                    <a:pt x="11328" y="10300"/>
                  </a:cubicBezTo>
                  <a:cubicBezTo>
                    <a:pt x="11328" y="10202"/>
                    <a:pt x="11267" y="10122"/>
                    <a:pt x="11191" y="10122"/>
                  </a:cubicBezTo>
                  <a:close/>
                  <a:moveTo>
                    <a:pt x="11602" y="10122"/>
                  </a:moveTo>
                  <a:cubicBezTo>
                    <a:pt x="11526" y="10122"/>
                    <a:pt x="11463" y="10202"/>
                    <a:pt x="11463" y="10300"/>
                  </a:cubicBezTo>
                  <a:cubicBezTo>
                    <a:pt x="11463" y="10398"/>
                    <a:pt x="11526" y="10476"/>
                    <a:pt x="11602" y="10476"/>
                  </a:cubicBezTo>
                  <a:cubicBezTo>
                    <a:pt x="11678" y="10476"/>
                    <a:pt x="11739" y="10398"/>
                    <a:pt x="11739" y="10300"/>
                  </a:cubicBezTo>
                  <a:cubicBezTo>
                    <a:pt x="11739" y="10202"/>
                    <a:pt x="11678" y="10122"/>
                    <a:pt x="11602" y="10122"/>
                  </a:cubicBezTo>
                  <a:close/>
                  <a:moveTo>
                    <a:pt x="11972" y="10122"/>
                  </a:moveTo>
                  <a:cubicBezTo>
                    <a:pt x="11895" y="10122"/>
                    <a:pt x="11833" y="10202"/>
                    <a:pt x="11833" y="10300"/>
                  </a:cubicBezTo>
                  <a:cubicBezTo>
                    <a:pt x="11833" y="10398"/>
                    <a:pt x="11895" y="10476"/>
                    <a:pt x="11972" y="10476"/>
                  </a:cubicBezTo>
                  <a:cubicBezTo>
                    <a:pt x="12048" y="10476"/>
                    <a:pt x="12109" y="10398"/>
                    <a:pt x="12109" y="10300"/>
                  </a:cubicBezTo>
                  <a:cubicBezTo>
                    <a:pt x="12109" y="10202"/>
                    <a:pt x="12048" y="10122"/>
                    <a:pt x="11972" y="10122"/>
                  </a:cubicBezTo>
                  <a:close/>
                  <a:moveTo>
                    <a:pt x="12382" y="10122"/>
                  </a:moveTo>
                  <a:cubicBezTo>
                    <a:pt x="12306" y="10122"/>
                    <a:pt x="12244" y="10202"/>
                    <a:pt x="12244" y="10300"/>
                  </a:cubicBezTo>
                  <a:cubicBezTo>
                    <a:pt x="12244" y="10398"/>
                    <a:pt x="12306" y="10476"/>
                    <a:pt x="12382" y="10476"/>
                  </a:cubicBezTo>
                  <a:cubicBezTo>
                    <a:pt x="12459" y="10476"/>
                    <a:pt x="12520" y="10398"/>
                    <a:pt x="12520" y="10300"/>
                  </a:cubicBezTo>
                  <a:cubicBezTo>
                    <a:pt x="12520" y="10202"/>
                    <a:pt x="12459" y="10122"/>
                    <a:pt x="12382" y="10122"/>
                  </a:cubicBezTo>
                  <a:close/>
                  <a:moveTo>
                    <a:pt x="12752" y="10122"/>
                  </a:moveTo>
                  <a:cubicBezTo>
                    <a:pt x="12676" y="10122"/>
                    <a:pt x="12614" y="10202"/>
                    <a:pt x="12614" y="10300"/>
                  </a:cubicBezTo>
                  <a:cubicBezTo>
                    <a:pt x="12614" y="10398"/>
                    <a:pt x="12676" y="10478"/>
                    <a:pt x="12752" y="10478"/>
                  </a:cubicBezTo>
                  <a:cubicBezTo>
                    <a:pt x="12829" y="10478"/>
                    <a:pt x="12890" y="10398"/>
                    <a:pt x="12890" y="10300"/>
                  </a:cubicBezTo>
                  <a:cubicBezTo>
                    <a:pt x="12890" y="10202"/>
                    <a:pt x="12829" y="10122"/>
                    <a:pt x="12752" y="10122"/>
                  </a:cubicBezTo>
                  <a:close/>
                  <a:moveTo>
                    <a:pt x="13163" y="10122"/>
                  </a:moveTo>
                  <a:cubicBezTo>
                    <a:pt x="13087" y="10122"/>
                    <a:pt x="13024" y="10202"/>
                    <a:pt x="13024" y="10300"/>
                  </a:cubicBezTo>
                  <a:cubicBezTo>
                    <a:pt x="13024" y="10398"/>
                    <a:pt x="13087" y="10478"/>
                    <a:pt x="13163" y="10478"/>
                  </a:cubicBezTo>
                  <a:cubicBezTo>
                    <a:pt x="13240" y="10478"/>
                    <a:pt x="13301" y="10398"/>
                    <a:pt x="13301" y="10300"/>
                  </a:cubicBezTo>
                  <a:cubicBezTo>
                    <a:pt x="13301" y="10202"/>
                    <a:pt x="13240" y="10122"/>
                    <a:pt x="13163" y="10122"/>
                  </a:cubicBezTo>
                  <a:close/>
                  <a:moveTo>
                    <a:pt x="13574" y="10122"/>
                  </a:moveTo>
                  <a:cubicBezTo>
                    <a:pt x="13498" y="10122"/>
                    <a:pt x="13435" y="10202"/>
                    <a:pt x="13435" y="10300"/>
                  </a:cubicBezTo>
                  <a:cubicBezTo>
                    <a:pt x="13435" y="10398"/>
                    <a:pt x="13498" y="10478"/>
                    <a:pt x="13574" y="10478"/>
                  </a:cubicBezTo>
                  <a:cubicBezTo>
                    <a:pt x="13650" y="10478"/>
                    <a:pt x="13711" y="10398"/>
                    <a:pt x="13711" y="10300"/>
                  </a:cubicBezTo>
                  <a:cubicBezTo>
                    <a:pt x="13711" y="10202"/>
                    <a:pt x="13650" y="10122"/>
                    <a:pt x="13574" y="10122"/>
                  </a:cubicBezTo>
                  <a:close/>
                  <a:moveTo>
                    <a:pt x="13985" y="10122"/>
                  </a:moveTo>
                  <a:cubicBezTo>
                    <a:pt x="13908" y="10122"/>
                    <a:pt x="13846" y="10202"/>
                    <a:pt x="13846" y="10300"/>
                  </a:cubicBezTo>
                  <a:cubicBezTo>
                    <a:pt x="13846" y="10398"/>
                    <a:pt x="13908" y="10478"/>
                    <a:pt x="13985" y="10478"/>
                  </a:cubicBezTo>
                  <a:cubicBezTo>
                    <a:pt x="14061" y="10478"/>
                    <a:pt x="14122" y="10398"/>
                    <a:pt x="14122" y="10300"/>
                  </a:cubicBezTo>
                  <a:cubicBezTo>
                    <a:pt x="14122" y="10202"/>
                    <a:pt x="14061" y="10122"/>
                    <a:pt x="13985" y="10122"/>
                  </a:cubicBezTo>
                  <a:close/>
                  <a:moveTo>
                    <a:pt x="14355" y="10122"/>
                  </a:moveTo>
                  <a:cubicBezTo>
                    <a:pt x="14278" y="10122"/>
                    <a:pt x="14216" y="10202"/>
                    <a:pt x="14216" y="10300"/>
                  </a:cubicBezTo>
                  <a:cubicBezTo>
                    <a:pt x="14216" y="10398"/>
                    <a:pt x="14278" y="10478"/>
                    <a:pt x="14355" y="10478"/>
                  </a:cubicBezTo>
                  <a:cubicBezTo>
                    <a:pt x="14431" y="10478"/>
                    <a:pt x="14492" y="10398"/>
                    <a:pt x="14492" y="10300"/>
                  </a:cubicBezTo>
                  <a:cubicBezTo>
                    <a:pt x="14492" y="10202"/>
                    <a:pt x="14431" y="10122"/>
                    <a:pt x="14355" y="10122"/>
                  </a:cubicBezTo>
                  <a:close/>
                  <a:moveTo>
                    <a:pt x="14765" y="10122"/>
                  </a:moveTo>
                  <a:cubicBezTo>
                    <a:pt x="14689" y="10122"/>
                    <a:pt x="14627" y="10202"/>
                    <a:pt x="14627" y="10300"/>
                  </a:cubicBezTo>
                  <a:cubicBezTo>
                    <a:pt x="14627" y="10398"/>
                    <a:pt x="14689" y="10478"/>
                    <a:pt x="14765" y="10478"/>
                  </a:cubicBezTo>
                  <a:cubicBezTo>
                    <a:pt x="14842" y="10478"/>
                    <a:pt x="14903" y="10398"/>
                    <a:pt x="14903" y="10300"/>
                  </a:cubicBezTo>
                  <a:cubicBezTo>
                    <a:pt x="14903" y="10202"/>
                    <a:pt x="14842" y="10122"/>
                    <a:pt x="14765" y="10122"/>
                  </a:cubicBezTo>
                  <a:close/>
                  <a:moveTo>
                    <a:pt x="15135" y="10122"/>
                  </a:moveTo>
                  <a:cubicBezTo>
                    <a:pt x="15059" y="10122"/>
                    <a:pt x="14997" y="10202"/>
                    <a:pt x="14997" y="10300"/>
                  </a:cubicBezTo>
                  <a:cubicBezTo>
                    <a:pt x="14997" y="10398"/>
                    <a:pt x="15059" y="10478"/>
                    <a:pt x="15135" y="10478"/>
                  </a:cubicBezTo>
                  <a:cubicBezTo>
                    <a:pt x="15212" y="10478"/>
                    <a:pt x="15273" y="10398"/>
                    <a:pt x="15273" y="10300"/>
                  </a:cubicBezTo>
                  <a:cubicBezTo>
                    <a:pt x="15273" y="10202"/>
                    <a:pt x="15212" y="10122"/>
                    <a:pt x="15135" y="10122"/>
                  </a:cubicBezTo>
                  <a:close/>
                  <a:moveTo>
                    <a:pt x="15546" y="10122"/>
                  </a:moveTo>
                  <a:cubicBezTo>
                    <a:pt x="15470" y="10122"/>
                    <a:pt x="15407" y="10202"/>
                    <a:pt x="15407" y="10300"/>
                  </a:cubicBezTo>
                  <a:cubicBezTo>
                    <a:pt x="15407" y="10398"/>
                    <a:pt x="15470" y="10478"/>
                    <a:pt x="15546" y="10478"/>
                  </a:cubicBezTo>
                  <a:cubicBezTo>
                    <a:pt x="15623" y="10478"/>
                    <a:pt x="15684" y="10398"/>
                    <a:pt x="15684" y="10300"/>
                  </a:cubicBezTo>
                  <a:cubicBezTo>
                    <a:pt x="15684" y="10202"/>
                    <a:pt x="15623" y="10122"/>
                    <a:pt x="15546" y="10122"/>
                  </a:cubicBezTo>
                  <a:close/>
                  <a:moveTo>
                    <a:pt x="15957" y="10122"/>
                  </a:moveTo>
                  <a:cubicBezTo>
                    <a:pt x="15881" y="10122"/>
                    <a:pt x="15818" y="10202"/>
                    <a:pt x="15818" y="10300"/>
                  </a:cubicBezTo>
                  <a:cubicBezTo>
                    <a:pt x="15818" y="10398"/>
                    <a:pt x="15881" y="10478"/>
                    <a:pt x="15957" y="10478"/>
                  </a:cubicBezTo>
                  <a:cubicBezTo>
                    <a:pt x="16033" y="10478"/>
                    <a:pt x="16094" y="10398"/>
                    <a:pt x="16094" y="10300"/>
                  </a:cubicBezTo>
                  <a:cubicBezTo>
                    <a:pt x="16094" y="10202"/>
                    <a:pt x="16033" y="10122"/>
                    <a:pt x="15957" y="10122"/>
                  </a:cubicBezTo>
                  <a:close/>
                  <a:moveTo>
                    <a:pt x="17107" y="10122"/>
                  </a:moveTo>
                  <a:cubicBezTo>
                    <a:pt x="17031" y="10122"/>
                    <a:pt x="16969" y="10202"/>
                    <a:pt x="16969" y="10300"/>
                  </a:cubicBezTo>
                  <a:cubicBezTo>
                    <a:pt x="16969" y="10398"/>
                    <a:pt x="17031" y="10476"/>
                    <a:pt x="17107" y="10476"/>
                  </a:cubicBezTo>
                  <a:cubicBezTo>
                    <a:pt x="17184" y="10476"/>
                    <a:pt x="17245" y="10398"/>
                    <a:pt x="17245" y="10300"/>
                  </a:cubicBezTo>
                  <a:cubicBezTo>
                    <a:pt x="17245" y="10202"/>
                    <a:pt x="17184" y="10122"/>
                    <a:pt x="17107" y="10122"/>
                  </a:cubicBezTo>
                  <a:close/>
                  <a:moveTo>
                    <a:pt x="17518" y="10122"/>
                  </a:moveTo>
                  <a:cubicBezTo>
                    <a:pt x="17442" y="10122"/>
                    <a:pt x="17380" y="10202"/>
                    <a:pt x="17380" y="10300"/>
                  </a:cubicBezTo>
                  <a:cubicBezTo>
                    <a:pt x="17380" y="10398"/>
                    <a:pt x="17442" y="10476"/>
                    <a:pt x="17518" y="10476"/>
                  </a:cubicBezTo>
                  <a:cubicBezTo>
                    <a:pt x="17595" y="10476"/>
                    <a:pt x="17656" y="10398"/>
                    <a:pt x="17656" y="10300"/>
                  </a:cubicBezTo>
                  <a:cubicBezTo>
                    <a:pt x="17656" y="10202"/>
                    <a:pt x="17595" y="10122"/>
                    <a:pt x="17518" y="10122"/>
                  </a:cubicBezTo>
                  <a:close/>
                  <a:moveTo>
                    <a:pt x="18299" y="10122"/>
                  </a:moveTo>
                  <a:cubicBezTo>
                    <a:pt x="18223" y="10122"/>
                    <a:pt x="18160" y="10202"/>
                    <a:pt x="18160" y="10300"/>
                  </a:cubicBezTo>
                  <a:cubicBezTo>
                    <a:pt x="18160" y="10398"/>
                    <a:pt x="18223" y="10476"/>
                    <a:pt x="18299" y="10476"/>
                  </a:cubicBezTo>
                  <a:cubicBezTo>
                    <a:pt x="18375" y="10476"/>
                    <a:pt x="18436" y="10398"/>
                    <a:pt x="18436" y="10300"/>
                  </a:cubicBezTo>
                  <a:cubicBezTo>
                    <a:pt x="18436" y="10202"/>
                    <a:pt x="18375" y="10122"/>
                    <a:pt x="18299" y="10122"/>
                  </a:cubicBezTo>
                  <a:close/>
                  <a:moveTo>
                    <a:pt x="18751" y="10122"/>
                  </a:moveTo>
                  <a:cubicBezTo>
                    <a:pt x="18675" y="10122"/>
                    <a:pt x="18612" y="10202"/>
                    <a:pt x="18612" y="10300"/>
                  </a:cubicBezTo>
                  <a:cubicBezTo>
                    <a:pt x="18612" y="10398"/>
                    <a:pt x="18675" y="10476"/>
                    <a:pt x="18751" y="10476"/>
                  </a:cubicBezTo>
                  <a:cubicBezTo>
                    <a:pt x="18827" y="10476"/>
                    <a:pt x="18888" y="10398"/>
                    <a:pt x="18888" y="10300"/>
                  </a:cubicBezTo>
                  <a:cubicBezTo>
                    <a:pt x="18888" y="10202"/>
                    <a:pt x="18827" y="10122"/>
                    <a:pt x="18751" y="10122"/>
                  </a:cubicBezTo>
                  <a:close/>
                  <a:moveTo>
                    <a:pt x="19080" y="10122"/>
                  </a:moveTo>
                  <a:cubicBezTo>
                    <a:pt x="19003" y="10122"/>
                    <a:pt x="18941" y="10202"/>
                    <a:pt x="18941" y="10300"/>
                  </a:cubicBezTo>
                  <a:cubicBezTo>
                    <a:pt x="18941" y="10398"/>
                    <a:pt x="19003" y="10476"/>
                    <a:pt x="19080" y="10476"/>
                  </a:cubicBezTo>
                  <a:cubicBezTo>
                    <a:pt x="19156" y="10476"/>
                    <a:pt x="19217" y="10398"/>
                    <a:pt x="19217" y="10300"/>
                  </a:cubicBezTo>
                  <a:cubicBezTo>
                    <a:pt x="19217" y="10202"/>
                    <a:pt x="19156" y="10122"/>
                    <a:pt x="19080" y="10122"/>
                  </a:cubicBezTo>
                  <a:close/>
                  <a:moveTo>
                    <a:pt x="1741" y="10597"/>
                  </a:moveTo>
                  <a:cubicBezTo>
                    <a:pt x="1665" y="10597"/>
                    <a:pt x="1602" y="10676"/>
                    <a:pt x="1602" y="10774"/>
                  </a:cubicBezTo>
                  <a:cubicBezTo>
                    <a:pt x="1602" y="10872"/>
                    <a:pt x="1665" y="10952"/>
                    <a:pt x="1741" y="10952"/>
                  </a:cubicBezTo>
                  <a:cubicBezTo>
                    <a:pt x="1817" y="10952"/>
                    <a:pt x="1878" y="10872"/>
                    <a:pt x="1878" y="10774"/>
                  </a:cubicBezTo>
                  <a:cubicBezTo>
                    <a:pt x="1878" y="10676"/>
                    <a:pt x="1817" y="10597"/>
                    <a:pt x="1741" y="10597"/>
                  </a:cubicBezTo>
                  <a:close/>
                  <a:moveTo>
                    <a:pt x="2111" y="10597"/>
                  </a:moveTo>
                  <a:cubicBezTo>
                    <a:pt x="2035" y="10597"/>
                    <a:pt x="1972" y="10677"/>
                    <a:pt x="1972" y="10774"/>
                  </a:cubicBezTo>
                  <a:cubicBezTo>
                    <a:pt x="1972" y="10872"/>
                    <a:pt x="2035" y="10952"/>
                    <a:pt x="2111" y="10952"/>
                  </a:cubicBezTo>
                  <a:cubicBezTo>
                    <a:pt x="2187" y="10952"/>
                    <a:pt x="2248" y="10872"/>
                    <a:pt x="2248" y="10774"/>
                  </a:cubicBezTo>
                  <a:cubicBezTo>
                    <a:pt x="2248" y="10677"/>
                    <a:pt x="2187" y="10597"/>
                    <a:pt x="2111" y="10597"/>
                  </a:cubicBezTo>
                  <a:close/>
                  <a:moveTo>
                    <a:pt x="2522" y="10597"/>
                  </a:moveTo>
                  <a:cubicBezTo>
                    <a:pt x="2445" y="10597"/>
                    <a:pt x="2383" y="10677"/>
                    <a:pt x="2383" y="10774"/>
                  </a:cubicBezTo>
                  <a:cubicBezTo>
                    <a:pt x="2383" y="10872"/>
                    <a:pt x="2445" y="10952"/>
                    <a:pt x="2522" y="10952"/>
                  </a:cubicBezTo>
                  <a:cubicBezTo>
                    <a:pt x="2598" y="10952"/>
                    <a:pt x="2659" y="10872"/>
                    <a:pt x="2659" y="10774"/>
                  </a:cubicBezTo>
                  <a:cubicBezTo>
                    <a:pt x="2659" y="10677"/>
                    <a:pt x="2598" y="10597"/>
                    <a:pt x="2522" y="10597"/>
                  </a:cubicBezTo>
                  <a:close/>
                  <a:moveTo>
                    <a:pt x="2891" y="10597"/>
                  </a:moveTo>
                  <a:cubicBezTo>
                    <a:pt x="2815" y="10597"/>
                    <a:pt x="2753" y="10677"/>
                    <a:pt x="2753" y="10774"/>
                  </a:cubicBezTo>
                  <a:cubicBezTo>
                    <a:pt x="2753" y="10872"/>
                    <a:pt x="2815" y="10952"/>
                    <a:pt x="2891" y="10952"/>
                  </a:cubicBezTo>
                  <a:cubicBezTo>
                    <a:pt x="2968" y="10952"/>
                    <a:pt x="3029" y="10872"/>
                    <a:pt x="3029" y="10774"/>
                  </a:cubicBezTo>
                  <a:cubicBezTo>
                    <a:pt x="3029" y="10677"/>
                    <a:pt x="2968" y="10597"/>
                    <a:pt x="2891" y="10597"/>
                  </a:cubicBezTo>
                  <a:close/>
                  <a:moveTo>
                    <a:pt x="3302" y="10597"/>
                  </a:moveTo>
                  <a:cubicBezTo>
                    <a:pt x="3226" y="10597"/>
                    <a:pt x="3164" y="10677"/>
                    <a:pt x="3164" y="10774"/>
                  </a:cubicBezTo>
                  <a:cubicBezTo>
                    <a:pt x="3164" y="10872"/>
                    <a:pt x="3226" y="10951"/>
                    <a:pt x="3302" y="10951"/>
                  </a:cubicBezTo>
                  <a:cubicBezTo>
                    <a:pt x="3379" y="10951"/>
                    <a:pt x="3440" y="10872"/>
                    <a:pt x="3440" y="10774"/>
                  </a:cubicBezTo>
                  <a:cubicBezTo>
                    <a:pt x="3440" y="10677"/>
                    <a:pt x="3379" y="10597"/>
                    <a:pt x="3302" y="10597"/>
                  </a:cubicBezTo>
                  <a:close/>
                  <a:moveTo>
                    <a:pt x="3713" y="10649"/>
                  </a:moveTo>
                  <a:cubicBezTo>
                    <a:pt x="3637" y="10649"/>
                    <a:pt x="3575" y="10729"/>
                    <a:pt x="3575" y="10827"/>
                  </a:cubicBezTo>
                  <a:cubicBezTo>
                    <a:pt x="3575" y="10925"/>
                    <a:pt x="3637" y="11005"/>
                    <a:pt x="3713" y="11005"/>
                  </a:cubicBezTo>
                  <a:cubicBezTo>
                    <a:pt x="3790" y="11005"/>
                    <a:pt x="3851" y="10925"/>
                    <a:pt x="3851" y="10827"/>
                  </a:cubicBezTo>
                  <a:cubicBezTo>
                    <a:pt x="3851" y="10729"/>
                    <a:pt x="3790" y="10649"/>
                    <a:pt x="3713" y="10649"/>
                  </a:cubicBezTo>
                  <a:close/>
                  <a:moveTo>
                    <a:pt x="4083" y="10649"/>
                  </a:moveTo>
                  <a:cubicBezTo>
                    <a:pt x="4007" y="10649"/>
                    <a:pt x="3944" y="10729"/>
                    <a:pt x="3944" y="10827"/>
                  </a:cubicBezTo>
                  <a:cubicBezTo>
                    <a:pt x="3944" y="10925"/>
                    <a:pt x="4007" y="11005"/>
                    <a:pt x="4083" y="11005"/>
                  </a:cubicBezTo>
                  <a:cubicBezTo>
                    <a:pt x="4159" y="11005"/>
                    <a:pt x="4220" y="10925"/>
                    <a:pt x="4220" y="10827"/>
                  </a:cubicBezTo>
                  <a:cubicBezTo>
                    <a:pt x="4220" y="10729"/>
                    <a:pt x="4159" y="10649"/>
                    <a:pt x="4083" y="10649"/>
                  </a:cubicBezTo>
                  <a:close/>
                  <a:moveTo>
                    <a:pt x="4453" y="10649"/>
                  </a:moveTo>
                  <a:cubicBezTo>
                    <a:pt x="4376" y="10649"/>
                    <a:pt x="4314" y="10729"/>
                    <a:pt x="4314" y="10827"/>
                  </a:cubicBezTo>
                  <a:cubicBezTo>
                    <a:pt x="4314" y="10925"/>
                    <a:pt x="4376" y="11005"/>
                    <a:pt x="4453" y="11005"/>
                  </a:cubicBezTo>
                  <a:cubicBezTo>
                    <a:pt x="4529" y="11005"/>
                    <a:pt x="4590" y="10925"/>
                    <a:pt x="4590" y="10827"/>
                  </a:cubicBezTo>
                  <a:cubicBezTo>
                    <a:pt x="4590" y="10729"/>
                    <a:pt x="4529" y="10649"/>
                    <a:pt x="4453" y="10649"/>
                  </a:cubicBezTo>
                  <a:close/>
                  <a:moveTo>
                    <a:pt x="4864" y="10649"/>
                  </a:moveTo>
                  <a:cubicBezTo>
                    <a:pt x="4787" y="10649"/>
                    <a:pt x="4725" y="10729"/>
                    <a:pt x="4725" y="10827"/>
                  </a:cubicBezTo>
                  <a:cubicBezTo>
                    <a:pt x="4725" y="10925"/>
                    <a:pt x="4787" y="11005"/>
                    <a:pt x="4864" y="11005"/>
                  </a:cubicBezTo>
                  <a:cubicBezTo>
                    <a:pt x="4940" y="11005"/>
                    <a:pt x="5001" y="10925"/>
                    <a:pt x="5001" y="10827"/>
                  </a:cubicBezTo>
                  <a:cubicBezTo>
                    <a:pt x="5001" y="10729"/>
                    <a:pt x="4940" y="10649"/>
                    <a:pt x="4864" y="10649"/>
                  </a:cubicBezTo>
                  <a:close/>
                  <a:moveTo>
                    <a:pt x="5274" y="10649"/>
                  </a:moveTo>
                  <a:cubicBezTo>
                    <a:pt x="5198" y="10649"/>
                    <a:pt x="5136" y="10729"/>
                    <a:pt x="5136" y="10827"/>
                  </a:cubicBezTo>
                  <a:cubicBezTo>
                    <a:pt x="5136" y="10925"/>
                    <a:pt x="5198" y="11005"/>
                    <a:pt x="5274" y="11005"/>
                  </a:cubicBezTo>
                  <a:cubicBezTo>
                    <a:pt x="5351" y="11005"/>
                    <a:pt x="5412" y="10925"/>
                    <a:pt x="5412" y="10827"/>
                  </a:cubicBezTo>
                  <a:cubicBezTo>
                    <a:pt x="5412" y="10729"/>
                    <a:pt x="5351" y="10649"/>
                    <a:pt x="5274" y="10649"/>
                  </a:cubicBezTo>
                  <a:close/>
                  <a:moveTo>
                    <a:pt x="5644" y="10649"/>
                  </a:moveTo>
                  <a:cubicBezTo>
                    <a:pt x="5568" y="10649"/>
                    <a:pt x="5506" y="10729"/>
                    <a:pt x="5506" y="10827"/>
                  </a:cubicBezTo>
                  <a:cubicBezTo>
                    <a:pt x="5506" y="10925"/>
                    <a:pt x="5568" y="11005"/>
                    <a:pt x="5644" y="11005"/>
                  </a:cubicBezTo>
                  <a:cubicBezTo>
                    <a:pt x="5720" y="11005"/>
                    <a:pt x="5782" y="10925"/>
                    <a:pt x="5782" y="10827"/>
                  </a:cubicBezTo>
                  <a:cubicBezTo>
                    <a:pt x="5782" y="10729"/>
                    <a:pt x="5720" y="10649"/>
                    <a:pt x="5644" y="10649"/>
                  </a:cubicBezTo>
                  <a:close/>
                  <a:moveTo>
                    <a:pt x="6055" y="10649"/>
                  </a:moveTo>
                  <a:cubicBezTo>
                    <a:pt x="5979" y="10649"/>
                    <a:pt x="5916" y="10729"/>
                    <a:pt x="5916" y="10827"/>
                  </a:cubicBezTo>
                  <a:cubicBezTo>
                    <a:pt x="5916" y="10925"/>
                    <a:pt x="5979" y="11005"/>
                    <a:pt x="6055" y="11005"/>
                  </a:cubicBezTo>
                  <a:cubicBezTo>
                    <a:pt x="6132" y="11005"/>
                    <a:pt x="6193" y="10925"/>
                    <a:pt x="6193" y="10827"/>
                  </a:cubicBezTo>
                  <a:cubicBezTo>
                    <a:pt x="6193" y="10729"/>
                    <a:pt x="6132" y="10649"/>
                    <a:pt x="6055" y="10649"/>
                  </a:cubicBezTo>
                  <a:close/>
                  <a:moveTo>
                    <a:pt x="6425" y="10649"/>
                  </a:moveTo>
                  <a:cubicBezTo>
                    <a:pt x="6349" y="10649"/>
                    <a:pt x="6286" y="10729"/>
                    <a:pt x="6286" y="10827"/>
                  </a:cubicBezTo>
                  <a:cubicBezTo>
                    <a:pt x="6286" y="10925"/>
                    <a:pt x="6349" y="11005"/>
                    <a:pt x="6425" y="11005"/>
                  </a:cubicBezTo>
                  <a:cubicBezTo>
                    <a:pt x="6501" y="11005"/>
                    <a:pt x="6562" y="10925"/>
                    <a:pt x="6562" y="10827"/>
                  </a:cubicBezTo>
                  <a:cubicBezTo>
                    <a:pt x="6562" y="10729"/>
                    <a:pt x="6501" y="10649"/>
                    <a:pt x="6425" y="10649"/>
                  </a:cubicBezTo>
                  <a:close/>
                  <a:moveTo>
                    <a:pt x="6836" y="10649"/>
                  </a:moveTo>
                  <a:cubicBezTo>
                    <a:pt x="6759" y="10649"/>
                    <a:pt x="6697" y="10729"/>
                    <a:pt x="6697" y="10827"/>
                  </a:cubicBezTo>
                  <a:cubicBezTo>
                    <a:pt x="6697" y="10925"/>
                    <a:pt x="6759" y="11005"/>
                    <a:pt x="6836" y="11005"/>
                  </a:cubicBezTo>
                  <a:cubicBezTo>
                    <a:pt x="6912" y="11005"/>
                    <a:pt x="6973" y="10925"/>
                    <a:pt x="6973" y="10827"/>
                  </a:cubicBezTo>
                  <a:cubicBezTo>
                    <a:pt x="6973" y="10729"/>
                    <a:pt x="6912" y="10649"/>
                    <a:pt x="6836" y="10649"/>
                  </a:cubicBezTo>
                  <a:close/>
                  <a:moveTo>
                    <a:pt x="7247" y="10649"/>
                  </a:moveTo>
                  <a:cubicBezTo>
                    <a:pt x="7170" y="10649"/>
                    <a:pt x="7108" y="10729"/>
                    <a:pt x="7108" y="10827"/>
                  </a:cubicBezTo>
                  <a:cubicBezTo>
                    <a:pt x="7108" y="10925"/>
                    <a:pt x="7170" y="11005"/>
                    <a:pt x="7247" y="11005"/>
                  </a:cubicBezTo>
                  <a:cubicBezTo>
                    <a:pt x="7323" y="11005"/>
                    <a:pt x="7384" y="10925"/>
                    <a:pt x="7384" y="10827"/>
                  </a:cubicBezTo>
                  <a:cubicBezTo>
                    <a:pt x="7384" y="10729"/>
                    <a:pt x="7323" y="10649"/>
                    <a:pt x="7247" y="10649"/>
                  </a:cubicBezTo>
                  <a:close/>
                  <a:moveTo>
                    <a:pt x="7616" y="10649"/>
                  </a:moveTo>
                  <a:cubicBezTo>
                    <a:pt x="7540" y="10649"/>
                    <a:pt x="7478" y="10729"/>
                    <a:pt x="7478" y="10827"/>
                  </a:cubicBezTo>
                  <a:cubicBezTo>
                    <a:pt x="7478" y="10925"/>
                    <a:pt x="7540" y="11005"/>
                    <a:pt x="7616" y="11005"/>
                  </a:cubicBezTo>
                  <a:cubicBezTo>
                    <a:pt x="7693" y="11005"/>
                    <a:pt x="7754" y="10925"/>
                    <a:pt x="7754" y="10827"/>
                  </a:cubicBezTo>
                  <a:cubicBezTo>
                    <a:pt x="7754" y="10729"/>
                    <a:pt x="7693" y="10649"/>
                    <a:pt x="7616" y="10649"/>
                  </a:cubicBezTo>
                  <a:close/>
                  <a:moveTo>
                    <a:pt x="8027" y="10649"/>
                  </a:moveTo>
                  <a:cubicBezTo>
                    <a:pt x="7951" y="10649"/>
                    <a:pt x="7889" y="10729"/>
                    <a:pt x="7889" y="10827"/>
                  </a:cubicBezTo>
                  <a:cubicBezTo>
                    <a:pt x="7889" y="10925"/>
                    <a:pt x="7951" y="11005"/>
                    <a:pt x="8027" y="11005"/>
                  </a:cubicBezTo>
                  <a:cubicBezTo>
                    <a:pt x="8104" y="11005"/>
                    <a:pt x="8165" y="10925"/>
                    <a:pt x="8165" y="10827"/>
                  </a:cubicBezTo>
                  <a:cubicBezTo>
                    <a:pt x="8165" y="10729"/>
                    <a:pt x="8104" y="10649"/>
                    <a:pt x="8027" y="10649"/>
                  </a:cubicBezTo>
                  <a:close/>
                  <a:moveTo>
                    <a:pt x="8438" y="10649"/>
                  </a:moveTo>
                  <a:cubicBezTo>
                    <a:pt x="8362" y="10649"/>
                    <a:pt x="8299" y="10729"/>
                    <a:pt x="8299" y="10827"/>
                  </a:cubicBezTo>
                  <a:cubicBezTo>
                    <a:pt x="8299" y="10925"/>
                    <a:pt x="8362" y="11005"/>
                    <a:pt x="8438" y="11005"/>
                  </a:cubicBezTo>
                  <a:cubicBezTo>
                    <a:pt x="8515" y="11005"/>
                    <a:pt x="8576" y="10925"/>
                    <a:pt x="8576" y="10827"/>
                  </a:cubicBezTo>
                  <a:cubicBezTo>
                    <a:pt x="8576" y="10729"/>
                    <a:pt x="8515" y="10649"/>
                    <a:pt x="8438" y="10649"/>
                  </a:cubicBezTo>
                  <a:close/>
                  <a:moveTo>
                    <a:pt x="8808" y="10649"/>
                  </a:moveTo>
                  <a:cubicBezTo>
                    <a:pt x="8732" y="10649"/>
                    <a:pt x="8669" y="10729"/>
                    <a:pt x="8669" y="10827"/>
                  </a:cubicBezTo>
                  <a:cubicBezTo>
                    <a:pt x="8669" y="10925"/>
                    <a:pt x="8732" y="11005"/>
                    <a:pt x="8808" y="11005"/>
                  </a:cubicBezTo>
                  <a:cubicBezTo>
                    <a:pt x="8884" y="11005"/>
                    <a:pt x="8945" y="10925"/>
                    <a:pt x="8945" y="10827"/>
                  </a:cubicBezTo>
                  <a:cubicBezTo>
                    <a:pt x="8945" y="10729"/>
                    <a:pt x="8884" y="10649"/>
                    <a:pt x="8808" y="10649"/>
                  </a:cubicBezTo>
                  <a:close/>
                  <a:moveTo>
                    <a:pt x="9219" y="10649"/>
                  </a:moveTo>
                  <a:cubicBezTo>
                    <a:pt x="9142" y="10649"/>
                    <a:pt x="9080" y="10729"/>
                    <a:pt x="9080" y="10827"/>
                  </a:cubicBezTo>
                  <a:cubicBezTo>
                    <a:pt x="9080" y="10925"/>
                    <a:pt x="9142" y="11005"/>
                    <a:pt x="9219" y="11005"/>
                  </a:cubicBezTo>
                  <a:cubicBezTo>
                    <a:pt x="9295" y="11005"/>
                    <a:pt x="9356" y="10925"/>
                    <a:pt x="9356" y="10827"/>
                  </a:cubicBezTo>
                  <a:cubicBezTo>
                    <a:pt x="9356" y="10729"/>
                    <a:pt x="9295" y="10649"/>
                    <a:pt x="9219" y="10649"/>
                  </a:cubicBezTo>
                  <a:close/>
                  <a:moveTo>
                    <a:pt x="9589" y="10649"/>
                  </a:moveTo>
                  <a:cubicBezTo>
                    <a:pt x="9512" y="10649"/>
                    <a:pt x="9450" y="10729"/>
                    <a:pt x="9450" y="10827"/>
                  </a:cubicBezTo>
                  <a:cubicBezTo>
                    <a:pt x="9450" y="10925"/>
                    <a:pt x="9512" y="11005"/>
                    <a:pt x="9589" y="11005"/>
                  </a:cubicBezTo>
                  <a:cubicBezTo>
                    <a:pt x="9665" y="11005"/>
                    <a:pt x="9726" y="10925"/>
                    <a:pt x="9726" y="10827"/>
                  </a:cubicBezTo>
                  <a:cubicBezTo>
                    <a:pt x="9726" y="10729"/>
                    <a:pt x="9665" y="10649"/>
                    <a:pt x="9589" y="10649"/>
                  </a:cubicBezTo>
                  <a:close/>
                  <a:moveTo>
                    <a:pt x="9999" y="10649"/>
                  </a:moveTo>
                  <a:cubicBezTo>
                    <a:pt x="9923" y="10649"/>
                    <a:pt x="9861" y="10729"/>
                    <a:pt x="9861" y="10827"/>
                  </a:cubicBezTo>
                  <a:cubicBezTo>
                    <a:pt x="9861" y="10925"/>
                    <a:pt x="9923" y="11005"/>
                    <a:pt x="9999" y="11005"/>
                  </a:cubicBezTo>
                  <a:cubicBezTo>
                    <a:pt x="10076" y="11005"/>
                    <a:pt x="10137" y="10925"/>
                    <a:pt x="10137" y="10827"/>
                  </a:cubicBezTo>
                  <a:cubicBezTo>
                    <a:pt x="10137" y="10729"/>
                    <a:pt x="10076" y="10649"/>
                    <a:pt x="9999" y="10649"/>
                  </a:cubicBezTo>
                  <a:close/>
                  <a:moveTo>
                    <a:pt x="10410" y="10649"/>
                  </a:moveTo>
                  <a:cubicBezTo>
                    <a:pt x="10334" y="10649"/>
                    <a:pt x="10272" y="10729"/>
                    <a:pt x="10272" y="10827"/>
                  </a:cubicBezTo>
                  <a:cubicBezTo>
                    <a:pt x="10272" y="10925"/>
                    <a:pt x="10334" y="11005"/>
                    <a:pt x="10410" y="11005"/>
                  </a:cubicBezTo>
                  <a:cubicBezTo>
                    <a:pt x="10487" y="11005"/>
                    <a:pt x="10548" y="10925"/>
                    <a:pt x="10548" y="10827"/>
                  </a:cubicBezTo>
                  <a:cubicBezTo>
                    <a:pt x="10548" y="10729"/>
                    <a:pt x="10487" y="10649"/>
                    <a:pt x="10410" y="10649"/>
                  </a:cubicBezTo>
                  <a:close/>
                  <a:moveTo>
                    <a:pt x="10780" y="10649"/>
                  </a:moveTo>
                  <a:cubicBezTo>
                    <a:pt x="10704" y="10649"/>
                    <a:pt x="10641" y="10729"/>
                    <a:pt x="10641" y="10827"/>
                  </a:cubicBezTo>
                  <a:cubicBezTo>
                    <a:pt x="10641" y="10925"/>
                    <a:pt x="10704" y="11005"/>
                    <a:pt x="10780" y="11005"/>
                  </a:cubicBezTo>
                  <a:cubicBezTo>
                    <a:pt x="10856" y="11005"/>
                    <a:pt x="10917" y="10925"/>
                    <a:pt x="10917" y="10827"/>
                  </a:cubicBezTo>
                  <a:cubicBezTo>
                    <a:pt x="10917" y="10729"/>
                    <a:pt x="10856" y="10649"/>
                    <a:pt x="10780" y="10649"/>
                  </a:cubicBezTo>
                  <a:close/>
                  <a:moveTo>
                    <a:pt x="11191" y="10649"/>
                  </a:moveTo>
                  <a:cubicBezTo>
                    <a:pt x="11115" y="10649"/>
                    <a:pt x="11052" y="10729"/>
                    <a:pt x="11052" y="10827"/>
                  </a:cubicBezTo>
                  <a:cubicBezTo>
                    <a:pt x="11052" y="10925"/>
                    <a:pt x="11115" y="11005"/>
                    <a:pt x="11191" y="11005"/>
                  </a:cubicBezTo>
                  <a:cubicBezTo>
                    <a:pt x="11267" y="11005"/>
                    <a:pt x="11328" y="10925"/>
                    <a:pt x="11328" y="10827"/>
                  </a:cubicBezTo>
                  <a:cubicBezTo>
                    <a:pt x="11328" y="10729"/>
                    <a:pt x="11267" y="10649"/>
                    <a:pt x="11191" y="10649"/>
                  </a:cubicBezTo>
                  <a:close/>
                  <a:moveTo>
                    <a:pt x="11602" y="10649"/>
                  </a:moveTo>
                  <a:cubicBezTo>
                    <a:pt x="11526" y="10649"/>
                    <a:pt x="11463" y="10729"/>
                    <a:pt x="11463" y="10827"/>
                  </a:cubicBezTo>
                  <a:cubicBezTo>
                    <a:pt x="11463" y="10925"/>
                    <a:pt x="11526" y="11005"/>
                    <a:pt x="11602" y="11005"/>
                  </a:cubicBezTo>
                  <a:cubicBezTo>
                    <a:pt x="11678" y="11005"/>
                    <a:pt x="11739" y="10925"/>
                    <a:pt x="11739" y="10827"/>
                  </a:cubicBezTo>
                  <a:cubicBezTo>
                    <a:pt x="11739" y="10729"/>
                    <a:pt x="11678" y="10649"/>
                    <a:pt x="11602" y="10649"/>
                  </a:cubicBezTo>
                  <a:close/>
                  <a:moveTo>
                    <a:pt x="11972" y="10649"/>
                  </a:moveTo>
                  <a:cubicBezTo>
                    <a:pt x="11895" y="10649"/>
                    <a:pt x="11833" y="10729"/>
                    <a:pt x="11833" y="10827"/>
                  </a:cubicBezTo>
                  <a:cubicBezTo>
                    <a:pt x="11833" y="10925"/>
                    <a:pt x="11895" y="11005"/>
                    <a:pt x="11972" y="11005"/>
                  </a:cubicBezTo>
                  <a:cubicBezTo>
                    <a:pt x="12048" y="11005"/>
                    <a:pt x="12109" y="10925"/>
                    <a:pt x="12109" y="10827"/>
                  </a:cubicBezTo>
                  <a:cubicBezTo>
                    <a:pt x="12109" y="10729"/>
                    <a:pt x="12048" y="10649"/>
                    <a:pt x="11972" y="10649"/>
                  </a:cubicBezTo>
                  <a:close/>
                  <a:moveTo>
                    <a:pt x="12382" y="10649"/>
                  </a:moveTo>
                  <a:cubicBezTo>
                    <a:pt x="12306" y="10649"/>
                    <a:pt x="12244" y="10729"/>
                    <a:pt x="12244" y="10827"/>
                  </a:cubicBezTo>
                  <a:cubicBezTo>
                    <a:pt x="12244" y="10925"/>
                    <a:pt x="12306" y="11005"/>
                    <a:pt x="12382" y="11005"/>
                  </a:cubicBezTo>
                  <a:cubicBezTo>
                    <a:pt x="12459" y="11005"/>
                    <a:pt x="12520" y="10925"/>
                    <a:pt x="12520" y="10827"/>
                  </a:cubicBezTo>
                  <a:cubicBezTo>
                    <a:pt x="12520" y="10729"/>
                    <a:pt x="12459" y="10649"/>
                    <a:pt x="12382" y="10649"/>
                  </a:cubicBezTo>
                  <a:close/>
                  <a:moveTo>
                    <a:pt x="12752" y="10649"/>
                  </a:moveTo>
                  <a:cubicBezTo>
                    <a:pt x="12676" y="10649"/>
                    <a:pt x="12614" y="10729"/>
                    <a:pt x="12614" y="10827"/>
                  </a:cubicBezTo>
                  <a:cubicBezTo>
                    <a:pt x="12614" y="10925"/>
                    <a:pt x="12676" y="11003"/>
                    <a:pt x="12752" y="11003"/>
                  </a:cubicBezTo>
                  <a:cubicBezTo>
                    <a:pt x="12829" y="11003"/>
                    <a:pt x="12890" y="10925"/>
                    <a:pt x="12890" y="10827"/>
                  </a:cubicBezTo>
                  <a:cubicBezTo>
                    <a:pt x="12890" y="10729"/>
                    <a:pt x="12829" y="10649"/>
                    <a:pt x="12752" y="10649"/>
                  </a:cubicBezTo>
                  <a:close/>
                  <a:moveTo>
                    <a:pt x="13163" y="10649"/>
                  </a:moveTo>
                  <a:cubicBezTo>
                    <a:pt x="13087" y="10649"/>
                    <a:pt x="13024" y="10729"/>
                    <a:pt x="13024" y="10827"/>
                  </a:cubicBezTo>
                  <a:cubicBezTo>
                    <a:pt x="13024" y="10925"/>
                    <a:pt x="13087" y="11003"/>
                    <a:pt x="13163" y="11003"/>
                  </a:cubicBezTo>
                  <a:cubicBezTo>
                    <a:pt x="13240" y="11003"/>
                    <a:pt x="13301" y="10925"/>
                    <a:pt x="13301" y="10827"/>
                  </a:cubicBezTo>
                  <a:cubicBezTo>
                    <a:pt x="13301" y="10729"/>
                    <a:pt x="13240" y="10649"/>
                    <a:pt x="13163" y="10649"/>
                  </a:cubicBezTo>
                  <a:close/>
                  <a:moveTo>
                    <a:pt x="13574" y="10649"/>
                  </a:moveTo>
                  <a:cubicBezTo>
                    <a:pt x="13498" y="10649"/>
                    <a:pt x="13435" y="10729"/>
                    <a:pt x="13435" y="10827"/>
                  </a:cubicBezTo>
                  <a:cubicBezTo>
                    <a:pt x="13435" y="10925"/>
                    <a:pt x="13498" y="11003"/>
                    <a:pt x="13574" y="11003"/>
                  </a:cubicBezTo>
                  <a:cubicBezTo>
                    <a:pt x="13650" y="11003"/>
                    <a:pt x="13711" y="10925"/>
                    <a:pt x="13711" y="10827"/>
                  </a:cubicBezTo>
                  <a:cubicBezTo>
                    <a:pt x="13711" y="10729"/>
                    <a:pt x="13650" y="10649"/>
                    <a:pt x="13574" y="10649"/>
                  </a:cubicBezTo>
                  <a:close/>
                  <a:moveTo>
                    <a:pt x="13985" y="10649"/>
                  </a:moveTo>
                  <a:cubicBezTo>
                    <a:pt x="13908" y="10649"/>
                    <a:pt x="13846" y="10729"/>
                    <a:pt x="13846" y="10827"/>
                  </a:cubicBezTo>
                  <a:cubicBezTo>
                    <a:pt x="13846" y="10925"/>
                    <a:pt x="13908" y="11003"/>
                    <a:pt x="13985" y="11003"/>
                  </a:cubicBezTo>
                  <a:cubicBezTo>
                    <a:pt x="14061" y="11003"/>
                    <a:pt x="14122" y="10925"/>
                    <a:pt x="14122" y="10827"/>
                  </a:cubicBezTo>
                  <a:cubicBezTo>
                    <a:pt x="14122" y="10729"/>
                    <a:pt x="14061" y="10649"/>
                    <a:pt x="13985" y="10649"/>
                  </a:cubicBezTo>
                  <a:close/>
                  <a:moveTo>
                    <a:pt x="14355" y="10649"/>
                  </a:moveTo>
                  <a:cubicBezTo>
                    <a:pt x="14278" y="10649"/>
                    <a:pt x="14216" y="10729"/>
                    <a:pt x="14216" y="10827"/>
                  </a:cubicBezTo>
                  <a:cubicBezTo>
                    <a:pt x="14216" y="10925"/>
                    <a:pt x="14278" y="11003"/>
                    <a:pt x="14355" y="11003"/>
                  </a:cubicBezTo>
                  <a:cubicBezTo>
                    <a:pt x="14431" y="11003"/>
                    <a:pt x="14492" y="10925"/>
                    <a:pt x="14492" y="10827"/>
                  </a:cubicBezTo>
                  <a:cubicBezTo>
                    <a:pt x="14492" y="10729"/>
                    <a:pt x="14431" y="10649"/>
                    <a:pt x="14355" y="10649"/>
                  </a:cubicBezTo>
                  <a:close/>
                  <a:moveTo>
                    <a:pt x="14765" y="10649"/>
                  </a:moveTo>
                  <a:cubicBezTo>
                    <a:pt x="14689" y="10649"/>
                    <a:pt x="14627" y="10729"/>
                    <a:pt x="14627" y="10827"/>
                  </a:cubicBezTo>
                  <a:cubicBezTo>
                    <a:pt x="14627" y="10925"/>
                    <a:pt x="14689" y="11003"/>
                    <a:pt x="14765" y="11003"/>
                  </a:cubicBezTo>
                  <a:cubicBezTo>
                    <a:pt x="14842" y="11003"/>
                    <a:pt x="14903" y="10925"/>
                    <a:pt x="14903" y="10827"/>
                  </a:cubicBezTo>
                  <a:cubicBezTo>
                    <a:pt x="14903" y="10729"/>
                    <a:pt x="14842" y="10649"/>
                    <a:pt x="14765" y="10649"/>
                  </a:cubicBezTo>
                  <a:close/>
                  <a:moveTo>
                    <a:pt x="15135" y="10649"/>
                  </a:moveTo>
                  <a:cubicBezTo>
                    <a:pt x="15059" y="10649"/>
                    <a:pt x="14997" y="10729"/>
                    <a:pt x="14997" y="10827"/>
                  </a:cubicBezTo>
                  <a:cubicBezTo>
                    <a:pt x="14997" y="10925"/>
                    <a:pt x="15059" y="11003"/>
                    <a:pt x="15135" y="11003"/>
                  </a:cubicBezTo>
                  <a:cubicBezTo>
                    <a:pt x="15212" y="11003"/>
                    <a:pt x="15273" y="10925"/>
                    <a:pt x="15273" y="10827"/>
                  </a:cubicBezTo>
                  <a:cubicBezTo>
                    <a:pt x="15273" y="10729"/>
                    <a:pt x="15212" y="10649"/>
                    <a:pt x="15135" y="10649"/>
                  </a:cubicBezTo>
                  <a:close/>
                  <a:moveTo>
                    <a:pt x="15546" y="10649"/>
                  </a:moveTo>
                  <a:cubicBezTo>
                    <a:pt x="15470" y="10649"/>
                    <a:pt x="15407" y="10729"/>
                    <a:pt x="15407" y="10827"/>
                  </a:cubicBezTo>
                  <a:cubicBezTo>
                    <a:pt x="15407" y="10925"/>
                    <a:pt x="15470" y="11003"/>
                    <a:pt x="15546" y="11003"/>
                  </a:cubicBezTo>
                  <a:cubicBezTo>
                    <a:pt x="15623" y="11003"/>
                    <a:pt x="15684" y="10925"/>
                    <a:pt x="15684" y="10827"/>
                  </a:cubicBezTo>
                  <a:cubicBezTo>
                    <a:pt x="15684" y="10729"/>
                    <a:pt x="15623" y="10649"/>
                    <a:pt x="15546" y="10649"/>
                  </a:cubicBezTo>
                  <a:close/>
                  <a:moveTo>
                    <a:pt x="15957" y="10649"/>
                  </a:moveTo>
                  <a:cubicBezTo>
                    <a:pt x="15881" y="10649"/>
                    <a:pt x="15818" y="10729"/>
                    <a:pt x="15818" y="10827"/>
                  </a:cubicBezTo>
                  <a:cubicBezTo>
                    <a:pt x="15818" y="10925"/>
                    <a:pt x="15881" y="11003"/>
                    <a:pt x="15957" y="11003"/>
                  </a:cubicBezTo>
                  <a:cubicBezTo>
                    <a:pt x="16033" y="11003"/>
                    <a:pt x="16094" y="10925"/>
                    <a:pt x="16094" y="10827"/>
                  </a:cubicBezTo>
                  <a:cubicBezTo>
                    <a:pt x="16094" y="10729"/>
                    <a:pt x="16033" y="10649"/>
                    <a:pt x="15957" y="10649"/>
                  </a:cubicBezTo>
                  <a:close/>
                  <a:moveTo>
                    <a:pt x="1741" y="11071"/>
                  </a:moveTo>
                  <a:cubicBezTo>
                    <a:pt x="1665" y="11071"/>
                    <a:pt x="1602" y="11151"/>
                    <a:pt x="1602" y="11249"/>
                  </a:cubicBezTo>
                  <a:cubicBezTo>
                    <a:pt x="1602" y="11347"/>
                    <a:pt x="1665" y="11425"/>
                    <a:pt x="1741" y="11425"/>
                  </a:cubicBezTo>
                  <a:cubicBezTo>
                    <a:pt x="1817" y="11425"/>
                    <a:pt x="1878" y="11347"/>
                    <a:pt x="1878" y="11249"/>
                  </a:cubicBezTo>
                  <a:cubicBezTo>
                    <a:pt x="1878" y="11151"/>
                    <a:pt x="1817" y="11071"/>
                    <a:pt x="1741" y="11071"/>
                  </a:cubicBezTo>
                  <a:close/>
                  <a:moveTo>
                    <a:pt x="2111" y="11124"/>
                  </a:moveTo>
                  <a:cubicBezTo>
                    <a:pt x="2035" y="11124"/>
                    <a:pt x="1972" y="11203"/>
                    <a:pt x="1972" y="11302"/>
                  </a:cubicBezTo>
                  <a:cubicBezTo>
                    <a:pt x="1972" y="11399"/>
                    <a:pt x="2035" y="11478"/>
                    <a:pt x="2111" y="11478"/>
                  </a:cubicBezTo>
                  <a:cubicBezTo>
                    <a:pt x="2187" y="11478"/>
                    <a:pt x="2248" y="11399"/>
                    <a:pt x="2248" y="11302"/>
                  </a:cubicBezTo>
                  <a:cubicBezTo>
                    <a:pt x="2248" y="11203"/>
                    <a:pt x="2187" y="11124"/>
                    <a:pt x="2111" y="11124"/>
                  </a:cubicBezTo>
                  <a:close/>
                  <a:moveTo>
                    <a:pt x="2522" y="11124"/>
                  </a:moveTo>
                  <a:cubicBezTo>
                    <a:pt x="2445" y="11124"/>
                    <a:pt x="2383" y="11203"/>
                    <a:pt x="2383" y="11302"/>
                  </a:cubicBezTo>
                  <a:cubicBezTo>
                    <a:pt x="2383" y="11399"/>
                    <a:pt x="2445" y="11478"/>
                    <a:pt x="2522" y="11478"/>
                  </a:cubicBezTo>
                  <a:cubicBezTo>
                    <a:pt x="2598" y="11478"/>
                    <a:pt x="2659" y="11399"/>
                    <a:pt x="2659" y="11302"/>
                  </a:cubicBezTo>
                  <a:cubicBezTo>
                    <a:pt x="2659" y="11203"/>
                    <a:pt x="2598" y="11124"/>
                    <a:pt x="2522" y="11124"/>
                  </a:cubicBezTo>
                  <a:close/>
                  <a:moveTo>
                    <a:pt x="2891" y="11124"/>
                  </a:moveTo>
                  <a:cubicBezTo>
                    <a:pt x="2815" y="11124"/>
                    <a:pt x="2753" y="11203"/>
                    <a:pt x="2753" y="11302"/>
                  </a:cubicBezTo>
                  <a:cubicBezTo>
                    <a:pt x="2753" y="11399"/>
                    <a:pt x="2815" y="11478"/>
                    <a:pt x="2891" y="11478"/>
                  </a:cubicBezTo>
                  <a:cubicBezTo>
                    <a:pt x="2968" y="11478"/>
                    <a:pt x="3029" y="11399"/>
                    <a:pt x="3029" y="11302"/>
                  </a:cubicBezTo>
                  <a:cubicBezTo>
                    <a:pt x="3029" y="11203"/>
                    <a:pt x="2968" y="11124"/>
                    <a:pt x="2891" y="11124"/>
                  </a:cubicBezTo>
                  <a:close/>
                  <a:moveTo>
                    <a:pt x="3302" y="11124"/>
                  </a:moveTo>
                  <a:cubicBezTo>
                    <a:pt x="3226" y="11124"/>
                    <a:pt x="3164" y="11204"/>
                    <a:pt x="3164" y="11302"/>
                  </a:cubicBezTo>
                  <a:cubicBezTo>
                    <a:pt x="3164" y="11399"/>
                    <a:pt x="3226" y="11478"/>
                    <a:pt x="3302" y="11478"/>
                  </a:cubicBezTo>
                  <a:cubicBezTo>
                    <a:pt x="3379" y="11478"/>
                    <a:pt x="3440" y="11399"/>
                    <a:pt x="3440" y="11302"/>
                  </a:cubicBezTo>
                  <a:cubicBezTo>
                    <a:pt x="3440" y="11204"/>
                    <a:pt x="3379" y="11124"/>
                    <a:pt x="3302" y="11124"/>
                  </a:cubicBezTo>
                  <a:close/>
                  <a:moveTo>
                    <a:pt x="3671" y="11124"/>
                  </a:moveTo>
                  <a:cubicBezTo>
                    <a:pt x="3595" y="11124"/>
                    <a:pt x="3533" y="11204"/>
                    <a:pt x="3533" y="11302"/>
                  </a:cubicBezTo>
                  <a:cubicBezTo>
                    <a:pt x="3533" y="11400"/>
                    <a:pt x="3595" y="11480"/>
                    <a:pt x="3671" y="11480"/>
                  </a:cubicBezTo>
                  <a:cubicBezTo>
                    <a:pt x="3747" y="11480"/>
                    <a:pt x="3809" y="11400"/>
                    <a:pt x="3809" y="11302"/>
                  </a:cubicBezTo>
                  <a:cubicBezTo>
                    <a:pt x="3809" y="11204"/>
                    <a:pt x="3747" y="11124"/>
                    <a:pt x="3671" y="11124"/>
                  </a:cubicBezTo>
                  <a:close/>
                  <a:moveTo>
                    <a:pt x="4083" y="11124"/>
                  </a:moveTo>
                  <a:cubicBezTo>
                    <a:pt x="4007" y="11124"/>
                    <a:pt x="3944" y="11204"/>
                    <a:pt x="3944" y="11302"/>
                  </a:cubicBezTo>
                  <a:cubicBezTo>
                    <a:pt x="3944" y="11399"/>
                    <a:pt x="4007" y="11478"/>
                    <a:pt x="4083" y="11478"/>
                  </a:cubicBezTo>
                  <a:cubicBezTo>
                    <a:pt x="4159" y="11478"/>
                    <a:pt x="4220" y="11399"/>
                    <a:pt x="4220" y="11302"/>
                  </a:cubicBezTo>
                  <a:cubicBezTo>
                    <a:pt x="4220" y="11204"/>
                    <a:pt x="4159" y="11124"/>
                    <a:pt x="4083" y="11124"/>
                  </a:cubicBezTo>
                  <a:close/>
                  <a:moveTo>
                    <a:pt x="4453" y="11124"/>
                  </a:moveTo>
                  <a:cubicBezTo>
                    <a:pt x="4376" y="11124"/>
                    <a:pt x="4314" y="11204"/>
                    <a:pt x="4314" y="11302"/>
                  </a:cubicBezTo>
                  <a:cubicBezTo>
                    <a:pt x="4314" y="11399"/>
                    <a:pt x="4376" y="11478"/>
                    <a:pt x="4453" y="11478"/>
                  </a:cubicBezTo>
                  <a:cubicBezTo>
                    <a:pt x="4529" y="11478"/>
                    <a:pt x="4590" y="11399"/>
                    <a:pt x="4590" y="11302"/>
                  </a:cubicBezTo>
                  <a:cubicBezTo>
                    <a:pt x="4590" y="11204"/>
                    <a:pt x="4529" y="11124"/>
                    <a:pt x="4453" y="11124"/>
                  </a:cubicBezTo>
                  <a:close/>
                  <a:moveTo>
                    <a:pt x="4864" y="11124"/>
                  </a:moveTo>
                  <a:cubicBezTo>
                    <a:pt x="4787" y="11124"/>
                    <a:pt x="4725" y="11204"/>
                    <a:pt x="4725" y="11302"/>
                  </a:cubicBezTo>
                  <a:cubicBezTo>
                    <a:pt x="4725" y="11399"/>
                    <a:pt x="4787" y="11478"/>
                    <a:pt x="4864" y="11478"/>
                  </a:cubicBezTo>
                  <a:cubicBezTo>
                    <a:pt x="4940" y="11478"/>
                    <a:pt x="5001" y="11399"/>
                    <a:pt x="5001" y="11302"/>
                  </a:cubicBezTo>
                  <a:cubicBezTo>
                    <a:pt x="5001" y="11204"/>
                    <a:pt x="4940" y="11124"/>
                    <a:pt x="4864" y="11124"/>
                  </a:cubicBezTo>
                  <a:close/>
                  <a:moveTo>
                    <a:pt x="5274" y="11124"/>
                  </a:moveTo>
                  <a:cubicBezTo>
                    <a:pt x="5198" y="11124"/>
                    <a:pt x="5136" y="11204"/>
                    <a:pt x="5136" y="11302"/>
                  </a:cubicBezTo>
                  <a:cubicBezTo>
                    <a:pt x="5136" y="11399"/>
                    <a:pt x="5198" y="11478"/>
                    <a:pt x="5274" y="11478"/>
                  </a:cubicBezTo>
                  <a:cubicBezTo>
                    <a:pt x="5351" y="11478"/>
                    <a:pt x="5412" y="11399"/>
                    <a:pt x="5412" y="11302"/>
                  </a:cubicBezTo>
                  <a:cubicBezTo>
                    <a:pt x="5412" y="11204"/>
                    <a:pt x="5351" y="11124"/>
                    <a:pt x="5274" y="11124"/>
                  </a:cubicBezTo>
                  <a:close/>
                  <a:moveTo>
                    <a:pt x="5644" y="11124"/>
                  </a:moveTo>
                  <a:cubicBezTo>
                    <a:pt x="5568" y="11124"/>
                    <a:pt x="5506" y="11204"/>
                    <a:pt x="5506" y="11302"/>
                  </a:cubicBezTo>
                  <a:cubicBezTo>
                    <a:pt x="5506" y="11399"/>
                    <a:pt x="5568" y="11478"/>
                    <a:pt x="5644" y="11478"/>
                  </a:cubicBezTo>
                  <a:cubicBezTo>
                    <a:pt x="5720" y="11478"/>
                    <a:pt x="5782" y="11399"/>
                    <a:pt x="5782" y="11302"/>
                  </a:cubicBezTo>
                  <a:cubicBezTo>
                    <a:pt x="5782" y="11204"/>
                    <a:pt x="5720" y="11124"/>
                    <a:pt x="5644" y="11124"/>
                  </a:cubicBezTo>
                  <a:close/>
                  <a:moveTo>
                    <a:pt x="6055" y="11124"/>
                  </a:moveTo>
                  <a:cubicBezTo>
                    <a:pt x="5979" y="11124"/>
                    <a:pt x="5916" y="11204"/>
                    <a:pt x="5916" y="11302"/>
                  </a:cubicBezTo>
                  <a:cubicBezTo>
                    <a:pt x="5916" y="11399"/>
                    <a:pt x="5979" y="11478"/>
                    <a:pt x="6055" y="11478"/>
                  </a:cubicBezTo>
                  <a:cubicBezTo>
                    <a:pt x="6132" y="11478"/>
                    <a:pt x="6193" y="11399"/>
                    <a:pt x="6193" y="11302"/>
                  </a:cubicBezTo>
                  <a:cubicBezTo>
                    <a:pt x="6193" y="11204"/>
                    <a:pt x="6132" y="11124"/>
                    <a:pt x="6055" y="11124"/>
                  </a:cubicBezTo>
                  <a:close/>
                  <a:moveTo>
                    <a:pt x="6425" y="11124"/>
                  </a:moveTo>
                  <a:cubicBezTo>
                    <a:pt x="6349" y="11124"/>
                    <a:pt x="6286" y="11204"/>
                    <a:pt x="6286" y="11302"/>
                  </a:cubicBezTo>
                  <a:cubicBezTo>
                    <a:pt x="6286" y="11399"/>
                    <a:pt x="6349" y="11478"/>
                    <a:pt x="6425" y="11478"/>
                  </a:cubicBezTo>
                  <a:cubicBezTo>
                    <a:pt x="6501" y="11478"/>
                    <a:pt x="6562" y="11399"/>
                    <a:pt x="6562" y="11302"/>
                  </a:cubicBezTo>
                  <a:cubicBezTo>
                    <a:pt x="6562" y="11204"/>
                    <a:pt x="6501" y="11124"/>
                    <a:pt x="6425" y="11124"/>
                  </a:cubicBezTo>
                  <a:close/>
                  <a:moveTo>
                    <a:pt x="6836" y="11124"/>
                  </a:moveTo>
                  <a:cubicBezTo>
                    <a:pt x="6759" y="11124"/>
                    <a:pt x="6697" y="11204"/>
                    <a:pt x="6697" y="11302"/>
                  </a:cubicBezTo>
                  <a:cubicBezTo>
                    <a:pt x="6697" y="11399"/>
                    <a:pt x="6759" y="11478"/>
                    <a:pt x="6836" y="11478"/>
                  </a:cubicBezTo>
                  <a:cubicBezTo>
                    <a:pt x="6912" y="11478"/>
                    <a:pt x="6973" y="11399"/>
                    <a:pt x="6973" y="11302"/>
                  </a:cubicBezTo>
                  <a:cubicBezTo>
                    <a:pt x="6973" y="11204"/>
                    <a:pt x="6912" y="11124"/>
                    <a:pt x="6836" y="11124"/>
                  </a:cubicBezTo>
                  <a:close/>
                  <a:moveTo>
                    <a:pt x="7247" y="11124"/>
                  </a:moveTo>
                  <a:cubicBezTo>
                    <a:pt x="7170" y="11124"/>
                    <a:pt x="7108" y="11204"/>
                    <a:pt x="7108" y="11302"/>
                  </a:cubicBezTo>
                  <a:cubicBezTo>
                    <a:pt x="7108" y="11399"/>
                    <a:pt x="7170" y="11478"/>
                    <a:pt x="7247" y="11478"/>
                  </a:cubicBezTo>
                  <a:cubicBezTo>
                    <a:pt x="7323" y="11478"/>
                    <a:pt x="7384" y="11399"/>
                    <a:pt x="7384" y="11302"/>
                  </a:cubicBezTo>
                  <a:cubicBezTo>
                    <a:pt x="7384" y="11204"/>
                    <a:pt x="7323" y="11124"/>
                    <a:pt x="7247" y="11124"/>
                  </a:cubicBezTo>
                  <a:close/>
                  <a:moveTo>
                    <a:pt x="7616" y="11124"/>
                  </a:moveTo>
                  <a:cubicBezTo>
                    <a:pt x="7540" y="11124"/>
                    <a:pt x="7478" y="11204"/>
                    <a:pt x="7478" y="11302"/>
                  </a:cubicBezTo>
                  <a:cubicBezTo>
                    <a:pt x="7478" y="11399"/>
                    <a:pt x="7540" y="11478"/>
                    <a:pt x="7616" y="11478"/>
                  </a:cubicBezTo>
                  <a:cubicBezTo>
                    <a:pt x="7693" y="11478"/>
                    <a:pt x="7754" y="11399"/>
                    <a:pt x="7754" y="11302"/>
                  </a:cubicBezTo>
                  <a:cubicBezTo>
                    <a:pt x="7754" y="11204"/>
                    <a:pt x="7693" y="11124"/>
                    <a:pt x="7616" y="11124"/>
                  </a:cubicBezTo>
                  <a:close/>
                  <a:moveTo>
                    <a:pt x="8027" y="11124"/>
                  </a:moveTo>
                  <a:cubicBezTo>
                    <a:pt x="7951" y="11124"/>
                    <a:pt x="7889" y="11204"/>
                    <a:pt x="7889" y="11302"/>
                  </a:cubicBezTo>
                  <a:cubicBezTo>
                    <a:pt x="7889" y="11399"/>
                    <a:pt x="7951" y="11478"/>
                    <a:pt x="8027" y="11478"/>
                  </a:cubicBezTo>
                  <a:cubicBezTo>
                    <a:pt x="8104" y="11478"/>
                    <a:pt x="8165" y="11399"/>
                    <a:pt x="8165" y="11302"/>
                  </a:cubicBezTo>
                  <a:cubicBezTo>
                    <a:pt x="8165" y="11204"/>
                    <a:pt x="8104" y="11124"/>
                    <a:pt x="8027" y="11124"/>
                  </a:cubicBezTo>
                  <a:close/>
                  <a:moveTo>
                    <a:pt x="8438" y="11124"/>
                  </a:moveTo>
                  <a:cubicBezTo>
                    <a:pt x="8362" y="11124"/>
                    <a:pt x="8299" y="11204"/>
                    <a:pt x="8299" y="11302"/>
                  </a:cubicBezTo>
                  <a:cubicBezTo>
                    <a:pt x="8299" y="11399"/>
                    <a:pt x="8362" y="11478"/>
                    <a:pt x="8438" y="11478"/>
                  </a:cubicBezTo>
                  <a:cubicBezTo>
                    <a:pt x="8515" y="11478"/>
                    <a:pt x="8576" y="11399"/>
                    <a:pt x="8576" y="11302"/>
                  </a:cubicBezTo>
                  <a:cubicBezTo>
                    <a:pt x="8576" y="11204"/>
                    <a:pt x="8515" y="11124"/>
                    <a:pt x="8438" y="11124"/>
                  </a:cubicBezTo>
                  <a:close/>
                  <a:moveTo>
                    <a:pt x="8808" y="11124"/>
                  </a:moveTo>
                  <a:cubicBezTo>
                    <a:pt x="8732" y="11124"/>
                    <a:pt x="8669" y="11204"/>
                    <a:pt x="8669" y="11302"/>
                  </a:cubicBezTo>
                  <a:cubicBezTo>
                    <a:pt x="8669" y="11399"/>
                    <a:pt x="8732" y="11478"/>
                    <a:pt x="8808" y="11478"/>
                  </a:cubicBezTo>
                  <a:cubicBezTo>
                    <a:pt x="8884" y="11478"/>
                    <a:pt x="8945" y="11399"/>
                    <a:pt x="8945" y="11302"/>
                  </a:cubicBezTo>
                  <a:cubicBezTo>
                    <a:pt x="8945" y="11204"/>
                    <a:pt x="8884" y="11124"/>
                    <a:pt x="8808" y="11124"/>
                  </a:cubicBezTo>
                  <a:close/>
                  <a:moveTo>
                    <a:pt x="9219" y="11124"/>
                  </a:moveTo>
                  <a:cubicBezTo>
                    <a:pt x="9142" y="11124"/>
                    <a:pt x="9080" y="11204"/>
                    <a:pt x="9080" y="11302"/>
                  </a:cubicBezTo>
                  <a:cubicBezTo>
                    <a:pt x="9080" y="11399"/>
                    <a:pt x="9142" y="11478"/>
                    <a:pt x="9219" y="11478"/>
                  </a:cubicBezTo>
                  <a:cubicBezTo>
                    <a:pt x="9295" y="11478"/>
                    <a:pt x="9356" y="11399"/>
                    <a:pt x="9356" y="11302"/>
                  </a:cubicBezTo>
                  <a:cubicBezTo>
                    <a:pt x="9356" y="11204"/>
                    <a:pt x="9295" y="11124"/>
                    <a:pt x="9219" y="11124"/>
                  </a:cubicBezTo>
                  <a:close/>
                  <a:moveTo>
                    <a:pt x="9589" y="11124"/>
                  </a:moveTo>
                  <a:cubicBezTo>
                    <a:pt x="9512" y="11124"/>
                    <a:pt x="9450" y="11204"/>
                    <a:pt x="9450" y="11302"/>
                  </a:cubicBezTo>
                  <a:cubicBezTo>
                    <a:pt x="9450" y="11399"/>
                    <a:pt x="9512" y="11478"/>
                    <a:pt x="9589" y="11478"/>
                  </a:cubicBezTo>
                  <a:cubicBezTo>
                    <a:pt x="9665" y="11478"/>
                    <a:pt x="9726" y="11399"/>
                    <a:pt x="9726" y="11302"/>
                  </a:cubicBezTo>
                  <a:cubicBezTo>
                    <a:pt x="9726" y="11204"/>
                    <a:pt x="9665" y="11124"/>
                    <a:pt x="9589" y="11124"/>
                  </a:cubicBezTo>
                  <a:close/>
                  <a:moveTo>
                    <a:pt x="9999" y="11124"/>
                  </a:moveTo>
                  <a:cubicBezTo>
                    <a:pt x="9923" y="11124"/>
                    <a:pt x="9861" y="11204"/>
                    <a:pt x="9861" y="11302"/>
                  </a:cubicBezTo>
                  <a:cubicBezTo>
                    <a:pt x="9861" y="11399"/>
                    <a:pt x="9923" y="11478"/>
                    <a:pt x="9999" y="11478"/>
                  </a:cubicBezTo>
                  <a:cubicBezTo>
                    <a:pt x="10076" y="11478"/>
                    <a:pt x="10137" y="11399"/>
                    <a:pt x="10137" y="11302"/>
                  </a:cubicBezTo>
                  <a:cubicBezTo>
                    <a:pt x="10137" y="11204"/>
                    <a:pt x="10076" y="11124"/>
                    <a:pt x="9999" y="11124"/>
                  </a:cubicBezTo>
                  <a:close/>
                  <a:moveTo>
                    <a:pt x="10410" y="11124"/>
                  </a:moveTo>
                  <a:cubicBezTo>
                    <a:pt x="10334" y="11124"/>
                    <a:pt x="10272" y="11204"/>
                    <a:pt x="10272" y="11302"/>
                  </a:cubicBezTo>
                  <a:cubicBezTo>
                    <a:pt x="10272" y="11399"/>
                    <a:pt x="10334" y="11478"/>
                    <a:pt x="10410" y="11478"/>
                  </a:cubicBezTo>
                  <a:cubicBezTo>
                    <a:pt x="10487" y="11478"/>
                    <a:pt x="10548" y="11399"/>
                    <a:pt x="10548" y="11302"/>
                  </a:cubicBezTo>
                  <a:cubicBezTo>
                    <a:pt x="10548" y="11204"/>
                    <a:pt x="10487" y="11124"/>
                    <a:pt x="10410" y="11124"/>
                  </a:cubicBezTo>
                  <a:close/>
                  <a:moveTo>
                    <a:pt x="10780" y="11124"/>
                  </a:moveTo>
                  <a:cubicBezTo>
                    <a:pt x="10704" y="11124"/>
                    <a:pt x="10641" y="11204"/>
                    <a:pt x="10641" y="11302"/>
                  </a:cubicBezTo>
                  <a:cubicBezTo>
                    <a:pt x="10641" y="11399"/>
                    <a:pt x="10704" y="11478"/>
                    <a:pt x="10780" y="11478"/>
                  </a:cubicBezTo>
                  <a:cubicBezTo>
                    <a:pt x="10856" y="11478"/>
                    <a:pt x="10917" y="11399"/>
                    <a:pt x="10917" y="11302"/>
                  </a:cubicBezTo>
                  <a:cubicBezTo>
                    <a:pt x="10917" y="11204"/>
                    <a:pt x="10856" y="11124"/>
                    <a:pt x="10780" y="11124"/>
                  </a:cubicBezTo>
                  <a:close/>
                  <a:moveTo>
                    <a:pt x="11191" y="11124"/>
                  </a:moveTo>
                  <a:cubicBezTo>
                    <a:pt x="11115" y="11124"/>
                    <a:pt x="11052" y="11204"/>
                    <a:pt x="11052" y="11302"/>
                  </a:cubicBezTo>
                  <a:cubicBezTo>
                    <a:pt x="11052" y="11399"/>
                    <a:pt x="11115" y="11478"/>
                    <a:pt x="11191" y="11478"/>
                  </a:cubicBezTo>
                  <a:cubicBezTo>
                    <a:pt x="11267" y="11478"/>
                    <a:pt x="11328" y="11399"/>
                    <a:pt x="11328" y="11302"/>
                  </a:cubicBezTo>
                  <a:cubicBezTo>
                    <a:pt x="11328" y="11204"/>
                    <a:pt x="11267" y="11124"/>
                    <a:pt x="11191" y="11124"/>
                  </a:cubicBezTo>
                  <a:close/>
                  <a:moveTo>
                    <a:pt x="11602" y="11124"/>
                  </a:moveTo>
                  <a:cubicBezTo>
                    <a:pt x="11526" y="11124"/>
                    <a:pt x="11463" y="11204"/>
                    <a:pt x="11463" y="11302"/>
                  </a:cubicBezTo>
                  <a:cubicBezTo>
                    <a:pt x="11463" y="11399"/>
                    <a:pt x="11526" y="11478"/>
                    <a:pt x="11602" y="11478"/>
                  </a:cubicBezTo>
                  <a:cubicBezTo>
                    <a:pt x="11678" y="11478"/>
                    <a:pt x="11739" y="11399"/>
                    <a:pt x="11739" y="11302"/>
                  </a:cubicBezTo>
                  <a:cubicBezTo>
                    <a:pt x="11739" y="11204"/>
                    <a:pt x="11678" y="11124"/>
                    <a:pt x="11602" y="11124"/>
                  </a:cubicBezTo>
                  <a:close/>
                  <a:moveTo>
                    <a:pt x="11972" y="11124"/>
                  </a:moveTo>
                  <a:cubicBezTo>
                    <a:pt x="11895" y="11124"/>
                    <a:pt x="11833" y="11204"/>
                    <a:pt x="11833" y="11302"/>
                  </a:cubicBezTo>
                  <a:cubicBezTo>
                    <a:pt x="11833" y="11399"/>
                    <a:pt x="11895" y="11478"/>
                    <a:pt x="11972" y="11478"/>
                  </a:cubicBezTo>
                  <a:cubicBezTo>
                    <a:pt x="12048" y="11478"/>
                    <a:pt x="12109" y="11399"/>
                    <a:pt x="12109" y="11302"/>
                  </a:cubicBezTo>
                  <a:cubicBezTo>
                    <a:pt x="12109" y="11204"/>
                    <a:pt x="12048" y="11124"/>
                    <a:pt x="11972" y="11124"/>
                  </a:cubicBezTo>
                  <a:close/>
                  <a:moveTo>
                    <a:pt x="12382" y="11124"/>
                  </a:moveTo>
                  <a:cubicBezTo>
                    <a:pt x="12306" y="11124"/>
                    <a:pt x="12244" y="11204"/>
                    <a:pt x="12244" y="11302"/>
                  </a:cubicBezTo>
                  <a:cubicBezTo>
                    <a:pt x="12244" y="11399"/>
                    <a:pt x="12306" y="11478"/>
                    <a:pt x="12382" y="11478"/>
                  </a:cubicBezTo>
                  <a:cubicBezTo>
                    <a:pt x="12459" y="11478"/>
                    <a:pt x="12520" y="11399"/>
                    <a:pt x="12520" y="11302"/>
                  </a:cubicBezTo>
                  <a:cubicBezTo>
                    <a:pt x="12520" y="11204"/>
                    <a:pt x="12459" y="11124"/>
                    <a:pt x="12382" y="11124"/>
                  </a:cubicBezTo>
                  <a:close/>
                  <a:moveTo>
                    <a:pt x="12752" y="11176"/>
                  </a:moveTo>
                  <a:cubicBezTo>
                    <a:pt x="12676" y="11176"/>
                    <a:pt x="12614" y="11257"/>
                    <a:pt x="12614" y="11354"/>
                  </a:cubicBezTo>
                  <a:cubicBezTo>
                    <a:pt x="12614" y="11452"/>
                    <a:pt x="12676" y="11531"/>
                    <a:pt x="12752" y="11531"/>
                  </a:cubicBezTo>
                  <a:cubicBezTo>
                    <a:pt x="12829" y="11531"/>
                    <a:pt x="12890" y="11452"/>
                    <a:pt x="12890" y="11354"/>
                  </a:cubicBezTo>
                  <a:cubicBezTo>
                    <a:pt x="12890" y="11257"/>
                    <a:pt x="12829" y="11176"/>
                    <a:pt x="12752" y="11176"/>
                  </a:cubicBezTo>
                  <a:close/>
                  <a:moveTo>
                    <a:pt x="13163" y="11176"/>
                  </a:moveTo>
                  <a:cubicBezTo>
                    <a:pt x="13087" y="11176"/>
                    <a:pt x="13024" y="11257"/>
                    <a:pt x="13024" y="11354"/>
                  </a:cubicBezTo>
                  <a:cubicBezTo>
                    <a:pt x="13024" y="11452"/>
                    <a:pt x="13087" y="11531"/>
                    <a:pt x="13163" y="11531"/>
                  </a:cubicBezTo>
                  <a:cubicBezTo>
                    <a:pt x="13240" y="11531"/>
                    <a:pt x="13301" y="11452"/>
                    <a:pt x="13301" y="11354"/>
                  </a:cubicBezTo>
                  <a:cubicBezTo>
                    <a:pt x="13301" y="11257"/>
                    <a:pt x="13240" y="11176"/>
                    <a:pt x="13163" y="11176"/>
                  </a:cubicBezTo>
                  <a:close/>
                  <a:moveTo>
                    <a:pt x="13574" y="11176"/>
                  </a:moveTo>
                  <a:cubicBezTo>
                    <a:pt x="13498" y="11176"/>
                    <a:pt x="13435" y="11257"/>
                    <a:pt x="13435" y="11354"/>
                  </a:cubicBezTo>
                  <a:cubicBezTo>
                    <a:pt x="13435" y="11452"/>
                    <a:pt x="13498" y="11531"/>
                    <a:pt x="13574" y="11531"/>
                  </a:cubicBezTo>
                  <a:cubicBezTo>
                    <a:pt x="13650" y="11531"/>
                    <a:pt x="13711" y="11452"/>
                    <a:pt x="13711" y="11354"/>
                  </a:cubicBezTo>
                  <a:cubicBezTo>
                    <a:pt x="13711" y="11257"/>
                    <a:pt x="13650" y="11176"/>
                    <a:pt x="13574" y="11176"/>
                  </a:cubicBezTo>
                  <a:close/>
                  <a:moveTo>
                    <a:pt x="13985" y="11176"/>
                  </a:moveTo>
                  <a:cubicBezTo>
                    <a:pt x="13908" y="11176"/>
                    <a:pt x="13846" y="11257"/>
                    <a:pt x="13846" y="11354"/>
                  </a:cubicBezTo>
                  <a:cubicBezTo>
                    <a:pt x="13846" y="11452"/>
                    <a:pt x="13908" y="11531"/>
                    <a:pt x="13985" y="11531"/>
                  </a:cubicBezTo>
                  <a:cubicBezTo>
                    <a:pt x="14061" y="11531"/>
                    <a:pt x="14122" y="11452"/>
                    <a:pt x="14122" y="11354"/>
                  </a:cubicBezTo>
                  <a:cubicBezTo>
                    <a:pt x="14122" y="11257"/>
                    <a:pt x="14061" y="11176"/>
                    <a:pt x="13985" y="11176"/>
                  </a:cubicBezTo>
                  <a:close/>
                  <a:moveTo>
                    <a:pt x="14355" y="11176"/>
                  </a:moveTo>
                  <a:cubicBezTo>
                    <a:pt x="14278" y="11176"/>
                    <a:pt x="14216" y="11257"/>
                    <a:pt x="14216" y="11354"/>
                  </a:cubicBezTo>
                  <a:cubicBezTo>
                    <a:pt x="14216" y="11452"/>
                    <a:pt x="14278" y="11531"/>
                    <a:pt x="14355" y="11531"/>
                  </a:cubicBezTo>
                  <a:cubicBezTo>
                    <a:pt x="14431" y="11531"/>
                    <a:pt x="14492" y="11452"/>
                    <a:pt x="14492" y="11354"/>
                  </a:cubicBezTo>
                  <a:cubicBezTo>
                    <a:pt x="14492" y="11257"/>
                    <a:pt x="14431" y="11176"/>
                    <a:pt x="14355" y="11176"/>
                  </a:cubicBezTo>
                  <a:close/>
                  <a:moveTo>
                    <a:pt x="14765" y="11176"/>
                  </a:moveTo>
                  <a:cubicBezTo>
                    <a:pt x="14689" y="11176"/>
                    <a:pt x="14627" y="11257"/>
                    <a:pt x="14627" y="11354"/>
                  </a:cubicBezTo>
                  <a:cubicBezTo>
                    <a:pt x="14627" y="11452"/>
                    <a:pt x="14689" y="11531"/>
                    <a:pt x="14765" y="11531"/>
                  </a:cubicBezTo>
                  <a:cubicBezTo>
                    <a:pt x="14842" y="11531"/>
                    <a:pt x="14903" y="11452"/>
                    <a:pt x="14903" y="11354"/>
                  </a:cubicBezTo>
                  <a:cubicBezTo>
                    <a:pt x="14903" y="11257"/>
                    <a:pt x="14842" y="11176"/>
                    <a:pt x="14765" y="11176"/>
                  </a:cubicBezTo>
                  <a:close/>
                  <a:moveTo>
                    <a:pt x="15135" y="11176"/>
                  </a:moveTo>
                  <a:cubicBezTo>
                    <a:pt x="15059" y="11176"/>
                    <a:pt x="14997" y="11257"/>
                    <a:pt x="14997" y="11354"/>
                  </a:cubicBezTo>
                  <a:cubicBezTo>
                    <a:pt x="14997" y="11452"/>
                    <a:pt x="15059" y="11531"/>
                    <a:pt x="15135" y="11531"/>
                  </a:cubicBezTo>
                  <a:cubicBezTo>
                    <a:pt x="15212" y="11531"/>
                    <a:pt x="15273" y="11452"/>
                    <a:pt x="15273" y="11354"/>
                  </a:cubicBezTo>
                  <a:cubicBezTo>
                    <a:pt x="15273" y="11257"/>
                    <a:pt x="15212" y="11176"/>
                    <a:pt x="15135" y="11176"/>
                  </a:cubicBezTo>
                  <a:close/>
                  <a:moveTo>
                    <a:pt x="15546" y="11176"/>
                  </a:moveTo>
                  <a:cubicBezTo>
                    <a:pt x="15470" y="11176"/>
                    <a:pt x="15407" y="11257"/>
                    <a:pt x="15407" y="11354"/>
                  </a:cubicBezTo>
                  <a:cubicBezTo>
                    <a:pt x="15407" y="11452"/>
                    <a:pt x="15470" y="11531"/>
                    <a:pt x="15546" y="11531"/>
                  </a:cubicBezTo>
                  <a:cubicBezTo>
                    <a:pt x="15623" y="11531"/>
                    <a:pt x="15684" y="11452"/>
                    <a:pt x="15684" y="11354"/>
                  </a:cubicBezTo>
                  <a:cubicBezTo>
                    <a:pt x="15684" y="11257"/>
                    <a:pt x="15623" y="11176"/>
                    <a:pt x="15546" y="11176"/>
                  </a:cubicBezTo>
                  <a:close/>
                  <a:moveTo>
                    <a:pt x="15957" y="11176"/>
                  </a:moveTo>
                  <a:cubicBezTo>
                    <a:pt x="15881" y="11176"/>
                    <a:pt x="15818" y="11257"/>
                    <a:pt x="15818" y="11354"/>
                  </a:cubicBezTo>
                  <a:cubicBezTo>
                    <a:pt x="15818" y="11452"/>
                    <a:pt x="15881" y="11531"/>
                    <a:pt x="15957" y="11531"/>
                  </a:cubicBezTo>
                  <a:cubicBezTo>
                    <a:pt x="16033" y="11531"/>
                    <a:pt x="16094" y="11452"/>
                    <a:pt x="16094" y="11354"/>
                  </a:cubicBezTo>
                  <a:cubicBezTo>
                    <a:pt x="16094" y="11257"/>
                    <a:pt x="16033" y="11176"/>
                    <a:pt x="15957" y="11176"/>
                  </a:cubicBezTo>
                  <a:close/>
                  <a:moveTo>
                    <a:pt x="16327" y="11176"/>
                  </a:moveTo>
                  <a:cubicBezTo>
                    <a:pt x="16250" y="11176"/>
                    <a:pt x="16188" y="11257"/>
                    <a:pt x="16188" y="11354"/>
                  </a:cubicBezTo>
                  <a:cubicBezTo>
                    <a:pt x="16188" y="11452"/>
                    <a:pt x="16250" y="11531"/>
                    <a:pt x="16327" y="11531"/>
                  </a:cubicBezTo>
                  <a:cubicBezTo>
                    <a:pt x="16403" y="11531"/>
                    <a:pt x="16464" y="11452"/>
                    <a:pt x="16464" y="11354"/>
                  </a:cubicBezTo>
                  <a:cubicBezTo>
                    <a:pt x="16464" y="11257"/>
                    <a:pt x="16403" y="11176"/>
                    <a:pt x="16327" y="11176"/>
                  </a:cubicBezTo>
                  <a:close/>
                  <a:moveTo>
                    <a:pt x="1741" y="11598"/>
                  </a:moveTo>
                  <a:cubicBezTo>
                    <a:pt x="1665" y="11598"/>
                    <a:pt x="1602" y="11678"/>
                    <a:pt x="1602" y="11776"/>
                  </a:cubicBezTo>
                  <a:cubicBezTo>
                    <a:pt x="1602" y="11874"/>
                    <a:pt x="1665" y="11952"/>
                    <a:pt x="1741" y="11952"/>
                  </a:cubicBezTo>
                  <a:cubicBezTo>
                    <a:pt x="1817" y="11952"/>
                    <a:pt x="1878" y="11874"/>
                    <a:pt x="1878" y="11776"/>
                  </a:cubicBezTo>
                  <a:cubicBezTo>
                    <a:pt x="1878" y="11678"/>
                    <a:pt x="1817" y="11598"/>
                    <a:pt x="1741" y="11598"/>
                  </a:cubicBezTo>
                  <a:close/>
                  <a:moveTo>
                    <a:pt x="2111" y="11598"/>
                  </a:moveTo>
                  <a:cubicBezTo>
                    <a:pt x="2035" y="11598"/>
                    <a:pt x="1972" y="11678"/>
                    <a:pt x="1972" y="11776"/>
                  </a:cubicBezTo>
                  <a:cubicBezTo>
                    <a:pt x="1972" y="11874"/>
                    <a:pt x="2035" y="11954"/>
                    <a:pt x="2111" y="11954"/>
                  </a:cubicBezTo>
                  <a:cubicBezTo>
                    <a:pt x="2187" y="11954"/>
                    <a:pt x="2248" y="11874"/>
                    <a:pt x="2248" y="11776"/>
                  </a:cubicBezTo>
                  <a:cubicBezTo>
                    <a:pt x="2248" y="11678"/>
                    <a:pt x="2187" y="11598"/>
                    <a:pt x="2111" y="11598"/>
                  </a:cubicBezTo>
                  <a:close/>
                  <a:moveTo>
                    <a:pt x="2522" y="11598"/>
                  </a:moveTo>
                  <a:cubicBezTo>
                    <a:pt x="2445" y="11598"/>
                    <a:pt x="2383" y="11678"/>
                    <a:pt x="2383" y="11776"/>
                  </a:cubicBezTo>
                  <a:cubicBezTo>
                    <a:pt x="2383" y="11874"/>
                    <a:pt x="2445" y="11954"/>
                    <a:pt x="2522" y="11954"/>
                  </a:cubicBezTo>
                  <a:cubicBezTo>
                    <a:pt x="2598" y="11954"/>
                    <a:pt x="2659" y="11874"/>
                    <a:pt x="2659" y="11776"/>
                  </a:cubicBezTo>
                  <a:cubicBezTo>
                    <a:pt x="2659" y="11678"/>
                    <a:pt x="2598" y="11598"/>
                    <a:pt x="2522" y="11598"/>
                  </a:cubicBezTo>
                  <a:close/>
                  <a:moveTo>
                    <a:pt x="2891" y="11598"/>
                  </a:moveTo>
                  <a:cubicBezTo>
                    <a:pt x="2815" y="11598"/>
                    <a:pt x="2753" y="11678"/>
                    <a:pt x="2753" y="11776"/>
                  </a:cubicBezTo>
                  <a:cubicBezTo>
                    <a:pt x="2753" y="11874"/>
                    <a:pt x="2815" y="11954"/>
                    <a:pt x="2891" y="11954"/>
                  </a:cubicBezTo>
                  <a:cubicBezTo>
                    <a:pt x="2968" y="11954"/>
                    <a:pt x="3029" y="11874"/>
                    <a:pt x="3029" y="11776"/>
                  </a:cubicBezTo>
                  <a:cubicBezTo>
                    <a:pt x="3029" y="11678"/>
                    <a:pt x="2968" y="11598"/>
                    <a:pt x="2891" y="11598"/>
                  </a:cubicBezTo>
                  <a:close/>
                  <a:moveTo>
                    <a:pt x="3302" y="11598"/>
                  </a:moveTo>
                  <a:cubicBezTo>
                    <a:pt x="3226" y="11598"/>
                    <a:pt x="3164" y="11678"/>
                    <a:pt x="3164" y="11776"/>
                  </a:cubicBezTo>
                  <a:cubicBezTo>
                    <a:pt x="3164" y="11874"/>
                    <a:pt x="3226" y="11952"/>
                    <a:pt x="3302" y="11952"/>
                  </a:cubicBezTo>
                  <a:cubicBezTo>
                    <a:pt x="3379" y="11952"/>
                    <a:pt x="3440" y="11874"/>
                    <a:pt x="3440" y="11776"/>
                  </a:cubicBezTo>
                  <a:cubicBezTo>
                    <a:pt x="3440" y="11678"/>
                    <a:pt x="3379" y="11598"/>
                    <a:pt x="3302" y="11598"/>
                  </a:cubicBezTo>
                  <a:close/>
                  <a:moveTo>
                    <a:pt x="3713" y="11651"/>
                  </a:moveTo>
                  <a:cubicBezTo>
                    <a:pt x="3637" y="11651"/>
                    <a:pt x="3575" y="11731"/>
                    <a:pt x="3575" y="11829"/>
                  </a:cubicBezTo>
                  <a:cubicBezTo>
                    <a:pt x="3575" y="11927"/>
                    <a:pt x="3637" y="12005"/>
                    <a:pt x="3713" y="12005"/>
                  </a:cubicBezTo>
                  <a:cubicBezTo>
                    <a:pt x="3790" y="12005"/>
                    <a:pt x="3851" y="11927"/>
                    <a:pt x="3851" y="11829"/>
                  </a:cubicBezTo>
                  <a:cubicBezTo>
                    <a:pt x="3851" y="11731"/>
                    <a:pt x="3790" y="11651"/>
                    <a:pt x="3713" y="11651"/>
                  </a:cubicBezTo>
                  <a:close/>
                  <a:moveTo>
                    <a:pt x="4453" y="11651"/>
                  </a:moveTo>
                  <a:cubicBezTo>
                    <a:pt x="4376" y="11651"/>
                    <a:pt x="4314" y="11731"/>
                    <a:pt x="4314" y="11829"/>
                  </a:cubicBezTo>
                  <a:cubicBezTo>
                    <a:pt x="4314" y="11927"/>
                    <a:pt x="4376" y="12007"/>
                    <a:pt x="4453" y="12007"/>
                  </a:cubicBezTo>
                  <a:cubicBezTo>
                    <a:pt x="4529" y="12007"/>
                    <a:pt x="4590" y="11927"/>
                    <a:pt x="4590" y="11829"/>
                  </a:cubicBezTo>
                  <a:cubicBezTo>
                    <a:pt x="4590" y="11731"/>
                    <a:pt x="4529" y="11651"/>
                    <a:pt x="4453" y="11651"/>
                  </a:cubicBezTo>
                  <a:close/>
                  <a:moveTo>
                    <a:pt x="4864" y="11651"/>
                  </a:moveTo>
                  <a:cubicBezTo>
                    <a:pt x="4787" y="11651"/>
                    <a:pt x="4725" y="11731"/>
                    <a:pt x="4725" y="11829"/>
                  </a:cubicBezTo>
                  <a:cubicBezTo>
                    <a:pt x="4725" y="11927"/>
                    <a:pt x="4787" y="12007"/>
                    <a:pt x="4864" y="12007"/>
                  </a:cubicBezTo>
                  <a:cubicBezTo>
                    <a:pt x="4940" y="12007"/>
                    <a:pt x="5001" y="11927"/>
                    <a:pt x="5001" y="11829"/>
                  </a:cubicBezTo>
                  <a:cubicBezTo>
                    <a:pt x="5001" y="11731"/>
                    <a:pt x="4940" y="11651"/>
                    <a:pt x="4864" y="11651"/>
                  </a:cubicBezTo>
                  <a:close/>
                  <a:moveTo>
                    <a:pt x="5274" y="11651"/>
                  </a:moveTo>
                  <a:cubicBezTo>
                    <a:pt x="5198" y="11651"/>
                    <a:pt x="5136" y="11731"/>
                    <a:pt x="5136" y="11829"/>
                  </a:cubicBezTo>
                  <a:cubicBezTo>
                    <a:pt x="5136" y="11927"/>
                    <a:pt x="5198" y="12007"/>
                    <a:pt x="5274" y="12007"/>
                  </a:cubicBezTo>
                  <a:cubicBezTo>
                    <a:pt x="5351" y="12007"/>
                    <a:pt x="5412" y="11927"/>
                    <a:pt x="5412" y="11829"/>
                  </a:cubicBezTo>
                  <a:cubicBezTo>
                    <a:pt x="5412" y="11731"/>
                    <a:pt x="5351" y="11651"/>
                    <a:pt x="5274" y="11651"/>
                  </a:cubicBezTo>
                  <a:close/>
                  <a:moveTo>
                    <a:pt x="5644" y="11651"/>
                  </a:moveTo>
                  <a:cubicBezTo>
                    <a:pt x="5568" y="11651"/>
                    <a:pt x="5506" y="11731"/>
                    <a:pt x="5506" y="11829"/>
                  </a:cubicBezTo>
                  <a:cubicBezTo>
                    <a:pt x="5506" y="11927"/>
                    <a:pt x="5568" y="12007"/>
                    <a:pt x="5644" y="12007"/>
                  </a:cubicBezTo>
                  <a:cubicBezTo>
                    <a:pt x="5720" y="12007"/>
                    <a:pt x="5782" y="11927"/>
                    <a:pt x="5782" y="11829"/>
                  </a:cubicBezTo>
                  <a:cubicBezTo>
                    <a:pt x="5782" y="11731"/>
                    <a:pt x="5720" y="11651"/>
                    <a:pt x="5644" y="11651"/>
                  </a:cubicBezTo>
                  <a:close/>
                  <a:moveTo>
                    <a:pt x="6055" y="11651"/>
                  </a:moveTo>
                  <a:cubicBezTo>
                    <a:pt x="5979" y="11651"/>
                    <a:pt x="5916" y="11731"/>
                    <a:pt x="5916" y="11829"/>
                  </a:cubicBezTo>
                  <a:cubicBezTo>
                    <a:pt x="5916" y="11927"/>
                    <a:pt x="5979" y="12007"/>
                    <a:pt x="6055" y="12007"/>
                  </a:cubicBezTo>
                  <a:cubicBezTo>
                    <a:pt x="6132" y="12007"/>
                    <a:pt x="6193" y="11927"/>
                    <a:pt x="6193" y="11829"/>
                  </a:cubicBezTo>
                  <a:cubicBezTo>
                    <a:pt x="6193" y="11731"/>
                    <a:pt x="6132" y="11651"/>
                    <a:pt x="6055" y="11651"/>
                  </a:cubicBezTo>
                  <a:close/>
                  <a:moveTo>
                    <a:pt x="6425" y="11651"/>
                  </a:moveTo>
                  <a:cubicBezTo>
                    <a:pt x="6349" y="11651"/>
                    <a:pt x="6286" y="11731"/>
                    <a:pt x="6286" y="11829"/>
                  </a:cubicBezTo>
                  <a:cubicBezTo>
                    <a:pt x="6286" y="11927"/>
                    <a:pt x="6349" y="12007"/>
                    <a:pt x="6425" y="12007"/>
                  </a:cubicBezTo>
                  <a:cubicBezTo>
                    <a:pt x="6501" y="12007"/>
                    <a:pt x="6562" y="11927"/>
                    <a:pt x="6562" y="11829"/>
                  </a:cubicBezTo>
                  <a:cubicBezTo>
                    <a:pt x="6562" y="11731"/>
                    <a:pt x="6501" y="11651"/>
                    <a:pt x="6425" y="11651"/>
                  </a:cubicBezTo>
                  <a:close/>
                  <a:moveTo>
                    <a:pt x="6836" y="11651"/>
                  </a:moveTo>
                  <a:cubicBezTo>
                    <a:pt x="6759" y="11651"/>
                    <a:pt x="6697" y="11731"/>
                    <a:pt x="6697" y="11829"/>
                  </a:cubicBezTo>
                  <a:cubicBezTo>
                    <a:pt x="6697" y="11927"/>
                    <a:pt x="6759" y="12007"/>
                    <a:pt x="6836" y="12007"/>
                  </a:cubicBezTo>
                  <a:cubicBezTo>
                    <a:pt x="6912" y="12007"/>
                    <a:pt x="6973" y="11927"/>
                    <a:pt x="6973" y="11829"/>
                  </a:cubicBezTo>
                  <a:cubicBezTo>
                    <a:pt x="6973" y="11731"/>
                    <a:pt x="6912" y="11651"/>
                    <a:pt x="6836" y="11651"/>
                  </a:cubicBezTo>
                  <a:close/>
                  <a:moveTo>
                    <a:pt x="7247" y="11651"/>
                  </a:moveTo>
                  <a:cubicBezTo>
                    <a:pt x="7170" y="11651"/>
                    <a:pt x="7108" y="11731"/>
                    <a:pt x="7108" y="11829"/>
                  </a:cubicBezTo>
                  <a:cubicBezTo>
                    <a:pt x="7108" y="11927"/>
                    <a:pt x="7170" y="12007"/>
                    <a:pt x="7247" y="12007"/>
                  </a:cubicBezTo>
                  <a:cubicBezTo>
                    <a:pt x="7323" y="12007"/>
                    <a:pt x="7384" y="11927"/>
                    <a:pt x="7384" y="11829"/>
                  </a:cubicBezTo>
                  <a:cubicBezTo>
                    <a:pt x="7384" y="11731"/>
                    <a:pt x="7323" y="11651"/>
                    <a:pt x="7247" y="11651"/>
                  </a:cubicBezTo>
                  <a:close/>
                  <a:moveTo>
                    <a:pt x="7616" y="11651"/>
                  </a:moveTo>
                  <a:cubicBezTo>
                    <a:pt x="7540" y="11651"/>
                    <a:pt x="7478" y="11731"/>
                    <a:pt x="7478" y="11829"/>
                  </a:cubicBezTo>
                  <a:cubicBezTo>
                    <a:pt x="7478" y="11927"/>
                    <a:pt x="7540" y="12007"/>
                    <a:pt x="7616" y="12007"/>
                  </a:cubicBezTo>
                  <a:cubicBezTo>
                    <a:pt x="7693" y="12007"/>
                    <a:pt x="7754" y="11927"/>
                    <a:pt x="7754" y="11829"/>
                  </a:cubicBezTo>
                  <a:cubicBezTo>
                    <a:pt x="7754" y="11731"/>
                    <a:pt x="7693" y="11651"/>
                    <a:pt x="7616" y="11651"/>
                  </a:cubicBezTo>
                  <a:close/>
                  <a:moveTo>
                    <a:pt x="8027" y="11651"/>
                  </a:moveTo>
                  <a:cubicBezTo>
                    <a:pt x="7951" y="11651"/>
                    <a:pt x="7889" y="11731"/>
                    <a:pt x="7889" y="11829"/>
                  </a:cubicBezTo>
                  <a:cubicBezTo>
                    <a:pt x="7889" y="11927"/>
                    <a:pt x="7951" y="12007"/>
                    <a:pt x="8027" y="12007"/>
                  </a:cubicBezTo>
                  <a:cubicBezTo>
                    <a:pt x="8104" y="12007"/>
                    <a:pt x="8165" y="11927"/>
                    <a:pt x="8165" y="11829"/>
                  </a:cubicBezTo>
                  <a:cubicBezTo>
                    <a:pt x="8165" y="11731"/>
                    <a:pt x="8104" y="11651"/>
                    <a:pt x="8027" y="11651"/>
                  </a:cubicBezTo>
                  <a:close/>
                  <a:moveTo>
                    <a:pt x="8438" y="11651"/>
                  </a:moveTo>
                  <a:cubicBezTo>
                    <a:pt x="8362" y="11651"/>
                    <a:pt x="8299" y="11731"/>
                    <a:pt x="8299" y="11829"/>
                  </a:cubicBezTo>
                  <a:cubicBezTo>
                    <a:pt x="8299" y="11927"/>
                    <a:pt x="8362" y="12007"/>
                    <a:pt x="8438" y="12007"/>
                  </a:cubicBezTo>
                  <a:cubicBezTo>
                    <a:pt x="8515" y="12007"/>
                    <a:pt x="8576" y="11927"/>
                    <a:pt x="8576" y="11829"/>
                  </a:cubicBezTo>
                  <a:cubicBezTo>
                    <a:pt x="8576" y="11731"/>
                    <a:pt x="8515" y="11651"/>
                    <a:pt x="8438" y="11651"/>
                  </a:cubicBezTo>
                  <a:close/>
                  <a:moveTo>
                    <a:pt x="8808" y="11651"/>
                  </a:moveTo>
                  <a:cubicBezTo>
                    <a:pt x="8732" y="11651"/>
                    <a:pt x="8669" y="11731"/>
                    <a:pt x="8669" y="11829"/>
                  </a:cubicBezTo>
                  <a:cubicBezTo>
                    <a:pt x="8669" y="11927"/>
                    <a:pt x="8732" y="12007"/>
                    <a:pt x="8808" y="12007"/>
                  </a:cubicBezTo>
                  <a:cubicBezTo>
                    <a:pt x="8884" y="12007"/>
                    <a:pt x="8945" y="11927"/>
                    <a:pt x="8945" y="11829"/>
                  </a:cubicBezTo>
                  <a:cubicBezTo>
                    <a:pt x="8945" y="11731"/>
                    <a:pt x="8884" y="11651"/>
                    <a:pt x="8808" y="11651"/>
                  </a:cubicBezTo>
                  <a:close/>
                  <a:moveTo>
                    <a:pt x="9219" y="11651"/>
                  </a:moveTo>
                  <a:cubicBezTo>
                    <a:pt x="9142" y="11651"/>
                    <a:pt x="9080" y="11731"/>
                    <a:pt x="9080" y="11829"/>
                  </a:cubicBezTo>
                  <a:cubicBezTo>
                    <a:pt x="9080" y="11927"/>
                    <a:pt x="9142" y="12007"/>
                    <a:pt x="9219" y="12007"/>
                  </a:cubicBezTo>
                  <a:cubicBezTo>
                    <a:pt x="9295" y="12007"/>
                    <a:pt x="9356" y="11927"/>
                    <a:pt x="9356" y="11829"/>
                  </a:cubicBezTo>
                  <a:cubicBezTo>
                    <a:pt x="9356" y="11731"/>
                    <a:pt x="9295" y="11651"/>
                    <a:pt x="9219" y="11651"/>
                  </a:cubicBezTo>
                  <a:close/>
                  <a:moveTo>
                    <a:pt x="9589" y="11651"/>
                  </a:moveTo>
                  <a:cubicBezTo>
                    <a:pt x="9512" y="11651"/>
                    <a:pt x="9450" y="11731"/>
                    <a:pt x="9450" y="11829"/>
                  </a:cubicBezTo>
                  <a:cubicBezTo>
                    <a:pt x="9450" y="11927"/>
                    <a:pt x="9512" y="12007"/>
                    <a:pt x="9589" y="12007"/>
                  </a:cubicBezTo>
                  <a:cubicBezTo>
                    <a:pt x="9665" y="12007"/>
                    <a:pt x="9726" y="11927"/>
                    <a:pt x="9726" y="11829"/>
                  </a:cubicBezTo>
                  <a:cubicBezTo>
                    <a:pt x="9726" y="11731"/>
                    <a:pt x="9665" y="11651"/>
                    <a:pt x="9589" y="11651"/>
                  </a:cubicBezTo>
                  <a:close/>
                  <a:moveTo>
                    <a:pt x="9999" y="11651"/>
                  </a:moveTo>
                  <a:cubicBezTo>
                    <a:pt x="9923" y="11651"/>
                    <a:pt x="9861" y="11731"/>
                    <a:pt x="9861" y="11829"/>
                  </a:cubicBezTo>
                  <a:cubicBezTo>
                    <a:pt x="9861" y="11927"/>
                    <a:pt x="9923" y="12007"/>
                    <a:pt x="9999" y="12007"/>
                  </a:cubicBezTo>
                  <a:cubicBezTo>
                    <a:pt x="10076" y="12007"/>
                    <a:pt x="10137" y="11927"/>
                    <a:pt x="10137" y="11829"/>
                  </a:cubicBezTo>
                  <a:cubicBezTo>
                    <a:pt x="10137" y="11731"/>
                    <a:pt x="10076" y="11651"/>
                    <a:pt x="9999" y="11651"/>
                  </a:cubicBezTo>
                  <a:close/>
                  <a:moveTo>
                    <a:pt x="10410" y="11651"/>
                  </a:moveTo>
                  <a:cubicBezTo>
                    <a:pt x="10334" y="11651"/>
                    <a:pt x="10272" y="11731"/>
                    <a:pt x="10272" y="11829"/>
                  </a:cubicBezTo>
                  <a:cubicBezTo>
                    <a:pt x="10272" y="11927"/>
                    <a:pt x="10334" y="12007"/>
                    <a:pt x="10410" y="12007"/>
                  </a:cubicBezTo>
                  <a:cubicBezTo>
                    <a:pt x="10487" y="12007"/>
                    <a:pt x="10548" y="11927"/>
                    <a:pt x="10548" y="11829"/>
                  </a:cubicBezTo>
                  <a:cubicBezTo>
                    <a:pt x="10548" y="11731"/>
                    <a:pt x="10487" y="11651"/>
                    <a:pt x="10410" y="11651"/>
                  </a:cubicBezTo>
                  <a:close/>
                  <a:moveTo>
                    <a:pt x="10780" y="11651"/>
                  </a:moveTo>
                  <a:cubicBezTo>
                    <a:pt x="10704" y="11651"/>
                    <a:pt x="10641" y="11731"/>
                    <a:pt x="10641" y="11829"/>
                  </a:cubicBezTo>
                  <a:cubicBezTo>
                    <a:pt x="10641" y="11927"/>
                    <a:pt x="10704" y="12007"/>
                    <a:pt x="10780" y="12007"/>
                  </a:cubicBezTo>
                  <a:cubicBezTo>
                    <a:pt x="10856" y="12007"/>
                    <a:pt x="10917" y="11927"/>
                    <a:pt x="10917" y="11829"/>
                  </a:cubicBezTo>
                  <a:cubicBezTo>
                    <a:pt x="10917" y="11731"/>
                    <a:pt x="10856" y="11651"/>
                    <a:pt x="10780" y="11651"/>
                  </a:cubicBezTo>
                  <a:close/>
                  <a:moveTo>
                    <a:pt x="11191" y="11651"/>
                  </a:moveTo>
                  <a:cubicBezTo>
                    <a:pt x="11115" y="11651"/>
                    <a:pt x="11052" y="11731"/>
                    <a:pt x="11052" y="11829"/>
                  </a:cubicBezTo>
                  <a:cubicBezTo>
                    <a:pt x="11052" y="11927"/>
                    <a:pt x="11115" y="12007"/>
                    <a:pt x="11191" y="12007"/>
                  </a:cubicBezTo>
                  <a:cubicBezTo>
                    <a:pt x="11267" y="12007"/>
                    <a:pt x="11328" y="11927"/>
                    <a:pt x="11328" y="11829"/>
                  </a:cubicBezTo>
                  <a:cubicBezTo>
                    <a:pt x="11328" y="11731"/>
                    <a:pt x="11267" y="11651"/>
                    <a:pt x="11191" y="11651"/>
                  </a:cubicBezTo>
                  <a:close/>
                  <a:moveTo>
                    <a:pt x="11602" y="11651"/>
                  </a:moveTo>
                  <a:cubicBezTo>
                    <a:pt x="11526" y="11651"/>
                    <a:pt x="11463" y="11731"/>
                    <a:pt x="11463" y="11829"/>
                  </a:cubicBezTo>
                  <a:cubicBezTo>
                    <a:pt x="11463" y="11927"/>
                    <a:pt x="11526" y="12007"/>
                    <a:pt x="11602" y="12007"/>
                  </a:cubicBezTo>
                  <a:cubicBezTo>
                    <a:pt x="11678" y="12007"/>
                    <a:pt x="11739" y="11927"/>
                    <a:pt x="11739" y="11829"/>
                  </a:cubicBezTo>
                  <a:cubicBezTo>
                    <a:pt x="11739" y="11731"/>
                    <a:pt x="11678" y="11651"/>
                    <a:pt x="11602" y="11651"/>
                  </a:cubicBezTo>
                  <a:close/>
                  <a:moveTo>
                    <a:pt x="11972" y="11651"/>
                  </a:moveTo>
                  <a:cubicBezTo>
                    <a:pt x="11895" y="11651"/>
                    <a:pt x="11833" y="11731"/>
                    <a:pt x="11833" y="11829"/>
                  </a:cubicBezTo>
                  <a:cubicBezTo>
                    <a:pt x="11833" y="11927"/>
                    <a:pt x="11895" y="12007"/>
                    <a:pt x="11972" y="12007"/>
                  </a:cubicBezTo>
                  <a:cubicBezTo>
                    <a:pt x="12048" y="12007"/>
                    <a:pt x="12109" y="11927"/>
                    <a:pt x="12109" y="11829"/>
                  </a:cubicBezTo>
                  <a:cubicBezTo>
                    <a:pt x="12109" y="11731"/>
                    <a:pt x="12048" y="11651"/>
                    <a:pt x="11972" y="11651"/>
                  </a:cubicBezTo>
                  <a:close/>
                  <a:moveTo>
                    <a:pt x="12382" y="11651"/>
                  </a:moveTo>
                  <a:cubicBezTo>
                    <a:pt x="12306" y="11651"/>
                    <a:pt x="12244" y="11731"/>
                    <a:pt x="12244" y="11829"/>
                  </a:cubicBezTo>
                  <a:cubicBezTo>
                    <a:pt x="12244" y="11927"/>
                    <a:pt x="12306" y="12007"/>
                    <a:pt x="12382" y="12007"/>
                  </a:cubicBezTo>
                  <a:cubicBezTo>
                    <a:pt x="12459" y="12007"/>
                    <a:pt x="12520" y="11927"/>
                    <a:pt x="12520" y="11829"/>
                  </a:cubicBezTo>
                  <a:cubicBezTo>
                    <a:pt x="12520" y="11731"/>
                    <a:pt x="12459" y="11651"/>
                    <a:pt x="12382" y="11651"/>
                  </a:cubicBezTo>
                  <a:close/>
                  <a:moveTo>
                    <a:pt x="12752" y="11704"/>
                  </a:moveTo>
                  <a:cubicBezTo>
                    <a:pt x="12676" y="11704"/>
                    <a:pt x="12614" y="11783"/>
                    <a:pt x="12614" y="11882"/>
                  </a:cubicBezTo>
                  <a:cubicBezTo>
                    <a:pt x="12614" y="11979"/>
                    <a:pt x="12676" y="12058"/>
                    <a:pt x="12752" y="12058"/>
                  </a:cubicBezTo>
                  <a:cubicBezTo>
                    <a:pt x="12829" y="12058"/>
                    <a:pt x="12890" y="11979"/>
                    <a:pt x="12890" y="11882"/>
                  </a:cubicBezTo>
                  <a:cubicBezTo>
                    <a:pt x="12890" y="11783"/>
                    <a:pt x="12829" y="11704"/>
                    <a:pt x="12752" y="11704"/>
                  </a:cubicBezTo>
                  <a:close/>
                  <a:moveTo>
                    <a:pt x="13163" y="11704"/>
                  </a:moveTo>
                  <a:cubicBezTo>
                    <a:pt x="13087" y="11704"/>
                    <a:pt x="13024" y="11783"/>
                    <a:pt x="13024" y="11882"/>
                  </a:cubicBezTo>
                  <a:cubicBezTo>
                    <a:pt x="13024" y="11979"/>
                    <a:pt x="13087" y="12058"/>
                    <a:pt x="13163" y="12058"/>
                  </a:cubicBezTo>
                  <a:cubicBezTo>
                    <a:pt x="13240" y="12058"/>
                    <a:pt x="13301" y="11979"/>
                    <a:pt x="13301" y="11882"/>
                  </a:cubicBezTo>
                  <a:cubicBezTo>
                    <a:pt x="13301" y="11783"/>
                    <a:pt x="13240" y="11704"/>
                    <a:pt x="13163" y="11704"/>
                  </a:cubicBezTo>
                  <a:close/>
                  <a:moveTo>
                    <a:pt x="13574" y="11704"/>
                  </a:moveTo>
                  <a:cubicBezTo>
                    <a:pt x="13498" y="11704"/>
                    <a:pt x="13435" y="11783"/>
                    <a:pt x="13435" y="11882"/>
                  </a:cubicBezTo>
                  <a:cubicBezTo>
                    <a:pt x="13435" y="11979"/>
                    <a:pt x="13498" y="12058"/>
                    <a:pt x="13574" y="12058"/>
                  </a:cubicBezTo>
                  <a:cubicBezTo>
                    <a:pt x="13650" y="12058"/>
                    <a:pt x="13711" y="11979"/>
                    <a:pt x="13711" y="11882"/>
                  </a:cubicBezTo>
                  <a:cubicBezTo>
                    <a:pt x="13711" y="11783"/>
                    <a:pt x="13650" y="11704"/>
                    <a:pt x="13574" y="11704"/>
                  </a:cubicBezTo>
                  <a:close/>
                  <a:moveTo>
                    <a:pt x="13985" y="11704"/>
                  </a:moveTo>
                  <a:cubicBezTo>
                    <a:pt x="13908" y="11704"/>
                    <a:pt x="13846" y="11783"/>
                    <a:pt x="13846" y="11882"/>
                  </a:cubicBezTo>
                  <a:cubicBezTo>
                    <a:pt x="13846" y="11979"/>
                    <a:pt x="13908" y="12058"/>
                    <a:pt x="13985" y="12058"/>
                  </a:cubicBezTo>
                  <a:cubicBezTo>
                    <a:pt x="14061" y="12058"/>
                    <a:pt x="14122" y="11979"/>
                    <a:pt x="14122" y="11882"/>
                  </a:cubicBezTo>
                  <a:cubicBezTo>
                    <a:pt x="14122" y="11783"/>
                    <a:pt x="14061" y="11704"/>
                    <a:pt x="13985" y="11704"/>
                  </a:cubicBezTo>
                  <a:close/>
                  <a:moveTo>
                    <a:pt x="14355" y="11704"/>
                  </a:moveTo>
                  <a:cubicBezTo>
                    <a:pt x="14278" y="11704"/>
                    <a:pt x="14216" y="11783"/>
                    <a:pt x="14216" y="11882"/>
                  </a:cubicBezTo>
                  <a:cubicBezTo>
                    <a:pt x="14216" y="11979"/>
                    <a:pt x="14278" y="12058"/>
                    <a:pt x="14355" y="12058"/>
                  </a:cubicBezTo>
                  <a:cubicBezTo>
                    <a:pt x="14431" y="12058"/>
                    <a:pt x="14492" y="11979"/>
                    <a:pt x="14492" y="11882"/>
                  </a:cubicBezTo>
                  <a:cubicBezTo>
                    <a:pt x="14492" y="11783"/>
                    <a:pt x="14431" y="11704"/>
                    <a:pt x="14355" y="11704"/>
                  </a:cubicBezTo>
                  <a:close/>
                  <a:moveTo>
                    <a:pt x="14765" y="11704"/>
                  </a:moveTo>
                  <a:cubicBezTo>
                    <a:pt x="14689" y="11704"/>
                    <a:pt x="14627" y="11783"/>
                    <a:pt x="14627" y="11882"/>
                  </a:cubicBezTo>
                  <a:cubicBezTo>
                    <a:pt x="14627" y="11979"/>
                    <a:pt x="14689" y="12058"/>
                    <a:pt x="14765" y="12058"/>
                  </a:cubicBezTo>
                  <a:cubicBezTo>
                    <a:pt x="14842" y="12058"/>
                    <a:pt x="14903" y="11979"/>
                    <a:pt x="14903" y="11882"/>
                  </a:cubicBezTo>
                  <a:cubicBezTo>
                    <a:pt x="14903" y="11783"/>
                    <a:pt x="14842" y="11704"/>
                    <a:pt x="14765" y="11704"/>
                  </a:cubicBezTo>
                  <a:close/>
                  <a:moveTo>
                    <a:pt x="15135" y="11704"/>
                  </a:moveTo>
                  <a:cubicBezTo>
                    <a:pt x="15059" y="11704"/>
                    <a:pt x="14997" y="11783"/>
                    <a:pt x="14997" y="11882"/>
                  </a:cubicBezTo>
                  <a:cubicBezTo>
                    <a:pt x="14997" y="11979"/>
                    <a:pt x="15059" y="12058"/>
                    <a:pt x="15135" y="12058"/>
                  </a:cubicBezTo>
                  <a:cubicBezTo>
                    <a:pt x="15212" y="12058"/>
                    <a:pt x="15273" y="11979"/>
                    <a:pt x="15273" y="11882"/>
                  </a:cubicBezTo>
                  <a:cubicBezTo>
                    <a:pt x="15273" y="11783"/>
                    <a:pt x="15212" y="11704"/>
                    <a:pt x="15135" y="11704"/>
                  </a:cubicBezTo>
                  <a:close/>
                  <a:moveTo>
                    <a:pt x="15546" y="11704"/>
                  </a:moveTo>
                  <a:cubicBezTo>
                    <a:pt x="15470" y="11704"/>
                    <a:pt x="15407" y="11783"/>
                    <a:pt x="15407" y="11882"/>
                  </a:cubicBezTo>
                  <a:cubicBezTo>
                    <a:pt x="15407" y="11979"/>
                    <a:pt x="15470" y="12058"/>
                    <a:pt x="15546" y="12058"/>
                  </a:cubicBezTo>
                  <a:cubicBezTo>
                    <a:pt x="15623" y="12058"/>
                    <a:pt x="15684" y="11979"/>
                    <a:pt x="15684" y="11882"/>
                  </a:cubicBezTo>
                  <a:cubicBezTo>
                    <a:pt x="15684" y="11783"/>
                    <a:pt x="15623" y="11704"/>
                    <a:pt x="15546" y="11704"/>
                  </a:cubicBezTo>
                  <a:close/>
                  <a:moveTo>
                    <a:pt x="15957" y="11704"/>
                  </a:moveTo>
                  <a:cubicBezTo>
                    <a:pt x="15881" y="11704"/>
                    <a:pt x="15818" y="11783"/>
                    <a:pt x="15818" y="11882"/>
                  </a:cubicBezTo>
                  <a:cubicBezTo>
                    <a:pt x="15818" y="11979"/>
                    <a:pt x="15881" y="12058"/>
                    <a:pt x="15957" y="12058"/>
                  </a:cubicBezTo>
                  <a:cubicBezTo>
                    <a:pt x="16033" y="12058"/>
                    <a:pt x="16094" y="11979"/>
                    <a:pt x="16094" y="11882"/>
                  </a:cubicBezTo>
                  <a:cubicBezTo>
                    <a:pt x="16094" y="11783"/>
                    <a:pt x="16033" y="11704"/>
                    <a:pt x="15957" y="11704"/>
                  </a:cubicBezTo>
                  <a:close/>
                  <a:moveTo>
                    <a:pt x="16327" y="11704"/>
                  </a:moveTo>
                  <a:cubicBezTo>
                    <a:pt x="16250" y="11704"/>
                    <a:pt x="16188" y="11783"/>
                    <a:pt x="16188" y="11882"/>
                  </a:cubicBezTo>
                  <a:cubicBezTo>
                    <a:pt x="16188" y="11979"/>
                    <a:pt x="16250" y="12058"/>
                    <a:pt x="16327" y="12058"/>
                  </a:cubicBezTo>
                  <a:cubicBezTo>
                    <a:pt x="16403" y="12058"/>
                    <a:pt x="16464" y="11979"/>
                    <a:pt x="16464" y="11882"/>
                  </a:cubicBezTo>
                  <a:cubicBezTo>
                    <a:pt x="16464" y="11783"/>
                    <a:pt x="16403" y="11704"/>
                    <a:pt x="16327" y="11704"/>
                  </a:cubicBezTo>
                  <a:close/>
                  <a:moveTo>
                    <a:pt x="16655" y="11704"/>
                  </a:moveTo>
                  <a:cubicBezTo>
                    <a:pt x="16579" y="11704"/>
                    <a:pt x="16517" y="11783"/>
                    <a:pt x="16517" y="11882"/>
                  </a:cubicBezTo>
                  <a:cubicBezTo>
                    <a:pt x="16517" y="11979"/>
                    <a:pt x="16579" y="12058"/>
                    <a:pt x="16655" y="12058"/>
                  </a:cubicBezTo>
                  <a:cubicBezTo>
                    <a:pt x="16732" y="12058"/>
                    <a:pt x="16793" y="11979"/>
                    <a:pt x="16793" y="11882"/>
                  </a:cubicBezTo>
                  <a:cubicBezTo>
                    <a:pt x="16793" y="11783"/>
                    <a:pt x="16732" y="11704"/>
                    <a:pt x="16655" y="11704"/>
                  </a:cubicBezTo>
                  <a:close/>
                  <a:moveTo>
                    <a:pt x="3302" y="12125"/>
                  </a:moveTo>
                  <a:cubicBezTo>
                    <a:pt x="3226" y="12125"/>
                    <a:pt x="3164" y="12205"/>
                    <a:pt x="3164" y="12303"/>
                  </a:cubicBezTo>
                  <a:cubicBezTo>
                    <a:pt x="3164" y="12401"/>
                    <a:pt x="3226" y="12480"/>
                    <a:pt x="3302" y="12480"/>
                  </a:cubicBezTo>
                  <a:cubicBezTo>
                    <a:pt x="3379" y="12480"/>
                    <a:pt x="3440" y="12401"/>
                    <a:pt x="3440" y="12303"/>
                  </a:cubicBezTo>
                  <a:cubicBezTo>
                    <a:pt x="3440" y="12205"/>
                    <a:pt x="3379" y="12125"/>
                    <a:pt x="3302" y="12125"/>
                  </a:cubicBezTo>
                  <a:close/>
                  <a:moveTo>
                    <a:pt x="6425" y="12125"/>
                  </a:moveTo>
                  <a:cubicBezTo>
                    <a:pt x="6349" y="12125"/>
                    <a:pt x="6286" y="12205"/>
                    <a:pt x="6286" y="12303"/>
                  </a:cubicBezTo>
                  <a:cubicBezTo>
                    <a:pt x="6286" y="12401"/>
                    <a:pt x="6349" y="12481"/>
                    <a:pt x="6425" y="12481"/>
                  </a:cubicBezTo>
                  <a:cubicBezTo>
                    <a:pt x="6501" y="12481"/>
                    <a:pt x="6562" y="12401"/>
                    <a:pt x="6562" y="12303"/>
                  </a:cubicBezTo>
                  <a:cubicBezTo>
                    <a:pt x="6562" y="12205"/>
                    <a:pt x="6501" y="12125"/>
                    <a:pt x="6425" y="12125"/>
                  </a:cubicBezTo>
                  <a:close/>
                  <a:moveTo>
                    <a:pt x="6836" y="12125"/>
                  </a:moveTo>
                  <a:cubicBezTo>
                    <a:pt x="6759" y="12125"/>
                    <a:pt x="6697" y="12205"/>
                    <a:pt x="6697" y="12303"/>
                  </a:cubicBezTo>
                  <a:cubicBezTo>
                    <a:pt x="6697" y="12401"/>
                    <a:pt x="6759" y="12481"/>
                    <a:pt x="6836" y="12481"/>
                  </a:cubicBezTo>
                  <a:cubicBezTo>
                    <a:pt x="6912" y="12481"/>
                    <a:pt x="6973" y="12401"/>
                    <a:pt x="6973" y="12303"/>
                  </a:cubicBezTo>
                  <a:cubicBezTo>
                    <a:pt x="6973" y="12205"/>
                    <a:pt x="6912" y="12125"/>
                    <a:pt x="6836" y="12125"/>
                  </a:cubicBezTo>
                  <a:close/>
                  <a:moveTo>
                    <a:pt x="1700" y="12178"/>
                  </a:moveTo>
                  <a:cubicBezTo>
                    <a:pt x="1624" y="12178"/>
                    <a:pt x="1561" y="12258"/>
                    <a:pt x="1561" y="12356"/>
                  </a:cubicBezTo>
                  <a:cubicBezTo>
                    <a:pt x="1561" y="12454"/>
                    <a:pt x="1624" y="12534"/>
                    <a:pt x="1700" y="12534"/>
                  </a:cubicBezTo>
                  <a:cubicBezTo>
                    <a:pt x="1776" y="12534"/>
                    <a:pt x="1837" y="12454"/>
                    <a:pt x="1837" y="12356"/>
                  </a:cubicBezTo>
                  <a:cubicBezTo>
                    <a:pt x="1837" y="12258"/>
                    <a:pt x="1776" y="12178"/>
                    <a:pt x="1700" y="12178"/>
                  </a:cubicBezTo>
                  <a:close/>
                  <a:moveTo>
                    <a:pt x="2111" y="12178"/>
                  </a:moveTo>
                  <a:cubicBezTo>
                    <a:pt x="2035" y="12178"/>
                    <a:pt x="1972" y="12258"/>
                    <a:pt x="1972" y="12356"/>
                  </a:cubicBezTo>
                  <a:cubicBezTo>
                    <a:pt x="1972" y="12454"/>
                    <a:pt x="2035" y="12534"/>
                    <a:pt x="2111" y="12534"/>
                  </a:cubicBezTo>
                  <a:cubicBezTo>
                    <a:pt x="2187" y="12534"/>
                    <a:pt x="2248" y="12454"/>
                    <a:pt x="2248" y="12356"/>
                  </a:cubicBezTo>
                  <a:cubicBezTo>
                    <a:pt x="2248" y="12258"/>
                    <a:pt x="2187" y="12178"/>
                    <a:pt x="2111" y="12178"/>
                  </a:cubicBezTo>
                  <a:close/>
                  <a:moveTo>
                    <a:pt x="2522" y="12178"/>
                  </a:moveTo>
                  <a:cubicBezTo>
                    <a:pt x="2445" y="12178"/>
                    <a:pt x="2383" y="12258"/>
                    <a:pt x="2383" y="12356"/>
                  </a:cubicBezTo>
                  <a:cubicBezTo>
                    <a:pt x="2383" y="12454"/>
                    <a:pt x="2445" y="12534"/>
                    <a:pt x="2522" y="12534"/>
                  </a:cubicBezTo>
                  <a:cubicBezTo>
                    <a:pt x="2598" y="12534"/>
                    <a:pt x="2659" y="12454"/>
                    <a:pt x="2659" y="12356"/>
                  </a:cubicBezTo>
                  <a:cubicBezTo>
                    <a:pt x="2659" y="12258"/>
                    <a:pt x="2598" y="12178"/>
                    <a:pt x="2522" y="12178"/>
                  </a:cubicBezTo>
                  <a:close/>
                  <a:moveTo>
                    <a:pt x="2891" y="12178"/>
                  </a:moveTo>
                  <a:cubicBezTo>
                    <a:pt x="2815" y="12178"/>
                    <a:pt x="2753" y="12258"/>
                    <a:pt x="2753" y="12356"/>
                  </a:cubicBezTo>
                  <a:cubicBezTo>
                    <a:pt x="2753" y="12454"/>
                    <a:pt x="2815" y="12534"/>
                    <a:pt x="2891" y="12534"/>
                  </a:cubicBezTo>
                  <a:cubicBezTo>
                    <a:pt x="2968" y="12534"/>
                    <a:pt x="3029" y="12454"/>
                    <a:pt x="3029" y="12356"/>
                  </a:cubicBezTo>
                  <a:cubicBezTo>
                    <a:pt x="3029" y="12258"/>
                    <a:pt x="2968" y="12178"/>
                    <a:pt x="2891" y="12178"/>
                  </a:cubicBezTo>
                  <a:close/>
                  <a:moveTo>
                    <a:pt x="3713" y="12178"/>
                  </a:moveTo>
                  <a:cubicBezTo>
                    <a:pt x="3637" y="12178"/>
                    <a:pt x="3575" y="12258"/>
                    <a:pt x="3575" y="12356"/>
                  </a:cubicBezTo>
                  <a:cubicBezTo>
                    <a:pt x="3575" y="12454"/>
                    <a:pt x="3637" y="12532"/>
                    <a:pt x="3713" y="12532"/>
                  </a:cubicBezTo>
                  <a:cubicBezTo>
                    <a:pt x="3790" y="12532"/>
                    <a:pt x="3851" y="12454"/>
                    <a:pt x="3851" y="12356"/>
                  </a:cubicBezTo>
                  <a:cubicBezTo>
                    <a:pt x="3851" y="12258"/>
                    <a:pt x="3790" y="12178"/>
                    <a:pt x="3713" y="12178"/>
                  </a:cubicBezTo>
                  <a:close/>
                  <a:moveTo>
                    <a:pt x="4453" y="12178"/>
                  </a:moveTo>
                  <a:cubicBezTo>
                    <a:pt x="4376" y="12178"/>
                    <a:pt x="4314" y="12258"/>
                    <a:pt x="4314" y="12356"/>
                  </a:cubicBezTo>
                  <a:cubicBezTo>
                    <a:pt x="4314" y="12454"/>
                    <a:pt x="4376" y="12532"/>
                    <a:pt x="4453" y="12532"/>
                  </a:cubicBezTo>
                  <a:cubicBezTo>
                    <a:pt x="4529" y="12532"/>
                    <a:pt x="4590" y="12454"/>
                    <a:pt x="4590" y="12356"/>
                  </a:cubicBezTo>
                  <a:cubicBezTo>
                    <a:pt x="4590" y="12258"/>
                    <a:pt x="4529" y="12178"/>
                    <a:pt x="4453" y="12178"/>
                  </a:cubicBezTo>
                  <a:close/>
                  <a:moveTo>
                    <a:pt x="4864" y="12178"/>
                  </a:moveTo>
                  <a:cubicBezTo>
                    <a:pt x="4787" y="12178"/>
                    <a:pt x="4725" y="12258"/>
                    <a:pt x="4725" y="12356"/>
                  </a:cubicBezTo>
                  <a:cubicBezTo>
                    <a:pt x="4725" y="12454"/>
                    <a:pt x="4787" y="12532"/>
                    <a:pt x="4864" y="12532"/>
                  </a:cubicBezTo>
                  <a:cubicBezTo>
                    <a:pt x="4940" y="12532"/>
                    <a:pt x="5001" y="12454"/>
                    <a:pt x="5001" y="12356"/>
                  </a:cubicBezTo>
                  <a:cubicBezTo>
                    <a:pt x="5001" y="12258"/>
                    <a:pt x="4940" y="12178"/>
                    <a:pt x="4864" y="12178"/>
                  </a:cubicBezTo>
                  <a:close/>
                  <a:moveTo>
                    <a:pt x="5274" y="12178"/>
                  </a:moveTo>
                  <a:cubicBezTo>
                    <a:pt x="5198" y="12178"/>
                    <a:pt x="5136" y="12258"/>
                    <a:pt x="5136" y="12356"/>
                  </a:cubicBezTo>
                  <a:cubicBezTo>
                    <a:pt x="5136" y="12454"/>
                    <a:pt x="5198" y="12532"/>
                    <a:pt x="5274" y="12532"/>
                  </a:cubicBezTo>
                  <a:cubicBezTo>
                    <a:pt x="5351" y="12532"/>
                    <a:pt x="5412" y="12454"/>
                    <a:pt x="5412" y="12356"/>
                  </a:cubicBezTo>
                  <a:cubicBezTo>
                    <a:pt x="5412" y="12258"/>
                    <a:pt x="5351" y="12178"/>
                    <a:pt x="5274" y="12178"/>
                  </a:cubicBezTo>
                  <a:close/>
                  <a:moveTo>
                    <a:pt x="5644" y="12178"/>
                  </a:moveTo>
                  <a:cubicBezTo>
                    <a:pt x="5568" y="12178"/>
                    <a:pt x="5506" y="12258"/>
                    <a:pt x="5506" y="12356"/>
                  </a:cubicBezTo>
                  <a:cubicBezTo>
                    <a:pt x="5506" y="12454"/>
                    <a:pt x="5568" y="12532"/>
                    <a:pt x="5644" y="12532"/>
                  </a:cubicBezTo>
                  <a:cubicBezTo>
                    <a:pt x="5720" y="12532"/>
                    <a:pt x="5782" y="12454"/>
                    <a:pt x="5782" y="12356"/>
                  </a:cubicBezTo>
                  <a:cubicBezTo>
                    <a:pt x="5782" y="12258"/>
                    <a:pt x="5720" y="12178"/>
                    <a:pt x="5644" y="12178"/>
                  </a:cubicBezTo>
                  <a:close/>
                  <a:moveTo>
                    <a:pt x="6055" y="12178"/>
                  </a:moveTo>
                  <a:cubicBezTo>
                    <a:pt x="5979" y="12178"/>
                    <a:pt x="5916" y="12258"/>
                    <a:pt x="5916" y="12356"/>
                  </a:cubicBezTo>
                  <a:cubicBezTo>
                    <a:pt x="5916" y="12454"/>
                    <a:pt x="5979" y="12532"/>
                    <a:pt x="6055" y="12532"/>
                  </a:cubicBezTo>
                  <a:cubicBezTo>
                    <a:pt x="6132" y="12532"/>
                    <a:pt x="6193" y="12454"/>
                    <a:pt x="6193" y="12356"/>
                  </a:cubicBezTo>
                  <a:cubicBezTo>
                    <a:pt x="6193" y="12258"/>
                    <a:pt x="6132" y="12178"/>
                    <a:pt x="6055" y="12178"/>
                  </a:cubicBezTo>
                  <a:close/>
                  <a:moveTo>
                    <a:pt x="7247" y="12178"/>
                  </a:moveTo>
                  <a:cubicBezTo>
                    <a:pt x="7170" y="12178"/>
                    <a:pt x="7108" y="12258"/>
                    <a:pt x="7108" y="12356"/>
                  </a:cubicBezTo>
                  <a:cubicBezTo>
                    <a:pt x="7108" y="12454"/>
                    <a:pt x="7170" y="12532"/>
                    <a:pt x="7247" y="12532"/>
                  </a:cubicBezTo>
                  <a:cubicBezTo>
                    <a:pt x="7323" y="12532"/>
                    <a:pt x="7384" y="12454"/>
                    <a:pt x="7384" y="12356"/>
                  </a:cubicBezTo>
                  <a:cubicBezTo>
                    <a:pt x="7384" y="12258"/>
                    <a:pt x="7323" y="12178"/>
                    <a:pt x="7247" y="12178"/>
                  </a:cubicBezTo>
                  <a:close/>
                  <a:moveTo>
                    <a:pt x="7616" y="12178"/>
                  </a:moveTo>
                  <a:cubicBezTo>
                    <a:pt x="7540" y="12178"/>
                    <a:pt x="7478" y="12258"/>
                    <a:pt x="7478" y="12356"/>
                  </a:cubicBezTo>
                  <a:cubicBezTo>
                    <a:pt x="7478" y="12454"/>
                    <a:pt x="7540" y="12532"/>
                    <a:pt x="7616" y="12532"/>
                  </a:cubicBezTo>
                  <a:cubicBezTo>
                    <a:pt x="7693" y="12532"/>
                    <a:pt x="7754" y="12454"/>
                    <a:pt x="7754" y="12356"/>
                  </a:cubicBezTo>
                  <a:cubicBezTo>
                    <a:pt x="7754" y="12258"/>
                    <a:pt x="7693" y="12178"/>
                    <a:pt x="7616" y="12178"/>
                  </a:cubicBezTo>
                  <a:close/>
                  <a:moveTo>
                    <a:pt x="8027" y="12178"/>
                  </a:moveTo>
                  <a:cubicBezTo>
                    <a:pt x="7951" y="12178"/>
                    <a:pt x="7889" y="12258"/>
                    <a:pt x="7889" y="12356"/>
                  </a:cubicBezTo>
                  <a:cubicBezTo>
                    <a:pt x="7889" y="12454"/>
                    <a:pt x="7951" y="12532"/>
                    <a:pt x="8027" y="12532"/>
                  </a:cubicBezTo>
                  <a:cubicBezTo>
                    <a:pt x="8104" y="12532"/>
                    <a:pt x="8165" y="12454"/>
                    <a:pt x="8165" y="12356"/>
                  </a:cubicBezTo>
                  <a:cubicBezTo>
                    <a:pt x="8165" y="12258"/>
                    <a:pt x="8104" y="12178"/>
                    <a:pt x="8027" y="12178"/>
                  </a:cubicBezTo>
                  <a:close/>
                  <a:moveTo>
                    <a:pt x="8438" y="12178"/>
                  </a:moveTo>
                  <a:cubicBezTo>
                    <a:pt x="8362" y="12178"/>
                    <a:pt x="8299" y="12258"/>
                    <a:pt x="8299" y="12356"/>
                  </a:cubicBezTo>
                  <a:cubicBezTo>
                    <a:pt x="8299" y="12454"/>
                    <a:pt x="8362" y="12532"/>
                    <a:pt x="8438" y="12532"/>
                  </a:cubicBezTo>
                  <a:cubicBezTo>
                    <a:pt x="8515" y="12532"/>
                    <a:pt x="8576" y="12454"/>
                    <a:pt x="8576" y="12356"/>
                  </a:cubicBezTo>
                  <a:cubicBezTo>
                    <a:pt x="8576" y="12258"/>
                    <a:pt x="8515" y="12178"/>
                    <a:pt x="8438" y="12178"/>
                  </a:cubicBezTo>
                  <a:close/>
                  <a:moveTo>
                    <a:pt x="8808" y="12178"/>
                  </a:moveTo>
                  <a:cubicBezTo>
                    <a:pt x="8732" y="12178"/>
                    <a:pt x="8669" y="12258"/>
                    <a:pt x="8669" y="12356"/>
                  </a:cubicBezTo>
                  <a:cubicBezTo>
                    <a:pt x="8669" y="12454"/>
                    <a:pt x="8732" y="12532"/>
                    <a:pt x="8808" y="12532"/>
                  </a:cubicBezTo>
                  <a:cubicBezTo>
                    <a:pt x="8884" y="12532"/>
                    <a:pt x="8945" y="12454"/>
                    <a:pt x="8945" y="12356"/>
                  </a:cubicBezTo>
                  <a:cubicBezTo>
                    <a:pt x="8945" y="12258"/>
                    <a:pt x="8884" y="12178"/>
                    <a:pt x="8808" y="12178"/>
                  </a:cubicBezTo>
                  <a:close/>
                  <a:moveTo>
                    <a:pt x="9219" y="12178"/>
                  </a:moveTo>
                  <a:cubicBezTo>
                    <a:pt x="9142" y="12178"/>
                    <a:pt x="9080" y="12258"/>
                    <a:pt x="9080" y="12356"/>
                  </a:cubicBezTo>
                  <a:cubicBezTo>
                    <a:pt x="9080" y="12454"/>
                    <a:pt x="9142" y="12532"/>
                    <a:pt x="9219" y="12532"/>
                  </a:cubicBezTo>
                  <a:cubicBezTo>
                    <a:pt x="9295" y="12532"/>
                    <a:pt x="9356" y="12454"/>
                    <a:pt x="9356" y="12356"/>
                  </a:cubicBezTo>
                  <a:cubicBezTo>
                    <a:pt x="9356" y="12258"/>
                    <a:pt x="9295" y="12178"/>
                    <a:pt x="9219" y="12178"/>
                  </a:cubicBezTo>
                  <a:close/>
                  <a:moveTo>
                    <a:pt x="9589" y="12178"/>
                  </a:moveTo>
                  <a:cubicBezTo>
                    <a:pt x="9512" y="12178"/>
                    <a:pt x="9450" y="12258"/>
                    <a:pt x="9450" y="12356"/>
                  </a:cubicBezTo>
                  <a:cubicBezTo>
                    <a:pt x="9450" y="12454"/>
                    <a:pt x="9512" y="12532"/>
                    <a:pt x="9589" y="12532"/>
                  </a:cubicBezTo>
                  <a:cubicBezTo>
                    <a:pt x="9665" y="12532"/>
                    <a:pt x="9726" y="12454"/>
                    <a:pt x="9726" y="12356"/>
                  </a:cubicBezTo>
                  <a:cubicBezTo>
                    <a:pt x="9726" y="12258"/>
                    <a:pt x="9665" y="12178"/>
                    <a:pt x="9589" y="12178"/>
                  </a:cubicBezTo>
                  <a:close/>
                  <a:moveTo>
                    <a:pt x="9999" y="12178"/>
                  </a:moveTo>
                  <a:cubicBezTo>
                    <a:pt x="9923" y="12178"/>
                    <a:pt x="9861" y="12258"/>
                    <a:pt x="9861" y="12356"/>
                  </a:cubicBezTo>
                  <a:cubicBezTo>
                    <a:pt x="9861" y="12454"/>
                    <a:pt x="9923" y="12532"/>
                    <a:pt x="9999" y="12532"/>
                  </a:cubicBezTo>
                  <a:cubicBezTo>
                    <a:pt x="10076" y="12532"/>
                    <a:pt x="10137" y="12454"/>
                    <a:pt x="10137" y="12356"/>
                  </a:cubicBezTo>
                  <a:cubicBezTo>
                    <a:pt x="10137" y="12258"/>
                    <a:pt x="10076" y="12178"/>
                    <a:pt x="9999" y="12178"/>
                  </a:cubicBezTo>
                  <a:close/>
                  <a:moveTo>
                    <a:pt x="10410" y="12178"/>
                  </a:moveTo>
                  <a:cubicBezTo>
                    <a:pt x="10334" y="12178"/>
                    <a:pt x="10272" y="12258"/>
                    <a:pt x="10272" y="12356"/>
                  </a:cubicBezTo>
                  <a:cubicBezTo>
                    <a:pt x="10272" y="12454"/>
                    <a:pt x="10334" y="12532"/>
                    <a:pt x="10410" y="12532"/>
                  </a:cubicBezTo>
                  <a:cubicBezTo>
                    <a:pt x="10487" y="12532"/>
                    <a:pt x="10548" y="12454"/>
                    <a:pt x="10548" y="12356"/>
                  </a:cubicBezTo>
                  <a:cubicBezTo>
                    <a:pt x="10548" y="12258"/>
                    <a:pt x="10487" y="12178"/>
                    <a:pt x="10410" y="12178"/>
                  </a:cubicBezTo>
                  <a:close/>
                  <a:moveTo>
                    <a:pt x="10780" y="12178"/>
                  </a:moveTo>
                  <a:cubicBezTo>
                    <a:pt x="10704" y="12178"/>
                    <a:pt x="10641" y="12258"/>
                    <a:pt x="10641" y="12356"/>
                  </a:cubicBezTo>
                  <a:cubicBezTo>
                    <a:pt x="10641" y="12454"/>
                    <a:pt x="10704" y="12532"/>
                    <a:pt x="10780" y="12532"/>
                  </a:cubicBezTo>
                  <a:cubicBezTo>
                    <a:pt x="10856" y="12532"/>
                    <a:pt x="10917" y="12454"/>
                    <a:pt x="10917" y="12356"/>
                  </a:cubicBezTo>
                  <a:cubicBezTo>
                    <a:pt x="10917" y="12258"/>
                    <a:pt x="10856" y="12178"/>
                    <a:pt x="10780" y="12178"/>
                  </a:cubicBezTo>
                  <a:close/>
                  <a:moveTo>
                    <a:pt x="11191" y="12178"/>
                  </a:moveTo>
                  <a:cubicBezTo>
                    <a:pt x="11115" y="12178"/>
                    <a:pt x="11052" y="12258"/>
                    <a:pt x="11052" y="12356"/>
                  </a:cubicBezTo>
                  <a:cubicBezTo>
                    <a:pt x="11052" y="12454"/>
                    <a:pt x="11115" y="12532"/>
                    <a:pt x="11191" y="12532"/>
                  </a:cubicBezTo>
                  <a:cubicBezTo>
                    <a:pt x="11267" y="12532"/>
                    <a:pt x="11328" y="12454"/>
                    <a:pt x="11328" y="12356"/>
                  </a:cubicBezTo>
                  <a:cubicBezTo>
                    <a:pt x="11328" y="12258"/>
                    <a:pt x="11267" y="12178"/>
                    <a:pt x="11191" y="12178"/>
                  </a:cubicBezTo>
                  <a:close/>
                  <a:moveTo>
                    <a:pt x="11602" y="12178"/>
                  </a:moveTo>
                  <a:cubicBezTo>
                    <a:pt x="11526" y="12178"/>
                    <a:pt x="11463" y="12258"/>
                    <a:pt x="11463" y="12356"/>
                  </a:cubicBezTo>
                  <a:cubicBezTo>
                    <a:pt x="11463" y="12454"/>
                    <a:pt x="11526" y="12532"/>
                    <a:pt x="11602" y="12532"/>
                  </a:cubicBezTo>
                  <a:cubicBezTo>
                    <a:pt x="11678" y="12532"/>
                    <a:pt x="11739" y="12454"/>
                    <a:pt x="11739" y="12356"/>
                  </a:cubicBezTo>
                  <a:cubicBezTo>
                    <a:pt x="11739" y="12258"/>
                    <a:pt x="11678" y="12178"/>
                    <a:pt x="11602" y="12178"/>
                  </a:cubicBezTo>
                  <a:close/>
                  <a:moveTo>
                    <a:pt x="11972" y="12178"/>
                  </a:moveTo>
                  <a:cubicBezTo>
                    <a:pt x="11895" y="12178"/>
                    <a:pt x="11833" y="12258"/>
                    <a:pt x="11833" y="12356"/>
                  </a:cubicBezTo>
                  <a:cubicBezTo>
                    <a:pt x="11833" y="12454"/>
                    <a:pt x="11895" y="12532"/>
                    <a:pt x="11972" y="12532"/>
                  </a:cubicBezTo>
                  <a:cubicBezTo>
                    <a:pt x="12048" y="12532"/>
                    <a:pt x="12109" y="12454"/>
                    <a:pt x="12109" y="12356"/>
                  </a:cubicBezTo>
                  <a:cubicBezTo>
                    <a:pt x="12109" y="12258"/>
                    <a:pt x="12048" y="12178"/>
                    <a:pt x="11972" y="12178"/>
                  </a:cubicBezTo>
                  <a:close/>
                  <a:moveTo>
                    <a:pt x="12382" y="12178"/>
                  </a:moveTo>
                  <a:cubicBezTo>
                    <a:pt x="12306" y="12178"/>
                    <a:pt x="12244" y="12258"/>
                    <a:pt x="12244" y="12356"/>
                  </a:cubicBezTo>
                  <a:cubicBezTo>
                    <a:pt x="12244" y="12454"/>
                    <a:pt x="12306" y="12532"/>
                    <a:pt x="12382" y="12532"/>
                  </a:cubicBezTo>
                  <a:cubicBezTo>
                    <a:pt x="12459" y="12532"/>
                    <a:pt x="12520" y="12454"/>
                    <a:pt x="12520" y="12356"/>
                  </a:cubicBezTo>
                  <a:cubicBezTo>
                    <a:pt x="12520" y="12258"/>
                    <a:pt x="12459" y="12178"/>
                    <a:pt x="12382" y="12178"/>
                  </a:cubicBezTo>
                  <a:close/>
                  <a:moveTo>
                    <a:pt x="12752" y="12178"/>
                  </a:moveTo>
                  <a:cubicBezTo>
                    <a:pt x="12676" y="12178"/>
                    <a:pt x="12614" y="12258"/>
                    <a:pt x="12614" y="12356"/>
                  </a:cubicBezTo>
                  <a:cubicBezTo>
                    <a:pt x="12614" y="12454"/>
                    <a:pt x="12676" y="12532"/>
                    <a:pt x="12752" y="12532"/>
                  </a:cubicBezTo>
                  <a:cubicBezTo>
                    <a:pt x="12829" y="12532"/>
                    <a:pt x="12890" y="12454"/>
                    <a:pt x="12890" y="12356"/>
                  </a:cubicBezTo>
                  <a:cubicBezTo>
                    <a:pt x="12890" y="12258"/>
                    <a:pt x="12829" y="12178"/>
                    <a:pt x="12752" y="12178"/>
                  </a:cubicBezTo>
                  <a:close/>
                  <a:moveTo>
                    <a:pt x="13163" y="12178"/>
                  </a:moveTo>
                  <a:cubicBezTo>
                    <a:pt x="13087" y="12178"/>
                    <a:pt x="13024" y="12258"/>
                    <a:pt x="13024" y="12356"/>
                  </a:cubicBezTo>
                  <a:cubicBezTo>
                    <a:pt x="13024" y="12454"/>
                    <a:pt x="13087" y="12532"/>
                    <a:pt x="13163" y="12532"/>
                  </a:cubicBezTo>
                  <a:cubicBezTo>
                    <a:pt x="13240" y="12532"/>
                    <a:pt x="13301" y="12454"/>
                    <a:pt x="13301" y="12356"/>
                  </a:cubicBezTo>
                  <a:cubicBezTo>
                    <a:pt x="13301" y="12258"/>
                    <a:pt x="13240" y="12178"/>
                    <a:pt x="13163" y="12178"/>
                  </a:cubicBezTo>
                  <a:close/>
                  <a:moveTo>
                    <a:pt x="13574" y="12178"/>
                  </a:moveTo>
                  <a:cubicBezTo>
                    <a:pt x="13498" y="12178"/>
                    <a:pt x="13435" y="12258"/>
                    <a:pt x="13435" y="12356"/>
                  </a:cubicBezTo>
                  <a:cubicBezTo>
                    <a:pt x="13435" y="12454"/>
                    <a:pt x="13498" y="12532"/>
                    <a:pt x="13574" y="12532"/>
                  </a:cubicBezTo>
                  <a:cubicBezTo>
                    <a:pt x="13650" y="12532"/>
                    <a:pt x="13711" y="12454"/>
                    <a:pt x="13711" y="12356"/>
                  </a:cubicBezTo>
                  <a:cubicBezTo>
                    <a:pt x="13711" y="12258"/>
                    <a:pt x="13650" y="12178"/>
                    <a:pt x="13574" y="12178"/>
                  </a:cubicBezTo>
                  <a:close/>
                  <a:moveTo>
                    <a:pt x="13985" y="12178"/>
                  </a:moveTo>
                  <a:cubicBezTo>
                    <a:pt x="13908" y="12178"/>
                    <a:pt x="13846" y="12258"/>
                    <a:pt x="13846" y="12356"/>
                  </a:cubicBezTo>
                  <a:cubicBezTo>
                    <a:pt x="13846" y="12454"/>
                    <a:pt x="13908" y="12532"/>
                    <a:pt x="13985" y="12532"/>
                  </a:cubicBezTo>
                  <a:cubicBezTo>
                    <a:pt x="14061" y="12532"/>
                    <a:pt x="14122" y="12454"/>
                    <a:pt x="14122" y="12356"/>
                  </a:cubicBezTo>
                  <a:cubicBezTo>
                    <a:pt x="14122" y="12258"/>
                    <a:pt x="14061" y="12178"/>
                    <a:pt x="13985" y="12178"/>
                  </a:cubicBezTo>
                  <a:close/>
                  <a:moveTo>
                    <a:pt x="14355" y="12178"/>
                  </a:moveTo>
                  <a:cubicBezTo>
                    <a:pt x="14278" y="12178"/>
                    <a:pt x="14216" y="12258"/>
                    <a:pt x="14216" y="12356"/>
                  </a:cubicBezTo>
                  <a:cubicBezTo>
                    <a:pt x="14216" y="12454"/>
                    <a:pt x="14278" y="12532"/>
                    <a:pt x="14355" y="12532"/>
                  </a:cubicBezTo>
                  <a:cubicBezTo>
                    <a:pt x="14431" y="12532"/>
                    <a:pt x="14492" y="12454"/>
                    <a:pt x="14492" y="12356"/>
                  </a:cubicBezTo>
                  <a:cubicBezTo>
                    <a:pt x="14492" y="12258"/>
                    <a:pt x="14431" y="12178"/>
                    <a:pt x="14355" y="12178"/>
                  </a:cubicBezTo>
                  <a:close/>
                  <a:moveTo>
                    <a:pt x="14765" y="12178"/>
                  </a:moveTo>
                  <a:cubicBezTo>
                    <a:pt x="14689" y="12178"/>
                    <a:pt x="14627" y="12258"/>
                    <a:pt x="14627" y="12356"/>
                  </a:cubicBezTo>
                  <a:cubicBezTo>
                    <a:pt x="14627" y="12454"/>
                    <a:pt x="14689" y="12532"/>
                    <a:pt x="14765" y="12532"/>
                  </a:cubicBezTo>
                  <a:cubicBezTo>
                    <a:pt x="14842" y="12532"/>
                    <a:pt x="14903" y="12454"/>
                    <a:pt x="14903" y="12356"/>
                  </a:cubicBezTo>
                  <a:cubicBezTo>
                    <a:pt x="14903" y="12258"/>
                    <a:pt x="14842" y="12178"/>
                    <a:pt x="14765" y="12178"/>
                  </a:cubicBezTo>
                  <a:close/>
                  <a:moveTo>
                    <a:pt x="15135" y="12178"/>
                  </a:moveTo>
                  <a:cubicBezTo>
                    <a:pt x="15059" y="12178"/>
                    <a:pt x="14997" y="12258"/>
                    <a:pt x="14997" y="12356"/>
                  </a:cubicBezTo>
                  <a:cubicBezTo>
                    <a:pt x="14997" y="12454"/>
                    <a:pt x="15059" y="12532"/>
                    <a:pt x="15135" y="12532"/>
                  </a:cubicBezTo>
                  <a:cubicBezTo>
                    <a:pt x="15212" y="12532"/>
                    <a:pt x="15273" y="12454"/>
                    <a:pt x="15273" y="12356"/>
                  </a:cubicBezTo>
                  <a:cubicBezTo>
                    <a:pt x="15273" y="12258"/>
                    <a:pt x="15212" y="12178"/>
                    <a:pt x="15135" y="12178"/>
                  </a:cubicBezTo>
                  <a:close/>
                  <a:moveTo>
                    <a:pt x="15546" y="12178"/>
                  </a:moveTo>
                  <a:cubicBezTo>
                    <a:pt x="15470" y="12178"/>
                    <a:pt x="15407" y="12258"/>
                    <a:pt x="15407" y="12356"/>
                  </a:cubicBezTo>
                  <a:cubicBezTo>
                    <a:pt x="15407" y="12454"/>
                    <a:pt x="15470" y="12532"/>
                    <a:pt x="15546" y="12532"/>
                  </a:cubicBezTo>
                  <a:cubicBezTo>
                    <a:pt x="15623" y="12532"/>
                    <a:pt x="15684" y="12454"/>
                    <a:pt x="15684" y="12356"/>
                  </a:cubicBezTo>
                  <a:cubicBezTo>
                    <a:pt x="15684" y="12258"/>
                    <a:pt x="15623" y="12178"/>
                    <a:pt x="15546" y="12178"/>
                  </a:cubicBezTo>
                  <a:close/>
                  <a:moveTo>
                    <a:pt x="15957" y="12178"/>
                  </a:moveTo>
                  <a:cubicBezTo>
                    <a:pt x="15881" y="12178"/>
                    <a:pt x="15818" y="12258"/>
                    <a:pt x="15818" y="12356"/>
                  </a:cubicBezTo>
                  <a:cubicBezTo>
                    <a:pt x="15818" y="12454"/>
                    <a:pt x="15881" y="12532"/>
                    <a:pt x="15957" y="12532"/>
                  </a:cubicBezTo>
                  <a:cubicBezTo>
                    <a:pt x="16033" y="12532"/>
                    <a:pt x="16094" y="12454"/>
                    <a:pt x="16094" y="12356"/>
                  </a:cubicBezTo>
                  <a:cubicBezTo>
                    <a:pt x="16094" y="12258"/>
                    <a:pt x="16033" y="12178"/>
                    <a:pt x="15957" y="12178"/>
                  </a:cubicBezTo>
                  <a:close/>
                  <a:moveTo>
                    <a:pt x="16327" y="12178"/>
                  </a:moveTo>
                  <a:cubicBezTo>
                    <a:pt x="16250" y="12178"/>
                    <a:pt x="16188" y="12258"/>
                    <a:pt x="16188" y="12356"/>
                  </a:cubicBezTo>
                  <a:cubicBezTo>
                    <a:pt x="16188" y="12454"/>
                    <a:pt x="16250" y="12532"/>
                    <a:pt x="16327" y="12532"/>
                  </a:cubicBezTo>
                  <a:cubicBezTo>
                    <a:pt x="16403" y="12532"/>
                    <a:pt x="16464" y="12454"/>
                    <a:pt x="16464" y="12356"/>
                  </a:cubicBezTo>
                  <a:cubicBezTo>
                    <a:pt x="16464" y="12258"/>
                    <a:pt x="16403" y="12178"/>
                    <a:pt x="16327" y="12178"/>
                  </a:cubicBezTo>
                  <a:close/>
                  <a:moveTo>
                    <a:pt x="2111" y="12653"/>
                  </a:moveTo>
                  <a:cubicBezTo>
                    <a:pt x="2034" y="12653"/>
                    <a:pt x="1972" y="12732"/>
                    <a:pt x="1972" y="12831"/>
                  </a:cubicBezTo>
                  <a:cubicBezTo>
                    <a:pt x="1972" y="12928"/>
                    <a:pt x="2034" y="13007"/>
                    <a:pt x="2111" y="13007"/>
                  </a:cubicBezTo>
                  <a:cubicBezTo>
                    <a:pt x="2187" y="13007"/>
                    <a:pt x="2248" y="12928"/>
                    <a:pt x="2248" y="12831"/>
                  </a:cubicBezTo>
                  <a:cubicBezTo>
                    <a:pt x="2248" y="12732"/>
                    <a:pt x="2187" y="12653"/>
                    <a:pt x="2111" y="12653"/>
                  </a:cubicBezTo>
                  <a:close/>
                  <a:moveTo>
                    <a:pt x="2522" y="12653"/>
                  </a:moveTo>
                  <a:cubicBezTo>
                    <a:pt x="2445" y="12653"/>
                    <a:pt x="2383" y="12732"/>
                    <a:pt x="2383" y="12831"/>
                  </a:cubicBezTo>
                  <a:cubicBezTo>
                    <a:pt x="2383" y="12928"/>
                    <a:pt x="2445" y="13007"/>
                    <a:pt x="2522" y="13007"/>
                  </a:cubicBezTo>
                  <a:cubicBezTo>
                    <a:pt x="2598" y="13007"/>
                    <a:pt x="2659" y="12928"/>
                    <a:pt x="2659" y="12831"/>
                  </a:cubicBezTo>
                  <a:cubicBezTo>
                    <a:pt x="2659" y="12732"/>
                    <a:pt x="2598" y="12653"/>
                    <a:pt x="2522" y="12653"/>
                  </a:cubicBezTo>
                  <a:close/>
                  <a:moveTo>
                    <a:pt x="2891" y="12653"/>
                  </a:moveTo>
                  <a:cubicBezTo>
                    <a:pt x="2815" y="12653"/>
                    <a:pt x="2753" y="12732"/>
                    <a:pt x="2753" y="12831"/>
                  </a:cubicBezTo>
                  <a:cubicBezTo>
                    <a:pt x="2753" y="12928"/>
                    <a:pt x="2815" y="13007"/>
                    <a:pt x="2891" y="13007"/>
                  </a:cubicBezTo>
                  <a:cubicBezTo>
                    <a:pt x="2968" y="13007"/>
                    <a:pt x="3029" y="12928"/>
                    <a:pt x="3029" y="12831"/>
                  </a:cubicBezTo>
                  <a:cubicBezTo>
                    <a:pt x="3029" y="12732"/>
                    <a:pt x="2968" y="12653"/>
                    <a:pt x="2891" y="12653"/>
                  </a:cubicBezTo>
                  <a:close/>
                  <a:moveTo>
                    <a:pt x="3302" y="12653"/>
                  </a:moveTo>
                  <a:cubicBezTo>
                    <a:pt x="3226" y="12653"/>
                    <a:pt x="3164" y="12733"/>
                    <a:pt x="3164" y="12831"/>
                  </a:cubicBezTo>
                  <a:cubicBezTo>
                    <a:pt x="3164" y="12929"/>
                    <a:pt x="3226" y="13007"/>
                    <a:pt x="3302" y="13007"/>
                  </a:cubicBezTo>
                  <a:cubicBezTo>
                    <a:pt x="3379" y="13007"/>
                    <a:pt x="3440" y="12929"/>
                    <a:pt x="3440" y="12831"/>
                  </a:cubicBezTo>
                  <a:cubicBezTo>
                    <a:pt x="3440" y="12733"/>
                    <a:pt x="3379" y="12653"/>
                    <a:pt x="3302" y="12653"/>
                  </a:cubicBezTo>
                  <a:close/>
                  <a:moveTo>
                    <a:pt x="5274" y="12653"/>
                  </a:moveTo>
                  <a:cubicBezTo>
                    <a:pt x="5198" y="12653"/>
                    <a:pt x="5136" y="12732"/>
                    <a:pt x="5136" y="12831"/>
                  </a:cubicBezTo>
                  <a:cubicBezTo>
                    <a:pt x="5136" y="12928"/>
                    <a:pt x="5198" y="13007"/>
                    <a:pt x="5274" y="13007"/>
                  </a:cubicBezTo>
                  <a:cubicBezTo>
                    <a:pt x="5351" y="13007"/>
                    <a:pt x="5412" y="12928"/>
                    <a:pt x="5412" y="12831"/>
                  </a:cubicBezTo>
                  <a:cubicBezTo>
                    <a:pt x="5412" y="12732"/>
                    <a:pt x="5351" y="12653"/>
                    <a:pt x="5274" y="12653"/>
                  </a:cubicBezTo>
                  <a:close/>
                  <a:moveTo>
                    <a:pt x="6425" y="12653"/>
                  </a:moveTo>
                  <a:cubicBezTo>
                    <a:pt x="6349" y="12653"/>
                    <a:pt x="6286" y="12732"/>
                    <a:pt x="6286" y="12831"/>
                  </a:cubicBezTo>
                  <a:cubicBezTo>
                    <a:pt x="6286" y="12928"/>
                    <a:pt x="6349" y="13007"/>
                    <a:pt x="6425" y="13007"/>
                  </a:cubicBezTo>
                  <a:cubicBezTo>
                    <a:pt x="6501" y="13007"/>
                    <a:pt x="6562" y="12928"/>
                    <a:pt x="6562" y="12831"/>
                  </a:cubicBezTo>
                  <a:cubicBezTo>
                    <a:pt x="6562" y="12732"/>
                    <a:pt x="6501" y="12653"/>
                    <a:pt x="6425" y="12653"/>
                  </a:cubicBezTo>
                  <a:close/>
                  <a:moveTo>
                    <a:pt x="6836" y="12653"/>
                  </a:moveTo>
                  <a:cubicBezTo>
                    <a:pt x="6759" y="12653"/>
                    <a:pt x="6697" y="12732"/>
                    <a:pt x="6697" y="12831"/>
                  </a:cubicBezTo>
                  <a:cubicBezTo>
                    <a:pt x="6697" y="12928"/>
                    <a:pt x="6759" y="13007"/>
                    <a:pt x="6836" y="13007"/>
                  </a:cubicBezTo>
                  <a:cubicBezTo>
                    <a:pt x="6912" y="13007"/>
                    <a:pt x="6973" y="12928"/>
                    <a:pt x="6973" y="12831"/>
                  </a:cubicBezTo>
                  <a:cubicBezTo>
                    <a:pt x="6973" y="12732"/>
                    <a:pt x="6912" y="12653"/>
                    <a:pt x="6836" y="12653"/>
                  </a:cubicBezTo>
                  <a:close/>
                  <a:moveTo>
                    <a:pt x="7247" y="12653"/>
                  </a:moveTo>
                  <a:cubicBezTo>
                    <a:pt x="7170" y="12653"/>
                    <a:pt x="7108" y="12733"/>
                    <a:pt x="7108" y="12831"/>
                  </a:cubicBezTo>
                  <a:cubicBezTo>
                    <a:pt x="7108" y="12929"/>
                    <a:pt x="7170" y="13007"/>
                    <a:pt x="7247" y="13007"/>
                  </a:cubicBezTo>
                  <a:cubicBezTo>
                    <a:pt x="7323" y="13007"/>
                    <a:pt x="7384" y="12929"/>
                    <a:pt x="7384" y="12831"/>
                  </a:cubicBezTo>
                  <a:cubicBezTo>
                    <a:pt x="7384" y="12733"/>
                    <a:pt x="7323" y="12653"/>
                    <a:pt x="7247" y="12653"/>
                  </a:cubicBezTo>
                  <a:close/>
                  <a:moveTo>
                    <a:pt x="7658" y="12653"/>
                  </a:moveTo>
                  <a:cubicBezTo>
                    <a:pt x="7581" y="12653"/>
                    <a:pt x="7519" y="12733"/>
                    <a:pt x="7519" y="12831"/>
                  </a:cubicBezTo>
                  <a:cubicBezTo>
                    <a:pt x="7519" y="12929"/>
                    <a:pt x="7581" y="13007"/>
                    <a:pt x="7658" y="13007"/>
                  </a:cubicBezTo>
                  <a:cubicBezTo>
                    <a:pt x="7734" y="13007"/>
                    <a:pt x="7795" y="12929"/>
                    <a:pt x="7795" y="12831"/>
                  </a:cubicBezTo>
                  <a:cubicBezTo>
                    <a:pt x="7795" y="12733"/>
                    <a:pt x="7734" y="12653"/>
                    <a:pt x="7658" y="12653"/>
                  </a:cubicBezTo>
                  <a:close/>
                  <a:moveTo>
                    <a:pt x="8027" y="12653"/>
                  </a:moveTo>
                  <a:cubicBezTo>
                    <a:pt x="7951" y="12653"/>
                    <a:pt x="7889" y="12733"/>
                    <a:pt x="7889" y="12831"/>
                  </a:cubicBezTo>
                  <a:cubicBezTo>
                    <a:pt x="7889" y="12929"/>
                    <a:pt x="7951" y="13007"/>
                    <a:pt x="8027" y="13007"/>
                  </a:cubicBezTo>
                  <a:cubicBezTo>
                    <a:pt x="8104" y="13007"/>
                    <a:pt x="8165" y="12929"/>
                    <a:pt x="8165" y="12831"/>
                  </a:cubicBezTo>
                  <a:cubicBezTo>
                    <a:pt x="8165" y="12733"/>
                    <a:pt x="8104" y="12653"/>
                    <a:pt x="8027" y="12653"/>
                  </a:cubicBezTo>
                  <a:close/>
                  <a:moveTo>
                    <a:pt x="8438" y="12653"/>
                  </a:moveTo>
                  <a:cubicBezTo>
                    <a:pt x="8362" y="12653"/>
                    <a:pt x="8299" y="12733"/>
                    <a:pt x="8299" y="12831"/>
                  </a:cubicBezTo>
                  <a:cubicBezTo>
                    <a:pt x="8299" y="12929"/>
                    <a:pt x="8362" y="13007"/>
                    <a:pt x="8438" y="13007"/>
                  </a:cubicBezTo>
                  <a:cubicBezTo>
                    <a:pt x="8515" y="13007"/>
                    <a:pt x="8576" y="12929"/>
                    <a:pt x="8576" y="12831"/>
                  </a:cubicBezTo>
                  <a:cubicBezTo>
                    <a:pt x="8576" y="12733"/>
                    <a:pt x="8515" y="12653"/>
                    <a:pt x="8438" y="12653"/>
                  </a:cubicBezTo>
                  <a:close/>
                  <a:moveTo>
                    <a:pt x="8808" y="12653"/>
                  </a:moveTo>
                  <a:cubicBezTo>
                    <a:pt x="8732" y="12653"/>
                    <a:pt x="8669" y="12733"/>
                    <a:pt x="8669" y="12831"/>
                  </a:cubicBezTo>
                  <a:cubicBezTo>
                    <a:pt x="8669" y="12929"/>
                    <a:pt x="8732" y="13007"/>
                    <a:pt x="8808" y="13007"/>
                  </a:cubicBezTo>
                  <a:cubicBezTo>
                    <a:pt x="8884" y="13007"/>
                    <a:pt x="8945" y="12929"/>
                    <a:pt x="8945" y="12831"/>
                  </a:cubicBezTo>
                  <a:cubicBezTo>
                    <a:pt x="8945" y="12733"/>
                    <a:pt x="8884" y="12653"/>
                    <a:pt x="8808" y="12653"/>
                  </a:cubicBezTo>
                  <a:close/>
                  <a:moveTo>
                    <a:pt x="9219" y="12653"/>
                  </a:moveTo>
                  <a:cubicBezTo>
                    <a:pt x="9142" y="12653"/>
                    <a:pt x="9080" y="12733"/>
                    <a:pt x="9080" y="12831"/>
                  </a:cubicBezTo>
                  <a:cubicBezTo>
                    <a:pt x="9080" y="12929"/>
                    <a:pt x="9142" y="13007"/>
                    <a:pt x="9219" y="13007"/>
                  </a:cubicBezTo>
                  <a:cubicBezTo>
                    <a:pt x="9295" y="13007"/>
                    <a:pt x="9356" y="12929"/>
                    <a:pt x="9356" y="12831"/>
                  </a:cubicBezTo>
                  <a:cubicBezTo>
                    <a:pt x="9356" y="12733"/>
                    <a:pt x="9295" y="12653"/>
                    <a:pt x="9219" y="12653"/>
                  </a:cubicBezTo>
                  <a:close/>
                  <a:moveTo>
                    <a:pt x="9589" y="12653"/>
                  </a:moveTo>
                  <a:cubicBezTo>
                    <a:pt x="9512" y="12653"/>
                    <a:pt x="9450" y="12733"/>
                    <a:pt x="9450" y="12831"/>
                  </a:cubicBezTo>
                  <a:cubicBezTo>
                    <a:pt x="9450" y="12929"/>
                    <a:pt x="9512" y="13007"/>
                    <a:pt x="9589" y="13007"/>
                  </a:cubicBezTo>
                  <a:cubicBezTo>
                    <a:pt x="9665" y="13007"/>
                    <a:pt x="9726" y="12929"/>
                    <a:pt x="9726" y="12831"/>
                  </a:cubicBezTo>
                  <a:cubicBezTo>
                    <a:pt x="9726" y="12733"/>
                    <a:pt x="9665" y="12653"/>
                    <a:pt x="9589" y="12653"/>
                  </a:cubicBezTo>
                  <a:close/>
                  <a:moveTo>
                    <a:pt x="9999" y="12653"/>
                  </a:moveTo>
                  <a:cubicBezTo>
                    <a:pt x="9923" y="12653"/>
                    <a:pt x="9861" y="12733"/>
                    <a:pt x="9861" y="12831"/>
                  </a:cubicBezTo>
                  <a:cubicBezTo>
                    <a:pt x="9861" y="12929"/>
                    <a:pt x="9923" y="13007"/>
                    <a:pt x="9999" y="13007"/>
                  </a:cubicBezTo>
                  <a:cubicBezTo>
                    <a:pt x="10076" y="13007"/>
                    <a:pt x="10137" y="12929"/>
                    <a:pt x="10137" y="12831"/>
                  </a:cubicBezTo>
                  <a:cubicBezTo>
                    <a:pt x="10137" y="12733"/>
                    <a:pt x="10076" y="12653"/>
                    <a:pt x="9999" y="12653"/>
                  </a:cubicBezTo>
                  <a:close/>
                  <a:moveTo>
                    <a:pt x="10410" y="12653"/>
                  </a:moveTo>
                  <a:cubicBezTo>
                    <a:pt x="10334" y="12653"/>
                    <a:pt x="10272" y="12733"/>
                    <a:pt x="10272" y="12831"/>
                  </a:cubicBezTo>
                  <a:cubicBezTo>
                    <a:pt x="10272" y="12929"/>
                    <a:pt x="10334" y="13007"/>
                    <a:pt x="10410" y="13007"/>
                  </a:cubicBezTo>
                  <a:cubicBezTo>
                    <a:pt x="10487" y="13007"/>
                    <a:pt x="10548" y="12929"/>
                    <a:pt x="10548" y="12831"/>
                  </a:cubicBezTo>
                  <a:cubicBezTo>
                    <a:pt x="10548" y="12733"/>
                    <a:pt x="10487" y="12653"/>
                    <a:pt x="10410" y="12653"/>
                  </a:cubicBezTo>
                  <a:close/>
                  <a:moveTo>
                    <a:pt x="10780" y="12653"/>
                  </a:moveTo>
                  <a:cubicBezTo>
                    <a:pt x="10704" y="12653"/>
                    <a:pt x="10641" y="12733"/>
                    <a:pt x="10641" y="12831"/>
                  </a:cubicBezTo>
                  <a:cubicBezTo>
                    <a:pt x="10641" y="12929"/>
                    <a:pt x="10704" y="13007"/>
                    <a:pt x="10780" y="13007"/>
                  </a:cubicBezTo>
                  <a:cubicBezTo>
                    <a:pt x="10856" y="13007"/>
                    <a:pt x="10917" y="12929"/>
                    <a:pt x="10917" y="12831"/>
                  </a:cubicBezTo>
                  <a:cubicBezTo>
                    <a:pt x="10917" y="12733"/>
                    <a:pt x="10856" y="12653"/>
                    <a:pt x="10780" y="12653"/>
                  </a:cubicBezTo>
                  <a:close/>
                  <a:moveTo>
                    <a:pt x="11191" y="12653"/>
                  </a:moveTo>
                  <a:cubicBezTo>
                    <a:pt x="11115" y="12653"/>
                    <a:pt x="11052" y="12733"/>
                    <a:pt x="11052" y="12831"/>
                  </a:cubicBezTo>
                  <a:cubicBezTo>
                    <a:pt x="11052" y="12929"/>
                    <a:pt x="11115" y="13007"/>
                    <a:pt x="11191" y="13007"/>
                  </a:cubicBezTo>
                  <a:cubicBezTo>
                    <a:pt x="11267" y="13007"/>
                    <a:pt x="11328" y="12929"/>
                    <a:pt x="11328" y="12831"/>
                  </a:cubicBezTo>
                  <a:cubicBezTo>
                    <a:pt x="11328" y="12733"/>
                    <a:pt x="11267" y="12653"/>
                    <a:pt x="11191" y="12653"/>
                  </a:cubicBezTo>
                  <a:close/>
                  <a:moveTo>
                    <a:pt x="11602" y="12653"/>
                  </a:moveTo>
                  <a:cubicBezTo>
                    <a:pt x="11526" y="12653"/>
                    <a:pt x="11463" y="12733"/>
                    <a:pt x="11463" y="12831"/>
                  </a:cubicBezTo>
                  <a:cubicBezTo>
                    <a:pt x="11463" y="12929"/>
                    <a:pt x="11526" y="13007"/>
                    <a:pt x="11602" y="13007"/>
                  </a:cubicBezTo>
                  <a:cubicBezTo>
                    <a:pt x="11678" y="13007"/>
                    <a:pt x="11739" y="12929"/>
                    <a:pt x="11739" y="12831"/>
                  </a:cubicBezTo>
                  <a:cubicBezTo>
                    <a:pt x="11739" y="12733"/>
                    <a:pt x="11678" y="12653"/>
                    <a:pt x="11602" y="12653"/>
                  </a:cubicBezTo>
                  <a:close/>
                  <a:moveTo>
                    <a:pt x="11972" y="12653"/>
                  </a:moveTo>
                  <a:cubicBezTo>
                    <a:pt x="11895" y="12653"/>
                    <a:pt x="11833" y="12733"/>
                    <a:pt x="11833" y="12831"/>
                  </a:cubicBezTo>
                  <a:cubicBezTo>
                    <a:pt x="11833" y="12929"/>
                    <a:pt x="11895" y="13007"/>
                    <a:pt x="11972" y="13007"/>
                  </a:cubicBezTo>
                  <a:cubicBezTo>
                    <a:pt x="12048" y="13007"/>
                    <a:pt x="12109" y="12929"/>
                    <a:pt x="12109" y="12831"/>
                  </a:cubicBezTo>
                  <a:cubicBezTo>
                    <a:pt x="12109" y="12733"/>
                    <a:pt x="12048" y="12653"/>
                    <a:pt x="11972" y="12653"/>
                  </a:cubicBezTo>
                  <a:close/>
                  <a:moveTo>
                    <a:pt x="12382" y="12653"/>
                  </a:moveTo>
                  <a:cubicBezTo>
                    <a:pt x="12306" y="12653"/>
                    <a:pt x="12244" y="12733"/>
                    <a:pt x="12244" y="12831"/>
                  </a:cubicBezTo>
                  <a:cubicBezTo>
                    <a:pt x="12244" y="12929"/>
                    <a:pt x="12306" y="13007"/>
                    <a:pt x="12382" y="13007"/>
                  </a:cubicBezTo>
                  <a:cubicBezTo>
                    <a:pt x="12459" y="13007"/>
                    <a:pt x="12520" y="12929"/>
                    <a:pt x="12520" y="12831"/>
                  </a:cubicBezTo>
                  <a:cubicBezTo>
                    <a:pt x="12520" y="12733"/>
                    <a:pt x="12459" y="12653"/>
                    <a:pt x="12382" y="12653"/>
                  </a:cubicBezTo>
                  <a:close/>
                  <a:moveTo>
                    <a:pt x="3713" y="12705"/>
                  </a:moveTo>
                  <a:cubicBezTo>
                    <a:pt x="3637" y="12705"/>
                    <a:pt x="3575" y="12785"/>
                    <a:pt x="3575" y="12883"/>
                  </a:cubicBezTo>
                  <a:cubicBezTo>
                    <a:pt x="3575" y="12981"/>
                    <a:pt x="3637" y="13061"/>
                    <a:pt x="3713" y="13061"/>
                  </a:cubicBezTo>
                  <a:cubicBezTo>
                    <a:pt x="3790" y="13061"/>
                    <a:pt x="3851" y="12981"/>
                    <a:pt x="3851" y="12883"/>
                  </a:cubicBezTo>
                  <a:cubicBezTo>
                    <a:pt x="3851" y="12785"/>
                    <a:pt x="3790" y="12705"/>
                    <a:pt x="3713" y="12705"/>
                  </a:cubicBezTo>
                  <a:close/>
                  <a:moveTo>
                    <a:pt x="4083" y="12705"/>
                  </a:moveTo>
                  <a:cubicBezTo>
                    <a:pt x="4007" y="12705"/>
                    <a:pt x="3944" y="12785"/>
                    <a:pt x="3944" y="12883"/>
                  </a:cubicBezTo>
                  <a:cubicBezTo>
                    <a:pt x="3944" y="12981"/>
                    <a:pt x="4007" y="13060"/>
                    <a:pt x="4083" y="13060"/>
                  </a:cubicBezTo>
                  <a:cubicBezTo>
                    <a:pt x="4159" y="13060"/>
                    <a:pt x="4220" y="12981"/>
                    <a:pt x="4220" y="12883"/>
                  </a:cubicBezTo>
                  <a:cubicBezTo>
                    <a:pt x="4220" y="12785"/>
                    <a:pt x="4159" y="12705"/>
                    <a:pt x="4083" y="12705"/>
                  </a:cubicBezTo>
                  <a:close/>
                  <a:moveTo>
                    <a:pt x="5644" y="12705"/>
                  </a:moveTo>
                  <a:cubicBezTo>
                    <a:pt x="5568" y="12705"/>
                    <a:pt x="5506" y="12785"/>
                    <a:pt x="5506" y="12883"/>
                  </a:cubicBezTo>
                  <a:cubicBezTo>
                    <a:pt x="5506" y="12981"/>
                    <a:pt x="5568" y="13060"/>
                    <a:pt x="5644" y="13060"/>
                  </a:cubicBezTo>
                  <a:cubicBezTo>
                    <a:pt x="5720" y="13060"/>
                    <a:pt x="5782" y="12981"/>
                    <a:pt x="5782" y="12883"/>
                  </a:cubicBezTo>
                  <a:cubicBezTo>
                    <a:pt x="5782" y="12785"/>
                    <a:pt x="5720" y="12705"/>
                    <a:pt x="5644" y="12705"/>
                  </a:cubicBezTo>
                  <a:close/>
                  <a:moveTo>
                    <a:pt x="6055" y="12705"/>
                  </a:moveTo>
                  <a:cubicBezTo>
                    <a:pt x="5979" y="12705"/>
                    <a:pt x="5916" y="12785"/>
                    <a:pt x="5916" y="12883"/>
                  </a:cubicBezTo>
                  <a:cubicBezTo>
                    <a:pt x="5916" y="12981"/>
                    <a:pt x="5979" y="13060"/>
                    <a:pt x="6055" y="13060"/>
                  </a:cubicBezTo>
                  <a:cubicBezTo>
                    <a:pt x="6132" y="13060"/>
                    <a:pt x="6193" y="12981"/>
                    <a:pt x="6193" y="12883"/>
                  </a:cubicBezTo>
                  <a:cubicBezTo>
                    <a:pt x="6193" y="12785"/>
                    <a:pt x="6132" y="12705"/>
                    <a:pt x="6055" y="12705"/>
                  </a:cubicBezTo>
                  <a:close/>
                  <a:moveTo>
                    <a:pt x="12752" y="12705"/>
                  </a:moveTo>
                  <a:cubicBezTo>
                    <a:pt x="12676" y="12705"/>
                    <a:pt x="12614" y="12785"/>
                    <a:pt x="12614" y="12883"/>
                  </a:cubicBezTo>
                  <a:cubicBezTo>
                    <a:pt x="12614" y="12981"/>
                    <a:pt x="12676" y="13060"/>
                    <a:pt x="12752" y="13060"/>
                  </a:cubicBezTo>
                  <a:cubicBezTo>
                    <a:pt x="12829" y="13060"/>
                    <a:pt x="12890" y="12981"/>
                    <a:pt x="12890" y="12883"/>
                  </a:cubicBezTo>
                  <a:cubicBezTo>
                    <a:pt x="12890" y="12785"/>
                    <a:pt x="12829" y="12705"/>
                    <a:pt x="12752" y="12705"/>
                  </a:cubicBezTo>
                  <a:close/>
                  <a:moveTo>
                    <a:pt x="13163" y="12705"/>
                  </a:moveTo>
                  <a:cubicBezTo>
                    <a:pt x="13087" y="12705"/>
                    <a:pt x="13024" y="12785"/>
                    <a:pt x="13024" y="12883"/>
                  </a:cubicBezTo>
                  <a:cubicBezTo>
                    <a:pt x="13024" y="12981"/>
                    <a:pt x="13087" y="13060"/>
                    <a:pt x="13163" y="13060"/>
                  </a:cubicBezTo>
                  <a:cubicBezTo>
                    <a:pt x="13240" y="13060"/>
                    <a:pt x="13301" y="12981"/>
                    <a:pt x="13301" y="12883"/>
                  </a:cubicBezTo>
                  <a:cubicBezTo>
                    <a:pt x="13301" y="12785"/>
                    <a:pt x="13240" y="12705"/>
                    <a:pt x="13163" y="12705"/>
                  </a:cubicBezTo>
                  <a:close/>
                  <a:moveTo>
                    <a:pt x="13574" y="12705"/>
                  </a:moveTo>
                  <a:cubicBezTo>
                    <a:pt x="13498" y="12705"/>
                    <a:pt x="13435" y="12785"/>
                    <a:pt x="13435" y="12883"/>
                  </a:cubicBezTo>
                  <a:cubicBezTo>
                    <a:pt x="13435" y="12981"/>
                    <a:pt x="13498" y="13060"/>
                    <a:pt x="13574" y="13060"/>
                  </a:cubicBezTo>
                  <a:cubicBezTo>
                    <a:pt x="13650" y="13060"/>
                    <a:pt x="13711" y="12981"/>
                    <a:pt x="13711" y="12883"/>
                  </a:cubicBezTo>
                  <a:cubicBezTo>
                    <a:pt x="13711" y="12785"/>
                    <a:pt x="13650" y="12705"/>
                    <a:pt x="13574" y="12705"/>
                  </a:cubicBezTo>
                  <a:close/>
                  <a:moveTo>
                    <a:pt x="13985" y="12705"/>
                  </a:moveTo>
                  <a:cubicBezTo>
                    <a:pt x="13908" y="12705"/>
                    <a:pt x="13846" y="12785"/>
                    <a:pt x="13846" y="12883"/>
                  </a:cubicBezTo>
                  <a:cubicBezTo>
                    <a:pt x="13846" y="12981"/>
                    <a:pt x="13908" y="13060"/>
                    <a:pt x="13985" y="13060"/>
                  </a:cubicBezTo>
                  <a:cubicBezTo>
                    <a:pt x="14061" y="13060"/>
                    <a:pt x="14122" y="12981"/>
                    <a:pt x="14122" y="12883"/>
                  </a:cubicBezTo>
                  <a:cubicBezTo>
                    <a:pt x="14122" y="12785"/>
                    <a:pt x="14061" y="12705"/>
                    <a:pt x="13985" y="12705"/>
                  </a:cubicBezTo>
                  <a:close/>
                  <a:moveTo>
                    <a:pt x="14355" y="12705"/>
                  </a:moveTo>
                  <a:cubicBezTo>
                    <a:pt x="14278" y="12705"/>
                    <a:pt x="14216" y="12785"/>
                    <a:pt x="14216" y="12883"/>
                  </a:cubicBezTo>
                  <a:cubicBezTo>
                    <a:pt x="14216" y="12981"/>
                    <a:pt x="14278" y="13060"/>
                    <a:pt x="14355" y="13060"/>
                  </a:cubicBezTo>
                  <a:cubicBezTo>
                    <a:pt x="14431" y="13060"/>
                    <a:pt x="14492" y="12981"/>
                    <a:pt x="14492" y="12883"/>
                  </a:cubicBezTo>
                  <a:cubicBezTo>
                    <a:pt x="14492" y="12785"/>
                    <a:pt x="14431" y="12705"/>
                    <a:pt x="14355" y="12705"/>
                  </a:cubicBezTo>
                  <a:close/>
                  <a:moveTo>
                    <a:pt x="14765" y="12705"/>
                  </a:moveTo>
                  <a:cubicBezTo>
                    <a:pt x="14689" y="12705"/>
                    <a:pt x="14627" y="12785"/>
                    <a:pt x="14627" y="12883"/>
                  </a:cubicBezTo>
                  <a:cubicBezTo>
                    <a:pt x="14627" y="12981"/>
                    <a:pt x="14689" y="13060"/>
                    <a:pt x="14765" y="13060"/>
                  </a:cubicBezTo>
                  <a:cubicBezTo>
                    <a:pt x="14842" y="13060"/>
                    <a:pt x="14903" y="12981"/>
                    <a:pt x="14903" y="12883"/>
                  </a:cubicBezTo>
                  <a:cubicBezTo>
                    <a:pt x="14903" y="12785"/>
                    <a:pt x="14842" y="12705"/>
                    <a:pt x="14765" y="12705"/>
                  </a:cubicBezTo>
                  <a:close/>
                  <a:moveTo>
                    <a:pt x="15135" y="12705"/>
                  </a:moveTo>
                  <a:cubicBezTo>
                    <a:pt x="15059" y="12705"/>
                    <a:pt x="14997" y="12785"/>
                    <a:pt x="14997" y="12883"/>
                  </a:cubicBezTo>
                  <a:cubicBezTo>
                    <a:pt x="14997" y="12981"/>
                    <a:pt x="15059" y="13060"/>
                    <a:pt x="15135" y="13060"/>
                  </a:cubicBezTo>
                  <a:cubicBezTo>
                    <a:pt x="15212" y="13060"/>
                    <a:pt x="15273" y="12981"/>
                    <a:pt x="15273" y="12883"/>
                  </a:cubicBezTo>
                  <a:cubicBezTo>
                    <a:pt x="15273" y="12785"/>
                    <a:pt x="15212" y="12705"/>
                    <a:pt x="15135" y="12705"/>
                  </a:cubicBezTo>
                  <a:close/>
                  <a:moveTo>
                    <a:pt x="15546" y="12705"/>
                  </a:moveTo>
                  <a:cubicBezTo>
                    <a:pt x="15470" y="12705"/>
                    <a:pt x="15407" y="12785"/>
                    <a:pt x="15407" y="12883"/>
                  </a:cubicBezTo>
                  <a:cubicBezTo>
                    <a:pt x="15407" y="12981"/>
                    <a:pt x="15470" y="13060"/>
                    <a:pt x="15546" y="13060"/>
                  </a:cubicBezTo>
                  <a:cubicBezTo>
                    <a:pt x="15623" y="13060"/>
                    <a:pt x="15684" y="12981"/>
                    <a:pt x="15684" y="12883"/>
                  </a:cubicBezTo>
                  <a:cubicBezTo>
                    <a:pt x="15684" y="12785"/>
                    <a:pt x="15623" y="12705"/>
                    <a:pt x="15546" y="12705"/>
                  </a:cubicBezTo>
                  <a:close/>
                  <a:moveTo>
                    <a:pt x="15957" y="12705"/>
                  </a:moveTo>
                  <a:cubicBezTo>
                    <a:pt x="15881" y="12705"/>
                    <a:pt x="15818" y="12785"/>
                    <a:pt x="15818" y="12883"/>
                  </a:cubicBezTo>
                  <a:cubicBezTo>
                    <a:pt x="15818" y="12981"/>
                    <a:pt x="15881" y="13060"/>
                    <a:pt x="15957" y="13060"/>
                  </a:cubicBezTo>
                  <a:cubicBezTo>
                    <a:pt x="16033" y="13060"/>
                    <a:pt x="16094" y="12981"/>
                    <a:pt x="16094" y="12883"/>
                  </a:cubicBezTo>
                  <a:cubicBezTo>
                    <a:pt x="16094" y="12785"/>
                    <a:pt x="16033" y="12705"/>
                    <a:pt x="15957" y="12705"/>
                  </a:cubicBezTo>
                  <a:close/>
                  <a:moveTo>
                    <a:pt x="16327" y="12705"/>
                  </a:moveTo>
                  <a:cubicBezTo>
                    <a:pt x="16250" y="12705"/>
                    <a:pt x="16188" y="12785"/>
                    <a:pt x="16188" y="12883"/>
                  </a:cubicBezTo>
                  <a:cubicBezTo>
                    <a:pt x="16188" y="12981"/>
                    <a:pt x="16250" y="13060"/>
                    <a:pt x="16327" y="13060"/>
                  </a:cubicBezTo>
                  <a:cubicBezTo>
                    <a:pt x="16403" y="13060"/>
                    <a:pt x="16464" y="12981"/>
                    <a:pt x="16464" y="12883"/>
                  </a:cubicBezTo>
                  <a:cubicBezTo>
                    <a:pt x="16464" y="12785"/>
                    <a:pt x="16403" y="12705"/>
                    <a:pt x="16327" y="12705"/>
                  </a:cubicBezTo>
                  <a:close/>
                  <a:moveTo>
                    <a:pt x="2111" y="13180"/>
                  </a:moveTo>
                  <a:cubicBezTo>
                    <a:pt x="2035" y="13180"/>
                    <a:pt x="1972" y="13260"/>
                    <a:pt x="1972" y="13358"/>
                  </a:cubicBezTo>
                  <a:cubicBezTo>
                    <a:pt x="1972" y="13456"/>
                    <a:pt x="2035" y="13536"/>
                    <a:pt x="2111" y="13536"/>
                  </a:cubicBezTo>
                  <a:cubicBezTo>
                    <a:pt x="2187" y="13536"/>
                    <a:pt x="2248" y="13456"/>
                    <a:pt x="2248" y="13358"/>
                  </a:cubicBezTo>
                  <a:cubicBezTo>
                    <a:pt x="2248" y="13260"/>
                    <a:pt x="2187" y="13180"/>
                    <a:pt x="2111" y="13180"/>
                  </a:cubicBezTo>
                  <a:close/>
                  <a:moveTo>
                    <a:pt x="2522" y="13180"/>
                  </a:moveTo>
                  <a:cubicBezTo>
                    <a:pt x="2445" y="13180"/>
                    <a:pt x="2383" y="13260"/>
                    <a:pt x="2383" y="13358"/>
                  </a:cubicBezTo>
                  <a:cubicBezTo>
                    <a:pt x="2383" y="13456"/>
                    <a:pt x="2445" y="13536"/>
                    <a:pt x="2522" y="13536"/>
                  </a:cubicBezTo>
                  <a:cubicBezTo>
                    <a:pt x="2598" y="13536"/>
                    <a:pt x="2659" y="13456"/>
                    <a:pt x="2659" y="13358"/>
                  </a:cubicBezTo>
                  <a:cubicBezTo>
                    <a:pt x="2659" y="13260"/>
                    <a:pt x="2598" y="13180"/>
                    <a:pt x="2522" y="13180"/>
                  </a:cubicBezTo>
                  <a:close/>
                  <a:moveTo>
                    <a:pt x="2891" y="13180"/>
                  </a:moveTo>
                  <a:cubicBezTo>
                    <a:pt x="2815" y="13180"/>
                    <a:pt x="2753" y="13260"/>
                    <a:pt x="2753" y="13358"/>
                  </a:cubicBezTo>
                  <a:cubicBezTo>
                    <a:pt x="2753" y="13456"/>
                    <a:pt x="2815" y="13536"/>
                    <a:pt x="2891" y="13536"/>
                  </a:cubicBezTo>
                  <a:cubicBezTo>
                    <a:pt x="2968" y="13536"/>
                    <a:pt x="3029" y="13456"/>
                    <a:pt x="3029" y="13358"/>
                  </a:cubicBezTo>
                  <a:cubicBezTo>
                    <a:pt x="3029" y="13260"/>
                    <a:pt x="2968" y="13180"/>
                    <a:pt x="2891" y="13180"/>
                  </a:cubicBezTo>
                  <a:close/>
                  <a:moveTo>
                    <a:pt x="3302" y="13180"/>
                  </a:moveTo>
                  <a:cubicBezTo>
                    <a:pt x="3226" y="13180"/>
                    <a:pt x="3164" y="13260"/>
                    <a:pt x="3164" y="13358"/>
                  </a:cubicBezTo>
                  <a:cubicBezTo>
                    <a:pt x="3164" y="13456"/>
                    <a:pt x="3226" y="13536"/>
                    <a:pt x="3302" y="13536"/>
                  </a:cubicBezTo>
                  <a:cubicBezTo>
                    <a:pt x="3379" y="13536"/>
                    <a:pt x="3440" y="13456"/>
                    <a:pt x="3440" y="13358"/>
                  </a:cubicBezTo>
                  <a:cubicBezTo>
                    <a:pt x="3440" y="13260"/>
                    <a:pt x="3379" y="13180"/>
                    <a:pt x="3302" y="13180"/>
                  </a:cubicBezTo>
                  <a:close/>
                  <a:moveTo>
                    <a:pt x="3713" y="13180"/>
                  </a:moveTo>
                  <a:cubicBezTo>
                    <a:pt x="3637" y="13180"/>
                    <a:pt x="3575" y="13260"/>
                    <a:pt x="3575" y="13358"/>
                  </a:cubicBezTo>
                  <a:cubicBezTo>
                    <a:pt x="3575" y="13456"/>
                    <a:pt x="3637" y="13534"/>
                    <a:pt x="3713" y="13534"/>
                  </a:cubicBezTo>
                  <a:cubicBezTo>
                    <a:pt x="3790" y="13534"/>
                    <a:pt x="3851" y="13456"/>
                    <a:pt x="3851" y="13358"/>
                  </a:cubicBezTo>
                  <a:cubicBezTo>
                    <a:pt x="3851" y="13260"/>
                    <a:pt x="3790" y="13180"/>
                    <a:pt x="3713" y="13180"/>
                  </a:cubicBezTo>
                  <a:close/>
                  <a:moveTo>
                    <a:pt x="4083" y="13180"/>
                  </a:moveTo>
                  <a:cubicBezTo>
                    <a:pt x="4007" y="13180"/>
                    <a:pt x="3944" y="13260"/>
                    <a:pt x="3944" y="13358"/>
                  </a:cubicBezTo>
                  <a:cubicBezTo>
                    <a:pt x="3944" y="13456"/>
                    <a:pt x="4007" y="13534"/>
                    <a:pt x="4083" y="13534"/>
                  </a:cubicBezTo>
                  <a:cubicBezTo>
                    <a:pt x="4159" y="13534"/>
                    <a:pt x="4220" y="13456"/>
                    <a:pt x="4220" y="13358"/>
                  </a:cubicBezTo>
                  <a:cubicBezTo>
                    <a:pt x="4220" y="13260"/>
                    <a:pt x="4159" y="13180"/>
                    <a:pt x="4083" y="13180"/>
                  </a:cubicBezTo>
                  <a:close/>
                  <a:moveTo>
                    <a:pt x="4494" y="13180"/>
                  </a:moveTo>
                  <a:cubicBezTo>
                    <a:pt x="4418" y="13180"/>
                    <a:pt x="4355" y="13260"/>
                    <a:pt x="4355" y="13358"/>
                  </a:cubicBezTo>
                  <a:cubicBezTo>
                    <a:pt x="4355" y="13456"/>
                    <a:pt x="4418" y="13534"/>
                    <a:pt x="4494" y="13534"/>
                  </a:cubicBezTo>
                  <a:cubicBezTo>
                    <a:pt x="4570" y="13534"/>
                    <a:pt x="4631" y="13456"/>
                    <a:pt x="4631" y="13358"/>
                  </a:cubicBezTo>
                  <a:cubicBezTo>
                    <a:pt x="4631" y="13260"/>
                    <a:pt x="4570" y="13180"/>
                    <a:pt x="4494" y="13180"/>
                  </a:cubicBezTo>
                  <a:close/>
                  <a:moveTo>
                    <a:pt x="4864" y="13180"/>
                  </a:moveTo>
                  <a:cubicBezTo>
                    <a:pt x="4787" y="13180"/>
                    <a:pt x="4725" y="13260"/>
                    <a:pt x="4725" y="13358"/>
                  </a:cubicBezTo>
                  <a:cubicBezTo>
                    <a:pt x="4725" y="13456"/>
                    <a:pt x="4787" y="13534"/>
                    <a:pt x="4864" y="13534"/>
                  </a:cubicBezTo>
                  <a:cubicBezTo>
                    <a:pt x="4940" y="13534"/>
                    <a:pt x="5001" y="13456"/>
                    <a:pt x="5001" y="13358"/>
                  </a:cubicBezTo>
                  <a:cubicBezTo>
                    <a:pt x="5001" y="13260"/>
                    <a:pt x="4940" y="13180"/>
                    <a:pt x="4864" y="13180"/>
                  </a:cubicBezTo>
                  <a:close/>
                  <a:moveTo>
                    <a:pt x="5274" y="13180"/>
                  </a:moveTo>
                  <a:cubicBezTo>
                    <a:pt x="5198" y="13180"/>
                    <a:pt x="5136" y="13260"/>
                    <a:pt x="5136" y="13358"/>
                  </a:cubicBezTo>
                  <a:cubicBezTo>
                    <a:pt x="5136" y="13456"/>
                    <a:pt x="5198" y="13534"/>
                    <a:pt x="5274" y="13534"/>
                  </a:cubicBezTo>
                  <a:cubicBezTo>
                    <a:pt x="5351" y="13534"/>
                    <a:pt x="5412" y="13456"/>
                    <a:pt x="5412" y="13358"/>
                  </a:cubicBezTo>
                  <a:cubicBezTo>
                    <a:pt x="5412" y="13260"/>
                    <a:pt x="5351" y="13180"/>
                    <a:pt x="5274" y="13180"/>
                  </a:cubicBezTo>
                  <a:close/>
                  <a:moveTo>
                    <a:pt x="5644" y="13180"/>
                  </a:moveTo>
                  <a:cubicBezTo>
                    <a:pt x="5568" y="13180"/>
                    <a:pt x="5506" y="13260"/>
                    <a:pt x="5506" y="13358"/>
                  </a:cubicBezTo>
                  <a:cubicBezTo>
                    <a:pt x="5506" y="13456"/>
                    <a:pt x="5568" y="13534"/>
                    <a:pt x="5644" y="13534"/>
                  </a:cubicBezTo>
                  <a:cubicBezTo>
                    <a:pt x="5720" y="13534"/>
                    <a:pt x="5782" y="13456"/>
                    <a:pt x="5782" y="13358"/>
                  </a:cubicBezTo>
                  <a:cubicBezTo>
                    <a:pt x="5782" y="13260"/>
                    <a:pt x="5720" y="13180"/>
                    <a:pt x="5644" y="13180"/>
                  </a:cubicBezTo>
                  <a:close/>
                  <a:moveTo>
                    <a:pt x="7658" y="13180"/>
                  </a:moveTo>
                  <a:cubicBezTo>
                    <a:pt x="7581" y="13180"/>
                    <a:pt x="7519" y="13260"/>
                    <a:pt x="7519" y="13358"/>
                  </a:cubicBezTo>
                  <a:cubicBezTo>
                    <a:pt x="7519" y="13456"/>
                    <a:pt x="7581" y="13534"/>
                    <a:pt x="7658" y="13534"/>
                  </a:cubicBezTo>
                  <a:cubicBezTo>
                    <a:pt x="7734" y="13534"/>
                    <a:pt x="7795" y="13456"/>
                    <a:pt x="7795" y="13358"/>
                  </a:cubicBezTo>
                  <a:cubicBezTo>
                    <a:pt x="7795" y="13260"/>
                    <a:pt x="7734" y="13180"/>
                    <a:pt x="7658" y="13180"/>
                  </a:cubicBezTo>
                  <a:close/>
                  <a:moveTo>
                    <a:pt x="8068" y="13180"/>
                  </a:moveTo>
                  <a:cubicBezTo>
                    <a:pt x="7992" y="13180"/>
                    <a:pt x="7930" y="13260"/>
                    <a:pt x="7930" y="13358"/>
                  </a:cubicBezTo>
                  <a:cubicBezTo>
                    <a:pt x="7930" y="13456"/>
                    <a:pt x="7992" y="13534"/>
                    <a:pt x="8068" y="13534"/>
                  </a:cubicBezTo>
                  <a:cubicBezTo>
                    <a:pt x="8145" y="13534"/>
                    <a:pt x="8206" y="13456"/>
                    <a:pt x="8206" y="13358"/>
                  </a:cubicBezTo>
                  <a:cubicBezTo>
                    <a:pt x="8206" y="13260"/>
                    <a:pt x="8145" y="13180"/>
                    <a:pt x="8068" y="13180"/>
                  </a:cubicBezTo>
                  <a:close/>
                  <a:moveTo>
                    <a:pt x="8438" y="13180"/>
                  </a:moveTo>
                  <a:cubicBezTo>
                    <a:pt x="8362" y="13180"/>
                    <a:pt x="8299" y="13260"/>
                    <a:pt x="8299" y="13358"/>
                  </a:cubicBezTo>
                  <a:cubicBezTo>
                    <a:pt x="8299" y="13456"/>
                    <a:pt x="8362" y="13534"/>
                    <a:pt x="8438" y="13534"/>
                  </a:cubicBezTo>
                  <a:cubicBezTo>
                    <a:pt x="8514" y="13534"/>
                    <a:pt x="8576" y="13456"/>
                    <a:pt x="8576" y="13358"/>
                  </a:cubicBezTo>
                  <a:cubicBezTo>
                    <a:pt x="8576" y="13260"/>
                    <a:pt x="8514" y="13180"/>
                    <a:pt x="8438" y="13180"/>
                  </a:cubicBezTo>
                  <a:close/>
                  <a:moveTo>
                    <a:pt x="8808" y="13180"/>
                  </a:moveTo>
                  <a:cubicBezTo>
                    <a:pt x="8732" y="13180"/>
                    <a:pt x="8669" y="13260"/>
                    <a:pt x="8669" y="13358"/>
                  </a:cubicBezTo>
                  <a:cubicBezTo>
                    <a:pt x="8669" y="13456"/>
                    <a:pt x="8732" y="13534"/>
                    <a:pt x="8808" y="13534"/>
                  </a:cubicBezTo>
                  <a:cubicBezTo>
                    <a:pt x="8884" y="13534"/>
                    <a:pt x="8945" y="13456"/>
                    <a:pt x="8945" y="13358"/>
                  </a:cubicBezTo>
                  <a:cubicBezTo>
                    <a:pt x="8945" y="13260"/>
                    <a:pt x="8884" y="13180"/>
                    <a:pt x="8808" y="13180"/>
                  </a:cubicBezTo>
                  <a:close/>
                  <a:moveTo>
                    <a:pt x="9219" y="13180"/>
                  </a:moveTo>
                  <a:cubicBezTo>
                    <a:pt x="9142" y="13180"/>
                    <a:pt x="9080" y="13260"/>
                    <a:pt x="9080" y="13358"/>
                  </a:cubicBezTo>
                  <a:cubicBezTo>
                    <a:pt x="9080" y="13456"/>
                    <a:pt x="9142" y="13534"/>
                    <a:pt x="9219" y="13534"/>
                  </a:cubicBezTo>
                  <a:cubicBezTo>
                    <a:pt x="9295" y="13534"/>
                    <a:pt x="9356" y="13456"/>
                    <a:pt x="9356" y="13358"/>
                  </a:cubicBezTo>
                  <a:cubicBezTo>
                    <a:pt x="9356" y="13260"/>
                    <a:pt x="9295" y="13180"/>
                    <a:pt x="9219" y="13180"/>
                  </a:cubicBezTo>
                  <a:close/>
                  <a:moveTo>
                    <a:pt x="9589" y="13180"/>
                  </a:moveTo>
                  <a:cubicBezTo>
                    <a:pt x="9512" y="13180"/>
                    <a:pt x="9450" y="13260"/>
                    <a:pt x="9450" y="13358"/>
                  </a:cubicBezTo>
                  <a:cubicBezTo>
                    <a:pt x="9450" y="13456"/>
                    <a:pt x="9512" y="13534"/>
                    <a:pt x="9589" y="13534"/>
                  </a:cubicBezTo>
                  <a:cubicBezTo>
                    <a:pt x="9665" y="13534"/>
                    <a:pt x="9726" y="13456"/>
                    <a:pt x="9726" y="13358"/>
                  </a:cubicBezTo>
                  <a:cubicBezTo>
                    <a:pt x="9726" y="13260"/>
                    <a:pt x="9665" y="13180"/>
                    <a:pt x="9589" y="13180"/>
                  </a:cubicBezTo>
                  <a:close/>
                  <a:moveTo>
                    <a:pt x="9999" y="13180"/>
                  </a:moveTo>
                  <a:cubicBezTo>
                    <a:pt x="9923" y="13180"/>
                    <a:pt x="9861" y="13260"/>
                    <a:pt x="9861" y="13358"/>
                  </a:cubicBezTo>
                  <a:cubicBezTo>
                    <a:pt x="9861" y="13456"/>
                    <a:pt x="9923" y="13534"/>
                    <a:pt x="9999" y="13534"/>
                  </a:cubicBezTo>
                  <a:cubicBezTo>
                    <a:pt x="10076" y="13534"/>
                    <a:pt x="10137" y="13456"/>
                    <a:pt x="10137" y="13358"/>
                  </a:cubicBezTo>
                  <a:cubicBezTo>
                    <a:pt x="10137" y="13260"/>
                    <a:pt x="10076" y="13180"/>
                    <a:pt x="9999" y="13180"/>
                  </a:cubicBezTo>
                  <a:close/>
                  <a:moveTo>
                    <a:pt x="10410" y="13180"/>
                  </a:moveTo>
                  <a:cubicBezTo>
                    <a:pt x="10334" y="13180"/>
                    <a:pt x="10272" y="13260"/>
                    <a:pt x="10272" y="13358"/>
                  </a:cubicBezTo>
                  <a:cubicBezTo>
                    <a:pt x="10272" y="13456"/>
                    <a:pt x="10334" y="13534"/>
                    <a:pt x="10410" y="13534"/>
                  </a:cubicBezTo>
                  <a:cubicBezTo>
                    <a:pt x="10487" y="13534"/>
                    <a:pt x="10548" y="13456"/>
                    <a:pt x="10548" y="13358"/>
                  </a:cubicBezTo>
                  <a:cubicBezTo>
                    <a:pt x="10548" y="13260"/>
                    <a:pt x="10487" y="13180"/>
                    <a:pt x="10410" y="13180"/>
                  </a:cubicBezTo>
                  <a:close/>
                  <a:moveTo>
                    <a:pt x="10780" y="13180"/>
                  </a:moveTo>
                  <a:cubicBezTo>
                    <a:pt x="10704" y="13180"/>
                    <a:pt x="10641" y="13260"/>
                    <a:pt x="10641" y="13358"/>
                  </a:cubicBezTo>
                  <a:cubicBezTo>
                    <a:pt x="10641" y="13456"/>
                    <a:pt x="10704" y="13534"/>
                    <a:pt x="10780" y="13534"/>
                  </a:cubicBezTo>
                  <a:cubicBezTo>
                    <a:pt x="10856" y="13534"/>
                    <a:pt x="10917" y="13456"/>
                    <a:pt x="10917" y="13358"/>
                  </a:cubicBezTo>
                  <a:cubicBezTo>
                    <a:pt x="10917" y="13260"/>
                    <a:pt x="10856" y="13180"/>
                    <a:pt x="10780" y="13180"/>
                  </a:cubicBezTo>
                  <a:close/>
                  <a:moveTo>
                    <a:pt x="11191" y="13180"/>
                  </a:moveTo>
                  <a:cubicBezTo>
                    <a:pt x="11115" y="13180"/>
                    <a:pt x="11052" y="13260"/>
                    <a:pt x="11052" y="13358"/>
                  </a:cubicBezTo>
                  <a:cubicBezTo>
                    <a:pt x="11052" y="13456"/>
                    <a:pt x="11115" y="13534"/>
                    <a:pt x="11191" y="13534"/>
                  </a:cubicBezTo>
                  <a:cubicBezTo>
                    <a:pt x="11267" y="13534"/>
                    <a:pt x="11328" y="13456"/>
                    <a:pt x="11328" y="13358"/>
                  </a:cubicBezTo>
                  <a:cubicBezTo>
                    <a:pt x="11328" y="13260"/>
                    <a:pt x="11267" y="13180"/>
                    <a:pt x="11191" y="13180"/>
                  </a:cubicBezTo>
                  <a:close/>
                  <a:moveTo>
                    <a:pt x="11602" y="13180"/>
                  </a:moveTo>
                  <a:cubicBezTo>
                    <a:pt x="11526" y="13180"/>
                    <a:pt x="11463" y="13260"/>
                    <a:pt x="11463" y="13358"/>
                  </a:cubicBezTo>
                  <a:cubicBezTo>
                    <a:pt x="11463" y="13456"/>
                    <a:pt x="11526" y="13534"/>
                    <a:pt x="11602" y="13534"/>
                  </a:cubicBezTo>
                  <a:cubicBezTo>
                    <a:pt x="11678" y="13534"/>
                    <a:pt x="11739" y="13456"/>
                    <a:pt x="11739" y="13358"/>
                  </a:cubicBezTo>
                  <a:cubicBezTo>
                    <a:pt x="11739" y="13260"/>
                    <a:pt x="11678" y="13180"/>
                    <a:pt x="11602" y="13180"/>
                  </a:cubicBezTo>
                  <a:close/>
                  <a:moveTo>
                    <a:pt x="11972" y="13180"/>
                  </a:moveTo>
                  <a:cubicBezTo>
                    <a:pt x="11895" y="13180"/>
                    <a:pt x="11833" y="13260"/>
                    <a:pt x="11833" y="13358"/>
                  </a:cubicBezTo>
                  <a:cubicBezTo>
                    <a:pt x="11833" y="13456"/>
                    <a:pt x="11895" y="13534"/>
                    <a:pt x="11972" y="13534"/>
                  </a:cubicBezTo>
                  <a:cubicBezTo>
                    <a:pt x="12048" y="13534"/>
                    <a:pt x="12109" y="13456"/>
                    <a:pt x="12109" y="13358"/>
                  </a:cubicBezTo>
                  <a:cubicBezTo>
                    <a:pt x="12109" y="13260"/>
                    <a:pt x="12048" y="13180"/>
                    <a:pt x="11972" y="13180"/>
                  </a:cubicBezTo>
                  <a:close/>
                  <a:moveTo>
                    <a:pt x="12382" y="13180"/>
                  </a:moveTo>
                  <a:cubicBezTo>
                    <a:pt x="12306" y="13180"/>
                    <a:pt x="12244" y="13260"/>
                    <a:pt x="12244" y="13358"/>
                  </a:cubicBezTo>
                  <a:cubicBezTo>
                    <a:pt x="12244" y="13456"/>
                    <a:pt x="12306" y="13534"/>
                    <a:pt x="12382" y="13534"/>
                  </a:cubicBezTo>
                  <a:cubicBezTo>
                    <a:pt x="12459" y="13534"/>
                    <a:pt x="12520" y="13456"/>
                    <a:pt x="12520" y="13358"/>
                  </a:cubicBezTo>
                  <a:cubicBezTo>
                    <a:pt x="12520" y="13260"/>
                    <a:pt x="12459" y="13180"/>
                    <a:pt x="12382" y="13180"/>
                  </a:cubicBezTo>
                  <a:close/>
                  <a:moveTo>
                    <a:pt x="12752" y="13180"/>
                  </a:moveTo>
                  <a:cubicBezTo>
                    <a:pt x="12676" y="13180"/>
                    <a:pt x="12614" y="13260"/>
                    <a:pt x="12614" y="13358"/>
                  </a:cubicBezTo>
                  <a:cubicBezTo>
                    <a:pt x="12614" y="13456"/>
                    <a:pt x="12676" y="13534"/>
                    <a:pt x="12752" y="13534"/>
                  </a:cubicBezTo>
                  <a:cubicBezTo>
                    <a:pt x="12829" y="13534"/>
                    <a:pt x="12890" y="13456"/>
                    <a:pt x="12890" y="13358"/>
                  </a:cubicBezTo>
                  <a:cubicBezTo>
                    <a:pt x="12890" y="13260"/>
                    <a:pt x="12829" y="13180"/>
                    <a:pt x="12752" y="13180"/>
                  </a:cubicBezTo>
                  <a:close/>
                  <a:moveTo>
                    <a:pt x="13163" y="13180"/>
                  </a:moveTo>
                  <a:cubicBezTo>
                    <a:pt x="13087" y="13180"/>
                    <a:pt x="13024" y="13260"/>
                    <a:pt x="13024" y="13358"/>
                  </a:cubicBezTo>
                  <a:cubicBezTo>
                    <a:pt x="13024" y="13456"/>
                    <a:pt x="13087" y="13534"/>
                    <a:pt x="13163" y="13534"/>
                  </a:cubicBezTo>
                  <a:cubicBezTo>
                    <a:pt x="13240" y="13534"/>
                    <a:pt x="13301" y="13456"/>
                    <a:pt x="13301" y="13358"/>
                  </a:cubicBezTo>
                  <a:cubicBezTo>
                    <a:pt x="13301" y="13260"/>
                    <a:pt x="13240" y="13180"/>
                    <a:pt x="13163" y="13180"/>
                  </a:cubicBezTo>
                  <a:close/>
                  <a:moveTo>
                    <a:pt x="13574" y="13180"/>
                  </a:moveTo>
                  <a:cubicBezTo>
                    <a:pt x="13498" y="13180"/>
                    <a:pt x="13435" y="13260"/>
                    <a:pt x="13435" y="13358"/>
                  </a:cubicBezTo>
                  <a:cubicBezTo>
                    <a:pt x="13435" y="13456"/>
                    <a:pt x="13498" y="13534"/>
                    <a:pt x="13574" y="13534"/>
                  </a:cubicBezTo>
                  <a:cubicBezTo>
                    <a:pt x="13650" y="13534"/>
                    <a:pt x="13711" y="13456"/>
                    <a:pt x="13711" y="13358"/>
                  </a:cubicBezTo>
                  <a:cubicBezTo>
                    <a:pt x="13711" y="13260"/>
                    <a:pt x="13650" y="13180"/>
                    <a:pt x="13574" y="13180"/>
                  </a:cubicBezTo>
                  <a:close/>
                  <a:moveTo>
                    <a:pt x="13985" y="13180"/>
                  </a:moveTo>
                  <a:cubicBezTo>
                    <a:pt x="13908" y="13180"/>
                    <a:pt x="13846" y="13260"/>
                    <a:pt x="13846" y="13358"/>
                  </a:cubicBezTo>
                  <a:cubicBezTo>
                    <a:pt x="13846" y="13456"/>
                    <a:pt x="13908" y="13534"/>
                    <a:pt x="13985" y="13534"/>
                  </a:cubicBezTo>
                  <a:cubicBezTo>
                    <a:pt x="14061" y="13534"/>
                    <a:pt x="14122" y="13456"/>
                    <a:pt x="14122" y="13358"/>
                  </a:cubicBezTo>
                  <a:cubicBezTo>
                    <a:pt x="14122" y="13260"/>
                    <a:pt x="14061" y="13180"/>
                    <a:pt x="13985" y="13180"/>
                  </a:cubicBezTo>
                  <a:close/>
                  <a:moveTo>
                    <a:pt x="14355" y="13180"/>
                  </a:moveTo>
                  <a:cubicBezTo>
                    <a:pt x="14278" y="13180"/>
                    <a:pt x="14216" y="13260"/>
                    <a:pt x="14216" y="13358"/>
                  </a:cubicBezTo>
                  <a:cubicBezTo>
                    <a:pt x="14216" y="13456"/>
                    <a:pt x="14278" y="13534"/>
                    <a:pt x="14355" y="13534"/>
                  </a:cubicBezTo>
                  <a:cubicBezTo>
                    <a:pt x="14431" y="13534"/>
                    <a:pt x="14492" y="13456"/>
                    <a:pt x="14492" y="13358"/>
                  </a:cubicBezTo>
                  <a:cubicBezTo>
                    <a:pt x="14492" y="13260"/>
                    <a:pt x="14431" y="13180"/>
                    <a:pt x="14355" y="13180"/>
                  </a:cubicBezTo>
                  <a:close/>
                  <a:moveTo>
                    <a:pt x="14765" y="13180"/>
                  </a:moveTo>
                  <a:cubicBezTo>
                    <a:pt x="14689" y="13180"/>
                    <a:pt x="14627" y="13260"/>
                    <a:pt x="14627" y="13358"/>
                  </a:cubicBezTo>
                  <a:cubicBezTo>
                    <a:pt x="14627" y="13456"/>
                    <a:pt x="14689" y="13534"/>
                    <a:pt x="14765" y="13534"/>
                  </a:cubicBezTo>
                  <a:cubicBezTo>
                    <a:pt x="14842" y="13534"/>
                    <a:pt x="14903" y="13456"/>
                    <a:pt x="14903" y="13358"/>
                  </a:cubicBezTo>
                  <a:cubicBezTo>
                    <a:pt x="14903" y="13260"/>
                    <a:pt x="14842" y="13180"/>
                    <a:pt x="14765" y="13180"/>
                  </a:cubicBezTo>
                  <a:close/>
                  <a:moveTo>
                    <a:pt x="15135" y="13180"/>
                  </a:moveTo>
                  <a:cubicBezTo>
                    <a:pt x="15059" y="13180"/>
                    <a:pt x="14997" y="13260"/>
                    <a:pt x="14997" y="13358"/>
                  </a:cubicBezTo>
                  <a:cubicBezTo>
                    <a:pt x="14997" y="13456"/>
                    <a:pt x="15059" y="13534"/>
                    <a:pt x="15135" y="13534"/>
                  </a:cubicBezTo>
                  <a:cubicBezTo>
                    <a:pt x="15212" y="13534"/>
                    <a:pt x="15273" y="13456"/>
                    <a:pt x="15273" y="13358"/>
                  </a:cubicBezTo>
                  <a:cubicBezTo>
                    <a:pt x="15273" y="13260"/>
                    <a:pt x="15212" y="13180"/>
                    <a:pt x="15135" y="13180"/>
                  </a:cubicBezTo>
                  <a:close/>
                  <a:moveTo>
                    <a:pt x="15546" y="13180"/>
                  </a:moveTo>
                  <a:cubicBezTo>
                    <a:pt x="15470" y="13180"/>
                    <a:pt x="15407" y="13260"/>
                    <a:pt x="15407" y="13358"/>
                  </a:cubicBezTo>
                  <a:cubicBezTo>
                    <a:pt x="15407" y="13456"/>
                    <a:pt x="15470" y="13534"/>
                    <a:pt x="15546" y="13534"/>
                  </a:cubicBezTo>
                  <a:cubicBezTo>
                    <a:pt x="15623" y="13534"/>
                    <a:pt x="15684" y="13456"/>
                    <a:pt x="15684" y="13358"/>
                  </a:cubicBezTo>
                  <a:cubicBezTo>
                    <a:pt x="15684" y="13260"/>
                    <a:pt x="15623" y="13180"/>
                    <a:pt x="15546" y="13180"/>
                  </a:cubicBezTo>
                  <a:close/>
                  <a:moveTo>
                    <a:pt x="15957" y="13180"/>
                  </a:moveTo>
                  <a:cubicBezTo>
                    <a:pt x="15881" y="13180"/>
                    <a:pt x="15818" y="13260"/>
                    <a:pt x="15818" y="13358"/>
                  </a:cubicBezTo>
                  <a:cubicBezTo>
                    <a:pt x="15818" y="13456"/>
                    <a:pt x="15881" y="13534"/>
                    <a:pt x="15957" y="13534"/>
                  </a:cubicBezTo>
                  <a:cubicBezTo>
                    <a:pt x="16033" y="13534"/>
                    <a:pt x="16094" y="13456"/>
                    <a:pt x="16094" y="13358"/>
                  </a:cubicBezTo>
                  <a:cubicBezTo>
                    <a:pt x="16094" y="13260"/>
                    <a:pt x="16033" y="13180"/>
                    <a:pt x="15957" y="13180"/>
                  </a:cubicBezTo>
                  <a:close/>
                  <a:moveTo>
                    <a:pt x="16861" y="13232"/>
                  </a:moveTo>
                  <a:cubicBezTo>
                    <a:pt x="16785" y="13232"/>
                    <a:pt x="16722" y="13312"/>
                    <a:pt x="16722" y="13410"/>
                  </a:cubicBezTo>
                  <a:cubicBezTo>
                    <a:pt x="16722" y="13509"/>
                    <a:pt x="16785" y="13588"/>
                    <a:pt x="16861" y="13588"/>
                  </a:cubicBezTo>
                  <a:cubicBezTo>
                    <a:pt x="16937" y="13588"/>
                    <a:pt x="16998" y="13509"/>
                    <a:pt x="16998" y="13410"/>
                  </a:cubicBezTo>
                  <a:cubicBezTo>
                    <a:pt x="16998" y="13312"/>
                    <a:pt x="16937" y="13232"/>
                    <a:pt x="16861" y="13232"/>
                  </a:cubicBezTo>
                  <a:close/>
                  <a:moveTo>
                    <a:pt x="2522" y="13654"/>
                  </a:moveTo>
                  <a:cubicBezTo>
                    <a:pt x="2445" y="13654"/>
                    <a:pt x="2383" y="13734"/>
                    <a:pt x="2383" y="13832"/>
                  </a:cubicBezTo>
                  <a:cubicBezTo>
                    <a:pt x="2383" y="13930"/>
                    <a:pt x="2445" y="14008"/>
                    <a:pt x="2522" y="14008"/>
                  </a:cubicBezTo>
                  <a:cubicBezTo>
                    <a:pt x="2598" y="14008"/>
                    <a:pt x="2659" y="13930"/>
                    <a:pt x="2659" y="13832"/>
                  </a:cubicBezTo>
                  <a:cubicBezTo>
                    <a:pt x="2659" y="13734"/>
                    <a:pt x="2598" y="13654"/>
                    <a:pt x="2522" y="13654"/>
                  </a:cubicBezTo>
                  <a:close/>
                  <a:moveTo>
                    <a:pt x="2891" y="13654"/>
                  </a:moveTo>
                  <a:cubicBezTo>
                    <a:pt x="2815" y="13654"/>
                    <a:pt x="2753" y="13734"/>
                    <a:pt x="2753" y="13832"/>
                  </a:cubicBezTo>
                  <a:cubicBezTo>
                    <a:pt x="2753" y="13930"/>
                    <a:pt x="2815" y="14008"/>
                    <a:pt x="2891" y="14008"/>
                  </a:cubicBezTo>
                  <a:cubicBezTo>
                    <a:pt x="2968" y="14008"/>
                    <a:pt x="3029" y="13930"/>
                    <a:pt x="3029" y="13832"/>
                  </a:cubicBezTo>
                  <a:cubicBezTo>
                    <a:pt x="3029" y="13734"/>
                    <a:pt x="2968" y="13654"/>
                    <a:pt x="2891" y="13654"/>
                  </a:cubicBezTo>
                  <a:close/>
                  <a:moveTo>
                    <a:pt x="3302" y="13654"/>
                  </a:moveTo>
                  <a:cubicBezTo>
                    <a:pt x="3226" y="13654"/>
                    <a:pt x="3164" y="13734"/>
                    <a:pt x="3164" y="13832"/>
                  </a:cubicBezTo>
                  <a:cubicBezTo>
                    <a:pt x="3164" y="13930"/>
                    <a:pt x="3226" y="14008"/>
                    <a:pt x="3302" y="14008"/>
                  </a:cubicBezTo>
                  <a:cubicBezTo>
                    <a:pt x="3379" y="14008"/>
                    <a:pt x="3440" y="13930"/>
                    <a:pt x="3440" y="13832"/>
                  </a:cubicBezTo>
                  <a:cubicBezTo>
                    <a:pt x="3440" y="13734"/>
                    <a:pt x="3379" y="13654"/>
                    <a:pt x="3302" y="13654"/>
                  </a:cubicBezTo>
                  <a:close/>
                  <a:moveTo>
                    <a:pt x="12752" y="13654"/>
                  </a:moveTo>
                  <a:cubicBezTo>
                    <a:pt x="12676" y="13654"/>
                    <a:pt x="12614" y="13734"/>
                    <a:pt x="12614" y="13832"/>
                  </a:cubicBezTo>
                  <a:cubicBezTo>
                    <a:pt x="12614" y="13930"/>
                    <a:pt x="12676" y="14010"/>
                    <a:pt x="12752" y="14010"/>
                  </a:cubicBezTo>
                  <a:cubicBezTo>
                    <a:pt x="12829" y="14010"/>
                    <a:pt x="12890" y="13930"/>
                    <a:pt x="12890" y="13832"/>
                  </a:cubicBezTo>
                  <a:cubicBezTo>
                    <a:pt x="12890" y="13734"/>
                    <a:pt x="12829" y="13654"/>
                    <a:pt x="12752" y="13654"/>
                  </a:cubicBezTo>
                  <a:close/>
                  <a:moveTo>
                    <a:pt x="13163" y="13654"/>
                  </a:moveTo>
                  <a:cubicBezTo>
                    <a:pt x="13087" y="13654"/>
                    <a:pt x="13024" y="13734"/>
                    <a:pt x="13024" y="13832"/>
                  </a:cubicBezTo>
                  <a:cubicBezTo>
                    <a:pt x="13024" y="13930"/>
                    <a:pt x="13087" y="14010"/>
                    <a:pt x="13163" y="14010"/>
                  </a:cubicBezTo>
                  <a:cubicBezTo>
                    <a:pt x="13240" y="14010"/>
                    <a:pt x="13301" y="13930"/>
                    <a:pt x="13301" y="13832"/>
                  </a:cubicBezTo>
                  <a:cubicBezTo>
                    <a:pt x="13301" y="13734"/>
                    <a:pt x="13240" y="13654"/>
                    <a:pt x="13163" y="13654"/>
                  </a:cubicBezTo>
                  <a:close/>
                  <a:moveTo>
                    <a:pt x="13574" y="13654"/>
                  </a:moveTo>
                  <a:cubicBezTo>
                    <a:pt x="13498" y="13654"/>
                    <a:pt x="13435" y="13734"/>
                    <a:pt x="13435" y="13832"/>
                  </a:cubicBezTo>
                  <a:cubicBezTo>
                    <a:pt x="13435" y="13930"/>
                    <a:pt x="13498" y="14010"/>
                    <a:pt x="13574" y="14010"/>
                  </a:cubicBezTo>
                  <a:cubicBezTo>
                    <a:pt x="13650" y="14010"/>
                    <a:pt x="13711" y="13930"/>
                    <a:pt x="13711" y="13832"/>
                  </a:cubicBezTo>
                  <a:cubicBezTo>
                    <a:pt x="13711" y="13734"/>
                    <a:pt x="13650" y="13654"/>
                    <a:pt x="13574" y="13654"/>
                  </a:cubicBezTo>
                  <a:close/>
                  <a:moveTo>
                    <a:pt x="13985" y="13654"/>
                  </a:moveTo>
                  <a:cubicBezTo>
                    <a:pt x="13908" y="13654"/>
                    <a:pt x="13846" y="13734"/>
                    <a:pt x="13846" y="13832"/>
                  </a:cubicBezTo>
                  <a:cubicBezTo>
                    <a:pt x="13846" y="13930"/>
                    <a:pt x="13908" y="14010"/>
                    <a:pt x="13985" y="14010"/>
                  </a:cubicBezTo>
                  <a:cubicBezTo>
                    <a:pt x="14061" y="14010"/>
                    <a:pt x="14122" y="13930"/>
                    <a:pt x="14122" y="13832"/>
                  </a:cubicBezTo>
                  <a:cubicBezTo>
                    <a:pt x="14122" y="13734"/>
                    <a:pt x="14061" y="13654"/>
                    <a:pt x="13985" y="13654"/>
                  </a:cubicBezTo>
                  <a:close/>
                  <a:moveTo>
                    <a:pt x="14355" y="13654"/>
                  </a:moveTo>
                  <a:cubicBezTo>
                    <a:pt x="14278" y="13654"/>
                    <a:pt x="14216" y="13734"/>
                    <a:pt x="14216" y="13832"/>
                  </a:cubicBezTo>
                  <a:cubicBezTo>
                    <a:pt x="14216" y="13930"/>
                    <a:pt x="14278" y="14010"/>
                    <a:pt x="14355" y="14010"/>
                  </a:cubicBezTo>
                  <a:cubicBezTo>
                    <a:pt x="14431" y="14010"/>
                    <a:pt x="14492" y="13930"/>
                    <a:pt x="14492" y="13832"/>
                  </a:cubicBezTo>
                  <a:cubicBezTo>
                    <a:pt x="14492" y="13734"/>
                    <a:pt x="14431" y="13654"/>
                    <a:pt x="14355" y="13654"/>
                  </a:cubicBezTo>
                  <a:close/>
                  <a:moveTo>
                    <a:pt x="14765" y="13654"/>
                  </a:moveTo>
                  <a:cubicBezTo>
                    <a:pt x="14689" y="13654"/>
                    <a:pt x="14627" y="13734"/>
                    <a:pt x="14627" y="13832"/>
                  </a:cubicBezTo>
                  <a:cubicBezTo>
                    <a:pt x="14627" y="13930"/>
                    <a:pt x="14689" y="14010"/>
                    <a:pt x="14765" y="14010"/>
                  </a:cubicBezTo>
                  <a:cubicBezTo>
                    <a:pt x="14842" y="14010"/>
                    <a:pt x="14903" y="13930"/>
                    <a:pt x="14903" y="13832"/>
                  </a:cubicBezTo>
                  <a:cubicBezTo>
                    <a:pt x="14903" y="13734"/>
                    <a:pt x="14842" y="13654"/>
                    <a:pt x="14765" y="13654"/>
                  </a:cubicBezTo>
                  <a:close/>
                  <a:moveTo>
                    <a:pt x="15135" y="13654"/>
                  </a:moveTo>
                  <a:cubicBezTo>
                    <a:pt x="15059" y="13654"/>
                    <a:pt x="14997" y="13734"/>
                    <a:pt x="14997" y="13832"/>
                  </a:cubicBezTo>
                  <a:cubicBezTo>
                    <a:pt x="14997" y="13930"/>
                    <a:pt x="15059" y="14010"/>
                    <a:pt x="15135" y="14010"/>
                  </a:cubicBezTo>
                  <a:cubicBezTo>
                    <a:pt x="15212" y="14010"/>
                    <a:pt x="15273" y="13930"/>
                    <a:pt x="15273" y="13832"/>
                  </a:cubicBezTo>
                  <a:cubicBezTo>
                    <a:pt x="15273" y="13734"/>
                    <a:pt x="15212" y="13654"/>
                    <a:pt x="15135" y="13654"/>
                  </a:cubicBezTo>
                  <a:close/>
                  <a:moveTo>
                    <a:pt x="3713" y="13707"/>
                  </a:moveTo>
                  <a:cubicBezTo>
                    <a:pt x="3637" y="13707"/>
                    <a:pt x="3575" y="13787"/>
                    <a:pt x="3575" y="13885"/>
                  </a:cubicBezTo>
                  <a:cubicBezTo>
                    <a:pt x="3575" y="13983"/>
                    <a:pt x="3637" y="14061"/>
                    <a:pt x="3713" y="14061"/>
                  </a:cubicBezTo>
                  <a:cubicBezTo>
                    <a:pt x="3790" y="14061"/>
                    <a:pt x="3851" y="13983"/>
                    <a:pt x="3851" y="13885"/>
                  </a:cubicBezTo>
                  <a:cubicBezTo>
                    <a:pt x="3851" y="13787"/>
                    <a:pt x="3790" y="13707"/>
                    <a:pt x="3713" y="13707"/>
                  </a:cubicBezTo>
                  <a:close/>
                  <a:moveTo>
                    <a:pt x="4083" y="13707"/>
                  </a:moveTo>
                  <a:cubicBezTo>
                    <a:pt x="4007" y="13707"/>
                    <a:pt x="3944" y="13787"/>
                    <a:pt x="3944" y="13885"/>
                  </a:cubicBezTo>
                  <a:cubicBezTo>
                    <a:pt x="3944" y="13983"/>
                    <a:pt x="4007" y="14061"/>
                    <a:pt x="4083" y="14061"/>
                  </a:cubicBezTo>
                  <a:cubicBezTo>
                    <a:pt x="4159" y="14061"/>
                    <a:pt x="4220" y="13983"/>
                    <a:pt x="4220" y="13885"/>
                  </a:cubicBezTo>
                  <a:cubicBezTo>
                    <a:pt x="4220" y="13787"/>
                    <a:pt x="4159" y="13707"/>
                    <a:pt x="4083" y="13707"/>
                  </a:cubicBezTo>
                  <a:close/>
                  <a:moveTo>
                    <a:pt x="4494" y="13707"/>
                  </a:moveTo>
                  <a:cubicBezTo>
                    <a:pt x="4418" y="13707"/>
                    <a:pt x="4355" y="13787"/>
                    <a:pt x="4355" y="13885"/>
                  </a:cubicBezTo>
                  <a:cubicBezTo>
                    <a:pt x="4355" y="13983"/>
                    <a:pt x="4418" y="14061"/>
                    <a:pt x="4494" y="14061"/>
                  </a:cubicBezTo>
                  <a:cubicBezTo>
                    <a:pt x="4570" y="14061"/>
                    <a:pt x="4631" y="13983"/>
                    <a:pt x="4631" y="13885"/>
                  </a:cubicBezTo>
                  <a:cubicBezTo>
                    <a:pt x="4631" y="13787"/>
                    <a:pt x="4570" y="13707"/>
                    <a:pt x="4494" y="13707"/>
                  </a:cubicBezTo>
                  <a:close/>
                  <a:moveTo>
                    <a:pt x="4864" y="13707"/>
                  </a:moveTo>
                  <a:cubicBezTo>
                    <a:pt x="4787" y="13707"/>
                    <a:pt x="4725" y="13787"/>
                    <a:pt x="4725" y="13885"/>
                  </a:cubicBezTo>
                  <a:cubicBezTo>
                    <a:pt x="4725" y="13983"/>
                    <a:pt x="4787" y="14061"/>
                    <a:pt x="4864" y="14061"/>
                  </a:cubicBezTo>
                  <a:cubicBezTo>
                    <a:pt x="4940" y="14061"/>
                    <a:pt x="5001" y="13983"/>
                    <a:pt x="5001" y="13885"/>
                  </a:cubicBezTo>
                  <a:cubicBezTo>
                    <a:pt x="5001" y="13787"/>
                    <a:pt x="4940" y="13707"/>
                    <a:pt x="4864" y="13707"/>
                  </a:cubicBezTo>
                  <a:close/>
                  <a:moveTo>
                    <a:pt x="5274" y="13707"/>
                  </a:moveTo>
                  <a:cubicBezTo>
                    <a:pt x="5198" y="13707"/>
                    <a:pt x="5136" y="13787"/>
                    <a:pt x="5136" y="13885"/>
                  </a:cubicBezTo>
                  <a:cubicBezTo>
                    <a:pt x="5136" y="13983"/>
                    <a:pt x="5198" y="14061"/>
                    <a:pt x="5274" y="14061"/>
                  </a:cubicBezTo>
                  <a:cubicBezTo>
                    <a:pt x="5351" y="14061"/>
                    <a:pt x="5412" y="13983"/>
                    <a:pt x="5412" y="13885"/>
                  </a:cubicBezTo>
                  <a:cubicBezTo>
                    <a:pt x="5412" y="13787"/>
                    <a:pt x="5351" y="13707"/>
                    <a:pt x="5274" y="13707"/>
                  </a:cubicBezTo>
                  <a:close/>
                  <a:moveTo>
                    <a:pt x="5644" y="13707"/>
                  </a:moveTo>
                  <a:cubicBezTo>
                    <a:pt x="5568" y="13707"/>
                    <a:pt x="5506" y="13787"/>
                    <a:pt x="5506" y="13885"/>
                  </a:cubicBezTo>
                  <a:cubicBezTo>
                    <a:pt x="5506" y="13983"/>
                    <a:pt x="5568" y="14061"/>
                    <a:pt x="5644" y="14061"/>
                  </a:cubicBezTo>
                  <a:cubicBezTo>
                    <a:pt x="5720" y="14061"/>
                    <a:pt x="5782" y="13983"/>
                    <a:pt x="5782" y="13885"/>
                  </a:cubicBezTo>
                  <a:cubicBezTo>
                    <a:pt x="5782" y="13787"/>
                    <a:pt x="5720" y="13707"/>
                    <a:pt x="5644" y="13707"/>
                  </a:cubicBezTo>
                  <a:close/>
                  <a:moveTo>
                    <a:pt x="8027" y="13707"/>
                  </a:moveTo>
                  <a:cubicBezTo>
                    <a:pt x="7951" y="13707"/>
                    <a:pt x="7889" y="13787"/>
                    <a:pt x="7889" y="13885"/>
                  </a:cubicBezTo>
                  <a:cubicBezTo>
                    <a:pt x="7889" y="13983"/>
                    <a:pt x="7951" y="14061"/>
                    <a:pt x="8027" y="14061"/>
                  </a:cubicBezTo>
                  <a:cubicBezTo>
                    <a:pt x="8103" y="14061"/>
                    <a:pt x="8165" y="13983"/>
                    <a:pt x="8165" y="13885"/>
                  </a:cubicBezTo>
                  <a:cubicBezTo>
                    <a:pt x="8165" y="13787"/>
                    <a:pt x="8103" y="13707"/>
                    <a:pt x="8027" y="13707"/>
                  </a:cubicBezTo>
                  <a:close/>
                  <a:moveTo>
                    <a:pt x="8438" y="13707"/>
                  </a:moveTo>
                  <a:cubicBezTo>
                    <a:pt x="8362" y="13707"/>
                    <a:pt x="8299" y="13787"/>
                    <a:pt x="8299" y="13885"/>
                  </a:cubicBezTo>
                  <a:cubicBezTo>
                    <a:pt x="8299" y="13983"/>
                    <a:pt x="8362" y="14061"/>
                    <a:pt x="8438" y="14061"/>
                  </a:cubicBezTo>
                  <a:cubicBezTo>
                    <a:pt x="8514" y="14061"/>
                    <a:pt x="8576" y="13983"/>
                    <a:pt x="8576" y="13885"/>
                  </a:cubicBezTo>
                  <a:cubicBezTo>
                    <a:pt x="8576" y="13787"/>
                    <a:pt x="8514" y="13707"/>
                    <a:pt x="8438" y="13707"/>
                  </a:cubicBezTo>
                  <a:close/>
                  <a:moveTo>
                    <a:pt x="8808" y="13707"/>
                  </a:moveTo>
                  <a:cubicBezTo>
                    <a:pt x="8732" y="13707"/>
                    <a:pt x="8669" y="13787"/>
                    <a:pt x="8669" y="13885"/>
                  </a:cubicBezTo>
                  <a:cubicBezTo>
                    <a:pt x="8669" y="13983"/>
                    <a:pt x="8732" y="14061"/>
                    <a:pt x="8808" y="14061"/>
                  </a:cubicBezTo>
                  <a:cubicBezTo>
                    <a:pt x="8884" y="14061"/>
                    <a:pt x="8945" y="13983"/>
                    <a:pt x="8945" y="13885"/>
                  </a:cubicBezTo>
                  <a:cubicBezTo>
                    <a:pt x="8945" y="13787"/>
                    <a:pt x="8884" y="13707"/>
                    <a:pt x="8808" y="13707"/>
                  </a:cubicBezTo>
                  <a:close/>
                  <a:moveTo>
                    <a:pt x="9219" y="13707"/>
                  </a:moveTo>
                  <a:cubicBezTo>
                    <a:pt x="9142" y="13707"/>
                    <a:pt x="9080" y="13787"/>
                    <a:pt x="9080" y="13885"/>
                  </a:cubicBezTo>
                  <a:cubicBezTo>
                    <a:pt x="9080" y="13983"/>
                    <a:pt x="9142" y="14061"/>
                    <a:pt x="9219" y="14061"/>
                  </a:cubicBezTo>
                  <a:cubicBezTo>
                    <a:pt x="9295" y="14061"/>
                    <a:pt x="9356" y="13983"/>
                    <a:pt x="9356" y="13885"/>
                  </a:cubicBezTo>
                  <a:cubicBezTo>
                    <a:pt x="9356" y="13787"/>
                    <a:pt x="9295" y="13707"/>
                    <a:pt x="9219" y="13707"/>
                  </a:cubicBezTo>
                  <a:close/>
                  <a:moveTo>
                    <a:pt x="9589" y="13707"/>
                  </a:moveTo>
                  <a:cubicBezTo>
                    <a:pt x="9512" y="13707"/>
                    <a:pt x="9450" y="13787"/>
                    <a:pt x="9450" y="13885"/>
                  </a:cubicBezTo>
                  <a:cubicBezTo>
                    <a:pt x="9450" y="13983"/>
                    <a:pt x="9512" y="14061"/>
                    <a:pt x="9589" y="14061"/>
                  </a:cubicBezTo>
                  <a:cubicBezTo>
                    <a:pt x="9665" y="14061"/>
                    <a:pt x="9726" y="13983"/>
                    <a:pt x="9726" y="13885"/>
                  </a:cubicBezTo>
                  <a:cubicBezTo>
                    <a:pt x="9726" y="13787"/>
                    <a:pt x="9665" y="13707"/>
                    <a:pt x="9589" y="13707"/>
                  </a:cubicBezTo>
                  <a:close/>
                  <a:moveTo>
                    <a:pt x="9999" y="13707"/>
                  </a:moveTo>
                  <a:cubicBezTo>
                    <a:pt x="9923" y="13707"/>
                    <a:pt x="9861" y="13787"/>
                    <a:pt x="9861" y="13885"/>
                  </a:cubicBezTo>
                  <a:cubicBezTo>
                    <a:pt x="9861" y="13983"/>
                    <a:pt x="9923" y="14061"/>
                    <a:pt x="9999" y="14061"/>
                  </a:cubicBezTo>
                  <a:cubicBezTo>
                    <a:pt x="10076" y="14061"/>
                    <a:pt x="10137" y="13983"/>
                    <a:pt x="10137" y="13885"/>
                  </a:cubicBezTo>
                  <a:cubicBezTo>
                    <a:pt x="10137" y="13787"/>
                    <a:pt x="10076" y="13707"/>
                    <a:pt x="9999" y="13707"/>
                  </a:cubicBezTo>
                  <a:close/>
                  <a:moveTo>
                    <a:pt x="10410" y="13707"/>
                  </a:moveTo>
                  <a:cubicBezTo>
                    <a:pt x="10334" y="13707"/>
                    <a:pt x="10272" y="13787"/>
                    <a:pt x="10272" y="13885"/>
                  </a:cubicBezTo>
                  <a:cubicBezTo>
                    <a:pt x="10272" y="13983"/>
                    <a:pt x="10334" y="14061"/>
                    <a:pt x="10410" y="14061"/>
                  </a:cubicBezTo>
                  <a:cubicBezTo>
                    <a:pt x="10487" y="14061"/>
                    <a:pt x="10548" y="13983"/>
                    <a:pt x="10548" y="13885"/>
                  </a:cubicBezTo>
                  <a:cubicBezTo>
                    <a:pt x="10548" y="13787"/>
                    <a:pt x="10487" y="13707"/>
                    <a:pt x="10410" y="13707"/>
                  </a:cubicBezTo>
                  <a:close/>
                  <a:moveTo>
                    <a:pt x="10780" y="13707"/>
                  </a:moveTo>
                  <a:cubicBezTo>
                    <a:pt x="10704" y="13707"/>
                    <a:pt x="10641" y="13787"/>
                    <a:pt x="10641" y="13885"/>
                  </a:cubicBezTo>
                  <a:cubicBezTo>
                    <a:pt x="10641" y="13983"/>
                    <a:pt x="10704" y="14061"/>
                    <a:pt x="10780" y="14061"/>
                  </a:cubicBezTo>
                  <a:cubicBezTo>
                    <a:pt x="10856" y="14061"/>
                    <a:pt x="10917" y="13983"/>
                    <a:pt x="10917" y="13885"/>
                  </a:cubicBezTo>
                  <a:cubicBezTo>
                    <a:pt x="10917" y="13787"/>
                    <a:pt x="10856" y="13707"/>
                    <a:pt x="10780" y="13707"/>
                  </a:cubicBezTo>
                  <a:close/>
                  <a:moveTo>
                    <a:pt x="11972" y="13707"/>
                  </a:moveTo>
                  <a:cubicBezTo>
                    <a:pt x="11895" y="13707"/>
                    <a:pt x="11833" y="13787"/>
                    <a:pt x="11833" y="13885"/>
                  </a:cubicBezTo>
                  <a:cubicBezTo>
                    <a:pt x="11833" y="13983"/>
                    <a:pt x="11895" y="14061"/>
                    <a:pt x="11972" y="14061"/>
                  </a:cubicBezTo>
                  <a:cubicBezTo>
                    <a:pt x="12048" y="14061"/>
                    <a:pt x="12109" y="13983"/>
                    <a:pt x="12109" y="13885"/>
                  </a:cubicBezTo>
                  <a:cubicBezTo>
                    <a:pt x="12109" y="13787"/>
                    <a:pt x="12048" y="13707"/>
                    <a:pt x="11972" y="13707"/>
                  </a:cubicBezTo>
                  <a:close/>
                  <a:moveTo>
                    <a:pt x="12382" y="13707"/>
                  </a:moveTo>
                  <a:cubicBezTo>
                    <a:pt x="12306" y="13707"/>
                    <a:pt x="12244" y="13787"/>
                    <a:pt x="12244" y="13885"/>
                  </a:cubicBezTo>
                  <a:cubicBezTo>
                    <a:pt x="12244" y="13983"/>
                    <a:pt x="12306" y="14061"/>
                    <a:pt x="12382" y="14061"/>
                  </a:cubicBezTo>
                  <a:cubicBezTo>
                    <a:pt x="12459" y="14061"/>
                    <a:pt x="12520" y="13983"/>
                    <a:pt x="12520" y="13885"/>
                  </a:cubicBezTo>
                  <a:cubicBezTo>
                    <a:pt x="12520" y="13787"/>
                    <a:pt x="12459" y="13707"/>
                    <a:pt x="12382" y="13707"/>
                  </a:cubicBezTo>
                  <a:close/>
                  <a:moveTo>
                    <a:pt x="2522" y="14181"/>
                  </a:moveTo>
                  <a:cubicBezTo>
                    <a:pt x="2445" y="14181"/>
                    <a:pt x="2383" y="14261"/>
                    <a:pt x="2383" y="14359"/>
                  </a:cubicBezTo>
                  <a:cubicBezTo>
                    <a:pt x="2383" y="14457"/>
                    <a:pt x="2445" y="14536"/>
                    <a:pt x="2522" y="14536"/>
                  </a:cubicBezTo>
                  <a:cubicBezTo>
                    <a:pt x="2598" y="14536"/>
                    <a:pt x="2659" y="14457"/>
                    <a:pt x="2659" y="14359"/>
                  </a:cubicBezTo>
                  <a:cubicBezTo>
                    <a:pt x="2659" y="14261"/>
                    <a:pt x="2598" y="14181"/>
                    <a:pt x="2522" y="14181"/>
                  </a:cubicBezTo>
                  <a:close/>
                  <a:moveTo>
                    <a:pt x="2891" y="14181"/>
                  </a:moveTo>
                  <a:cubicBezTo>
                    <a:pt x="2815" y="14181"/>
                    <a:pt x="2753" y="14261"/>
                    <a:pt x="2753" y="14359"/>
                  </a:cubicBezTo>
                  <a:cubicBezTo>
                    <a:pt x="2753" y="14457"/>
                    <a:pt x="2815" y="14537"/>
                    <a:pt x="2891" y="14537"/>
                  </a:cubicBezTo>
                  <a:cubicBezTo>
                    <a:pt x="2968" y="14537"/>
                    <a:pt x="3029" y="14457"/>
                    <a:pt x="3029" y="14359"/>
                  </a:cubicBezTo>
                  <a:cubicBezTo>
                    <a:pt x="3029" y="14261"/>
                    <a:pt x="2968" y="14181"/>
                    <a:pt x="2891" y="14181"/>
                  </a:cubicBezTo>
                  <a:close/>
                  <a:moveTo>
                    <a:pt x="3302" y="14181"/>
                  </a:moveTo>
                  <a:cubicBezTo>
                    <a:pt x="3226" y="14181"/>
                    <a:pt x="3164" y="14261"/>
                    <a:pt x="3164" y="14359"/>
                  </a:cubicBezTo>
                  <a:cubicBezTo>
                    <a:pt x="3164" y="14457"/>
                    <a:pt x="3226" y="14537"/>
                    <a:pt x="3302" y="14537"/>
                  </a:cubicBezTo>
                  <a:cubicBezTo>
                    <a:pt x="3379" y="14537"/>
                    <a:pt x="3440" y="14457"/>
                    <a:pt x="3440" y="14359"/>
                  </a:cubicBezTo>
                  <a:cubicBezTo>
                    <a:pt x="3440" y="14261"/>
                    <a:pt x="3379" y="14181"/>
                    <a:pt x="3302" y="14181"/>
                  </a:cubicBezTo>
                  <a:close/>
                  <a:moveTo>
                    <a:pt x="8438" y="14181"/>
                  </a:moveTo>
                  <a:cubicBezTo>
                    <a:pt x="8362" y="14181"/>
                    <a:pt x="8299" y="14261"/>
                    <a:pt x="8299" y="14359"/>
                  </a:cubicBezTo>
                  <a:cubicBezTo>
                    <a:pt x="8299" y="14457"/>
                    <a:pt x="8362" y="14537"/>
                    <a:pt x="8438" y="14537"/>
                  </a:cubicBezTo>
                  <a:cubicBezTo>
                    <a:pt x="8514" y="14537"/>
                    <a:pt x="8576" y="14457"/>
                    <a:pt x="8576" y="14359"/>
                  </a:cubicBezTo>
                  <a:cubicBezTo>
                    <a:pt x="8576" y="14261"/>
                    <a:pt x="8514" y="14181"/>
                    <a:pt x="8438" y="14181"/>
                  </a:cubicBezTo>
                  <a:close/>
                  <a:moveTo>
                    <a:pt x="8808" y="14181"/>
                  </a:moveTo>
                  <a:cubicBezTo>
                    <a:pt x="8732" y="14181"/>
                    <a:pt x="8669" y="14261"/>
                    <a:pt x="8669" y="14359"/>
                  </a:cubicBezTo>
                  <a:cubicBezTo>
                    <a:pt x="8669" y="14457"/>
                    <a:pt x="8732" y="14537"/>
                    <a:pt x="8808" y="14537"/>
                  </a:cubicBezTo>
                  <a:cubicBezTo>
                    <a:pt x="8884" y="14537"/>
                    <a:pt x="8945" y="14457"/>
                    <a:pt x="8945" y="14359"/>
                  </a:cubicBezTo>
                  <a:cubicBezTo>
                    <a:pt x="8945" y="14261"/>
                    <a:pt x="8884" y="14181"/>
                    <a:pt x="8808" y="14181"/>
                  </a:cubicBezTo>
                  <a:close/>
                  <a:moveTo>
                    <a:pt x="9219" y="14181"/>
                  </a:moveTo>
                  <a:cubicBezTo>
                    <a:pt x="9142" y="14181"/>
                    <a:pt x="9080" y="14261"/>
                    <a:pt x="9080" y="14359"/>
                  </a:cubicBezTo>
                  <a:cubicBezTo>
                    <a:pt x="9080" y="14457"/>
                    <a:pt x="9142" y="14537"/>
                    <a:pt x="9219" y="14537"/>
                  </a:cubicBezTo>
                  <a:cubicBezTo>
                    <a:pt x="9295" y="14537"/>
                    <a:pt x="9356" y="14457"/>
                    <a:pt x="9356" y="14359"/>
                  </a:cubicBezTo>
                  <a:cubicBezTo>
                    <a:pt x="9356" y="14261"/>
                    <a:pt x="9295" y="14181"/>
                    <a:pt x="9219" y="14181"/>
                  </a:cubicBezTo>
                  <a:close/>
                  <a:moveTo>
                    <a:pt x="9589" y="14181"/>
                  </a:moveTo>
                  <a:cubicBezTo>
                    <a:pt x="9512" y="14181"/>
                    <a:pt x="9450" y="14261"/>
                    <a:pt x="9450" y="14359"/>
                  </a:cubicBezTo>
                  <a:cubicBezTo>
                    <a:pt x="9450" y="14457"/>
                    <a:pt x="9512" y="14537"/>
                    <a:pt x="9589" y="14537"/>
                  </a:cubicBezTo>
                  <a:cubicBezTo>
                    <a:pt x="9665" y="14537"/>
                    <a:pt x="9726" y="14457"/>
                    <a:pt x="9726" y="14359"/>
                  </a:cubicBezTo>
                  <a:cubicBezTo>
                    <a:pt x="9726" y="14261"/>
                    <a:pt x="9665" y="14181"/>
                    <a:pt x="9589" y="14181"/>
                  </a:cubicBezTo>
                  <a:close/>
                  <a:moveTo>
                    <a:pt x="9999" y="14181"/>
                  </a:moveTo>
                  <a:cubicBezTo>
                    <a:pt x="9923" y="14181"/>
                    <a:pt x="9861" y="14261"/>
                    <a:pt x="9861" y="14359"/>
                  </a:cubicBezTo>
                  <a:cubicBezTo>
                    <a:pt x="9861" y="14457"/>
                    <a:pt x="9923" y="14537"/>
                    <a:pt x="9999" y="14537"/>
                  </a:cubicBezTo>
                  <a:cubicBezTo>
                    <a:pt x="10076" y="14537"/>
                    <a:pt x="10137" y="14457"/>
                    <a:pt x="10137" y="14359"/>
                  </a:cubicBezTo>
                  <a:cubicBezTo>
                    <a:pt x="10137" y="14261"/>
                    <a:pt x="10076" y="14181"/>
                    <a:pt x="9999" y="14181"/>
                  </a:cubicBezTo>
                  <a:close/>
                  <a:moveTo>
                    <a:pt x="10410" y="14181"/>
                  </a:moveTo>
                  <a:cubicBezTo>
                    <a:pt x="10334" y="14181"/>
                    <a:pt x="10272" y="14261"/>
                    <a:pt x="10272" y="14359"/>
                  </a:cubicBezTo>
                  <a:cubicBezTo>
                    <a:pt x="10272" y="14457"/>
                    <a:pt x="10334" y="14537"/>
                    <a:pt x="10410" y="14537"/>
                  </a:cubicBezTo>
                  <a:cubicBezTo>
                    <a:pt x="10487" y="14537"/>
                    <a:pt x="10548" y="14457"/>
                    <a:pt x="10548" y="14359"/>
                  </a:cubicBezTo>
                  <a:cubicBezTo>
                    <a:pt x="10548" y="14261"/>
                    <a:pt x="10487" y="14181"/>
                    <a:pt x="10410" y="14181"/>
                  </a:cubicBezTo>
                  <a:close/>
                  <a:moveTo>
                    <a:pt x="12382" y="14181"/>
                  </a:moveTo>
                  <a:cubicBezTo>
                    <a:pt x="12306" y="14181"/>
                    <a:pt x="12244" y="14261"/>
                    <a:pt x="12244" y="14359"/>
                  </a:cubicBezTo>
                  <a:cubicBezTo>
                    <a:pt x="12244" y="14457"/>
                    <a:pt x="12306" y="14537"/>
                    <a:pt x="12382" y="14537"/>
                  </a:cubicBezTo>
                  <a:cubicBezTo>
                    <a:pt x="12459" y="14537"/>
                    <a:pt x="12520" y="14457"/>
                    <a:pt x="12520" y="14359"/>
                  </a:cubicBezTo>
                  <a:cubicBezTo>
                    <a:pt x="12520" y="14261"/>
                    <a:pt x="12459" y="14181"/>
                    <a:pt x="12382" y="14181"/>
                  </a:cubicBezTo>
                  <a:close/>
                  <a:moveTo>
                    <a:pt x="12752" y="14181"/>
                  </a:moveTo>
                  <a:cubicBezTo>
                    <a:pt x="12676" y="14181"/>
                    <a:pt x="12614" y="14261"/>
                    <a:pt x="12614" y="14359"/>
                  </a:cubicBezTo>
                  <a:cubicBezTo>
                    <a:pt x="12614" y="14457"/>
                    <a:pt x="12676" y="14536"/>
                    <a:pt x="12752" y="14536"/>
                  </a:cubicBezTo>
                  <a:cubicBezTo>
                    <a:pt x="12829" y="14536"/>
                    <a:pt x="12890" y="14457"/>
                    <a:pt x="12890" y="14359"/>
                  </a:cubicBezTo>
                  <a:cubicBezTo>
                    <a:pt x="12890" y="14261"/>
                    <a:pt x="12829" y="14181"/>
                    <a:pt x="12752" y="14181"/>
                  </a:cubicBezTo>
                  <a:close/>
                  <a:moveTo>
                    <a:pt x="13163" y="14181"/>
                  </a:moveTo>
                  <a:cubicBezTo>
                    <a:pt x="13087" y="14181"/>
                    <a:pt x="13024" y="14261"/>
                    <a:pt x="13024" y="14359"/>
                  </a:cubicBezTo>
                  <a:cubicBezTo>
                    <a:pt x="13024" y="14457"/>
                    <a:pt x="13087" y="14536"/>
                    <a:pt x="13163" y="14536"/>
                  </a:cubicBezTo>
                  <a:cubicBezTo>
                    <a:pt x="13240" y="14536"/>
                    <a:pt x="13301" y="14457"/>
                    <a:pt x="13301" y="14359"/>
                  </a:cubicBezTo>
                  <a:cubicBezTo>
                    <a:pt x="13301" y="14261"/>
                    <a:pt x="13240" y="14181"/>
                    <a:pt x="13163" y="14181"/>
                  </a:cubicBezTo>
                  <a:close/>
                  <a:moveTo>
                    <a:pt x="13574" y="14181"/>
                  </a:moveTo>
                  <a:cubicBezTo>
                    <a:pt x="13498" y="14181"/>
                    <a:pt x="13435" y="14261"/>
                    <a:pt x="13435" y="14359"/>
                  </a:cubicBezTo>
                  <a:cubicBezTo>
                    <a:pt x="13435" y="14457"/>
                    <a:pt x="13498" y="14536"/>
                    <a:pt x="13574" y="14536"/>
                  </a:cubicBezTo>
                  <a:cubicBezTo>
                    <a:pt x="13650" y="14536"/>
                    <a:pt x="13711" y="14457"/>
                    <a:pt x="13711" y="14359"/>
                  </a:cubicBezTo>
                  <a:cubicBezTo>
                    <a:pt x="13711" y="14261"/>
                    <a:pt x="13650" y="14181"/>
                    <a:pt x="13574" y="14181"/>
                  </a:cubicBezTo>
                  <a:close/>
                  <a:moveTo>
                    <a:pt x="13985" y="14181"/>
                  </a:moveTo>
                  <a:cubicBezTo>
                    <a:pt x="13908" y="14181"/>
                    <a:pt x="13846" y="14261"/>
                    <a:pt x="13846" y="14359"/>
                  </a:cubicBezTo>
                  <a:cubicBezTo>
                    <a:pt x="13846" y="14457"/>
                    <a:pt x="13908" y="14536"/>
                    <a:pt x="13985" y="14536"/>
                  </a:cubicBezTo>
                  <a:cubicBezTo>
                    <a:pt x="14061" y="14536"/>
                    <a:pt x="14122" y="14457"/>
                    <a:pt x="14122" y="14359"/>
                  </a:cubicBezTo>
                  <a:cubicBezTo>
                    <a:pt x="14122" y="14261"/>
                    <a:pt x="14061" y="14181"/>
                    <a:pt x="13985" y="14181"/>
                  </a:cubicBezTo>
                  <a:close/>
                  <a:moveTo>
                    <a:pt x="3713" y="14234"/>
                  </a:moveTo>
                  <a:cubicBezTo>
                    <a:pt x="3637" y="14234"/>
                    <a:pt x="3575" y="14314"/>
                    <a:pt x="3575" y="14412"/>
                  </a:cubicBezTo>
                  <a:cubicBezTo>
                    <a:pt x="3575" y="14510"/>
                    <a:pt x="3637" y="14588"/>
                    <a:pt x="3713" y="14588"/>
                  </a:cubicBezTo>
                  <a:cubicBezTo>
                    <a:pt x="3790" y="14588"/>
                    <a:pt x="3851" y="14510"/>
                    <a:pt x="3851" y="14412"/>
                  </a:cubicBezTo>
                  <a:cubicBezTo>
                    <a:pt x="3851" y="14314"/>
                    <a:pt x="3790" y="14234"/>
                    <a:pt x="3713" y="14234"/>
                  </a:cubicBezTo>
                  <a:close/>
                  <a:moveTo>
                    <a:pt x="4083" y="14234"/>
                  </a:moveTo>
                  <a:cubicBezTo>
                    <a:pt x="4007" y="14234"/>
                    <a:pt x="3944" y="14314"/>
                    <a:pt x="3944" y="14412"/>
                  </a:cubicBezTo>
                  <a:cubicBezTo>
                    <a:pt x="3944" y="14510"/>
                    <a:pt x="4007" y="14588"/>
                    <a:pt x="4083" y="14588"/>
                  </a:cubicBezTo>
                  <a:cubicBezTo>
                    <a:pt x="4159" y="14588"/>
                    <a:pt x="4220" y="14510"/>
                    <a:pt x="4220" y="14412"/>
                  </a:cubicBezTo>
                  <a:cubicBezTo>
                    <a:pt x="4220" y="14314"/>
                    <a:pt x="4159" y="14234"/>
                    <a:pt x="4083" y="14234"/>
                  </a:cubicBezTo>
                  <a:close/>
                  <a:moveTo>
                    <a:pt x="4494" y="14234"/>
                  </a:moveTo>
                  <a:cubicBezTo>
                    <a:pt x="4418" y="14234"/>
                    <a:pt x="4355" y="14314"/>
                    <a:pt x="4355" y="14412"/>
                  </a:cubicBezTo>
                  <a:cubicBezTo>
                    <a:pt x="4355" y="14510"/>
                    <a:pt x="4418" y="14588"/>
                    <a:pt x="4494" y="14588"/>
                  </a:cubicBezTo>
                  <a:cubicBezTo>
                    <a:pt x="4570" y="14588"/>
                    <a:pt x="4631" y="14510"/>
                    <a:pt x="4631" y="14412"/>
                  </a:cubicBezTo>
                  <a:cubicBezTo>
                    <a:pt x="4631" y="14314"/>
                    <a:pt x="4570" y="14234"/>
                    <a:pt x="4494" y="14234"/>
                  </a:cubicBezTo>
                  <a:close/>
                  <a:moveTo>
                    <a:pt x="4864" y="14234"/>
                  </a:moveTo>
                  <a:cubicBezTo>
                    <a:pt x="4787" y="14234"/>
                    <a:pt x="4725" y="14314"/>
                    <a:pt x="4725" y="14412"/>
                  </a:cubicBezTo>
                  <a:cubicBezTo>
                    <a:pt x="4725" y="14510"/>
                    <a:pt x="4787" y="14588"/>
                    <a:pt x="4864" y="14588"/>
                  </a:cubicBezTo>
                  <a:cubicBezTo>
                    <a:pt x="4940" y="14588"/>
                    <a:pt x="5001" y="14510"/>
                    <a:pt x="5001" y="14412"/>
                  </a:cubicBezTo>
                  <a:cubicBezTo>
                    <a:pt x="5001" y="14314"/>
                    <a:pt x="4940" y="14234"/>
                    <a:pt x="4864" y="14234"/>
                  </a:cubicBezTo>
                  <a:close/>
                  <a:moveTo>
                    <a:pt x="5274" y="14234"/>
                  </a:moveTo>
                  <a:cubicBezTo>
                    <a:pt x="5198" y="14234"/>
                    <a:pt x="5136" y="14314"/>
                    <a:pt x="5136" y="14412"/>
                  </a:cubicBezTo>
                  <a:cubicBezTo>
                    <a:pt x="5136" y="14510"/>
                    <a:pt x="5198" y="14588"/>
                    <a:pt x="5274" y="14588"/>
                  </a:cubicBezTo>
                  <a:cubicBezTo>
                    <a:pt x="5351" y="14588"/>
                    <a:pt x="5412" y="14510"/>
                    <a:pt x="5412" y="14412"/>
                  </a:cubicBezTo>
                  <a:cubicBezTo>
                    <a:pt x="5412" y="14314"/>
                    <a:pt x="5351" y="14234"/>
                    <a:pt x="5274" y="14234"/>
                  </a:cubicBezTo>
                  <a:close/>
                  <a:moveTo>
                    <a:pt x="5644" y="14234"/>
                  </a:moveTo>
                  <a:cubicBezTo>
                    <a:pt x="5568" y="14234"/>
                    <a:pt x="5506" y="14314"/>
                    <a:pt x="5506" y="14412"/>
                  </a:cubicBezTo>
                  <a:cubicBezTo>
                    <a:pt x="5506" y="14510"/>
                    <a:pt x="5568" y="14588"/>
                    <a:pt x="5644" y="14588"/>
                  </a:cubicBezTo>
                  <a:cubicBezTo>
                    <a:pt x="5720" y="14588"/>
                    <a:pt x="5782" y="14510"/>
                    <a:pt x="5782" y="14412"/>
                  </a:cubicBezTo>
                  <a:cubicBezTo>
                    <a:pt x="5782" y="14314"/>
                    <a:pt x="5720" y="14234"/>
                    <a:pt x="5644" y="14234"/>
                  </a:cubicBezTo>
                  <a:close/>
                  <a:moveTo>
                    <a:pt x="3302" y="14656"/>
                  </a:moveTo>
                  <a:cubicBezTo>
                    <a:pt x="3226" y="14656"/>
                    <a:pt x="3164" y="14736"/>
                    <a:pt x="3164" y="14834"/>
                  </a:cubicBezTo>
                  <a:cubicBezTo>
                    <a:pt x="3164" y="14932"/>
                    <a:pt x="3226" y="15012"/>
                    <a:pt x="3302" y="15012"/>
                  </a:cubicBezTo>
                  <a:cubicBezTo>
                    <a:pt x="3378" y="15012"/>
                    <a:pt x="3440" y="14932"/>
                    <a:pt x="3440" y="14834"/>
                  </a:cubicBezTo>
                  <a:cubicBezTo>
                    <a:pt x="3440" y="14736"/>
                    <a:pt x="3378" y="14656"/>
                    <a:pt x="3302" y="14656"/>
                  </a:cubicBezTo>
                  <a:close/>
                  <a:moveTo>
                    <a:pt x="17107" y="14656"/>
                  </a:moveTo>
                  <a:cubicBezTo>
                    <a:pt x="17031" y="14656"/>
                    <a:pt x="16969" y="14736"/>
                    <a:pt x="16969" y="14834"/>
                  </a:cubicBezTo>
                  <a:cubicBezTo>
                    <a:pt x="16969" y="14932"/>
                    <a:pt x="17031" y="15012"/>
                    <a:pt x="17107" y="15012"/>
                  </a:cubicBezTo>
                  <a:cubicBezTo>
                    <a:pt x="17184" y="15012"/>
                    <a:pt x="17245" y="14932"/>
                    <a:pt x="17245" y="14834"/>
                  </a:cubicBezTo>
                  <a:cubicBezTo>
                    <a:pt x="17245" y="14736"/>
                    <a:pt x="17184" y="14656"/>
                    <a:pt x="17107" y="14656"/>
                  </a:cubicBezTo>
                  <a:close/>
                  <a:moveTo>
                    <a:pt x="2906" y="14658"/>
                  </a:moveTo>
                  <a:cubicBezTo>
                    <a:pt x="2830" y="14648"/>
                    <a:pt x="2762" y="14718"/>
                    <a:pt x="2754" y="14816"/>
                  </a:cubicBezTo>
                  <a:cubicBezTo>
                    <a:pt x="2746" y="14913"/>
                    <a:pt x="2801" y="15000"/>
                    <a:pt x="2877" y="15010"/>
                  </a:cubicBezTo>
                  <a:cubicBezTo>
                    <a:pt x="2953" y="15020"/>
                    <a:pt x="3021" y="14950"/>
                    <a:pt x="3029" y="14852"/>
                  </a:cubicBezTo>
                  <a:cubicBezTo>
                    <a:pt x="3037" y="14754"/>
                    <a:pt x="2981" y="14667"/>
                    <a:pt x="2906" y="14658"/>
                  </a:cubicBezTo>
                  <a:close/>
                  <a:moveTo>
                    <a:pt x="3713" y="14709"/>
                  </a:moveTo>
                  <a:cubicBezTo>
                    <a:pt x="3637" y="14709"/>
                    <a:pt x="3575" y="14788"/>
                    <a:pt x="3575" y="14887"/>
                  </a:cubicBezTo>
                  <a:cubicBezTo>
                    <a:pt x="3575" y="14985"/>
                    <a:pt x="3637" y="15063"/>
                    <a:pt x="3713" y="15063"/>
                  </a:cubicBezTo>
                  <a:cubicBezTo>
                    <a:pt x="3790" y="15063"/>
                    <a:pt x="3851" y="14985"/>
                    <a:pt x="3851" y="14887"/>
                  </a:cubicBezTo>
                  <a:cubicBezTo>
                    <a:pt x="3851" y="14788"/>
                    <a:pt x="3790" y="14709"/>
                    <a:pt x="3713" y="14709"/>
                  </a:cubicBezTo>
                  <a:close/>
                  <a:moveTo>
                    <a:pt x="4083" y="14709"/>
                  </a:moveTo>
                  <a:cubicBezTo>
                    <a:pt x="4007" y="14709"/>
                    <a:pt x="3944" y="14788"/>
                    <a:pt x="3944" y="14887"/>
                  </a:cubicBezTo>
                  <a:cubicBezTo>
                    <a:pt x="3944" y="14984"/>
                    <a:pt x="4007" y="15063"/>
                    <a:pt x="4083" y="15063"/>
                  </a:cubicBezTo>
                  <a:cubicBezTo>
                    <a:pt x="4159" y="15063"/>
                    <a:pt x="4220" y="14984"/>
                    <a:pt x="4220" y="14887"/>
                  </a:cubicBezTo>
                  <a:cubicBezTo>
                    <a:pt x="4220" y="14788"/>
                    <a:pt x="4159" y="14709"/>
                    <a:pt x="4083" y="14709"/>
                  </a:cubicBezTo>
                  <a:close/>
                  <a:moveTo>
                    <a:pt x="4494" y="14709"/>
                  </a:moveTo>
                  <a:cubicBezTo>
                    <a:pt x="4418" y="14709"/>
                    <a:pt x="4355" y="14788"/>
                    <a:pt x="4355" y="14887"/>
                  </a:cubicBezTo>
                  <a:cubicBezTo>
                    <a:pt x="4355" y="14985"/>
                    <a:pt x="4418" y="15063"/>
                    <a:pt x="4494" y="15063"/>
                  </a:cubicBezTo>
                  <a:cubicBezTo>
                    <a:pt x="4570" y="15063"/>
                    <a:pt x="4631" y="14985"/>
                    <a:pt x="4631" y="14887"/>
                  </a:cubicBezTo>
                  <a:cubicBezTo>
                    <a:pt x="4631" y="14788"/>
                    <a:pt x="4570" y="14709"/>
                    <a:pt x="4494" y="14709"/>
                  </a:cubicBezTo>
                  <a:close/>
                  <a:moveTo>
                    <a:pt x="4864" y="14709"/>
                  </a:moveTo>
                  <a:cubicBezTo>
                    <a:pt x="4787" y="14709"/>
                    <a:pt x="4725" y="14788"/>
                    <a:pt x="4725" y="14887"/>
                  </a:cubicBezTo>
                  <a:cubicBezTo>
                    <a:pt x="4725" y="14984"/>
                    <a:pt x="4787" y="15063"/>
                    <a:pt x="4864" y="15063"/>
                  </a:cubicBezTo>
                  <a:cubicBezTo>
                    <a:pt x="4940" y="15063"/>
                    <a:pt x="5001" y="14984"/>
                    <a:pt x="5001" y="14887"/>
                  </a:cubicBezTo>
                  <a:cubicBezTo>
                    <a:pt x="5001" y="14788"/>
                    <a:pt x="4940" y="14709"/>
                    <a:pt x="4864" y="14709"/>
                  </a:cubicBezTo>
                  <a:close/>
                  <a:moveTo>
                    <a:pt x="5274" y="14709"/>
                  </a:moveTo>
                  <a:cubicBezTo>
                    <a:pt x="5198" y="14709"/>
                    <a:pt x="5136" y="14788"/>
                    <a:pt x="5136" y="14887"/>
                  </a:cubicBezTo>
                  <a:cubicBezTo>
                    <a:pt x="5136" y="14985"/>
                    <a:pt x="5198" y="15063"/>
                    <a:pt x="5274" y="15063"/>
                  </a:cubicBezTo>
                  <a:cubicBezTo>
                    <a:pt x="5351" y="15063"/>
                    <a:pt x="5412" y="14985"/>
                    <a:pt x="5412" y="14887"/>
                  </a:cubicBezTo>
                  <a:cubicBezTo>
                    <a:pt x="5412" y="14788"/>
                    <a:pt x="5351" y="14709"/>
                    <a:pt x="5274" y="14709"/>
                  </a:cubicBezTo>
                  <a:close/>
                  <a:moveTo>
                    <a:pt x="8438" y="14709"/>
                  </a:moveTo>
                  <a:cubicBezTo>
                    <a:pt x="8362" y="14709"/>
                    <a:pt x="8299" y="14789"/>
                    <a:pt x="8299" y="14887"/>
                  </a:cubicBezTo>
                  <a:cubicBezTo>
                    <a:pt x="8299" y="14984"/>
                    <a:pt x="8362" y="15063"/>
                    <a:pt x="8438" y="15063"/>
                  </a:cubicBezTo>
                  <a:cubicBezTo>
                    <a:pt x="8514" y="15063"/>
                    <a:pt x="8576" y="14984"/>
                    <a:pt x="8576" y="14887"/>
                  </a:cubicBezTo>
                  <a:cubicBezTo>
                    <a:pt x="8576" y="14789"/>
                    <a:pt x="8514" y="14709"/>
                    <a:pt x="8438" y="14709"/>
                  </a:cubicBezTo>
                  <a:close/>
                  <a:moveTo>
                    <a:pt x="8808" y="14709"/>
                  </a:moveTo>
                  <a:cubicBezTo>
                    <a:pt x="8732" y="14709"/>
                    <a:pt x="8669" y="14789"/>
                    <a:pt x="8669" y="14887"/>
                  </a:cubicBezTo>
                  <a:cubicBezTo>
                    <a:pt x="8669" y="14984"/>
                    <a:pt x="8732" y="15063"/>
                    <a:pt x="8808" y="15063"/>
                  </a:cubicBezTo>
                  <a:cubicBezTo>
                    <a:pt x="8884" y="15063"/>
                    <a:pt x="8945" y="14984"/>
                    <a:pt x="8945" y="14887"/>
                  </a:cubicBezTo>
                  <a:cubicBezTo>
                    <a:pt x="8945" y="14789"/>
                    <a:pt x="8884" y="14709"/>
                    <a:pt x="8808" y="14709"/>
                  </a:cubicBezTo>
                  <a:close/>
                  <a:moveTo>
                    <a:pt x="9219" y="14709"/>
                  </a:moveTo>
                  <a:cubicBezTo>
                    <a:pt x="9142" y="14709"/>
                    <a:pt x="9080" y="14789"/>
                    <a:pt x="9080" y="14887"/>
                  </a:cubicBezTo>
                  <a:cubicBezTo>
                    <a:pt x="9080" y="14984"/>
                    <a:pt x="9142" y="15063"/>
                    <a:pt x="9219" y="15063"/>
                  </a:cubicBezTo>
                  <a:cubicBezTo>
                    <a:pt x="9295" y="15063"/>
                    <a:pt x="9356" y="14984"/>
                    <a:pt x="9356" y="14887"/>
                  </a:cubicBezTo>
                  <a:cubicBezTo>
                    <a:pt x="9356" y="14789"/>
                    <a:pt x="9295" y="14709"/>
                    <a:pt x="9219" y="14709"/>
                  </a:cubicBezTo>
                  <a:close/>
                  <a:moveTo>
                    <a:pt x="9589" y="14709"/>
                  </a:moveTo>
                  <a:cubicBezTo>
                    <a:pt x="9512" y="14709"/>
                    <a:pt x="9450" y="14789"/>
                    <a:pt x="9450" y="14887"/>
                  </a:cubicBezTo>
                  <a:cubicBezTo>
                    <a:pt x="9450" y="14984"/>
                    <a:pt x="9512" y="15063"/>
                    <a:pt x="9589" y="15063"/>
                  </a:cubicBezTo>
                  <a:cubicBezTo>
                    <a:pt x="9665" y="15063"/>
                    <a:pt x="9726" y="14984"/>
                    <a:pt x="9726" y="14887"/>
                  </a:cubicBezTo>
                  <a:cubicBezTo>
                    <a:pt x="9726" y="14789"/>
                    <a:pt x="9665" y="14709"/>
                    <a:pt x="9589" y="14709"/>
                  </a:cubicBezTo>
                  <a:close/>
                  <a:moveTo>
                    <a:pt x="9999" y="14709"/>
                  </a:moveTo>
                  <a:cubicBezTo>
                    <a:pt x="9923" y="14709"/>
                    <a:pt x="9861" y="14789"/>
                    <a:pt x="9861" y="14887"/>
                  </a:cubicBezTo>
                  <a:cubicBezTo>
                    <a:pt x="9861" y="14984"/>
                    <a:pt x="9923" y="15063"/>
                    <a:pt x="9999" y="15063"/>
                  </a:cubicBezTo>
                  <a:cubicBezTo>
                    <a:pt x="10076" y="15063"/>
                    <a:pt x="10137" y="14984"/>
                    <a:pt x="10137" y="14887"/>
                  </a:cubicBezTo>
                  <a:cubicBezTo>
                    <a:pt x="10137" y="14789"/>
                    <a:pt x="10076" y="14709"/>
                    <a:pt x="9999" y="14709"/>
                  </a:cubicBezTo>
                  <a:close/>
                  <a:moveTo>
                    <a:pt x="12382" y="14709"/>
                  </a:moveTo>
                  <a:cubicBezTo>
                    <a:pt x="12306" y="14709"/>
                    <a:pt x="12244" y="14789"/>
                    <a:pt x="12244" y="14887"/>
                  </a:cubicBezTo>
                  <a:cubicBezTo>
                    <a:pt x="12244" y="14984"/>
                    <a:pt x="12306" y="15063"/>
                    <a:pt x="12382" y="15063"/>
                  </a:cubicBezTo>
                  <a:cubicBezTo>
                    <a:pt x="12459" y="15063"/>
                    <a:pt x="12520" y="14984"/>
                    <a:pt x="12520" y="14887"/>
                  </a:cubicBezTo>
                  <a:cubicBezTo>
                    <a:pt x="12520" y="14789"/>
                    <a:pt x="12459" y="14709"/>
                    <a:pt x="12382" y="14709"/>
                  </a:cubicBezTo>
                  <a:close/>
                  <a:moveTo>
                    <a:pt x="12752" y="14709"/>
                  </a:moveTo>
                  <a:cubicBezTo>
                    <a:pt x="12676" y="14709"/>
                    <a:pt x="12614" y="14789"/>
                    <a:pt x="12614" y="14887"/>
                  </a:cubicBezTo>
                  <a:cubicBezTo>
                    <a:pt x="12614" y="14985"/>
                    <a:pt x="12676" y="15064"/>
                    <a:pt x="12752" y="15064"/>
                  </a:cubicBezTo>
                  <a:cubicBezTo>
                    <a:pt x="12829" y="15064"/>
                    <a:pt x="12890" y="14985"/>
                    <a:pt x="12890" y="14887"/>
                  </a:cubicBezTo>
                  <a:cubicBezTo>
                    <a:pt x="12890" y="14789"/>
                    <a:pt x="12829" y="14709"/>
                    <a:pt x="12752" y="14709"/>
                  </a:cubicBezTo>
                  <a:close/>
                  <a:moveTo>
                    <a:pt x="13163" y="14709"/>
                  </a:moveTo>
                  <a:cubicBezTo>
                    <a:pt x="13087" y="14709"/>
                    <a:pt x="13024" y="14789"/>
                    <a:pt x="13024" y="14887"/>
                  </a:cubicBezTo>
                  <a:cubicBezTo>
                    <a:pt x="13024" y="14985"/>
                    <a:pt x="13087" y="15064"/>
                    <a:pt x="13163" y="15064"/>
                  </a:cubicBezTo>
                  <a:cubicBezTo>
                    <a:pt x="13240" y="15064"/>
                    <a:pt x="13301" y="14985"/>
                    <a:pt x="13301" y="14887"/>
                  </a:cubicBezTo>
                  <a:cubicBezTo>
                    <a:pt x="13301" y="14789"/>
                    <a:pt x="13240" y="14709"/>
                    <a:pt x="13163" y="14709"/>
                  </a:cubicBezTo>
                  <a:close/>
                  <a:moveTo>
                    <a:pt x="13574" y="14709"/>
                  </a:moveTo>
                  <a:cubicBezTo>
                    <a:pt x="13498" y="14709"/>
                    <a:pt x="13435" y="14789"/>
                    <a:pt x="13435" y="14887"/>
                  </a:cubicBezTo>
                  <a:cubicBezTo>
                    <a:pt x="13435" y="14985"/>
                    <a:pt x="13498" y="15064"/>
                    <a:pt x="13574" y="15064"/>
                  </a:cubicBezTo>
                  <a:cubicBezTo>
                    <a:pt x="13650" y="15064"/>
                    <a:pt x="13711" y="14985"/>
                    <a:pt x="13711" y="14887"/>
                  </a:cubicBezTo>
                  <a:cubicBezTo>
                    <a:pt x="13711" y="14789"/>
                    <a:pt x="13650" y="14709"/>
                    <a:pt x="13574" y="14709"/>
                  </a:cubicBezTo>
                  <a:close/>
                  <a:moveTo>
                    <a:pt x="13985" y="14709"/>
                  </a:moveTo>
                  <a:cubicBezTo>
                    <a:pt x="13908" y="14709"/>
                    <a:pt x="13846" y="14789"/>
                    <a:pt x="13846" y="14887"/>
                  </a:cubicBezTo>
                  <a:cubicBezTo>
                    <a:pt x="13846" y="14985"/>
                    <a:pt x="13908" y="15064"/>
                    <a:pt x="13985" y="15064"/>
                  </a:cubicBezTo>
                  <a:cubicBezTo>
                    <a:pt x="14061" y="15064"/>
                    <a:pt x="14122" y="14985"/>
                    <a:pt x="14122" y="14887"/>
                  </a:cubicBezTo>
                  <a:cubicBezTo>
                    <a:pt x="14122" y="14789"/>
                    <a:pt x="14061" y="14709"/>
                    <a:pt x="13985" y="14709"/>
                  </a:cubicBezTo>
                  <a:close/>
                  <a:moveTo>
                    <a:pt x="14355" y="14709"/>
                  </a:moveTo>
                  <a:cubicBezTo>
                    <a:pt x="14278" y="14709"/>
                    <a:pt x="14216" y="14789"/>
                    <a:pt x="14216" y="14887"/>
                  </a:cubicBezTo>
                  <a:cubicBezTo>
                    <a:pt x="14216" y="14985"/>
                    <a:pt x="14278" y="15064"/>
                    <a:pt x="14355" y="15064"/>
                  </a:cubicBezTo>
                  <a:cubicBezTo>
                    <a:pt x="14431" y="15064"/>
                    <a:pt x="14492" y="14985"/>
                    <a:pt x="14492" y="14887"/>
                  </a:cubicBezTo>
                  <a:cubicBezTo>
                    <a:pt x="14492" y="14789"/>
                    <a:pt x="14431" y="14709"/>
                    <a:pt x="14355" y="14709"/>
                  </a:cubicBezTo>
                  <a:close/>
                  <a:moveTo>
                    <a:pt x="3302" y="15183"/>
                  </a:moveTo>
                  <a:cubicBezTo>
                    <a:pt x="3226" y="15183"/>
                    <a:pt x="3164" y="15263"/>
                    <a:pt x="3164" y="15361"/>
                  </a:cubicBezTo>
                  <a:cubicBezTo>
                    <a:pt x="3164" y="15459"/>
                    <a:pt x="3226" y="15537"/>
                    <a:pt x="3302" y="15537"/>
                  </a:cubicBezTo>
                  <a:cubicBezTo>
                    <a:pt x="3378" y="15537"/>
                    <a:pt x="3440" y="15459"/>
                    <a:pt x="3440" y="15361"/>
                  </a:cubicBezTo>
                  <a:cubicBezTo>
                    <a:pt x="3440" y="15263"/>
                    <a:pt x="3378" y="15183"/>
                    <a:pt x="3302" y="15183"/>
                  </a:cubicBezTo>
                  <a:close/>
                  <a:moveTo>
                    <a:pt x="17107" y="15183"/>
                  </a:moveTo>
                  <a:cubicBezTo>
                    <a:pt x="17031" y="15183"/>
                    <a:pt x="16969" y="15263"/>
                    <a:pt x="16969" y="15361"/>
                  </a:cubicBezTo>
                  <a:cubicBezTo>
                    <a:pt x="16969" y="15459"/>
                    <a:pt x="17031" y="15537"/>
                    <a:pt x="17107" y="15537"/>
                  </a:cubicBezTo>
                  <a:cubicBezTo>
                    <a:pt x="17184" y="15537"/>
                    <a:pt x="17245" y="15459"/>
                    <a:pt x="17245" y="15361"/>
                  </a:cubicBezTo>
                  <a:cubicBezTo>
                    <a:pt x="17245" y="15263"/>
                    <a:pt x="17184" y="15183"/>
                    <a:pt x="17107" y="15183"/>
                  </a:cubicBezTo>
                  <a:close/>
                  <a:moveTo>
                    <a:pt x="3713" y="15236"/>
                  </a:moveTo>
                  <a:cubicBezTo>
                    <a:pt x="3637" y="15236"/>
                    <a:pt x="3575" y="15316"/>
                    <a:pt x="3575" y="15414"/>
                  </a:cubicBezTo>
                  <a:cubicBezTo>
                    <a:pt x="3575" y="15511"/>
                    <a:pt x="3637" y="15592"/>
                    <a:pt x="3713" y="15592"/>
                  </a:cubicBezTo>
                  <a:cubicBezTo>
                    <a:pt x="3790" y="15592"/>
                    <a:pt x="3851" y="15511"/>
                    <a:pt x="3851" y="15414"/>
                  </a:cubicBezTo>
                  <a:cubicBezTo>
                    <a:pt x="3851" y="15316"/>
                    <a:pt x="3790" y="15236"/>
                    <a:pt x="3713" y="15236"/>
                  </a:cubicBezTo>
                  <a:close/>
                  <a:moveTo>
                    <a:pt x="4083" y="15236"/>
                  </a:moveTo>
                  <a:cubicBezTo>
                    <a:pt x="4007" y="15236"/>
                    <a:pt x="3944" y="15316"/>
                    <a:pt x="3944" y="15414"/>
                  </a:cubicBezTo>
                  <a:cubicBezTo>
                    <a:pt x="3944" y="15512"/>
                    <a:pt x="4007" y="15592"/>
                    <a:pt x="4083" y="15592"/>
                  </a:cubicBezTo>
                  <a:cubicBezTo>
                    <a:pt x="4159" y="15592"/>
                    <a:pt x="4220" y="15512"/>
                    <a:pt x="4220" y="15414"/>
                  </a:cubicBezTo>
                  <a:cubicBezTo>
                    <a:pt x="4220" y="15316"/>
                    <a:pt x="4159" y="15236"/>
                    <a:pt x="4083" y="15236"/>
                  </a:cubicBezTo>
                  <a:close/>
                  <a:moveTo>
                    <a:pt x="4494" y="15236"/>
                  </a:moveTo>
                  <a:cubicBezTo>
                    <a:pt x="4418" y="15236"/>
                    <a:pt x="4355" y="15316"/>
                    <a:pt x="4355" y="15414"/>
                  </a:cubicBezTo>
                  <a:cubicBezTo>
                    <a:pt x="4355" y="15511"/>
                    <a:pt x="4418" y="15592"/>
                    <a:pt x="4494" y="15592"/>
                  </a:cubicBezTo>
                  <a:cubicBezTo>
                    <a:pt x="4570" y="15592"/>
                    <a:pt x="4631" y="15511"/>
                    <a:pt x="4631" y="15414"/>
                  </a:cubicBezTo>
                  <a:cubicBezTo>
                    <a:pt x="4631" y="15316"/>
                    <a:pt x="4570" y="15236"/>
                    <a:pt x="4494" y="15236"/>
                  </a:cubicBezTo>
                  <a:close/>
                  <a:moveTo>
                    <a:pt x="4864" y="15236"/>
                  </a:moveTo>
                  <a:cubicBezTo>
                    <a:pt x="4787" y="15236"/>
                    <a:pt x="4725" y="15316"/>
                    <a:pt x="4725" y="15414"/>
                  </a:cubicBezTo>
                  <a:cubicBezTo>
                    <a:pt x="4725" y="15512"/>
                    <a:pt x="4787" y="15592"/>
                    <a:pt x="4864" y="15592"/>
                  </a:cubicBezTo>
                  <a:cubicBezTo>
                    <a:pt x="4940" y="15592"/>
                    <a:pt x="5001" y="15512"/>
                    <a:pt x="5001" y="15414"/>
                  </a:cubicBezTo>
                  <a:cubicBezTo>
                    <a:pt x="5001" y="15316"/>
                    <a:pt x="4940" y="15236"/>
                    <a:pt x="4864" y="15236"/>
                  </a:cubicBezTo>
                  <a:close/>
                  <a:moveTo>
                    <a:pt x="8808" y="15236"/>
                  </a:moveTo>
                  <a:cubicBezTo>
                    <a:pt x="8732" y="15236"/>
                    <a:pt x="8669" y="15316"/>
                    <a:pt x="8669" y="15414"/>
                  </a:cubicBezTo>
                  <a:cubicBezTo>
                    <a:pt x="8669" y="15512"/>
                    <a:pt x="8732" y="15592"/>
                    <a:pt x="8808" y="15592"/>
                  </a:cubicBezTo>
                  <a:cubicBezTo>
                    <a:pt x="8884" y="15592"/>
                    <a:pt x="8945" y="15512"/>
                    <a:pt x="8945" y="15414"/>
                  </a:cubicBezTo>
                  <a:cubicBezTo>
                    <a:pt x="8945" y="15316"/>
                    <a:pt x="8884" y="15236"/>
                    <a:pt x="8808" y="15236"/>
                  </a:cubicBezTo>
                  <a:close/>
                  <a:moveTo>
                    <a:pt x="9219" y="15236"/>
                  </a:moveTo>
                  <a:cubicBezTo>
                    <a:pt x="9143" y="15236"/>
                    <a:pt x="9080" y="15316"/>
                    <a:pt x="9080" y="15414"/>
                  </a:cubicBezTo>
                  <a:cubicBezTo>
                    <a:pt x="9080" y="15512"/>
                    <a:pt x="9143" y="15592"/>
                    <a:pt x="9219" y="15592"/>
                  </a:cubicBezTo>
                  <a:cubicBezTo>
                    <a:pt x="9295" y="15592"/>
                    <a:pt x="9356" y="15512"/>
                    <a:pt x="9356" y="15414"/>
                  </a:cubicBezTo>
                  <a:cubicBezTo>
                    <a:pt x="9356" y="15316"/>
                    <a:pt x="9295" y="15236"/>
                    <a:pt x="9219" y="15236"/>
                  </a:cubicBezTo>
                  <a:close/>
                  <a:moveTo>
                    <a:pt x="9589" y="15236"/>
                  </a:moveTo>
                  <a:cubicBezTo>
                    <a:pt x="9512" y="15236"/>
                    <a:pt x="9450" y="15316"/>
                    <a:pt x="9450" y="15414"/>
                  </a:cubicBezTo>
                  <a:cubicBezTo>
                    <a:pt x="9450" y="15512"/>
                    <a:pt x="9512" y="15592"/>
                    <a:pt x="9589" y="15592"/>
                  </a:cubicBezTo>
                  <a:cubicBezTo>
                    <a:pt x="9665" y="15592"/>
                    <a:pt x="9726" y="15512"/>
                    <a:pt x="9726" y="15414"/>
                  </a:cubicBezTo>
                  <a:cubicBezTo>
                    <a:pt x="9726" y="15316"/>
                    <a:pt x="9665" y="15236"/>
                    <a:pt x="9589" y="15236"/>
                  </a:cubicBezTo>
                  <a:close/>
                  <a:moveTo>
                    <a:pt x="13163" y="15236"/>
                  </a:moveTo>
                  <a:cubicBezTo>
                    <a:pt x="13087" y="15236"/>
                    <a:pt x="13024" y="15316"/>
                    <a:pt x="13024" y="15414"/>
                  </a:cubicBezTo>
                  <a:cubicBezTo>
                    <a:pt x="13024" y="15512"/>
                    <a:pt x="13087" y="15592"/>
                    <a:pt x="13163" y="15592"/>
                  </a:cubicBezTo>
                  <a:cubicBezTo>
                    <a:pt x="13240" y="15592"/>
                    <a:pt x="13301" y="15512"/>
                    <a:pt x="13301" y="15414"/>
                  </a:cubicBezTo>
                  <a:cubicBezTo>
                    <a:pt x="13301" y="15316"/>
                    <a:pt x="13240" y="15236"/>
                    <a:pt x="13163" y="15236"/>
                  </a:cubicBezTo>
                  <a:close/>
                  <a:moveTo>
                    <a:pt x="13574" y="15236"/>
                  </a:moveTo>
                  <a:cubicBezTo>
                    <a:pt x="13498" y="15236"/>
                    <a:pt x="13435" y="15316"/>
                    <a:pt x="13435" y="15414"/>
                  </a:cubicBezTo>
                  <a:cubicBezTo>
                    <a:pt x="13435" y="15512"/>
                    <a:pt x="13498" y="15592"/>
                    <a:pt x="13574" y="15592"/>
                  </a:cubicBezTo>
                  <a:cubicBezTo>
                    <a:pt x="13650" y="15592"/>
                    <a:pt x="13711" y="15512"/>
                    <a:pt x="13711" y="15414"/>
                  </a:cubicBezTo>
                  <a:cubicBezTo>
                    <a:pt x="13711" y="15316"/>
                    <a:pt x="13650" y="15236"/>
                    <a:pt x="13574" y="15236"/>
                  </a:cubicBezTo>
                  <a:close/>
                  <a:moveTo>
                    <a:pt x="13985" y="15236"/>
                  </a:moveTo>
                  <a:cubicBezTo>
                    <a:pt x="13908" y="15236"/>
                    <a:pt x="13846" y="15316"/>
                    <a:pt x="13846" y="15414"/>
                  </a:cubicBezTo>
                  <a:cubicBezTo>
                    <a:pt x="13846" y="15512"/>
                    <a:pt x="13908" y="15592"/>
                    <a:pt x="13985" y="15592"/>
                  </a:cubicBezTo>
                  <a:cubicBezTo>
                    <a:pt x="14061" y="15592"/>
                    <a:pt x="14122" y="15512"/>
                    <a:pt x="14122" y="15414"/>
                  </a:cubicBezTo>
                  <a:cubicBezTo>
                    <a:pt x="14122" y="15316"/>
                    <a:pt x="14061" y="15236"/>
                    <a:pt x="13985" y="15236"/>
                  </a:cubicBezTo>
                  <a:close/>
                  <a:moveTo>
                    <a:pt x="14355" y="15236"/>
                  </a:moveTo>
                  <a:cubicBezTo>
                    <a:pt x="14278" y="15236"/>
                    <a:pt x="14216" y="15316"/>
                    <a:pt x="14216" y="15414"/>
                  </a:cubicBezTo>
                  <a:cubicBezTo>
                    <a:pt x="14216" y="15512"/>
                    <a:pt x="14278" y="15592"/>
                    <a:pt x="14355" y="15592"/>
                  </a:cubicBezTo>
                  <a:cubicBezTo>
                    <a:pt x="14431" y="15592"/>
                    <a:pt x="14492" y="15512"/>
                    <a:pt x="14492" y="15414"/>
                  </a:cubicBezTo>
                  <a:cubicBezTo>
                    <a:pt x="14492" y="15316"/>
                    <a:pt x="14431" y="15236"/>
                    <a:pt x="14355" y="15236"/>
                  </a:cubicBezTo>
                  <a:close/>
                  <a:moveTo>
                    <a:pt x="14765" y="15236"/>
                  </a:moveTo>
                  <a:cubicBezTo>
                    <a:pt x="14689" y="15236"/>
                    <a:pt x="14627" y="15316"/>
                    <a:pt x="14627" y="15414"/>
                  </a:cubicBezTo>
                  <a:cubicBezTo>
                    <a:pt x="14627" y="15512"/>
                    <a:pt x="14689" y="15592"/>
                    <a:pt x="14765" y="15592"/>
                  </a:cubicBezTo>
                  <a:cubicBezTo>
                    <a:pt x="14842" y="15592"/>
                    <a:pt x="14903" y="15512"/>
                    <a:pt x="14903" y="15414"/>
                  </a:cubicBezTo>
                  <a:cubicBezTo>
                    <a:pt x="14903" y="15316"/>
                    <a:pt x="14842" y="15236"/>
                    <a:pt x="14765" y="15236"/>
                  </a:cubicBezTo>
                  <a:close/>
                  <a:moveTo>
                    <a:pt x="8808" y="15710"/>
                  </a:moveTo>
                  <a:cubicBezTo>
                    <a:pt x="8732" y="15710"/>
                    <a:pt x="8669" y="15791"/>
                    <a:pt x="8669" y="15888"/>
                  </a:cubicBezTo>
                  <a:cubicBezTo>
                    <a:pt x="8669" y="15986"/>
                    <a:pt x="8732" y="16064"/>
                    <a:pt x="8808" y="16064"/>
                  </a:cubicBezTo>
                  <a:cubicBezTo>
                    <a:pt x="8885" y="16064"/>
                    <a:pt x="8945" y="15986"/>
                    <a:pt x="8945" y="15888"/>
                  </a:cubicBezTo>
                  <a:cubicBezTo>
                    <a:pt x="8945" y="15791"/>
                    <a:pt x="8885" y="15710"/>
                    <a:pt x="8808" y="15710"/>
                  </a:cubicBezTo>
                  <a:close/>
                  <a:moveTo>
                    <a:pt x="9219" y="15710"/>
                  </a:moveTo>
                  <a:cubicBezTo>
                    <a:pt x="9142" y="15710"/>
                    <a:pt x="9080" y="15791"/>
                    <a:pt x="9080" y="15888"/>
                  </a:cubicBezTo>
                  <a:cubicBezTo>
                    <a:pt x="9080" y="15986"/>
                    <a:pt x="9142" y="16064"/>
                    <a:pt x="9219" y="16064"/>
                  </a:cubicBezTo>
                  <a:cubicBezTo>
                    <a:pt x="9295" y="16064"/>
                    <a:pt x="9356" y="15986"/>
                    <a:pt x="9356" y="15888"/>
                  </a:cubicBezTo>
                  <a:cubicBezTo>
                    <a:pt x="9356" y="15791"/>
                    <a:pt x="9295" y="15710"/>
                    <a:pt x="9219" y="15710"/>
                  </a:cubicBezTo>
                  <a:close/>
                  <a:moveTo>
                    <a:pt x="9589" y="15710"/>
                  </a:moveTo>
                  <a:cubicBezTo>
                    <a:pt x="9512" y="15710"/>
                    <a:pt x="9450" y="15791"/>
                    <a:pt x="9450" y="15888"/>
                  </a:cubicBezTo>
                  <a:cubicBezTo>
                    <a:pt x="9450" y="15986"/>
                    <a:pt x="9512" y="16064"/>
                    <a:pt x="9589" y="16064"/>
                  </a:cubicBezTo>
                  <a:cubicBezTo>
                    <a:pt x="9665" y="16064"/>
                    <a:pt x="9726" y="15986"/>
                    <a:pt x="9726" y="15888"/>
                  </a:cubicBezTo>
                  <a:cubicBezTo>
                    <a:pt x="9726" y="15791"/>
                    <a:pt x="9665" y="15710"/>
                    <a:pt x="9589" y="15710"/>
                  </a:cubicBezTo>
                  <a:close/>
                  <a:moveTo>
                    <a:pt x="13163" y="15763"/>
                  </a:moveTo>
                  <a:cubicBezTo>
                    <a:pt x="13087" y="15763"/>
                    <a:pt x="13024" y="15843"/>
                    <a:pt x="13024" y="15941"/>
                  </a:cubicBezTo>
                  <a:cubicBezTo>
                    <a:pt x="13024" y="16039"/>
                    <a:pt x="13087" y="16119"/>
                    <a:pt x="13163" y="16119"/>
                  </a:cubicBezTo>
                  <a:cubicBezTo>
                    <a:pt x="13240" y="16119"/>
                    <a:pt x="13301" y="16039"/>
                    <a:pt x="13301" y="15941"/>
                  </a:cubicBezTo>
                  <a:cubicBezTo>
                    <a:pt x="13301" y="15843"/>
                    <a:pt x="13240" y="15763"/>
                    <a:pt x="13163" y="15763"/>
                  </a:cubicBezTo>
                  <a:close/>
                  <a:moveTo>
                    <a:pt x="13574" y="15763"/>
                  </a:moveTo>
                  <a:cubicBezTo>
                    <a:pt x="13498" y="15763"/>
                    <a:pt x="13435" y="15843"/>
                    <a:pt x="13435" y="15941"/>
                  </a:cubicBezTo>
                  <a:cubicBezTo>
                    <a:pt x="13435" y="16039"/>
                    <a:pt x="13498" y="16119"/>
                    <a:pt x="13574" y="16119"/>
                  </a:cubicBezTo>
                  <a:cubicBezTo>
                    <a:pt x="13650" y="16119"/>
                    <a:pt x="13711" y="16039"/>
                    <a:pt x="13711" y="15941"/>
                  </a:cubicBezTo>
                  <a:cubicBezTo>
                    <a:pt x="13711" y="15843"/>
                    <a:pt x="13650" y="15763"/>
                    <a:pt x="13574" y="15763"/>
                  </a:cubicBezTo>
                  <a:close/>
                  <a:moveTo>
                    <a:pt x="13985" y="15763"/>
                  </a:moveTo>
                  <a:cubicBezTo>
                    <a:pt x="13908" y="15763"/>
                    <a:pt x="13846" y="15843"/>
                    <a:pt x="13846" y="15941"/>
                  </a:cubicBezTo>
                  <a:cubicBezTo>
                    <a:pt x="13846" y="16039"/>
                    <a:pt x="13908" y="16119"/>
                    <a:pt x="13985" y="16119"/>
                  </a:cubicBezTo>
                  <a:cubicBezTo>
                    <a:pt x="14061" y="16119"/>
                    <a:pt x="14122" y="16039"/>
                    <a:pt x="14122" y="15941"/>
                  </a:cubicBezTo>
                  <a:cubicBezTo>
                    <a:pt x="14122" y="15843"/>
                    <a:pt x="14061" y="15763"/>
                    <a:pt x="13985" y="15763"/>
                  </a:cubicBezTo>
                  <a:close/>
                  <a:moveTo>
                    <a:pt x="14355" y="15763"/>
                  </a:moveTo>
                  <a:cubicBezTo>
                    <a:pt x="14278" y="15763"/>
                    <a:pt x="14216" y="15843"/>
                    <a:pt x="14216" y="15941"/>
                  </a:cubicBezTo>
                  <a:cubicBezTo>
                    <a:pt x="14216" y="16039"/>
                    <a:pt x="14278" y="16119"/>
                    <a:pt x="14355" y="16119"/>
                  </a:cubicBezTo>
                  <a:cubicBezTo>
                    <a:pt x="14431" y="16119"/>
                    <a:pt x="14492" y="16039"/>
                    <a:pt x="14492" y="15941"/>
                  </a:cubicBezTo>
                  <a:cubicBezTo>
                    <a:pt x="14492" y="15843"/>
                    <a:pt x="14431" y="15763"/>
                    <a:pt x="14355" y="15763"/>
                  </a:cubicBezTo>
                  <a:close/>
                  <a:moveTo>
                    <a:pt x="14765" y="15763"/>
                  </a:moveTo>
                  <a:cubicBezTo>
                    <a:pt x="14689" y="15763"/>
                    <a:pt x="14627" y="15843"/>
                    <a:pt x="14627" y="15941"/>
                  </a:cubicBezTo>
                  <a:cubicBezTo>
                    <a:pt x="14627" y="16039"/>
                    <a:pt x="14689" y="16119"/>
                    <a:pt x="14765" y="16119"/>
                  </a:cubicBezTo>
                  <a:cubicBezTo>
                    <a:pt x="14842" y="16119"/>
                    <a:pt x="14903" y="16039"/>
                    <a:pt x="14903" y="15941"/>
                  </a:cubicBezTo>
                  <a:cubicBezTo>
                    <a:pt x="14903" y="15843"/>
                    <a:pt x="14842" y="15763"/>
                    <a:pt x="14765" y="15763"/>
                  </a:cubicBezTo>
                  <a:close/>
                  <a:moveTo>
                    <a:pt x="17518" y="15763"/>
                  </a:moveTo>
                  <a:cubicBezTo>
                    <a:pt x="17442" y="15763"/>
                    <a:pt x="17380" y="15843"/>
                    <a:pt x="17380" y="15941"/>
                  </a:cubicBezTo>
                  <a:cubicBezTo>
                    <a:pt x="17380" y="16039"/>
                    <a:pt x="17442" y="16117"/>
                    <a:pt x="17518" y="16117"/>
                  </a:cubicBezTo>
                  <a:cubicBezTo>
                    <a:pt x="17594" y="16117"/>
                    <a:pt x="17656" y="16039"/>
                    <a:pt x="17656" y="15941"/>
                  </a:cubicBezTo>
                  <a:cubicBezTo>
                    <a:pt x="17656" y="15843"/>
                    <a:pt x="17594" y="15763"/>
                    <a:pt x="17518" y="15763"/>
                  </a:cubicBezTo>
                  <a:close/>
                  <a:moveTo>
                    <a:pt x="17929" y="16185"/>
                  </a:moveTo>
                  <a:cubicBezTo>
                    <a:pt x="17853" y="16185"/>
                    <a:pt x="17791" y="16265"/>
                    <a:pt x="17791" y="16363"/>
                  </a:cubicBezTo>
                  <a:cubicBezTo>
                    <a:pt x="17791" y="16461"/>
                    <a:pt x="17853" y="16539"/>
                    <a:pt x="17929" y="16539"/>
                  </a:cubicBezTo>
                  <a:cubicBezTo>
                    <a:pt x="18005" y="16539"/>
                    <a:pt x="18067" y="16461"/>
                    <a:pt x="18067" y="16363"/>
                  </a:cubicBezTo>
                  <a:cubicBezTo>
                    <a:pt x="18067" y="16265"/>
                    <a:pt x="18005" y="16185"/>
                    <a:pt x="17929" y="16185"/>
                  </a:cubicBezTo>
                  <a:close/>
                  <a:moveTo>
                    <a:pt x="9219" y="16237"/>
                  </a:moveTo>
                  <a:cubicBezTo>
                    <a:pt x="9142" y="16237"/>
                    <a:pt x="9080" y="16318"/>
                    <a:pt x="9080" y="16415"/>
                  </a:cubicBezTo>
                  <a:cubicBezTo>
                    <a:pt x="9080" y="16513"/>
                    <a:pt x="9142" y="16592"/>
                    <a:pt x="9219" y="16592"/>
                  </a:cubicBezTo>
                  <a:cubicBezTo>
                    <a:pt x="9295" y="16592"/>
                    <a:pt x="9356" y="16513"/>
                    <a:pt x="9356" y="16415"/>
                  </a:cubicBezTo>
                  <a:cubicBezTo>
                    <a:pt x="9356" y="16318"/>
                    <a:pt x="9295" y="16237"/>
                    <a:pt x="9219" y="16237"/>
                  </a:cubicBezTo>
                  <a:close/>
                  <a:moveTo>
                    <a:pt x="9589" y="16237"/>
                  </a:moveTo>
                  <a:cubicBezTo>
                    <a:pt x="9512" y="16237"/>
                    <a:pt x="9450" y="16318"/>
                    <a:pt x="9450" y="16415"/>
                  </a:cubicBezTo>
                  <a:cubicBezTo>
                    <a:pt x="9450" y="16513"/>
                    <a:pt x="9512" y="16592"/>
                    <a:pt x="9589" y="16592"/>
                  </a:cubicBezTo>
                  <a:cubicBezTo>
                    <a:pt x="9665" y="16592"/>
                    <a:pt x="9726" y="16513"/>
                    <a:pt x="9726" y="16415"/>
                  </a:cubicBezTo>
                  <a:cubicBezTo>
                    <a:pt x="9726" y="16318"/>
                    <a:pt x="9665" y="16237"/>
                    <a:pt x="9589" y="16237"/>
                  </a:cubicBezTo>
                  <a:close/>
                  <a:moveTo>
                    <a:pt x="13163" y="16237"/>
                  </a:moveTo>
                  <a:cubicBezTo>
                    <a:pt x="13087" y="16237"/>
                    <a:pt x="13024" y="16318"/>
                    <a:pt x="13024" y="16415"/>
                  </a:cubicBezTo>
                  <a:cubicBezTo>
                    <a:pt x="13024" y="16514"/>
                    <a:pt x="13087" y="16592"/>
                    <a:pt x="13163" y="16592"/>
                  </a:cubicBezTo>
                  <a:cubicBezTo>
                    <a:pt x="13240" y="16592"/>
                    <a:pt x="13301" y="16514"/>
                    <a:pt x="13301" y="16415"/>
                  </a:cubicBezTo>
                  <a:cubicBezTo>
                    <a:pt x="13301" y="16318"/>
                    <a:pt x="13240" y="16237"/>
                    <a:pt x="13163" y="16237"/>
                  </a:cubicBezTo>
                  <a:close/>
                  <a:moveTo>
                    <a:pt x="13985" y="16237"/>
                  </a:moveTo>
                  <a:cubicBezTo>
                    <a:pt x="13908" y="16237"/>
                    <a:pt x="13846" y="16318"/>
                    <a:pt x="13846" y="16415"/>
                  </a:cubicBezTo>
                  <a:cubicBezTo>
                    <a:pt x="13846" y="16514"/>
                    <a:pt x="13908" y="16592"/>
                    <a:pt x="13985" y="16592"/>
                  </a:cubicBezTo>
                  <a:cubicBezTo>
                    <a:pt x="14061" y="16592"/>
                    <a:pt x="14122" y="16514"/>
                    <a:pt x="14122" y="16415"/>
                  </a:cubicBezTo>
                  <a:cubicBezTo>
                    <a:pt x="14122" y="16318"/>
                    <a:pt x="14061" y="16237"/>
                    <a:pt x="13985" y="16237"/>
                  </a:cubicBezTo>
                  <a:close/>
                  <a:moveTo>
                    <a:pt x="14355" y="16237"/>
                  </a:moveTo>
                  <a:cubicBezTo>
                    <a:pt x="14278" y="16237"/>
                    <a:pt x="14216" y="16318"/>
                    <a:pt x="14216" y="16415"/>
                  </a:cubicBezTo>
                  <a:cubicBezTo>
                    <a:pt x="14216" y="16514"/>
                    <a:pt x="14278" y="16592"/>
                    <a:pt x="14355" y="16592"/>
                  </a:cubicBezTo>
                  <a:cubicBezTo>
                    <a:pt x="14431" y="16592"/>
                    <a:pt x="14492" y="16514"/>
                    <a:pt x="14492" y="16415"/>
                  </a:cubicBezTo>
                  <a:cubicBezTo>
                    <a:pt x="14492" y="16318"/>
                    <a:pt x="14431" y="16237"/>
                    <a:pt x="14355" y="16237"/>
                  </a:cubicBezTo>
                  <a:close/>
                  <a:moveTo>
                    <a:pt x="14765" y="16237"/>
                  </a:moveTo>
                  <a:cubicBezTo>
                    <a:pt x="14689" y="16237"/>
                    <a:pt x="14627" y="16318"/>
                    <a:pt x="14627" y="16415"/>
                  </a:cubicBezTo>
                  <a:cubicBezTo>
                    <a:pt x="14627" y="16514"/>
                    <a:pt x="14689" y="16592"/>
                    <a:pt x="14765" y="16592"/>
                  </a:cubicBezTo>
                  <a:cubicBezTo>
                    <a:pt x="14842" y="16592"/>
                    <a:pt x="14903" y="16514"/>
                    <a:pt x="14903" y="16415"/>
                  </a:cubicBezTo>
                  <a:cubicBezTo>
                    <a:pt x="14903" y="16318"/>
                    <a:pt x="14842" y="16237"/>
                    <a:pt x="14765" y="16237"/>
                  </a:cubicBezTo>
                  <a:close/>
                  <a:moveTo>
                    <a:pt x="15135" y="16237"/>
                  </a:moveTo>
                  <a:cubicBezTo>
                    <a:pt x="15059" y="16237"/>
                    <a:pt x="14997" y="16318"/>
                    <a:pt x="14997" y="16415"/>
                  </a:cubicBezTo>
                  <a:cubicBezTo>
                    <a:pt x="14997" y="16514"/>
                    <a:pt x="15059" y="16592"/>
                    <a:pt x="15135" y="16592"/>
                  </a:cubicBezTo>
                  <a:cubicBezTo>
                    <a:pt x="15212" y="16592"/>
                    <a:pt x="15273" y="16514"/>
                    <a:pt x="15273" y="16415"/>
                  </a:cubicBezTo>
                  <a:cubicBezTo>
                    <a:pt x="15273" y="16318"/>
                    <a:pt x="15212" y="16237"/>
                    <a:pt x="15135" y="16237"/>
                  </a:cubicBezTo>
                  <a:close/>
                  <a:moveTo>
                    <a:pt x="14355" y="16712"/>
                  </a:moveTo>
                  <a:cubicBezTo>
                    <a:pt x="14278" y="16712"/>
                    <a:pt x="14216" y="16792"/>
                    <a:pt x="14216" y="16890"/>
                  </a:cubicBezTo>
                  <a:cubicBezTo>
                    <a:pt x="14216" y="16988"/>
                    <a:pt x="14278" y="17066"/>
                    <a:pt x="14355" y="17066"/>
                  </a:cubicBezTo>
                  <a:cubicBezTo>
                    <a:pt x="14431" y="17066"/>
                    <a:pt x="14492" y="16988"/>
                    <a:pt x="14492" y="16890"/>
                  </a:cubicBezTo>
                  <a:cubicBezTo>
                    <a:pt x="14492" y="16792"/>
                    <a:pt x="14431" y="16712"/>
                    <a:pt x="14355" y="16712"/>
                  </a:cubicBezTo>
                  <a:close/>
                  <a:moveTo>
                    <a:pt x="16738" y="16712"/>
                  </a:moveTo>
                  <a:cubicBezTo>
                    <a:pt x="16661" y="16712"/>
                    <a:pt x="16599" y="16792"/>
                    <a:pt x="16599" y="16890"/>
                  </a:cubicBezTo>
                  <a:cubicBezTo>
                    <a:pt x="16599" y="16988"/>
                    <a:pt x="16661" y="17068"/>
                    <a:pt x="16738" y="17068"/>
                  </a:cubicBezTo>
                  <a:cubicBezTo>
                    <a:pt x="16814" y="17068"/>
                    <a:pt x="16875" y="16988"/>
                    <a:pt x="16875" y="16890"/>
                  </a:cubicBezTo>
                  <a:cubicBezTo>
                    <a:pt x="16875" y="16792"/>
                    <a:pt x="16814" y="16712"/>
                    <a:pt x="16738" y="16712"/>
                  </a:cubicBezTo>
                  <a:close/>
                  <a:moveTo>
                    <a:pt x="17600" y="16712"/>
                  </a:moveTo>
                  <a:cubicBezTo>
                    <a:pt x="17524" y="16712"/>
                    <a:pt x="17462" y="16792"/>
                    <a:pt x="17462" y="16890"/>
                  </a:cubicBezTo>
                  <a:cubicBezTo>
                    <a:pt x="17462" y="16988"/>
                    <a:pt x="17524" y="17068"/>
                    <a:pt x="17600" y="17068"/>
                  </a:cubicBezTo>
                  <a:cubicBezTo>
                    <a:pt x="17677" y="17068"/>
                    <a:pt x="17738" y="16988"/>
                    <a:pt x="17738" y="16890"/>
                  </a:cubicBezTo>
                  <a:cubicBezTo>
                    <a:pt x="17738" y="16792"/>
                    <a:pt x="17677" y="16712"/>
                    <a:pt x="17600" y="16712"/>
                  </a:cubicBezTo>
                  <a:close/>
                  <a:moveTo>
                    <a:pt x="9219" y="16765"/>
                  </a:moveTo>
                  <a:cubicBezTo>
                    <a:pt x="9142" y="16765"/>
                    <a:pt x="9080" y="16845"/>
                    <a:pt x="9080" y="16943"/>
                  </a:cubicBezTo>
                  <a:cubicBezTo>
                    <a:pt x="9080" y="17040"/>
                    <a:pt x="9142" y="17119"/>
                    <a:pt x="9219" y="17119"/>
                  </a:cubicBezTo>
                  <a:cubicBezTo>
                    <a:pt x="9295" y="17119"/>
                    <a:pt x="9356" y="17040"/>
                    <a:pt x="9356" y="16943"/>
                  </a:cubicBezTo>
                  <a:cubicBezTo>
                    <a:pt x="9356" y="16845"/>
                    <a:pt x="9295" y="16765"/>
                    <a:pt x="9219" y="16765"/>
                  </a:cubicBezTo>
                  <a:close/>
                  <a:moveTo>
                    <a:pt x="9589" y="16765"/>
                  </a:moveTo>
                  <a:cubicBezTo>
                    <a:pt x="9512" y="16765"/>
                    <a:pt x="9450" y="16845"/>
                    <a:pt x="9450" y="16943"/>
                  </a:cubicBezTo>
                  <a:cubicBezTo>
                    <a:pt x="9450" y="17040"/>
                    <a:pt x="9512" y="17119"/>
                    <a:pt x="9589" y="17119"/>
                  </a:cubicBezTo>
                  <a:cubicBezTo>
                    <a:pt x="9665" y="17119"/>
                    <a:pt x="9726" y="17040"/>
                    <a:pt x="9726" y="16943"/>
                  </a:cubicBezTo>
                  <a:cubicBezTo>
                    <a:pt x="9726" y="16845"/>
                    <a:pt x="9665" y="16765"/>
                    <a:pt x="9589" y="16765"/>
                  </a:cubicBezTo>
                  <a:close/>
                  <a:moveTo>
                    <a:pt x="13163" y="16765"/>
                  </a:moveTo>
                  <a:cubicBezTo>
                    <a:pt x="13087" y="16765"/>
                    <a:pt x="13024" y="16845"/>
                    <a:pt x="13024" y="16943"/>
                  </a:cubicBezTo>
                  <a:cubicBezTo>
                    <a:pt x="13024" y="17041"/>
                    <a:pt x="13087" y="17121"/>
                    <a:pt x="13163" y="17121"/>
                  </a:cubicBezTo>
                  <a:cubicBezTo>
                    <a:pt x="13240" y="17121"/>
                    <a:pt x="13301" y="17041"/>
                    <a:pt x="13301" y="16943"/>
                  </a:cubicBezTo>
                  <a:cubicBezTo>
                    <a:pt x="13301" y="16845"/>
                    <a:pt x="13240" y="16765"/>
                    <a:pt x="13163" y="16765"/>
                  </a:cubicBezTo>
                  <a:close/>
                  <a:moveTo>
                    <a:pt x="9999" y="17239"/>
                  </a:moveTo>
                  <a:cubicBezTo>
                    <a:pt x="9923" y="17239"/>
                    <a:pt x="9861" y="17319"/>
                    <a:pt x="9861" y="17417"/>
                  </a:cubicBezTo>
                  <a:cubicBezTo>
                    <a:pt x="9861" y="17515"/>
                    <a:pt x="9923" y="17593"/>
                    <a:pt x="9999" y="17593"/>
                  </a:cubicBezTo>
                  <a:cubicBezTo>
                    <a:pt x="10076" y="17593"/>
                    <a:pt x="10137" y="17515"/>
                    <a:pt x="10137" y="17417"/>
                  </a:cubicBezTo>
                  <a:cubicBezTo>
                    <a:pt x="10137" y="17319"/>
                    <a:pt x="10076" y="17239"/>
                    <a:pt x="9999" y="17239"/>
                  </a:cubicBezTo>
                  <a:close/>
                  <a:moveTo>
                    <a:pt x="13574" y="17239"/>
                  </a:moveTo>
                  <a:cubicBezTo>
                    <a:pt x="13498" y="17239"/>
                    <a:pt x="13435" y="17319"/>
                    <a:pt x="13435" y="17417"/>
                  </a:cubicBezTo>
                  <a:cubicBezTo>
                    <a:pt x="13435" y="17515"/>
                    <a:pt x="13498" y="17595"/>
                    <a:pt x="13574" y="17595"/>
                  </a:cubicBezTo>
                  <a:cubicBezTo>
                    <a:pt x="13650" y="17595"/>
                    <a:pt x="13711" y="17515"/>
                    <a:pt x="13711" y="17417"/>
                  </a:cubicBezTo>
                  <a:cubicBezTo>
                    <a:pt x="13711" y="17319"/>
                    <a:pt x="13650" y="17239"/>
                    <a:pt x="13574" y="17239"/>
                  </a:cubicBezTo>
                  <a:close/>
                  <a:moveTo>
                    <a:pt x="17929" y="17239"/>
                  </a:moveTo>
                  <a:cubicBezTo>
                    <a:pt x="17853" y="17239"/>
                    <a:pt x="17791" y="17319"/>
                    <a:pt x="17791" y="17417"/>
                  </a:cubicBezTo>
                  <a:cubicBezTo>
                    <a:pt x="17791" y="17515"/>
                    <a:pt x="17853" y="17595"/>
                    <a:pt x="17929" y="17595"/>
                  </a:cubicBezTo>
                  <a:cubicBezTo>
                    <a:pt x="18006" y="17595"/>
                    <a:pt x="18067" y="17515"/>
                    <a:pt x="18067" y="17417"/>
                  </a:cubicBezTo>
                  <a:cubicBezTo>
                    <a:pt x="18067" y="17319"/>
                    <a:pt x="18006" y="17239"/>
                    <a:pt x="17929" y="17239"/>
                  </a:cubicBezTo>
                  <a:close/>
                  <a:moveTo>
                    <a:pt x="18258" y="17239"/>
                  </a:moveTo>
                  <a:cubicBezTo>
                    <a:pt x="18181" y="17239"/>
                    <a:pt x="18119" y="17319"/>
                    <a:pt x="18119" y="17417"/>
                  </a:cubicBezTo>
                  <a:cubicBezTo>
                    <a:pt x="18119" y="17515"/>
                    <a:pt x="18181" y="17595"/>
                    <a:pt x="18258" y="17595"/>
                  </a:cubicBezTo>
                  <a:cubicBezTo>
                    <a:pt x="18334" y="17595"/>
                    <a:pt x="18395" y="17515"/>
                    <a:pt x="18395" y="17417"/>
                  </a:cubicBezTo>
                  <a:cubicBezTo>
                    <a:pt x="18395" y="17319"/>
                    <a:pt x="18334" y="17239"/>
                    <a:pt x="18258" y="17239"/>
                  </a:cubicBezTo>
                  <a:close/>
                  <a:moveTo>
                    <a:pt x="13574" y="17766"/>
                  </a:moveTo>
                  <a:cubicBezTo>
                    <a:pt x="13498" y="17766"/>
                    <a:pt x="13435" y="17846"/>
                    <a:pt x="13435" y="17944"/>
                  </a:cubicBezTo>
                  <a:cubicBezTo>
                    <a:pt x="13435" y="18042"/>
                    <a:pt x="13498" y="18122"/>
                    <a:pt x="13574" y="18122"/>
                  </a:cubicBezTo>
                  <a:cubicBezTo>
                    <a:pt x="13650" y="18122"/>
                    <a:pt x="13711" y="18042"/>
                    <a:pt x="13711" y="17944"/>
                  </a:cubicBezTo>
                  <a:cubicBezTo>
                    <a:pt x="13711" y="17846"/>
                    <a:pt x="13650" y="17766"/>
                    <a:pt x="13574" y="17766"/>
                  </a:cubicBezTo>
                  <a:close/>
                  <a:moveTo>
                    <a:pt x="13985" y="17766"/>
                  </a:moveTo>
                  <a:cubicBezTo>
                    <a:pt x="13908" y="17766"/>
                    <a:pt x="13846" y="17846"/>
                    <a:pt x="13846" y="17944"/>
                  </a:cubicBezTo>
                  <a:cubicBezTo>
                    <a:pt x="13846" y="18042"/>
                    <a:pt x="13908" y="18122"/>
                    <a:pt x="13985" y="18122"/>
                  </a:cubicBezTo>
                  <a:cubicBezTo>
                    <a:pt x="14061" y="18122"/>
                    <a:pt x="14122" y="18042"/>
                    <a:pt x="14122" y="17944"/>
                  </a:cubicBezTo>
                  <a:cubicBezTo>
                    <a:pt x="14122" y="17846"/>
                    <a:pt x="14061" y="17766"/>
                    <a:pt x="13985" y="17766"/>
                  </a:cubicBezTo>
                  <a:close/>
                  <a:moveTo>
                    <a:pt x="16697" y="17766"/>
                  </a:moveTo>
                  <a:cubicBezTo>
                    <a:pt x="16620" y="17766"/>
                    <a:pt x="16558" y="17846"/>
                    <a:pt x="16558" y="17944"/>
                  </a:cubicBezTo>
                  <a:cubicBezTo>
                    <a:pt x="16558" y="18042"/>
                    <a:pt x="16620" y="18121"/>
                    <a:pt x="16697" y="18121"/>
                  </a:cubicBezTo>
                  <a:cubicBezTo>
                    <a:pt x="16773" y="18121"/>
                    <a:pt x="16834" y="18042"/>
                    <a:pt x="16834" y="17944"/>
                  </a:cubicBezTo>
                  <a:cubicBezTo>
                    <a:pt x="16834" y="17846"/>
                    <a:pt x="16773" y="17766"/>
                    <a:pt x="16697" y="17766"/>
                  </a:cubicBezTo>
                  <a:close/>
                  <a:moveTo>
                    <a:pt x="15916" y="18241"/>
                  </a:moveTo>
                  <a:cubicBezTo>
                    <a:pt x="15840" y="18241"/>
                    <a:pt x="15777" y="18321"/>
                    <a:pt x="15777" y="18419"/>
                  </a:cubicBezTo>
                  <a:cubicBezTo>
                    <a:pt x="15777" y="18516"/>
                    <a:pt x="15840" y="18595"/>
                    <a:pt x="15916" y="18595"/>
                  </a:cubicBezTo>
                  <a:cubicBezTo>
                    <a:pt x="15992" y="18595"/>
                    <a:pt x="16053" y="18516"/>
                    <a:pt x="16053" y="18419"/>
                  </a:cubicBezTo>
                  <a:cubicBezTo>
                    <a:pt x="16053" y="18321"/>
                    <a:pt x="15992" y="18241"/>
                    <a:pt x="15916" y="18241"/>
                  </a:cubicBezTo>
                  <a:close/>
                  <a:moveTo>
                    <a:pt x="16327" y="18241"/>
                  </a:moveTo>
                  <a:cubicBezTo>
                    <a:pt x="16251" y="18241"/>
                    <a:pt x="16188" y="18321"/>
                    <a:pt x="16188" y="18419"/>
                  </a:cubicBezTo>
                  <a:cubicBezTo>
                    <a:pt x="16188" y="18516"/>
                    <a:pt x="16251" y="18595"/>
                    <a:pt x="16327" y="18595"/>
                  </a:cubicBezTo>
                  <a:cubicBezTo>
                    <a:pt x="16403" y="18595"/>
                    <a:pt x="16464" y="18516"/>
                    <a:pt x="16464" y="18419"/>
                  </a:cubicBezTo>
                  <a:cubicBezTo>
                    <a:pt x="16464" y="18321"/>
                    <a:pt x="16403" y="18241"/>
                    <a:pt x="16327" y="18241"/>
                  </a:cubicBezTo>
                  <a:close/>
                  <a:moveTo>
                    <a:pt x="16697" y="18241"/>
                  </a:moveTo>
                  <a:cubicBezTo>
                    <a:pt x="16620" y="18241"/>
                    <a:pt x="16558" y="18321"/>
                    <a:pt x="16558" y="18419"/>
                  </a:cubicBezTo>
                  <a:cubicBezTo>
                    <a:pt x="16558" y="18516"/>
                    <a:pt x="16620" y="18595"/>
                    <a:pt x="16697" y="18595"/>
                  </a:cubicBezTo>
                  <a:cubicBezTo>
                    <a:pt x="16773" y="18595"/>
                    <a:pt x="16834" y="18516"/>
                    <a:pt x="16834" y="18419"/>
                  </a:cubicBezTo>
                  <a:cubicBezTo>
                    <a:pt x="16834" y="18321"/>
                    <a:pt x="16773" y="18241"/>
                    <a:pt x="16697" y="18241"/>
                  </a:cubicBezTo>
                  <a:close/>
                  <a:moveTo>
                    <a:pt x="13163" y="18294"/>
                  </a:moveTo>
                  <a:cubicBezTo>
                    <a:pt x="13087" y="18294"/>
                    <a:pt x="13024" y="18374"/>
                    <a:pt x="13024" y="18471"/>
                  </a:cubicBezTo>
                  <a:cubicBezTo>
                    <a:pt x="13024" y="18569"/>
                    <a:pt x="13087" y="18648"/>
                    <a:pt x="13163" y="18648"/>
                  </a:cubicBezTo>
                  <a:cubicBezTo>
                    <a:pt x="13240" y="18648"/>
                    <a:pt x="13301" y="18569"/>
                    <a:pt x="13301" y="18471"/>
                  </a:cubicBezTo>
                  <a:cubicBezTo>
                    <a:pt x="13301" y="18374"/>
                    <a:pt x="13240" y="18294"/>
                    <a:pt x="13163" y="18294"/>
                  </a:cubicBezTo>
                  <a:close/>
                  <a:moveTo>
                    <a:pt x="13985" y="18294"/>
                  </a:moveTo>
                  <a:cubicBezTo>
                    <a:pt x="13908" y="18294"/>
                    <a:pt x="13846" y="18374"/>
                    <a:pt x="13846" y="18471"/>
                  </a:cubicBezTo>
                  <a:cubicBezTo>
                    <a:pt x="13846" y="18569"/>
                    <a:pt x="13908" y="18648"/>
                    <a:pt x="13985" y="18648"/>
                  </a:cubicBezTo>
                  <a:cubicBezTo>
                    <a:pt x="14061" y="18648"/>
                    <a:pt x="14122" y="18569"/>
                    <a:pt x="14122" y="18471"/>
                  </a:cubicBezTo>
                  <a:cubicBezTo>
                    <a:pt x="14122" y="18374"/>
                    <a:pt x="14061" y="18294"/>
                    <a:pt x="13985" y="18294"/>
                  </a:cubicBezTo>
                  <a:close/>
                  <a:moveTo>
                    <a:pt x="18710" y="18715"/>
                  </a:moveTo>
                  <a:cubicBezTo>
                    <a:pt x="18634" y="18715"/>
                    <a:pt x="18571" y="18795"/>
                    <a:pt x="18571" y="18893"/>
                  </a:cubicBezTo>
                  <a:cubicBezTo>
                    <a:pt x="18571" y="18991"/>
                    <a:pt x="18634" y="19069"/>
                    <a:pt x="18710" y="19069"/>
                  </a:cubicBezTo>
                  <a:cubicBezTo>
                    <a:pt x="18786" y="19069"/>
                    <a:pt x="18847" y="18991"/>
                    <a:pt x="18847" y="18893"/>
                  </a:cubicBezTo>
                  <a:cubicBezTo>
                    <a:pt x="18847" y="18795"/>
                    <a:pt x="18786" y="18715"/>
                    <a:pt x="18710" y="18715"/>
                  </a:cubicBezTo>
                  <a:close/>
                  <a:moveTo>
                    <a:pt x="13163" y="18768"/>
                  </a:moveTo>
                  <a:cubicBezTo>
                    <a:pt x="13087" y="18768"/>
                    <a:pt x="13024" y="18848"/>
                    <a:pt x="13024" y="18946"/>
                  </a:cubicBezTo>
                  <a:cubicBezTo>
                    <a:pt x="13024" y="19044"/>
                    <a:pt x="13087" y="19122"/>
                    <a:pt x="13163" y="19122"/>
                  </a:cubicBezTo>
                  <a:cubicBezTo>
                    <a:pt x="13240" y="19122"/>
                    <a:pt x="13301" y="19044"/>
                    <a:pt x="13301" y="18946"/>
                  </a:cubicBezTo>
                  <a:cubicBezTo>
                    <a:pt x="13301" y="18848"/>
                    <a:pt x="13240" y="18768"/>
                    <a:pt x="13163" y="18768"/>
                  </a:cubicBezTo>
                  <a:close/>
                  <a:moveTo>
                    <a:pt x="13574" y="18768"/>
                  </a:moveTo>
                  <a:cubicBezTo>
                    <a:pt x="13498" y="18768"/>
                    <a:pt x="13435" y="18848"/>
                    <a:pt x="13435" y="18946"/>
                  </a:cubicBezTo>
                  <a:cubicBezTo>
                    <a:pt x="13435" y="19044"/>
                    <a:pt x="13498" y="19122"/>
                    <a:pt x="13574" y="19122"/>
                  </a:cubicBezTo>
                  <a:cubicBezTo>
                    <a:pt x="13650" y="19122"/>
                    <a:pt x="13711" y="19044"/>
                    <a:pt x="13711" y="18946"/>
                  </a:cubicBezTo>
                  <a:cubicBezTo>
                    <a:pt x="13711" y="18848"/>
                    <a:pt x="13650" y="18768"/>
                    <a:pt x="13574" y="18768"/>
                  </a:cubicBezTo>
                  <a:close/>
                  <a:moveTo>
                    <a:pt x="13985" y="18768"/>
                  </a:moveTo>
                  <a:cubicBezTo>
                    <a:pt x="13909" y="18768"/>
                    <a:pt x="13846" y="18848"/>
                    <a:pt x="13846" y="18946"/>
                  </a:cubicBezTo>
                  <a:cubicBezTo>
                    <a:pt x="13846" y="19044"/>
                    <a:pt x="13909" y="19122"/>
                    <a:pt x="13985" y="19122"/>
                  </a:cubicBezTo>
                  <a:cubicBezTo>
                    <a:pt x="14061" y="19122"/>
                    <a:pt x="14122" y="19044"/>
                    <a:pt x="14122" y="18946"/>
                  </a:cubicBezTo>
                  <a:cubicBezTo>
                    <a:pt x="14122" y="18848"/>
                    <a:pt x="14061" y="18768"/>
                    <a:pt x="13985" y="18768"/>
                  </a:cubicBezTo>
                  <a:close/>
                  <a:moveTo>
                    <a:pt x="15546" y="18768"/>
                  </a:moveTo>
                  <a:cubicBezTo>
                    <a:pt x="15470" y="18768"/>
                    <a:pt x="15407" y="18848"/>
                    <a:pt x="15407" y="18946"/>
                  </a:cubicBezTo>
                  <a:cubicBezTo>
                    <a:pt x="15407" y="19044"/>
                    <a:pt x="15470" y="19124"/>
                    <a:pt x="15546" y="19124"/>
                  </a:cubicBezTo>
                  <a:cubicBezTo>
                    <a:pt x="15622" y="19124"/>
                    <a:pt x="15684" y="19044"/>
                    <a:pt x="15684" y="18946"/>
                  </a:cubicBezTo>
                  <a:cubicBezTo>
                    <a:pt x="15684" y="18848"/>
                    <a:pt x="15622" y="18768"/>
                    <a:pt x="15546" y="18768"/>
                  </a:cubicBezTo>
                  <a:close/>
                  <a:moveTo>
                    <a:pt x="15916" y="18768"/>
                  </a:moveTo>
                  <a:cubicBezTo>
                    <a:pt x="15840" y="18768"/>
                    <a:pt x="15777" y="18848"/>
                    <a:pt x="15777" y="18946"/>
                  </a:cubicBezTo>
                  <a:cubicBezTo>
                    <a:pt x="15777" y="19044"/>
                    <a:pt x="15840" y="19124"/>
                    <a:pt x="15916" y="19124"/>
                  </a:cubicBezTo>
                  <a:cubicBezTo>
                    <a:pt x="15992" y="19124"/>
                    <a:pt x="16053" y="19044"/>
                    <a:pt x="16053" y="18946"/>
                  </a:cubicBezTo>
                  <a:cubicBezTo>
                    <a:pt x="16053" y="18848"/>
                    <a:pt x="15992" y="18768"/>
                    <a:pt x="15916" y="18768"/>
                  </a:cubicBezTo>
                  <a:close/>
                  <a:moveTo>
                    <a:pt x="16327" y="18768"/>
                  </a:moveTo>
                  <a:cubicBezTo>
                    <a:pt x="16251" y="18768"/>
                    <a:pt x="16188" y="18848"/>
                    <a:pt x="16188" y="18946"/>
                  </a:cubicBezTo>
                  <a:cubicBezTo>
                    <a:pt x="16188" y="19044"/>
                    <a:pt x="16251" y="19124"/>
                    <a:pt x="16327" y="19124"/>
                  </a:cubicBezTo>
                  <a:cubicBezTo>
                    <a:pt x="16403" y="19124"/>
                    <a:pt x="16464" y="19044"/>
                    <a:pt x="16464" y="18946"/>
                  </a:cubicBezTo>
                  <a:cubicBezTo>
                    <a:pt x="16464" y="18848"/>
                    <a:pt x="16403" y="18768"/>
                    <a:pt x="16327" y="18768"/>
                  </a:cubicBezTo>
                  <a:close/>
                  <a:moveTo>
                    <a:pt x="16697" y="18768"/>
                  </a:moveTo>
                  <a:cubicBezTo>
                    <a:pt x="16620" y="18768"/>
                    <a:pt x="16558" y="18848"/>
                    <a:pt x="16558" y="18946"/>
                  </a:cubicBezTo>
                  <a:cubicBezTo>
                    <a:pt x="16558" y="19044"/>
                    <a:pt x="16620" y="19124"/>
                    <a:pt x="16697" y="19124"/>
                  </a:cubicBezTo>
                  <a:cubicBezTo>
                    <a:pt x="16773" y="19124"/>
                    <a:pt x="16834" y="19044"/>
                    <a:pt x="16834" y="18946"/>
                  </a:cubicBezTo>
                  <a:cubicBezTo>
                    <a:pt x="16834" y="18848"/>
                    <a:pt x="16773" y="18768"/>
                    <a:pt x="16697" y="18768"/>
                  </a:cubicBezTo>
                  <a:close/>
                  <a:moveTo>
                    <a:pt x="18710" y="19137"/>
                  </a:moveTo>
                  <a:cubicBezTo>
                    <a:pt x="18634" y="19137"/>
                    <a:pt x="18571" y="19217"/>
                    <a:pt x="18571" y="19315"/>
                  </a:cubicBezTo>
                  <a:cubicBezTo>
                    <a:pt x="18571" y="19413"/>
                    <a:pt x="18634" y="19491"/>
                    <a:pt x="18710" y="19491"/>
                  </a:cubicBezTo>
                  <a:cubicBezTo>
                    <a:pt x="18786" y="19491"/>
                    <a:pt x="18847" y="19413"/>
                    <a:pt x="18847" y="19315"/>
                  </a:cubicBezTo>
                  <a:cubicBezTo>
                    <a:pt x="18847" y="19217"/>
                    <a:pt x="18786" y="19137"/>
                    <a:pt x="18710" y="19137"/>
                  </a:cubicBezTo>
                  <a:close/>
                  <a:moveTo>
                    <a:pt x="13574" y="19190"/>
                  </a:moveTo>
                  <a:cubicBezTo>
                    <a:pt x="13498" y="19190"/>
                    <a:pt x="13435" y="19270"/>
                    <a:pt x="13435" y="19368"/>
                  </a:cubicBezTo>
                  <a:cubicBezTo>
                    <a:pt x="13435" y="19466"/>
                    <a:pt x="13498" y="19544"/>
                    <a:pt x="13574" y="19544"/>
                  </a:cubicBezTo>
                  <a:cubicBezTo>
                    <a:pt x="13650" y="19544"/>
                    <a:pt x="13711" y="19466"/>
                    <a:pt x="13711" y="19368"/>
                  </a:cubicBezTo>
                  <a:cubicBezTo>
                    <a:pt x="13711" y="19270"/>
                    <a:pt x="13650" y="19190"/>
                    <a:pt x="13574" y="19190"/>
                  </a:cubicBezTo>
                  <a:close/>
                  <a:moveTo>
                    <a:pt x="13985" y="19190"/>
                  </a:moveTo>
                  <a:cubicBezTo>
                    <a:pt x="13909" y="19190"/>
                    <a:pt x="13846" y="19270"/>
                    <a:pt x="13846" y="19368"/>
                  </a:cubicBezTo>
                  <a:cubicBezTo>
                    <a:pt x="13846" y="19466"/>
                    <a:pt x="13909" y="19544"/>
                    <a:pt x="13985" y="19544"/>
                  </a:cubicBezTo>
                  <a:cubicBezTo>
                    <a:pt x="14061" y="19544"/>
                    <a:pt x="14122" y="19466"/>
                    <a:pt x="14122" y="19368"/>
                  </a:cubicBezTo>
                  <a:cubicBezTo>
                    <a:pt x="14122" y="19270"/>
                    <a:pt x="14061" y="19190"/>
                    <a:pt x="13985" y="19190"/>
                  </a:cubicBezTo>
                  <a:close/>
                  <a:moveTo>
                    <a:pt x="15546" y="19295"/>
                  </a:moveTo>
                  <a:cubicBezTo>
                    <a:pt x="15470" y="19295"/>
                    <a:pt x="15407" y="19375"/>
                    <a:pt x="15407" y="19473"/>
                  </a:cubicBezTo>
                  <a:cubicBezTo>
                    <a:pt x="15407" y="19571"/>
                    <a:pt x="15470" y="19651"/>
                    <a:pt x="15546" y="19651"/>
                  </a:cubicBezTo>
                  <a:cubicBezTo>
                    <a:pt x="15622" y="19651"/>
                    <a:pt x="15684" y="19571"/>
                    <a:pt x="15684" y="19473"/>
                  </a:cubicBezTo>
                  <a:cubicBezTo>
                    <a:pt x="15684" y="19375"/>
                    <a:pt x="15622" y="19295"/>
                    <a:pt x="15546" y="19295"/>
                  </a:cubicBezTo>
                  <a:close/>
                  <a:moveTo>
                    <a:pt x="15916" y="19295"/>
                  </a:moveTo>
                  <a:cubicBezTo>
                    <a:pt x="15840" y="19295"/>
                    <a:pt x="15777" y="19375"/>
                    <a:pt x="15777" y="19473"/>
                  </a:cubicBezTo>
                  <a:cubicBezTo>
                    <a:pt x="15777" y="19571"/>
                    <a:pt x="15840" y="19651"/>
                    <a:pt x="15916" y="19651"/>
                  </a:cubicBezTo>
                  <a:cubicBezTo>
                    <a:pt x="15992" y="19651"/>
                    <a:pt x="16053" y="19571"/>
                    <a:pt x="16053" y="19473"/>
                  </a:cubicBezTo>
                  <a:cubicBezTo>
                    <a:pt x="16053" y="19375"/>
                    <a:pt x="15992" y="19295"/>
                    <a:pt x="15916" y="19295"/>
                  </a:cubicBezTo>
                  <a:close/>
                  <a:moveTo>
                    <a:pt x="16327" y="19295"/>
                  </a:moveTo>
                  <a:cubicBezTo>
                    <a:pt x="16251" y="19295"/>
                    <a:pt x="16188" y="19375"/>
                    <a:pt x="16188" y="19473"/>
                  </a:cubicBezTo>
                  <a:cubicBezTo>
                    <a:pt x="16188" y="19571"/>
                    <a:pt x="16251" y="19651"/>
                    <a:pt x="16327" y="19651"/>
                  </a:cubicBezTo>
                  <a:cubicBezTo>
                    <a:pt x="16403" y="19651"/>
                    <a:pt x="16464" y="19571"/>
                    <a:pt x="16464" y="19473"/>
                  </a:cubicBezTo>
                  <a:cubicBezTo>
                    <a:pt x="16464" y="19375"/>
                    <a:pt x="16403" y="19295"/>
                    <a:pt x="16327" y="19295"/>
                  </a:cubicBezTo>
                  <a:close/>
                  <a:moveTo>
                    <a:pt x="16697" y="19295"/>
                  </a:moveTo>
                  <a:cubicBezTo>
                    <a:pt x="16620" y="19295"/>
                    <a:pt x="16558" y="19375"/>
                    <a:pt x="16558" y="19473"/>
                  </a:cubicBezTo>
                  <a:cubicBezTo>
                    <a:pt x="16558" y="19571"/>
                    <a:pt x="16620" y="19651"/>
                    <a:pt x="16697" y="19651"/>
                  </a:cubicBezTo>
                  <a:cubicBezTo>
                    <a:pt x="16773" y="19651"/>
                    <a:pt x="16834" y="19571"/>
                    <a:pt x="16834" y="19473"/>
                  </a:cubicBezTo>
                  <a:cubicBezTo>
                    <a:pt x="16834" y="19375"/>
                    <a:pt x="16773" y="19295"/>
                    <a:pt x="16697" y="19295"/>
                  </a:cubicBezTo>
                  <a:close/>
                  <a:moveTo>
                    <a:pt x="17107" y="19295"/>
                  </a:moveTo>
                  <a:cubicBezTo>
                    <a:pt x="17031" y="19295"/>
                    <a:pt x="16969" y="19375"/>
                    <a:pt x="16969" y="19473"/>
                  </a:cubicBezTo>
                  <a:cubicBezTo>
                    <a:pt x="16969" y="19571"/>
                    <a:pt x="17031" y="19651"/>
                    <a:pt x="17107" y="19651"/>
                  </a:cubicBezTo>
                  <a:cubicBezTo>
                    <a:pt x="17184" y="19651"/>
                    <a:pt x="17245" y="19571"/>
                    <a:pt x="17245" y="19473"/>
                  </a:cubicBezTo>
                  <a:cubicBezTo>
                    <a:pt x="17245" y="19375"/>
                    <a:pt x="17184" y="19295"/>
                    <a:pt x="17107" y="19295"/>
                  </a:cubicBezTo>
                  <a:close/>
                  <a:moveTo>
                    <a:pt x="13985" y="19717"/>
                  </a:moveTo>
                  <a:cubicBezTo>
                    <a:pt x="13909" y="19717"/>
                    <a:pt x="13846" y="19797"/>
                    <a:pt x="13846" y="19895"/>
                  </a:cubicBezTo>
                  <a:cubicBezTo>
                    <a:pt x="13846" y="19993"/>
                    <a:pt x="13909" y="20071"/>
                    <a:pt x="13985" y="20071"/>
                  </a:cubicBezTo>
                  <a:cubicBezTo>
                    <a:pt x="14061" y="20071"/>
                    <a:pt x="14122" y="19993"/>
                    <a:pt x="14122" y="19895"/>
                  </a:cubicBezTo>
                  <a:cubicBezTo>
                    <a:pt x="14122" y="19797"/>
                    <a:pt x="14061" y="19717"/>
                    <a:pt x="13985" y="19717"/>
                  </a:cubicBezTo>
                  <a:close/>
                  <a:moveTo>
                    <a:pt x="14355" y="19717"/>
                  </a:moveTo>
                  <a:cubicBezTo>
                    <a:pt x="14278" y="19717"/>
                    <a:pt x="14216" y="19797"/>
                    <a:pt x="14216" y="19895"/>
                  </a:cubicBezTo>
                  <a:cubicBezTo>
                    <a:pt x="14216" y="19993"/>
                    <a:pt x="14278" y="20071"/>
                    <a:pt x="14355" y="20071"/>
                  </a:cubicBezTo>
                  <a:cubicBezTo>
                    <a:pt x="14431" y="20071"/>
                    <a:pt x="14492" y="19993"/>
                    <a:pt x="14492" y="19895"/>
                  </a:cubicBezTo>
                  <a:cubicBezTo>
                    <a:pt x="14492" y="19797"/>
                    <a:pt x="14431" y="19717"/>
                    <a:pt x="14355" y="19717"/>
                  </a:cubicBezTo>
                  <a:close/>
                  <a:moveTo>
                    <a:pt x="15546" y="19717"/>
                  </a:moveTo>
                  <a:cubicBezTo>
                    <a:pt x="15470" y="19717"/>
                    <a:pt x="15407" y="19797"/>
                    <a:pt x="15407" y="19895"/>
                  </a:cubicBezTo>
                  <a:cubicBezTo>
                    <a:pt x="15407" y="19993"/>
                    <a:pt x="15470" y="20073"/>
                    <a:pt x="15546" y="20073"/>
                  </a:cubicBezTo>
                  <a:cubicBezTo>
                    <a:pt x="15622" y="20073"/>
                    <a:pt x="15684" y="19993"/>
                    <a:pt x="15684" y="19895"/>
                  </a:cubicBezTo>
                  <a:cubicBezTo>
                    <a:pt x="15684" y="19797"/>
                    <a:pt x="15622" y="19717"/>
                    <a:pt x="15546" y="19717"/>
                  </a:cubicBezTo>
                  <a:close/>
                  <a:moveTo>
                    <a:pt x="15916" y="19717"/>
                  </a:moveTo>
                  <a:cubicBezTo>
                    <a:pt x="15840" y="19717"/>
                    <a:pt x="15777" y="19797"/>
                    <a:pt x="15777" y="19895"/>
                  </a:cubicBezTo>
                  <a:cubicBezTo>
                    <a:pt x="15777" y="19993"/>
                    <a:pt x="15840" y="20073"/>
                    <a:pt x="15916" y="20073"/>
                  </a:cubicBezTo>
                  <a:cubicBezTo>
                    <a:pt x="15992" y="20073"/>
                    <a:pt x="16053" y="19993"/>
                    <a:pt x="16053" y="19895"/>
                  </a:cubicBezTo>
                  <a:cubicBezTo>
                    <a:pt x="16053" y="19797"/>
                    <a:pt x="15992" y="19717"/>
                    <a:pt x="15916" y="19717"/>
                  </a:cubicBezTo>
                  <a:close/>
                  <a:moveTo>
                    <a:pt x="16327" y="19717"/>
                  </a:moveTo>
                  <a:cubicBezTo>
                    <a:pt x="16251" y="19717"/>
                    <a:pt x="16188" y="19797"/>
                    <a:pt x="16188" y="19895"/>
                  </a:cubicBezTo>
                  <a:cubicBezTo>
                    <a:pt x="16188" y="19993"/>
                    <a:pt x="16251" y="20073"/>
                    <a:pt x="16327" y="20073"/>
                  </a:cubicBezTo>
                  <a:cubicBezTo>
                    <a:pt x="16403" y="20073"/>
                    <a:pt x="16464" y="19993"/>
                    <a:pt x="16464" y="19895"/>
                  </a:cubicBezTo>
                  <a:cubicBezTo>
                    <a:pt x="16464" y="19797"/>
                    <a:pt x="16403" y="19717"/>
                    <a:pt x="16327" y="19717"/>
                  </a:cubicBezTo>
                  <a:close/>
                  <a:moveTo>
                    <a:pt x="17107" y="19770"/>
                  </a:moveTo>
                  <a:cubicBezTo>
                    <a:pt x="17031" y="19770"/>
                    <a:pt x="16969" y="19850"/>
                    <a:pt x="16969" y="19948"/>
                  </a:cubicBezTo>
                  <a:cubicBezTo>
                    <a:pt x="16969" y="20046"/>
                    <a:pt x="17031" y="20126"/>
                    <a:pt x="17107" y="20126"/>
                  </a:cubicBezTo>
                  <a:cubicBezTo>
                    <a:pt x="17184" y="20126"/>
                    <a:pt x="17245" y="20046"/>
                    <a:pt x="17245" y="19948"/>
                  </a:cubicBezTo>
                  <a:cubicBezTo>
                    <a:pt x="17245" y="19850"/>
                    <a:pt x="17184" y="19770"/>
                    <a:pt x="17107" y="19770"/>
                  </a:cubicBezTo>
                  <a:close/>
                  <a:moveTo>
                    <a:pt x="17477" y="19770"/>
                  </a:moveTo>
                  <a:cubicBezTo>
                    <a:pt x="17401" y="19770"/>
                    <a:pt x="17339" y="19850"/>
                    <a:pt x="17339" y="19948"/>
                  </a:cubicBezTo>
                  <a:cubicBezTo>
                    <a:pt x="17339" y="20046"/>
                    <a:pt x="17401" y="20126"/>
                    <a:pt x="17477" y="20126"/>
                  </a:cubicBezTo>
                  <a:cubicBezTo>
                    <a:pt x="17554" y="20126"/>
                    <a:pt x="17615" y="20046"/>
                    <a:pt x="17615" y="19948"/>
                  </a:cubicBezTo>
                  <a:cubicBezTo>
                    <a:pt x="17615" y="19850"/>
                    <a:pt x="17554" y="19770"/>
                    <a:pt x="17477" y="19770"/>
                  </a:cubicBezTo>
                  <a:close/>
                  <a:moveTo>
                    <a:pt x="13985" y="20244"/>
                  </a:moveTo>
                  <a:cubicBezTo>
                    <a:pt x="13909" y="20244"/>
                    <a:pt x="13846" y="20325"/>
                    <a:pt x="13846" y="20422"/>
                  </a:cubicBezTo>
                  <a:cubicBezTo>
                    <a:pt x="13846" y="20520"/>
                    <a:pt x="13909" y="20598"/>
                    <a:pt x="13985" y="20598"/>
                  </a:cubicBezTo>
                  <a:cubicBezTo>
                    <a:pt x="14061" y="20598"/>
                    <a:pt x="14122" y="20520"/>
                    <a:pt x="14122" y="20422"/>
                  </a:cubicBezTo>
                  <a:cubicBezTo>
                    <a:pt x="14122" y="20325"/>
                    <a:pt x="14061" y="20244"/>
                    <a:pt x="13985" y="20244"/>
                  </a:cubicBezTo>
                  <a:close/>
                  <a:moveTo>
                    <a:pt x="14355" y="20244"/>
                  </a:moveTo>
                  <a:cubicBezTo>
                    <a:pt x="14278" y="20244"/>
                    <a:pt x="14216" y="20325"/>
                    <a:pt x="14216" y="20422"/>
                  </a:cubicBezTo>
                  <a:cubicBezTo>
                    <a:pt x="14216" y="20520"/>
                    <a:pt x="14278" y="20598"/>
                    <a:pt x="14355" y="20598"/>
                  </a:cubicBezTo>
                  <a:cubicBezTo>
                    <a:pt x="14431" y="20598"/>
                    <a:pt x="14492" y="20520"/>
                    <a:pt x="14492" y="20422"/>
                  </a:cubicBezTo>
                  <a:cubicBezTo>
                    <a:pt x="14492" y="20325"/>
                    <a:pt x="14431" y="20244"/>
                    <a:pt x="14355" y="20244"/>
                  </a:cubicBezTo>
                  <a:close/>
                  <a:moveTo>
                    <a:pt x="17107" y="20244"/>
                  </a:moveTo>
                  <a:cubicBezTo>
                    <a:pt x="17031" y="20244"/>
                    <a:pt x="16969" y="20324"/>
                    <a:pt x="16969" y="20422"/>
                  </a:cubicBezTo>
                  <a:cubicBezTo>
                    <a:pt x="16969" y="20520"/>
                    <a:pt x="17031" y="20598"/>
                    <a:pt x="17107" y="20598"/>
                  </a:cubicBezTo>
                  <a:cubicBezTo>
                    <a:pt x="17184" y="20598"/>
                    <a:pt x="17245" y="20520"/>
                    <a:pt x="17245" y="20422"/>
                  </a:cubicBezTo>
                  <a:cubicBezTo>
                    <a:pt x="17245" y="20324"/>
                    <a:pt x="17184" y="20244"/>
                    <a:pt x="17107" y="20244"/>
                  </a:cubicBezTo>
                  <a:close/>
                  <a:moveTo>
                    <a:pt x="17518" y="20244"/>
                  </a:moveTo>
                  <a:cubicBezTo>
                    <a:pt x="17442" y="20244"/>
                    <a:pt x="17380" y="20324"/>
                    <a:pt x="17380" y="20422"/>
                  </a:cubicBezTo>
                  <a:cubicBezTo>
                    <a:pt x="17380" y="20520"/>
                    <a:pt x="17442" y="20598"/>
                    <a:pt x="17518" y="20598"/>
                  </a:cubicBezTo>
                  <a:cubicBezTo>
                    <a:pt x="17595" y="20598"/>
                    <a:pt x="17656" y="20520"/>
                    <a:pt x="17656" y="20422"/>
                  </a:cubicBezTo>
                  <a:cubicBezTo>
                    <a:pt x="17656" y="20324"/>
                    <a:pt x="17595" y="20244"/>
                    <a:pt x="17518" y="20244"/>
                  </a:cubicBezTo>
                  <a:close/>
                  <a:moveTo>
                    <a:pt x="14765" y="20771"/>
                  </a:moveTo>
                  <a:cubicBezTo>
                    <a:pt x="14689" y="20771"/>
                    <a:pt x="14627" y="20851"/>
                    <a:pt x="14627" y="20949"/>
                  </a:cubicBezTo>
                  <a:cubicBezTo>
                    <a:pt x="14627" y="21047"/>
                    <a:pt x="14689" y="21127"/>
                    <a:pt x="14765" y="21127"/>
                  </a:cubicBezTo>
                  <a:cubicBezTo>
                    <a:pt x="14842" y="21127"/>
                    <a:pt x="14903" y="21047"/>
                    <a:pt x="14903" y="20949"/>
                  </a:cubicBezTo>
                  <a:cubicBezTo>
                    <a:pt x="14903" y="20851"/>
                    <a:pt x="14842" y="20771"/>
                    <a:pt x="14765" y="20771"/>
                  </a:cubicBezTo>
                  <a:close/>
                  <a:moveTo>
                    <a:pt x="15546" y="21246"/>
                  </a:moveTo>
                  <a:cubicBezTo>
                    <a:pt x="15470" y="21246"/>
                    <a:pt x="15407" y="21326"/>
                    <a:pt x="15407" y="21424"/>
                  </a:cubicBezTo>
                  <a:cubicBezTo>
                    <a:pt x="15407" y="21522"/>
                    <a:pt x="15470" y="21600"/>
                    <a:pt x="15546" y="21600"/>
                  </a:cubicBezTo>
                  <a:cubicBezTo>
                    <a:pt x="15622" y="21600"/>
                    <a:pt x="15684" y="21522"/>
                    <a:pt x="15684" y="21424"/>
                  </a:cubicBezTo>
                  <a:cubicBezTo>
                    <a:pt x="15684" y="21326"/>
                    <a:pt x="15622" y="21246"/>
                    <a:pt x="15546" y="21246"/>
                  </a:cubicBezTo>
                  <a:close/>
                  <a:moveTo>
                    <a:pt x="15916" y="21246"/>
                  </a:moveTo>
                  <a:cubicBezTo>
                    <a:pt x="15840" y="21246"/>
                    <a:pt x="15777" y="21326"/>
                    <a:pt x="15777" y="21424"/>
                  </a:cubicBezTo>
                  <a:cubicBezTo>
                    <a:pt x="15777" y="21522"/>
                    <a:pt x="15840" y="21600"/>
                    <a:pt x="15916" y="21600"/>
                  </a:cubicBezTo>
                  <a:cubicBezTo>
                    <a:pt x="15992" y="21600"/>
                    <a:pt x="16053" y="21522"/>
                    <a:pt x="16053" y="21424"/>
                  </a:cubicBezTo>
                  <a:cubicBezTo>
                    <a:pt x="16053" y="21326"/>
                    <a:pt x="15992" y="21246"/>
                    <a:pt x="15916" y="21246"/>
                  </a:cubicBezTo>
                  <a:close/>
                </a:path>
              </a:pathLst>
            </a:custGeom>
            <a:grpFill/>
            <a:ln w="12700" cap="flat">
              <a:noFill/>
              <a:miter lim="400000"/>
            </a:ln>
            <a:effectLst/>
          </p:spPr>
          <p:txBody>
            <a:bodyPr wrap="square" lIns="19050" tIns="19050" rIns="19050" bIns="19050" numCol="1" anchor="ctr">
              <a:noAutofit/>
            </a:bodyP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9" name="Shape 18633"/>
            <p:cNvSpPr/>
            <p:nvPr/>
          </p:nvSpPr>
          <p:spPr>
            <a:xfrm>
              <a:off x="6210300" y="2565400"/>
              <a:ext cx="3882629" cy="4365229"/>
            </a:xfrm>
            <a:custGeom>
              <a:avLst/>
              <a:gdLst/>
              <a:ahLst/>
              <a:cxnLst>
                <a:cxn ang="0">
                  <a:pos x="wd2" y="hd2"/>
                </a:cxn>
                <a:cxn ang="5400000">
                  <a:pos x="wd2" y="hd2"/>
                </a:cxn>
                <a:cxn ang="10800000">
                  <a:pos x="wd2" y="hd2"/>
                </a:cxn>
                <a:cxn ang="16200000">
                  <a:pos x="wd2" y="hd2"/>
                </a:cxn>
              </a:cxnLst>
              <a:rect l="0" t="0" r="r" b="b"/>
              <a:pathLst>
                <a:path w="21600" h="21600" extrusionOk="0">
                  <a:moveTo>
                    <a:pt x="5749" y="0"/>
                  </a:moveTo>
                  <a:cubicBezTo>
                    <a:pt x="5618" y="0"/>
                    <a:pt x="5511" y="95"/>
                    <a:pt x="5511" y="212"/>
                  </a:cubicBezTo>
                  <a:cubicBezTo>
                    <a:pt x="5511" y="329"/>
                    <a:pt x="5618" y="422"/>
                    <a:pt x="5749" y="422"/>
                  </a:cubicBezTo>
                  <a:cubicBezTo>
                    <a:pt x="5880" y="422"/>
                    <a:pt x="5986" y="329"/>
                    <a:pt x="5986" y="212"/>
                  </a:cubicBezTo>
                  <a:cubicBezTo>
                    <a:pt x="5986" y="95"/>
                    <a:pt x="5880" y="0"/>
                    <a:pt x="5749" y="0"/>
                  </a:cubicBezTo>
                  <a:close/>
                  <a:moveTo>
                    <a:pt x="6385" y="0"/>
                  </a:moveTo>
                  <a:cubicBezTo>
                    <a:pt x="6254" y="0"/>
                    <a:pt x="6147" y="95"/>
                    <a:pt x="6147" y="212"/>
                  </a:cubicBezTo>
                  <a:cubicBezTo>
                    <a:pt x="6147" y="329"/>
                    <a:pt x="6254" y="422"/>
                    <a:pt x="6385" y="422"/>
                  </a:cubicBezTo>
                  <a:cubicBezTo>
                    <a:pt x="6517" y="422"/>
                    <a:pt x="6622" y="329"/>
                    <a:pt x="6622" y="212"/>
                  </a:cubicBezTo>
                  <a:cubicBezTo>
                    <a:pt x="6622" y="95"/>
                    <a:pt x="6517" y="0"/>
                    <a:pt x="6385" y="0"/>
                  </a:cubicBezTo>
                  <a:close/>
                  <a:moveTo>
                    <a:pt x="7092" y="0"/>
                  </a:moveTo>
                  <a:cubicBezTo>
                    <a:pt x="6961" y="0"/>
                    <a:pt x="6853" y="95"/>
                    <a:pt x="6853" y="212"/>
                  </a:cubicBezTo>
                  <a:cubicBezTo>
                    <a:pt x="6853" y="329"/>
                    <a:pt x="6961" y="422"/>
                    <a:pt x="7092" y="422"/>
                  </a:cubicBezTo>
                  <a:cubicBezTo>
                    <a:pt x="7223" y="422"/>
                    <a:pt x="7328" y="329"/>
                    <a:pt x="7328" y="212"/>
                  </a:cubicBezTo>
                  <a:cubicBezTo>
                    <a:pt x="7328" y="95"/>
                    <a:pt x="7223" y="0"/>
                    <a:pt x="7092" y="0"/>
                  </a:cubicBezTo>
                  <a:close/>
                  <a:moveTo>
                    <a:pt x="7798" y="0"/>
                  </a:moveTo>
                  <a:cubicBezTo>
                    <a:pt x="7667" y="0"/>
                    <a:pt x="7560" y="95"/>
                    <a:pt x="7560" y="212"/>
                  </a:cubicBezTo>
                  <a:cubicBezTo>
                    <a:pt x="7560" y="329"/>
                    <a:pt x="7667" y="422"/>
                    <a:pt x="7798" y="422"/>
                  </a:cubicBezTo>
                  <a:cubicBezTo>
                    <a:pt x="7930" y="422"/>
                    <a:pt x="8035" y="329"/>
                    <a:pt x="8035" y="212"/>
                  </a:cubicBezTo>
                  <a:cubicBezTo>
                    <a:pt x="8035" y="95"/>
                    <a:pt x="7930" y="0"/>
                    <a:pt x="7798" y="0"/>
                  </a:cubicBezTo>
                  <a:close/>
                  <a:moveTo>
                    <a:pt x="8434" y="0"/>
                  </a:moveTo>
                  <a:cubicBezTo>
                    <a:pt x="8303" y="0"/>
                    <a:pt x="8196" y="95"/>
                    <a:pt x="8196" y="212"/>
                  </a:cubicBezTo>
                  <a:cubicBezTo>
                    <a:pt x="8196" y="329"/>
                    <a:pt x="8303" y="422"/>
                    <a:pt x="8434" y="422"/>
                  </a:cubicBezTo>
                  <a:cubicBezTo>
                    <a:pt x="8565" y="422"/>
                    <a:pt x="8670" y="329"/>
                    <a:pt x="8670" y="212"/>
                  </a:cubicBezTo>
                  <a:cubicBezTo>
                    <a:pt x="8670" y="95"/>
                    <a:pt x="8565" y="0"/>
                    <a:pt x="8434" y="0"/>
                  </a:cubicBezTo>
                  <a:close/>
                  <a:moveTo>
                    <a:pt x="3700" y="566"/>
                  </a:moveTo>
                  <a:cubicBezTo>
                    <a:pt x="3569" y="566"/>
                    <a:pt x="3462" y="661"/>
                    <a:pt x="3462" y="778"/>
                  </a:cubicBezTo>
                  <a:cubicBezTo>
                    <a:pt x="3462" y="894"/>
                    <a:pt x="3569" y="990"/>
                    <a:pt x="3700" y="990"/>
                  </a:cubicBezTo>
                  <a:cubicBezTo>
                    <a:pt x="3832" y="990"/>
                    <a:pt x="3937" y="894"/>
                    <a:pt x="3937" y="778"/>
                  </a:cubicBezTo>
                  <a:cubicBezTo>
                    <a:pt x="3937" y="661"/>
                    <a:pt x="3832" y="566"/>
                    <a:pt x="3700" y="566"/>
                  </a:cubicBezTo>
                  <a:close/>
                  <a:moveTo>
                    <a:pt x="4336" y="566"/>
                  </a:moveTo>
                  <a:cubicBezTo>
                    <a:pt x="4205" y="566"/>
                    <a:pt x="4098" y="661"/>
                    <a:pt x="4098" y="778"/>
                  </a:cubicBezTo>
                  <a:cubicBezTo>
                    <a:pt x="4098" y="894"/>
                    <a:pt x="4205" y="990"/>
                    <a:pt x="4336" y="990"/>
                  </a:cubicBezTo>
                  <a:cubicBezTo>
                    <a:pt x="4468" y="990"/>
                    <a:pt x="4573" y="894"/>
                    <a:pt x="4573" y="778"/>
                  </a:cubicBezTo>
                  <a:cubicBezTo>
                    <a:pt x="4573" y="661"/>
                    <a:pt x="4468" y="566"/>
                    <a:pt x="4336" y="566"/>
                  </a:cubicBezTo>
                  <a:close/>
                  <a:moveTo>
                    <a:pt x="5043" y="566"/>
                  </a:moveTo>
                  <a:cubicBezTo>
                    <a:pt x="4912" y="566"/>
                    <a:pt x="4804" y="661"/>
                    <a:pt x="4804" y="778"/>
                  </a:cubicBezTo>
                  <a:cubicBezTo>
                    <a:pt x="4804" y="894"/>
                    <a:pt x="4912" y="990"/>
                    <a:pt x="5043" y="990"/>
                  </a:cubicBezTo>
                  <a:cubicBezTo>
                    <a:pt x="5174" y="990"/>
                    <a:pt x="5279" y="894"/>
                    <a:pt x="5279" y="778"/>
                  </a:cubicBezTo>
                  <a:cubicBezTo>
                    <a:pt x="5279" y="661"/>
                    <a:pt x="5174" y="566"/>
                    <a:pt x="5043" y="566"/>
                  </a:cubicBezTo>
                  <a:close/>
                  <a:moveTo>
                    <a:pt x="5749" y="566"/>
                  </a:moveTo>
                  <a:cubicBezTo>
                    <a:pt x="5618" y="566"/>
                    <a:pt x="5511" y="661"/>
                    <a:pt x="5511" y="778"/>
                  </a:cubicBezTo>
                  <a:cubicBezTo>
                    <a:pt x="5511" y="894"/>
                    <a:pt x="5618" y="990"/>
                    <a:pt x="5749" y="990"/>
                  </a:cubicBezTo>
                  <a:cubicBezTo>
                    <a:pt x="5880" y="990"/>
                    <a:pt x="5986" y="894"/>
                    <a:pt x="5986" y="778"/>
                  </a:cubicBezTo>
                  <a:cubicBezTo>
                    <a:pt x="5986" y="661"/>
                    <a:pt x="5880" y="566"/>
                    <a:pt x="5749" y="566"/>
                  </a:cubicBezTo>
                  <a:close/>
                  <a:moveTo>
                    <a:pt x="6385" y="566"/>
                  </a:moveTo>
                  <a:cubicBezTo>
                    <a:pt x="6254" y="566"/>
                    <a:pt x="6147" y="661"/>
                    <a:pt x="6147" y="778"/>
                  </a:cubicBezTo>
                  <a:cubicBezTo>
                    <a:pt x="6147" y="894"/>
                    <a:pt x="6254" y="990"/>
                    <a:pt x="6385" y="990"/>
                  </a:cubicBezTo>
                  <a:cubicBezTo>
                    <a:pt x="6517" y="990"/>
                    <a:pt x="6622" y="894"/>
                    <a:pt x="6622" y="778"/>
                  </a:cubicBezTo>
                  <a:cubicBezTo>
                    <a:pt x="6622" y="661"/>
                    <a:pt x="6517" y="566"/>
                    <a:pt x="6385" y="566"/>
                  </a:cubicBezTo>
                  <a:close/>
                  <a:moveTo>
                    <a:pt x="7092" y="566"/>
                  </a:moveTo>
                  <a:cubicBezTo>
                    <a:pt x="6961" y="566"/>
                    <a:pt x="6853" y="661"/>
                    <a:pt x="6853" y="778"/>
                  </a:cubicBezTo>
                  <a:cubicBezTo>
                    <a:pt x="6853" y="894"/>
                    <a:pt x="6961" y="990"/>
                    <a:pt x="7092" y="990"/>
                  </a:cubicBezTo>
                  <a:cubicBezTo>
                    <a:pt x="7223" y="990"/>
                    <a:pt x="7328" y="894"/>
                    <a:pt x="7328" y="778"/>
                  </a:cubicBezTo>
                  <a:cubicBezTo>
                    <a:pt x="7328" y="661"/>
                    <a:pt x="7223" y="566"/>
                    <a:pt x="7092" y="566"/>
                  </a:cubicBezTo>
                  <a:close/>
                  <a:moveTo>
                    <a:pt x="7798" y="566"/>
                  </a:moveTo>
                  <a:cubicBezTo>
                    <a:pt x="7667" y="566"/>
                    <a:pt x="7560" y="661"/>
                    <a:pt x="7560" y="778"/>
                  </a:cubicBezTo>
                  <a:cubicBezTo>
                    <a:pt x="7560" y="894"/>
                    <a:pt x="7667" y="990"/>
                    <a:pt x="7798" y="990"/>
                  </a:cubicBezTo>
                  <a:cubicBezTo>
                    <a:pt x="7930" y="990"/>
                    <a:pt x="8035" y="894"/>
                    <a:pt x="8035" y="778"/>
                  </a:cubicBezTo>
                  <a:cubicBezTo>
                    <a:pt x="8035" y="661"/>
                    <a:pt x="7930" y="566"/>
                    <a:pt x="7798" y="566"/>
                  </a:cubicBezTo>
                  <a:close/>
                  <a:moveTo>
                    <a:pt x="8434" y="566"/>
                  </a:moveTo>
                  <a:cubicBezTo>
                    <a:pt x="8303" y="566"/>
                    <a:pt x="8196" y="661"/>
                    <a:pt x="8196" y="778"/>
                  </a:cubicBezTo>
                  <a:cubicBezTo>
                    <a:pt x="8196" y="894"/>
                    <a:pt x="8303" y="990"/>
                    <a:pt x="8434" y="990"/>
                  </a:cubicBezTo>
                  <a:cubicBezTo>
                    <a:pt x="8565" y="990"/>
                    <a:pt x="8670" y="894"/>
                    <a:pt x="8670" y="778"/>
                  </a:cubicBezTo>
                  <a:cubicBezTo>
                    <a:pt x="8670" y="661"/>
                    <a:pt x="8565" y="566"/>
                    <a:pt x="8434" y="566"/>
                  </a:cubicBezTo>
                  <a:close/>
                  <a:moveTo>
                    <a:pt x="11826" y="1194"/>
                  </a:moveTo>
                  <a:cubicBezTo>
                    <a:pt x="11694" y="1194"/>
                    <a:pt x="11587" y="1289"/>
                    <a:pt x="11587" y="1406"/>
                  </a:cubicBezTo>
                  <a:cubicBezTo>
                    <a:pt x="11587" y="1523"/>
                    <a:pt x="11694" y="1618"/>
                    <a:pt x="11826" y="1618"/>
                  </a:cubicBezTo>
                  <a:cubicBezTo>
                    <a:pt x="11957" y="1618"/>
                    <a:pt x="12062" y="1523"/>
                    <a:pt x="12062" y="1406"/>
                  </a:cubicBezTo>
                  <a:cubicBezTo>
                    <a:pt x="12062" y="1289"/>
                    <a:pt x="11957" y="1194"/>
                    <a:pt x="11826" y="1194"/>
                  </a:cubicBezTo>
                  <a:close/>
                  <a:moveTo>
                    <a:pt x="12532" y="1194"/>
                  </a:moveTo>
                  <a:cubicBezTo>
                    <a:pt x="12401" y="1194"/>
                    <a:pt x="12294" y="1289"/>
                    <a:pt x="12294" y="1406"/>
                  </a:cubicBezTo>
                  <a:cubicBezTo>
                    <a:pt x="12294" y="1523"/>
                    <a:pt x="12401" y="1618"/>
                    <a:pt x="12532" y="1618"/>
                  </a:cubicBezTo>
                  <a:cubicBezTo>
                    <a:pt x="12663" y="1618"/>
                    <a:pt x="12768" y="1523"/>
                    <a:pt x="12768" y="1406"/>
                  </a:cubicBezTo>
                  <a:cubicBezTo>
                    <a:pt x="12768" y="1289"/>
                    <a:pt x="12663" y="1194"/>
                    <a:pt x="12532" y="1194"/>
                  </a:cubicBezTo>
                  <a:close/>
                  <a:moveTo>
                    <a:pt x="2994" y="1257"/>
                  </a:moveTo>
                  <a:cubicBezTo>
                    <a:pt x="2863" y="1257"/>
                    <a:pt x="2755" y="1352"/>
                    <a:pt x="2755" y="1469"/>
                  </a:cubicBezTo>
                  <a:cubicBezTo>
                    <a:pt x="2755" y="1586"/>
                    <a:pt x="2863" y="1679"/>
                    <a:pt x="2994" y="1679"/>
                  </a:cubicBezTo>
                  <a:cubicBezTo>
                    <a:pt x="3125" y="1679"/>
                    <a:pt x="3230" y="1586"/>
                    <a:pt x="3230" y="1469"/>
                  </a:cubicBezTo>
                  <a:cubicBezTo>
                    <a:pt x="3230" y="1352"/>
                    <a:pt x="3125" y="1257"/>
                    <a:pt x="2994" y="1257"/>
                  </a:cubicBezTo>
                  <a:close/>
                  <a:moveTo>
                    <a:pt x="3700" y="1257"/>
                  </a:moveTo>
                  <a:cubicBezTo>
                    <a:pt x="3569" y="1257"/>
                    <a:pt x="3462" y="1352"/>
                    <a:pt x="3462" y="1469"/>
                  </a:cubicBezTo>
                  <a:cubicBezTo>
                    <a:pt x="3462" y="1586"/>
                    <a:pt x="3569" y="1679"/>
                    <a:pt x="3700" y="1679"/>
                  </a:cubicBezTo>
                  <a:cubicBezTo>
                    <a:pt x="3832" y="1679"/>
                    <a:pt x="3937" y="1586"/>
                    <a:pt x="3937" y="1469"/>
                  </a:cubicBezTo>
                  <a:cubicBezTo>
                    <a:pt x="3937" y="1352"/>
                    <a:pt x="3832" y="1257"/>
                    <a:pt x="3700" y="1257"/>
                  </a:cubicBezTo>
                  <a:close/>
                  <a:moveTo>
                    <a:pt x="4336" y="1257"/>
                  </a:moveTo>
                  <a:cubicBezTo>
                    <a:pt x="4205" y="1257"/>
                    <a:pt x="4098" y="1352"/>
                    <a:pt x="4098" y="1469"/>
                  </a:cubicBezTo>
                  <a:cubicBezTo>
                    <a:pt x="4098" y="1586"/>
                    <a:pt x="4205" y="1679"/>
                    <a:pt x="4336" y="1679"/>
                  </a:cubicBezTo>
                  <a:cubicBezTo>
                    <a:pt x="4468" y="1679"/>
                    <a:pt x="4573" y="1586"/>
                    <a:pt x="4573" y="1469"/>
                  </a:cubicBezTo>
                  <a:cubicBezTo>
                    <a:pt x="4573" y="1352"/>
                    <a:pt x="4468" y="1257"/>
                    <a:pt x="4336" y="1257"/>
                  </a:cubicBezTo>
                  <a:close/>
                  <a:moveTo>
                    <a:pt x="5043" y="1257"/>
                  </a:moveTo>
                  <a:cubicBezTo>
                    <a:pt x="4912" y="1257"/>
                    <a:pt x="4804" y="1352"/>
                    <a:pt x="4804" y="1469"/>
                  </a:cubicBezTo>
                  <a:cubicBezTo>
                    <a:pt x="4804" y="1586"/>
                    <a:pt x="4912" y="1679"/>
                    <a:pt x="5043" y="1679"/>
                  </a:cubicBezTo>
                  <a:cubicBezTo>
                    <a:pt x="5174" y="1679"/>
                    <a:pt x="5279" y="1586"/>
                    <a:pt x="5279" y="1469"/>
                  </a:cubicBezTo>
                  <a:cubicBezTo>
                    <a:pt x="5279" y="1352"/>
                    <a:pt x="5174" y="1257"/>
                    <a:pt x="5043" y="1257"/>
                  </a:cubicBezTo>
                  <a:close/>
                  <a:moveTo>
                    <a:pt x="5749" y="1257"/>
                  </a:moveTo>
                  <a:cubicBezTo>
                    <a:pt x="5618" y="1257"/>
                    <a:pt x="5511" y="1352"/>
                    <a:pt x="5511" y="1469"/>
                  </a:cubicBezTo>
                  <a:cubicBezTo>
                    <a:pt x="5511" y="1586"/>
                    <a:pt x="5618" y="1679"/>
                    <a:pt x="5749" y="1679"/>
                  </a:cubicBezTo>
                  <a:cubicBezTo>
                    <a:pt x="5880" y="1679"/>
                    <a:pt x="5986" y="1586"/>
                    <a:pt x="5986" y="1469"/>
                  </a:cubicBezTo>
                  <a:cubicBezTo>
                    <a:pt x="5986" y="1352"/>
                    <a:pt x="5880" y="1257"/>
                    <a:pt x="5749" y="1257"/>
                  </a:cubicBezTo>
                  <a:close/>
                  <a:moveTo>
                    <a:pt x="6385" y="1257"/>
                  </a:moveTo>
                  <a:cubicBezTo>
                    <a:pt x="6254" y="1257"/>
                    <a:pt x="6147" y="1352"/>
                    <a:pt x="6147" y="1469"/>
                  </a:cubicBezTo>
                  <a:cubicBezTo>
                    <a:pt x="6147" y="1586"/>
                    <a:pt x="6254" y="1679"/>
                    <a:pt x="6385" y="1679"/>
                  </a:cubicBezTo>
                  <a:cubicBezTo>
                    <a:pt x="6517" y="1679"/>
                    <a:pt x="6622" y="1586"/>
                    <a:pt x="6622" y="1469"/>
                  </a:cubicBezTo>
                  <a:cubicBezTo>
                    <a:pt x="6622" y="1352"/>
                    <a:pt x="6517" y="1257"/>
                    <a:pt x="6385" y="1257"/>
                  </a:cubicBezTo>
                  <a:close/>
                  <a:moveTo>
                    <a:pt x="7092" y="1257"/>
                  </a:moveTo>
                  <a:cubicBezTo>
                    <a:pt x="6961" y="1257"/>
                    <a:pt x="6853" y="1352"/>
                    <a:pt x="6853" y="1469"/>
                  </a:cubicBezTo>
                  <a:cubicBezTo>
                    <a:pt x="6853" y="1586"/>
                    <a:pt x="6961" y="1679"/>
                    <a:pt x="7092" y="1679"/>
                  </a:cubicBezTo>
                  <a:cubicBezTo>
                    <a:pt x="7223" y="1679"/>
                    <a:pt x="7328" y="1586"/>
                    <a:pt x="7328" y="1469"/>
                  </a:cubicBezTo>
                  <a:cubicBezTo>
                    <a:pt x="7328" y="1352"/>
                    <a:pt x="7223" y="1257"/>
                    <a:pt x="7092" y="1257"/>
                  </a:cubicBezTo>
                  <a:close/>
                  <a:moveTo>
                    <a:pt x="7798" y="1257"/>
                  </a:moveTo>
                  <a:cubicBezTo>
                    <a:pt x="7667" y="1257"/>
                    <a:pt x="7560" y="1352"/>
                    <a:pt x="7560" y="1469"/>
                  </a:cubicBezTo>
                  <a:cubicBezTo>
                    <a:pt x="7560" y="1586"/>
                    <a:pt x="7667" y="1679"/>
                    <a:pt x="7798" y="1679"/>
                  </a:cubicBezTo>
                  <a:cubicBezTo>
                    <a:pt x="7930" y="1679"/>
                    <a:pt x="8035" y="1586"/>
                    <a:pt x="8035" y="1469"/>
                  </a:cubicBezTo>
                  <a:cubicBezTo>
                    <a:pt x="8035" y="1352"/>
                    <a:pt x="7930" y="1257"/>
                    <a:pt x="7798" y="1257"/>
                  </a:cubicBezTo>
                  <a:close/>
                  <a:moveTo>
                    <a:pt x="8434" y="1257"/>
                  </a:moveTo>
                  <a:cubicBezTo>
                    <a:pt x="8303" y="1257"/>
                    <a:pt x="8196" y="1352"/>
                    <a:pt x="8196" y="1469"/>
                  </a:cubicBezTo>
                  <a:cubicBezTo>
                    <a:pt x="8196" y="1586"/>
                    <a:pt x="8303" y="1679"/>
                    <a:pt x="8434" y="1679"/>
                  </a:cubicBezTo>
                  <a:cubicBezTo>
                    <a:pt x="8565" y="1679"/>
                    <a:pt x="8670" y="1586"/>
                    <a:pt x="8670" y="1469"/>
                  </a:cubicBezTo>
                  <a:cubicBezTo>
                    <a:pt x="8670" y="1352"/>
                    <a:pt x="8565" y="1257"/>
                    <a:pt x="8434" y="1257"/>
                  </a:cubicBezTo>
                  <a:close/>
                  <a:moveTo>
                    <a:pt x="9141" y="1257"/>
                  </a:moveTo>
                  <a:cubicBezTo>
                    <a:pt x="9009" y="1257"/>
                    <a:pt x="8902" y="1352"/>
                    <a:pt x="8902" y="1469"/>
                  </a:cubicBezTo>
                  <a:cubicBezTo>
                    <a:pt x="8902" y="1586"/>
                    <a:pt x="9009" y="1679"/>
                    <a:pt x="9141" y="1679"/>
                  </a:cubicBezTo>
                  <a:cubicBezTo>
                    <a:pt x="9272" y="1679"/>
                    <a:pt x="9377" y="1586"/>
                    <a:pt x="9377" y="1469"/>
                  </a:cubicBezTo>
                  <a:cubicBezTo>
                    <a:pt x="9377" y="1352"/>
                    <a:pt x="9272" y="1257"/>
                    <a:pt x="9141" y="1257"/>
                  </a:cubicBezTo>
                  <a:close/>
                  <a:moveTo>
                    <a:pt x="9847" y="1257"/>
                  </a:moveTo>
                  <a:cubicBezTo>
                    <a:pt x="9716" y="1257"/>
                    <a:pt x="9609" y="1352"/>
                    <a:pt x="9609" y="1469"/>
                  </a:cubicBezTo>
                  <a:cubicBezTo>
                    <a:pt x="9609" y="1586"/>
                    <a:pt x="9716" y="1679"/>
                    <a:pt x="9847" y="1679"/>
                  </a:cubicBezTo>
                  <a:cubicBezTo>
                    <a:pt x="9978" y="1679"/>
                    <a:pt x="10084" y="1586"/>
                    <a:pt x="10084" y="1469"/>
                  </a:cubicBezTo>
                  <a:cubicBezTo>
                    <a:pt x="10084" y="1352"/>
                    <a:pt x="9978" y="1257"/>
                    <a:pt x="9847" y="1257"/>
                  </a:cubicBezTo>
                  <a:close/>
                  <a:moveTo>
                    <a:pt x="2994" y="1822"/>
                  </a:moveTo>
                  <a:cubicBezTo>
                    <a:pt x="2863" y="1822"/>
                    <a:pt x="2755" y="1918"/>
                    <a:pt x="2755" y="2035"/>
                  </a:cubicBezTo>
                  <a:cubicBezTo>
                    <a:pt x="2755" y="2151"/>
                    <a:pt x="2863" y="2245"/>
                    <a:pt x="2994" y="2245"/>
                  </a:cubicBezTo>
                  <a:cubicBezTo>
                    <a:pt x="3125" y="2245"/>
                    <a:pt x="3230" y="2151"/>
                    <a:pt x="3230" y="2035"/>
                  </a:cubicBezTo>
                  <a:cubicBezTo>
                    <a:pt x="3230" y="1918"/>
                    <a:pt x="3125" y="1822"/>
                    <a:pt x="2994" y="1822"/>
                  </a:cubicBezTo>
                  <a:close/>
                  <a:moveTo>
                    <a:pt x="3700" y="1822"/>
                  </a:moveTo>
                  <a:cubicBezTo>
                    <a:pt x="3569" y="1822"/>
                    <a:pt x="3462" y="1918"/>
                    <a:pt x="3462" y="2035"/>
                  </a:cubicBezTo>
                  <a:cubicBezTo>
                    <a:pt x="3462" y="2151"/>
                    <a:pt x="3569" y="2245"/>
                    <a:pt x="3700" y="2245"/>
                  </a:cubicBezTo>
                  <a:cubicBezTo>
                    <a:pt x="3832" y="2245"/>
                    <a:pt x="3937" y="2151"/>
                    <a:pt x="3937" y="2035"/>
                  </a:cubicBezTo>
                  <a:cubicBezTo>
                    <a:pt x="3937" y="1918"/>
                    <a:pt x="3832" y="1822"/>
                    <a:pt x="3700" y="1822"/>
                  </a:cubicBezTo>
                  <a:close/>
                  <a:moveTo>
                    <a:pt x="4336" y="1822"/>
                  </a:moveTo>
                  <a:cubicBezTo>
                    <a:pt x="4205" y="1822"/>
                    <a:pt x="4098" y="1918"/>
                    <a:pt x="4098" y="2035"/>
                  </a:cubicBezTo>
                  <a:cubicBezTo>
                    <a:pt x="4098" y="2151"/>
                    <a:pt x="4205" y="2245"/>
                    <a:pt x="4336" y="2245"/>
                  </a:cubicBezTo>
                  <a:cubicBezTo>
                    <a:pt x="4468" y="2245"/>
                    <a:pt x="4573" y="2151"/>
                    <a:pt x="4573" y="2035"/>
                  </a:cubicBezTo>
                  <a:cubicBezTo>
                    <a:pt x="4573" y="1918"/>
                    <a:pt x="4468" y="1822"/>
                    <a:pt x="4336" y="1822"/>
                  </a:cubicBezTo>
                  <a:close/>
                  <a:moveTo>
                    <a:pt x="5043" y="1822"/>
                  </a:moveTo>
                  <a:cubicBezTo>
                    <a:pt x="4912" y="1822"/>
                    <a:pt x="4804" y="1918"/>
                    <a:pt x="4804" y="2035"/>
                  </a:cubicBezTo>
                  <a:cubicBezTo>
                    <a:pt x="4804" y="2151"/>
                    <a:pt x="4912" y="2245"/>
                    <a:pt x="5043" y="2245"/>
                  </a:cubicBezTo>
                  <a:cubicBezTo>
                    <a:pt x="5174" y="2245"/>
                    <a:pt x="5279" y="2151"/>
                    <a:pt x="5279" y="2035"/>
                  </a:cubicBezTo>
                  <a:cubicBezTo>
                    <a:pt x="5279" y="1918"/>
                    <a:pt x="5174" y="1822"/>
                    <a:pt x="5043" y="1822"/>
                  </a:cubicBezTo>
                  <a:close/>
                  <a:moveTo>
                    <a:pt x="5749" y="1822"/>
                  </a:moveTo>
                  <a:cubicBezTo>
                    <a:pt x="5618" y="1822"/>
                    <a:pt x="5511" y="1918"/>
                    <a:pt x="5511" y="2035"/>
                  </a:cubicBezTo>
                  <a:cubicBezTo>
                    <a:pt x="5511" y="2151"/>
                    <a:pt x="5618" y="2245"/>
                    <a:pt x="5749" y="2245"/>
                  </a:cubicBezTo>
                  <a:cubicBezTo>
                    <a:pt x="5880" y="2245"/>
                    <a:pt x="5986" y="2151"/>
                    <a:pt x="5986" y="2035"/>
                  </a:cubicBezTo>
                  <a:cubicBezTo>
                    <a:pt x="5986" y="1918"/>
                    <a:pt x="5880" y="1822"/>
                    <a:pt x="5749" y="1822"/>
                  </a:cubicBezTo>
                  <a:close/>
                  <a:moveTo>
                    <a:pt x="6385" y="1822"/>
                  </a:moveTo>
                  <a:cubicBezTo>
                    <a:pt x="6254" y="1822"/>
                    <a:pt x="6147" y="1918"/>
                    <a:pt x="6147" y="2035"/>
                  </a:cubicBezTo>
                  <a:cubicBezTo>
                    <a:pt x="6147" y="2151"/>
                    <a:pt x="6254" y="2245"/>
                    <a:pt x="6385" y="2245"/>
                  </a:cubicBezTo>
                  <a:cubicBezTo>
                    <a:pt x="6517" y="2245"/>
                    <a:pt x="6622" y="2151"/>
                    <a:pt x="6622" y="2035"/>
                  </a:cubicBezTo>
                  <a:cubicBezTo>
                    <a:pt x="6622" y="1918"/>
                    <a:pt x="6517" y="1822"/>
                    <a:pt x="6385" y="1822"/>
                  </a:cubicBezTo>
                  <a:close/>
                  <a:moveTo>
                    <a:pt x="7092" y="1822"/>
                  </a:moveTo>
                  <a:cubicBezTo>
                    <a:pt x="6961" y="1822"/>
                    <a:pt x="6853" y="1918"/>
                    <a:pt x="6853" y="2035"/>
                  </a:cubicBezTo>
                  <a:cubicBezTo>
                    <a:pt x="6853" y="2151"/>
                    <a:pt x="6961" y="2245"/>
                    <a:pt x="7092" y="2245"/>
                  </a:cubicBezTo>
                  <a:cubicBezTo>
                    <a:pt x="7223" y="2245"/>
                    <a:pt x="7328" y="2151"/>
                    <a:pt x="7328" y="2035"/>
                  </a:cubicBezTo>
                  <a:cubicBezTo>
                    <a:pt x="7328" y="1918"/>
                    <a:pt x="7223" y="1822"/>
                    <a:pt x="7092" y="1822"/>
                  </a:cubicBezTo>
                  <a:close/>
                  <a:moveTo>
                    <a:pt x="7798" y="1822"/>
                  </a:moveTo>
                  <a:cubicBezTo>
                    <a:pt x="7667" y="1822"/>
                    <a:pt x="7560" y="1918"/>
                    <a:pt x="7560" y="2035"/>
                  </a:cubicBezTo>
                  <a:cubicBezTo>
                    <a:pt x="7560" y="2151"/>
                    <a:pt x="7667" y="2245"/>
                    <a:pt x="7798" y="2245"/>
                  </a:cubicBezTo>
                  <a:cubicBezTo>
                    <a:pt x="7930" y="2245"/>
                    <a:pt x="8035" y="2151"/>
                    <a:pt x="8035" y="2035"/>
                  </a:cubicBezTo>
                  <a:cubicBezTo>
                    <a:pt x="8035" y="1918"/>
                    <a:pt x="7930" y="1822"/>
                    <a:pt x="7798" y="1822"/>
                  </a:cubicBezTo>
                  <a:close/>
                  <a:moveTo>
                    <a:pt x="8434" y="1822"/>
                  </a:moveTo>
                  <a:cubicBezTo>
                    <a:pt x="8303" y="1822"/>
                    <a:pt x="8196" y="1918"/>
                    <a:pt x="8196" y="2035"/>
                  </a:cubicBezTo>
                  <a:cubicBezTo>
                    <a:pt x="8196" y="2151"/>
                    <a:pt x="8303" y="2245"/>
                    <a:pt x="8434" y="2245"/>
                  </a:cubicBezTo>
                  <a:cubicBezTo>
                    <a:pt x="8565" y="2245"/>
                    <a:pt x="8670" y="2151"/>
                    <a:pt x="8670" y="2035"/>
                  </a:cubicBezTo>
                  <a:cubicBezTo>
                    <a:pt x="8670" y="1918"/>
                    <a:pt x="8565" y="1822"/>
                    <a:pt x="8434" y="1822"/>
                  </a:cubicBezTo>
                  <a:close/>
                  <a:moveTo>
                    <a:pt x="9141" y="1822"/>
                  </a:moveTo>
                  <a:cubicBezTo>
                    <a:pt x="9009" y="1822"/>
                    <a:pt x="8902" y="1918"/>
                    <a:pt x="8902" y="2035"/>
                  </a:cubicBezTo>
                  <a:cubicBezTo>
                    <a:pt x="8902" y="2151"/>
                    <a:pt x="9009" y="2245"/>
                    <a:pt x="9141" y="2245"/>
                  </a:cubicBezTo>
                  <a:cubicBezTo>
                    <a:pt x="9272" y="2245"/>
                    <a:pt x="9377" y="2151"/>
                    <a:pt x="9377" y="2035"/>
                  </a:cubicBezTo>
                  <a:cubicBezTo>
                    <a:pt x="9377" y="1918"/>
                    <a:pt x="9272" y="1822"/>
                    <a:pt x="9141" y="1822"/>
                  </a:cubicBezTo>
                  <a:close/>
                  <a:moveTo>
                    <a:pt x="9847" y="1822"/>
                  </a:moveTo>
                  <a:cubicBezTo>
                    <a:pt x="9716" y="1822"/>
                    <a:pt x="9609" y="1918"/>
                    <a:pt x="9609" y="2035"/>
                  </a:cubicBezTo>
                  <a:cubicBezTo>
                    <a:pt x="9609" y="2151"/>
                    <a:pt x="9716" y="2245"/>
                    <a:pt x="9847" y="2245"/>
                  </a:cubicBezTo>
                  <a:cubicBezTo>
                    <a:pt x="9978" y="2245"/>
                    <a:pt x="10084" y="2151"/>
                    <a:pt x="10084" y="2035"/>
                  </a:cubicBezTo>
                  <a:cubicBezTo>
                    <a:pt x="10084" y="1918"/>
                    <a:pt x="9978" y="1822"/>
                    <a:pt x="9847" y="1822"/>
                  </a:cubicBezTo>
                  <a:close/>
                  <a:moveTo>
                    <a:pt x="10483" y="1822"/>
                  </a:moveTo>
                  <a:cubicBezTo>
                    <a:pt x="10352" y="1822"/>
                    <a:pt x="10245" y="1918"/>
                    <a:pt x="10245" y="2035"/>
                  </a:cubicBezTo>
                  <a:cubicBezTo>
                    <a:pt x="10245" y="2151"/>
                    <a:pt x="10352" y="2245"/>
                    <a:pt x="10483" y="2245"/>
                  </a:cubicBezTo>
                  <a:cubicBezTo>
                    <a:pt x="10614" y="2245"/>
                    <a:pt x="10719" y="2151"/>
                    <a:pt x="10719" y="2035"/>
                  </a:cubicBezTo>
                  <a:cubicBezTo>
                    <a:pt x="10719" y="1918"/>
                    <a:pt x="10614" y="1822"/>
                    <a:pt x="10483" y="1822"/>
                  </a:cubicBezTo>
                  <a:close/>
                  <a:moveTo>
                    <a:pt x="11190" y="1822"/>
                  </a:moveTo>
                  <a:cubicBezTo>
                    <a:pt x="11058" y="1822"/>
                    <a:pt x="10951" y="1918"/>
                    <a:pt x="10951" y="2035"/>
                  </a:cubicBezTo>
                  <a:cubicBezTo>
                    <a:pt x="10951" y="2151"/>
                    <a:pt x="11058" y="2245"/>
                    <a:pt x="11190" y="2245"/>
                  </a:cubicBezTo>
                  <a:cubicBezTo>
                    <a:pt x="11321" y="2245"/>
                    <a:pt x="11426" y="2151"/>
                    <a:pt x="11426" y="2035"/>
                  </a:cubicBezTo>
                  <a:cubicBezTo>
                    <a:pt x="11426" y="1918"/>
                    <a:pt x="11321" y="1822"/>
                    <a:pt x="11190" y="1822"/>
                  </a:cubicBezTo>
                  <a:close/>
                  <a:moveTo>
                    <a:pt x="11826" y="1822"/>
                  </a:moveTo>
                  <a:cubicBezTo>
                    <a:pt x="11694" y="1822"/>
                    <a:pt x="11587" y="1918"/>
                    <a:pt x="11587" y="2035"/>
                  </a:cubicBezTo>
                  <a:cubicBezTo>
                    <a:pt x="11587" y="2151"/>
                    <a:pt x="11694" y="2245"/>
                    <a:pt x="11826" y="2245"/>
                  </a:cubicBezTo>
                  <a:cubicBezTo>
                    <a:pt x="11957" y="2245"/>
                    <a:pt x="12062" y="2151"/>
                    <a:pt x="12062" y="2035"/>
                  </a:cubicBezTo>
                  <a:cubicBezTo>
                    <a:pt x="12062" y="1918"/>
                    <a:pt x="11957" y="1822"/>
                    <a:pt x="11826" y="1822"/>
                  </a:cubicBezTo>
                  <a:close/>
                  <a:moveTo>
                    <a:pt x="12532" y="1822"/>
                  </a:moveTo>
                  <a:cubicBezTo>
                    <a:pt x="12401" y="1822"/>
                    <a:pt x="12294" y="1918"/>
                    <a:pt x="12294" y="2035"/>
                  </a:cubicBezTo>
                  <a:cubicBezTo>
                    <a:pt x="12294" y="2151"/>
                    <a:pt x="12401" y="2245"/>
                    <a:pt x="12532" y="2245"/>
                  </a:cubicBezTo>
                  <a:cubicBezTo>
                    <a:pt x="12663" y="2245"/>
                    <a:pt x="12768" y="2151"/>
                    <a:pt x="12768" y="2035"/>
                  </a:cubicBezTo>
                  <a:cubicBezTo>
                    <a:pt x="12768" y="1918"/>
                    <a:pt x="12663" y="1822"/>
                    <a:pt x="12532" y="1822"/>
                  </a:cubicBezTo>
                  <a:close/>
                  <a:moveTo>
                    <a:pt x="13239" y="1822"/>
                  </a:moveTo>
                  <a:cubicBezTo>
                    <a:pt x="13107" y="1822"/>
                    <a:pt x="13000" y="1918"/>
                    <a:pt x="13000" y="2035"/>
                  </a:cubicBezTo>
                  <a:cubicBezTo>
                    <a:pt x="13000" y="2151"/>
                    <a:pt x="13107" y="2245"/>
                    <a:pt x="13239" y="2245"/>
                  </a:cubicBezTo>
                  <a:cubicBezTo>
                    <a:pt x="13370" y="2245"/>
                    <a:pt x="13475" y="2151"/>
                    <a:pt x="13475" y="2035"/>
                  </a:cubicBezTo>
                  <a:cubicBezTo>
                    <a:pt x="13475" y="1918"/>
                    <a:pt x="13370" y="1822"/>
                    <a:pt x="13239" y="1822"/>
                  </a:cubicBezTo>
                  <a:close/>
                  <a:moveTo>
                    <a:pt x="13875" y="1822"/>
                  </a:moveTo>
                  <a:cubicBezTo>
                    <a:pt x="13743" y="1822"/>
                    <a:pt x="13636" y="1918"/>
                    <a:pt x="13636" y="2035"/>
                  </a:cubicBezTo>
                  <a:cubicBezTo>
                    <a:pt x="13636" y="2151"/>
                    <a:pt x="13743" y="2245"/>
                    <a:pt x="13875" y="2245"/>
                  </a:cubicBezTo>
                  <a:cubicBezTo>
                    <a:pt x="14005" y="2245"/>
                    <a:pt x="14111" y="2151"/>
                    <a:pt x="14111" y="2035"/>
                  </a:cubicBezTo>
                  <a:cubicBezTo>
                    <a:pt x="14111" y="1918"/>
                    <a:pt x="14005" y="1822"/>
                    <a:pt x="13875" y="1822"/>
                  </a:cubicBezTo>
                  <a:close/>
                  <a:moveTo>
                    <a:pt x="14581" y="1822"/>
                  </a:moveTo>
                  <a:cubicBezTo>
                    <a:pt x="14450" y="1822"/>
                    <a:pt x="14343" y="1918"/>
                    <a:pt x="14343" y="2035"/>
                  </a:cubicBezTo>
                  <a:cubicBezTo>
                    <a:pt x="14343" y="2151"/>
                    <a:pt x="14450" y="2245"/>
                    <a:pt x="14581" y="2245"/>
                  </a:cubicBezTo>
                  <a:cubicBezTo>
                    <a:pt x="14712" y="2245"/>
                    <a:pt x="14817" y="2151"/>
                    <a:pt x="14817" y="2035"/>
                  </a:cubicBezTo>
                  <a:cubicBezTo>
                    <a:pt x="14817" y="1918"/>
                    <a:pt x="14712" y="1822"/>
                    <a:pt x="14581" y="1822"/>
                  </a:cubicBezTo>
                  <a:close/>
                  <a:moveTo>
                    <a:pt x="15217" y="1822"/>
                  </a:moveTo>
                  <a:cubicBezTo>
                    <a:pt x="15086" y="1822"/>
                    <a:pt x="14978" y="1918"/>
                    <a:pt x="14978" y="2035"/>
                  </a:cubicBezTo>
                  <a:cubicBezTo>
                    <a:pt x="14978" y="2151"/>
                    <a:pt x="15086" y="2245"/>
                    <a:pt x="15217" y="2245"/>
                  </a:cubicBezTo>
                  <a:cubicBezTo>
                    <a:pt x="15348" y="2245"/>
                    <a:pt x="15453" y="2151"/>
                    <a:pt x="15453" y="2035"/>
                  </a:cubicBezTo>
                  <a:cubicBezTo>
                    <a:pt x="15453" y="1918"/>
                    <a:pt x="15348" y="1822"/>
                    <a:pt x="15217" y="1822"/>
                  </a:cubicBezTo>
                  <a:close/>
                  <a:moveTo>
                    <a:pt x="15853" y="1822"/>
                  </a:moveTo>
                  <a:cubicBezTo>
                    <a:pt x="15721" y="1822"/>
                    <a:pt x="15614" y="1918"/>
                    <a:pt x="15614" y="2035"/>
                  </a:cubicBezTo>
                  <a:cubicBezTo>
                    <a:pt x="15614" y="2151"/>
                    <a:pt x="15721" y="2245"/>
                    <a:pt x="15853" y="2245"/>
                  </a:cubicBezTo>
                  <a:cubicBezTo>
                    <a:pt x="15984" y="2245"/>
                    <a:pt x="16089" y="2151"/>
                    <a:pt x="16089" y="2035"/>
                  </a:cubicBezTo>
                  <a:cubicBezTo>
                    <a:pt x="16089" y="1918"/>
                    <a:pt x="15984" y="1822"/>
                    <a:pt x="15853" y="1822"/>
                  </a:cubicBezTo>
                  <a:close/>
                  <a:moveTo>
                    <a:pt x="1652" y="2451"/>
                  </a:moveTo>
                  <a:cubicBezTo>
                    <a:pt x="1520" y="2451"/>
                    <a:pt x="1413" y="2546"/>
                    <a:pt x="1413" y="2663"/>
                  </a:cubicBezTo>
                  <a:cubicBezTo>
                    <a:pt x="1413" y="2780"/>
                    <a:pt x="1520" y="2873"/>
                    <a:pt x="1652" y="2873"/>
                  </a:cubicBezTo>
                  <a:cubicBezTo>
                    <a:pt x="1783" y="2873"/>
                    <a:pt x="1888" y="2780"/>
                    <a:pt x="1888" y="2663"/>
                  </a:cubicBezTo>
                  <a:cubicBezTo>
                    <a:pt x="1888" y="2546"/>
                    <a:pt x="1783" y="2451"/>
                    <a:pt x="1652" y="2451"/>
                  </a:cubicBezTo>
                  <a:close/>
                  <a:moveTo>
                    <a:pt x="2287" y="2451"/>
                  </a:moveTo>
                  <a:cubicBezTo>
                    <a:pt x="2156" y="2451"/>
                    <a:pt x="2049" y="2546"/>
                    <a:pt x="2049" y="2663"/>
                  </a:cubicBezTo>
                  <a:cubicBezTo>
                    <a:pt x="2049" y="2780"/>
                    <a:pt x="2156" y="2873"/>
                    <a:pt x="2287" y="2873"/>
                  </a:cubicBezTo>
                  <a:cubicBezTo>
                    <a:pt x="2419" y="2873"/>
                    <a:pt x="2524" y="2780"/>
                    <a:pt x="2524" y="2663"/>
                  </a:cubicBezTo>
                  <a:cubicBezTo>
                    <a:pt x="2524" y="2546"/>
                    <a:pt x="2419" y="2451"/>
                    <a:pt x="2287" y="2451"/>
                  </a:cubicBezTo>
                  <a:close/>
                  <a:moveTo>
                    <a:pt x="2994" y="2451"/>
                  </a:moveTo>
                  <a:cubicBezTo>
                    <a:pt x="2863" y="2451"/>
                    <a:pt x="2755" y="2546"/>
                    <a:pt x="2755" y="2663"/>
                  </a:cubicBezTo>
                  <a:cubicBezTo>
                    <a:pt x="2755" y="2780"/>
                    <a:pt x="2863" y="2873"/>
                    <a:pt x="2994" y="2873"/>
                  </a:cubicBezTo>
                  <a:cubicBezTo>
                    <a:pt x="3125" y="2873"/>
                    <a:pt x="3230" y="2780"/>
                    <a:pt x="3230" y="2663"/>
                  </a:cubicBezTo>
                  <a:cubicBezTo>
                    <a:pt x="3230" y="2546"/>
                    <a:pt x="3125" y="2451"/>
                    <a:pt x="2994" y="2451"/>
                  </a:cubicBezTo>
                  <a:close/>
                  <a:moveTo>
                    <a:pt x="3700" y="2451"/>
                  </a:moveTo>
                  <a:cubicBezTo>
                    <a:pt x="3569" y="2451"/>
                    <a:pt x="3462" y="2546"/>
                    <a:pt x="3462" y="2663"/>
                  </a:cubicBezTo>
                  <a:cubicBezTo>
                    <a:pt x="3462" y="2780"/>
                    <a:pt x="3569" y="2873"/>
                    <a:pt x="3700" y="2873"/>
                  </a:cubicBezTo>
                  <a:cubicBezTo>
                    <a:pt x="3832" y="2873"/>
                    <a:pt x="3937" y="2780"/>
                    <a:pt x="3937" y="2663"/>
                  </a:cubicBezTo>
                  <a:cubicBezTo>
                    <a:pt x="3937" y="2546"/>
                    <a:pt x="3832" y="2451"/>
                    <a:pt x="3700" y="2451"/>
                  </a:cubicBezTo>
                  <a:close/>
                  <a:moveTo>
                    <a:pt x="4336" y="2451"/>
                  </a:moveTo>
                  <a:cubicBezTo>
                    <a:pt x="4205" y="2451"/>
                    <a:pt x="4098" y="2546"/>
                    <a:pt x="4098" y="2663"/>
                  </a:cubicBezTo>
                  <a:cubicBezTo>
                    <a:pt x="4098" y="2780"/>
                    <a:pt x="4205" y="2873"/>
                    <a:pt x="4336" y="2873"/>
                  </a:cubicBezTo>
                  <a:cubicBezTo>
                    <a:pt x="4468" y="2873"/>
                    <a:pt x="4573" y="2780"/>
                    <a:pt x="4573" y="2663"/>
                  </a:cubicBezTo>
                  <a:cubicBezTo>
                    <a:pt x="4573" y="2546"/>
                    <a:pt x="4468" y="2451"/>
                    <a:pt x="4336" y="2451"/>
                  </a:cubicBezTo>
                  <a:close/>
                  <a:moveTo>
                    <a:pt x="5043" y="2451"/>
                  </a:moveTo>
                  <a:cubicBezTo>
                    <a:pt x="4912" y="2451"/>
                    <a:pt x="4804" y="2546"/>
                    <a:pt x="4804" y="2663"/>
                  </a:cubicBezTo>
                  <a:cubicBezTo>
                    <a:pt x="4804" y="2780"/>
                    <a:pt x="4912" y="2873"/>
                    <a:pt x="5043" y="2873"/>
                  </a:cubicBezTo>
                  <a:cubicBezTo>
                    <a:pt x="5174" y="2873"/>
                    <a:pt x="5279" y="2780"/>
                    <a:pt x="5279" y="2663"/>
                  </a:cubicBezTo>
                  <a:cubicBezTo>
                    <a:pt x="5279" y="2546"/>
                    <a:pt x="5174" y="2451"/>
                    <a:pt x="5043" y="2451"/>
                  </a:cubicBezTo>
                  <a:close/>
                  <a:moveTo>
                    <a:pt x="5749" y="2451"/>
                  </a:moveTo>
                  <a:cubicBezTo>
                    <a:pt x="5618" y="2451"/>
                    <a:pt x="5511" y="2546"/>
                    <a:pt x="5511" y="2663"/>
                  </a:cubicBezTo>
                  <a:cubicBezTo>
                    <a:pt x="5511" y="2780"/>
                    <a:pt x="5618" y="2873"/>
                    <a:pt x="5749" y="2873"/>
                  </a:cubicBezTo>
                  <a:cubicBezTo>
                    <a:pt x="5880" y="2873"/>
                    <a:pt x="5986" y="2780"/>
                    <a:pt x="5986" y="2663"/>
                  </a:cubicBezTo>
                  <a:cubicBezTo>
                    <a:pt x="5986" y="2546"/>
                    <a:pt x="5880" y="2451"/>
                    <a:pt x="5749" y="2451"/>
                  </a:cubicBezTo>
                  <a:close/>
                  <a:moveTo>
                    <a:pt x="6385" y="2451"/>
                  </a:moveTo>
                  <a:cubicBezTo>
                    <a:pt x="6254" y="2451"/>
                    <a:pt x="6147" y="2546"/>
                    <a:pt x="6147" y="2663"/>
                  </a:cubicBezTo>
                  <a:cubicBezTo>
                    <a:pt x="6147" y="2780"/>
                    <a:pt x="6254" y="2873"/>
                    <a:pt x="6385" y="2873"/>
                  </a:cubicBezTo>
                  <a:cubicBezTo>
                    <a:pt x="6517" y="2873"/>
                    <a:pt x="6622" y="2780"/>
                    <a:pt x="6622" y="2663"/>
                  </a:cubicBezTo>
                  <a:cubicBezTo>
                    <a:pt x="6622" y="2546"/>
                    <a:pt x="6517" y="2451"/>
                    <a:pt x="6385" y="2451"/>
                  </a:cubicBezTo>
                  <a:close/>
                  <a:moveTo>
                    <a:pt x="7092" y="2451"/>
                  </a:moveTo>
                  <a:cubicBezTo>
                    <a:pt x="6961" y="2451"/>
                    <a:pt x="6853" y="2546"/>
                    <a:pt x="6853" y="2663"/>
                  </a:cubicBezTo>
                  <a:cubicBezTo>
                    <a:pt x="6853" y="2780"/>
                    <a:pt x="6961" y="2873"/>
                    <a:pt x="7092" y="2873"/>
                  </a:cubicBezTo>
                  <a:cubicBezTo>
                    <a:pt x="7223" y="2873"/>
                    <a:pt x="7328" y="2780"/>
                    <a:pt x="7328" y="2663"/>
                  </a:cubicBezTo>
                  <a:cubicBezTo>
                    <a:pt x="7328" y="2546"/>
                    <a:pt x="7223" y="2451"/>
                    <a:pt x="7092" y="2451"/>
                  </a:cubicBezTo>
                  <a:close/>
                  <a:moveTo>
                    <a:pt x="7798" y="2451"/>
                  </a:moveTo>
                  <a:cubicBezTo>
                    <a:pt x="7667" y="2451"/>
                    <a:pt x="7560" y="2546"/>
                    <a:pt x="7560" y="2663"/>
                  </a:cubicBezTo>
                  <a:cubicBezTo>
                    <a:pt x="7560" y="2780"/>
                    <a:pt x="7667" y="2873"/>
                    <a:pt x="7798" y="2873"/>
                  </a:cubicBezTo>
                  <a:cubicBezTo>
                    <a:pt x="7930" y="2873"/>
                    <a:pt x="8035" y="2780"/>
                    <a:pt x="8035" y="2663"/>
                  </a:cubicBezTo>
                  <a:cubicBezTo>
                    <a:pt x="8035" y="2546"/>
                    <a:pt x="7930" y="2451"/>
                    <a:pt x="7798" y="2451"/>
                  </a:cubicBezTo>
                  <a:close/>
                  <a:moveTo>
                    <a:pt x="8434" y="2451"/>
                  </a:moveTo>
                  <a:cubicBezTo>
                    <a:pt x="8303" y="2451"/>
                    <a:pt x="8196" y="2546"/>
                    <a:pt x="8196" y="2663"/>
                  </a:cubicBezTo>
                  <a:cubicBezTo>
                    <a:pt x="8196" y="2780"/>
                    <a:pt x="8303" y="2873"/>
                    <a:pt x="8434" y="2873"/>
                  </a:cubicBezTo>
                  <a:cubicBezTo>
                    <a:pt x="8565" y="2873"/>
                    <a:pt x="8670" y="2780"/>
                    <a:pt x="8670" y="2663"/>
                  </a:cubicBezTo>
                  <a:cubicBezTo>
                    <a:pt x="8670" y="2546"/>
                    <a:pt x="8565" y="2451"/>
                    <a:pt x="8434" y="2451"/>
                  </a:cubicBezTo>
                  <a:close/>
                  <a:moveTo>
                    <a:pt x="9141" y="2451"/>
                  </a:moveTo>
                  <a:cubicBezTo>
                    <a:pt x="9009" y="2451"/>
                    <a:pt x="8902" y="2546"/>
                    <a:pt x="8902" y="2663"/>
                  </a:cubicBezTo>
                  <a:cubicBezTo>
                    <a:pt x="8902" y="2780"/>
                    <a:pt x="9009" y="2873"/>
                    <a:pt x="9141" y="2873"/>
                  </a:cubicBezTo>
                  <a:cubicBezTo>
                    <a:pt x="9272" y="2873"/>
                    <a:pt x="9377" y="2780"/>
                    <a:pt x="9377" y="2663"/>
                  </a:cubicBezTo>
                  <a:cubicBezTo>
                    <a:pt x="9377" y="2546"/>
                    <a:pt x="9272" y="2451"/>
                    <a:pt x="9141" y="2451"/>
                  </a:cubicBezTo>
                  <a:close/>
                  <a:moveTo>
                    <a:pt x="9847" y="2451"/>
                  </a:moveTo>
                  <a:cubicBezTo>
                    <a:pt x="9716" y="2451"/>
                    <a:pt x="9609" y="2546"/>
                    <a:pt x="9609" y="2663"/>
                  </a:cubicBezTo>
                  <a:cubicBezTo>
                    <a:pt x="9609" y="2780"/>
                    <a:pt x="9716" y="2873"/>
                    <a:pt x="9847" y="2873"/>
                  </a:cubicBezTo>
                  <a:cubicBezTo>
                    <a:pt x="9978" y="2873"/>
                    <a:pt x="10084" y="2780"/>
                    <a:pt x="10084" y="2663"/>
                  </a:cubicBezTo>
                  <a:cubicBezTo>
                    <a:pt x="10084" y="2546"/>
                    <a:pt x="9978" y="2451"/>
                    <a:pt x="9847" y="2451"/>
                  </a:cubicBezTo>
                  <a:close/>
                  <a:moveTo>
                    <a:pt x="10483" y="2451"/>
                  </a:moveTo>
                  <a:cubicBezTo>
                    <a:pt x="10352" y="2451"/>
                    <a:pt x="10245" y="2546"/>
                    <a:pt x="10245" y="2663"/>
                  </a:cubicBezTo>
                  <a:cubicBezTo>
                    <a:pt x="10245" y="2780"/>
                    <a:pt x="10352" y="2873"/>
                    <a:pt x="10483" y="2873"/>
                  </a:cubicBezTo>
                  <a:cubicBezTo>
                    <a:pt x="10614" y="2873"/>
                    <a:pt x="10719" y="2780"/>
                    <a:pt x="10719" y="2663"/>
                  </a:cubicBezTo>
                  <a:cubicBezTo>
                    <a:pt x="10719" y="2546"/>
                    <a:pt x="10614" y="2451"/>
                    <a:pt x="10483" y="2451"/>
                  </a:cubicBezTo>
                  <a:close/>
                  <a:moveTo>
                    <a:pt x="11190" y="2451"/>
                  </a:moveTo>
                  <a:cubicBezTo>
                    <a:pt x="11058" y="2451"/>
                    <a:pt x="10951" y="2546"/>
                    <a:pt x="10951" y="2663"/>
                  </a:cubicBezTo>
                  <a:cubicBezTo>
                    <a:pt x="10951" y="2780"/>
                    <a:pt x="11058" y="2873"/>
                    <a:pt x="11190" y="2873"/>
                  </a:cubicBezTo>
                  <a:cubicBezTo>
                    <a:pt x="11321" y="2873"/>
                    <a:pt x="11426" y="2780"/>
                    <a:pt x="11426" y="2663"/>
                  </a:cubicBezTo>
                  <a:cubicBezTo>
                    <a:pt x="11426" y="2546"/>
                    <a:pt x="11321" y="2451"/>
                    <a:pt x="11190" y="2451"/>
                  </a:cubicBezTo>
                  <a:close/>
                  <a:moveTo>
                    <a:pt x="11826" y="2451"/>
                  </a:moveTo>
                  <a:cubicBezTo>
                    <a:pt x="11694" y="2451"/>
                    <a:pt x="11587" y="2546"/>
                    <a:pt x="11587" y="2663"/>
                  </a:cubicBezTo>
                  <a:cubicBezTo>
                    <a:pt x="11587" y="2780"/>
                    <a:pt x="11694" y="2873"/>
                    <a:pt x="11826" y="2873"/>
                  </a:cubicBezTo>
                  <a:cubicBezTo>
                    <a:pt x="11957" y="2873"/>
                    <a:pt x="12062" y="2780"/>
                    <a:pt x="12062" y="2663"/>
                  </a:cubicBezTo>
                  <a:cubicBezTo>
                    <a:pt x="12062" y="2546"/>
                    <a:pt x="11957" y="2451"/>
                    <a:pt x="11826" y="2451"/>
                  </a:cubicBezTo>
                  <a:close/>
                  <a:moveTo>
                    <a:pt x="12532" y="2451"/>
                  </a:moveTo>
                  <a:cubicBezTo>
                    <a:pt x="12401" y="2451"/>
                    <a:pt x="12294" y="2546"/>
                    <a:pt x="12294" y="2663"/>
                  </a:cubicBezTo>
                  <a:cubicBezTo>
                    <a:pt x="12294" y="2780"/>
                    <a:pt x="12401" y="2873"/>
                    <a:pt x="12532" y="2873"/>
                  </a:cubicBezTo>
                  <a:cubicBezTo>
                    <a:pt x="12663" y="2873"/>
                    <a:pt x="12768" y="2780"/>
                    <a:pt x="12768" y="2663"/>
                  </a:cubicBezTo>
                  <a:cubicBezTo>
                    <a:pt x="12768" y="2546"/>
                    <a:pt x="12663" y="2451"/>
                    <a:pt x="12532" y="2451"/>
                  </a:cubicBezTo>
                  <a:close/>
                  <a:moveTo>
                    <a:pt x="13239" y="2451"/>
                  </a:moveTo>
                  <a:cubicBezTo>
                    <a:pt x="13107" y="2451"/>
                    <a:pt x="13000" y="2546"/>
                    <a:pt x="13000" y="2663"/>
                  </a:cubicBezTo>
                  <a:cubicBezTo>
                    <a:pt x="13000" y="2780"/>
                    <a:pt x="13107" y="2873"/>
                    <a:pt x="13239" y="2873"/>
                  </a:cubicBezTo>
                  <a:cubicBezTo>
                    <a:pt x="13370" y="2873"/>
                    <a:pt x="13475" y="2780"/>
                    <a:pt x="13475" y="2663"/>
                  </a:cubicBezTo>
                  <a:cubicBezTo>
                    <a:pt x="13475" y="2546"/>
                    <a:pt x="13370" y="2451"/>
                    <a:pt x="13239" y="2451"/>
                  </a:cubicBezTo>
                  <a:close/>
                  <a:moveTo>
                    <a:pt x="13875" y="2451"/>
                  </a:moveTo>
                  <a:cubicBezTo>
                    <a:pt x="13743" y="2451"/>
                    <a:pt x="13636" y="2546"/>
                    <a:pt x="13636" y="2663"/>
                  </a:cubicBezTo>
                  <a:cubicBezTo>
                    <a:pt x="13636" y="2780"/>
                    <a:pt x="13743" y="2873"/>
                    <a:pt x="13875" y="2873"/>
                  </a:cubicBezTo>
                  <a:cubicBezTo>
                    <a:pt x="14005" y="2873"/>
                    <a:pt x="14111" y="2780"/>
                    <a:pt x="14111" y="2663"/>
                  </a:cubicBezTo>
                  <a:cubicBezTo>
                    <a:pt x="14111" y="2546"/>
                    <a:pt x="14005" y="2451"/>
                    <a:pt x="13875" y="2451"/>
                  </a:cubicBezTo>
                  <a:close/>
                  <a:moveTo>
                    <a:pt x="14581" y="2451"/>
                  </a:moveTo>
                  <a:cubicBezTo>
                    <a:pt x="14450" y="2451"/>
                    <a:pt x="14343" y="2546"/>
                    <a:pt x="14343" y="2663"/>
                  </a:cubicBezTo>
                  <a:cubicBezTo>
                    <a:pt x="14343" y="2780"/>
                    <a:pt x="14450" y="2873"/>
                    <a:pt x="14581" y="2873"/>
                  </a:cubicBezTo>
                  <a:cubicBezTo>
                    <a:pt x="14712" y="2873"/>
                    <a:pt x="14817" y="2780"/>
                    <a:pt x="14817" y="2663"/>
                  </a:cubicBezTo>
                  <a:cubicBezTo>
                    <a:pt x="14817" y="2546"/>
                    <a:pt x="14712" y="2451"/>
                    <a:pt x="14581" y="2451"/>
                  </a:cubicBezTo>
                  <a:close/>
                  <a:moveTo>
                    <a:pt x="15217" y="2451"/>
                  </a:moveTo>
                  <a:cubicBezTo>
                    <a:pt x="15086" y="2451"/>
                    <a:pt x="14978" y="2546"/>
                    <a:pt x="14978" y="2663"/>
                  </a:cubicBezTo>
                  <a:cubicBezTo>
                    <a:pt x="14978" y="2780"/>
                    <a:pt x="15086" y="2873"/>
                    <a:pt x="15217" y="2873"/>
                  </a:cubicBezTo>
                  <a:cubicBezTo>
                    <a:pt x="15348" y="2873"/>
                    <a:pt x="15453" y="2780"/>
                    <a:pt x="15453" y="2663"/>
                  </a:cubicBezTo>
                  <a:cubicBezTo>
                    <a:pt x="15453" y="2546"/>
                    <a:pt x="15348" y="2451"/>
                    <a:pt x="15217" y="2451"/>
                  </a:cubicBezTo>
                  <a:close/>
                  <a:moveTo>
                    <a:pt x="1652" y="3016"/>
                  </a:moveTo>
                  <a:cubicBezTo>
                    <a:pt x="1520" y="3016"/>
                    <a:pt x="1413" y="3112"/>
                    <a:pt x="1413" y="3229"/>
                  </a:cubicBezTo>
                  <a:cubicBezTo>
                    <a:pt x="1413" y="3345"/>
                    <a:pt x="1520" y="3439"/>
                    <a:pt x="1652" y="3439"/>
                  </a:cubicBezTo>
                  <a:cubicBezTo>
                    <a:pt x="1783" y="3439"/>
                    <a:pt x="1888" y="3345"/>
                    <a:pt x="1888" y="3229"/>
                  </a:cubicBezTo>
                  <a:cubicBezTo>
                    <a:pt x="1888" y="3112"/>
                    <a:pt x="1783" y="3016"/>
                    <a:pt x="1652" y="3016"/>
                  </a:cubicBezTo>
                  <a:close/>
                  <a:moveTo>
                    <a:pt x="2287" y="3016"/>
                  </a:moveTo>
                  <a:cubicBezTo>
                    <a:pt x="2156" y="3016"/>
                    <a:pt x="2049" y="3112"/>
                    <a:pt x="2049" y="3229"/>
                  </a:cubicBezTo>
                  <a:cubicBezTo>
                    <a:pt x="2049" y="3345"/>
                    <a:pt x="2156" y="3439"/>
                    <a:pt x="2287" y="3439"/>
                  </a:cubicBezTo>
                  <a:cubicBezTo>
                    <a:pt x="2419" y="3439"/>
                    <a:pt x="2524" y="3345"/>
                    <a:pt x="2524" y="3229"/>
                  </a:cubicBezTo>
                  <a:cubicBezTo>
                    <a:pt x="2524" y="3112"/>
                    <a:pt x="2419" y="3016"/>
                    <a:pt x="2287" y="3016"/>
                  </a:cubicBezTo>
                  <a:close/>
                  <a:moveTo>
                    <a:pt x="2994" y="3016"/>
                  </a:moveTo>
                  <a:cubicBezTo>
                    <a:pt x="2863" y="3016"/>
                    <a:pt x="2755" y="3112"/>
                    <a:pt x="2755" y="3229"/>
                  </a:cubicBezTo>
                  <a:cubicBezTo>
                    <a:pt x="2755" y="3345"/>
                    <a:pt x="2863" y="3439"/>
                    <a:pt x="2994" y="3439"/>
                  </a:cubicBezTo>
                  <a:cubicBezTo>
                    <a:pt x="3125" y="3439"/>
                    <a:pt x="3230" y="3345"/>
                    <a:pt x="3230" y="3229"/>
                  </a:cubicBezTo>
                  <a:cubicBezTo>
                    <a:pt x="3230" y="3112"/>
                    <a:pt x="3125" y="3016"/>
                    <a:pt x="2994" y="3016"/>
                  </a:cubicBezTo>
                  <a:close/>
                  <a:moveTo>
                    <a:pt x="3700" y="3016"/>
                  </a:moveTo>
                  <a:cubicBezTo>
                    <a:pt x="3569" y="3016"/>
                    <a:pt x="3462" y="3112"/>
                    <a:pt x="3462" y="3229"/>
                  </a:cubicBezTo>
                  <a:cubicBezTo>
                    <a:pt x="3462" y="3345"/>
                    <a:pt x="3569" y="3439"/>
                    <a:pt x="3700" y="3439"/>
                  </a:cubicBezTo>
                  <a:cubicBezTo>
                    <a:pt x="3832" y="3439"/>
                    <a:pt x="3937" y="3345"/>
                    <a:pt x="3937" y="3229"/>
                  </a:cubicBezTo>
                  <a:cubicBezTo>
                    <a:pt x="3937" y="3112"/>
                    <a:pt x="3832" y="3016"/>
                    <a:pt x="3700" y="3016"/>
                  </a:cubicBezTo>
                  <a:close/>
                  <a:moveTo>
                    <a:pt x="4336" y="3016"/>
                  </a:moveTo>
                  <a:cubicBezTo>
                    <a:pt x="4205" y="3016"/>
                    <a:pt x="4098" y="3112"/>
                    <a:pt x="4098" y="3229"/>
                  </a:cubicBezTo>
                  <a:cubicBezTo>
                    <a:pt x="4098" y="3345"/>
                    <a:pt x="4205" y="3439"/>
                    <a:pt x="4336" y="3439"/>
                  </a:cubicBezTo>
                  <a:cubicBezTo>
                    <a:pt x="4468" y="3439"/>
                    <a:pt x="4573" y="3345"/>
                    <a:pt x="4573" y="3229"/>
                  </a:cubicBezTo>
                  <a:cubicBezTo>
                    <a:pt x="4573" y="3112"/>
                    <a:pt x="4468" y="3016"/>
                    <a:pt x="4336" y="3016"/>
                  </a:cubicBezTo>
                  <a:close/>
                  <a:moveTo>
                    <a:pt x="5043" y="3016"/>
                  </a:moveTo>
                  <a:cubicBezTo>
                    <a:pt x="4912" y="3016"/>
                    <a:pt x="4804" y="3112"/>
                    <a:pt x="4804" y="3229"/>
                  </a:cubicBezTo>
                  <a:cubicBezTo>
                    <a:pt x="4804" y="3345"/>
                    <a:pt x="4912" y="3439"/>
                    <a:pt x="5043" y="3439"/>
                  </a:cubicBezTo>
                  <a:cubicBezTo>
                    <a:pt x="5174" y="3439"/>
                    <a:pt x="5279" y="3345"/>
                    <a:pt x="5279" y="3229"/>
                  </a:cubicBezTo>
                  <a:cubicBezTo>
                    <a:pt x="5279" y="3112"/>
                    <a:pt x="5174" y="3016"/>
                    <a:pt x="5043" y="3016"/>
                  </a:cubicBezTo>
                  <a:close/>
                  <a:moveTo>
                    <a:pt x="5749" y="3016"/>
                  </a:moveTo>
                  <a:cubicBezTo>
                    <a:pt x="5618" y="3016"/>
                    <a:pt x="5511" y="3112"/>
                    <a:pt x="5511" y="3229"/>
                  </a:cubicBezTo>
                  <a:cubicBezTo>
                    <a:pt x="5511" y="3345"/>
                    <a:pt x="5618" y="3439"/>
                    <a:pt x="5749" y="3439"/>
                  </a:cubicBezTo>
                  <a:cubicBezTo>
                    <a:pt x="5880" y="3439"/>
                    <a:pt x="5986" y="3345"/>
                    <a:pt x="5986" y="3229"/>
                  </a:cubicBezTo>
                  <a:cubicBezTo>
                    <a:pt x="5986" y="3112"/>
                    <a:pt x="5880" y="3016"/>
                    <a:pt x="5749" y="3016"/>
                  </a:cubicBezTo>
                  <a:close/>
                  <a:moveTo>
                    <a:pt x="6385" y="3016"/>
                  </a:moveTo>
                  <a:cubicBezTo>
                    <a:pt x="6254" y="3016"/>
                    <a:pt x="6147" y="3112"/>
                    <a:pt x="6147" y="3229"/>
                  </a:cubicBezTo>
                  <a:cubicBezTo>
                    <a:pt x="6147" y="3345"/>
                    <a:pt x="6254" y="3439"/>
                    <a:pt x="6385" y="3439"/>
                  </a:cubicBezTo>
                  <a:cubicBezTo>
                    <a:pt x="6517" y="3439"/>
                    <a:pt x="6622" y="3345"/>
                    <a:pt x="6622" y="3229"/>
                  </a:cubicBezTo>
                  <a:cubicBezTo>
                    <a:pt x="6622" y="3112"/>
                    <a:pt x="6517" y="3016"/>
                    <a:pt x="6385" y="3016"/>
                  </a:cubicBezTo>
                  <a:close/>
                  <a:moveTo>
                    <a:pt x="7092" y="3016"/>
                  </a:moveTo>
                  <a:cubicBezTo>
                    <a:pt x="6961" y="3016"/>
                    <a:pt x="6853" y="3112"/>
                    <a:pt x="6853" y="3229"/>
                  </a:cubicBezTo>
                  <a:cubicBezTo>
                    <a:pt x="6853" y="3345"/>
                    <a:pt x="6961" y="3439"/>
                    <a:pt x="7092" y="3439"/>
                  </a:cubicBezTo>
                  <a:cubicBezTo>
                    <a:pt x="7223" y="3439"/>
                    <a:pt x="7328" y="3345"/>
                    <a:pt x="7328" y="3229"/>
                  </a:cubicBezTo>
                  <a:cubicBezTo>
                    <a:pt x="7328" y="3112"/>
                    <a:pt x="7223" y="3016"/>
                    <a:pt x="7092" y="3016"/>
                  </a:cubicBezTo>
                  <a:close/>
                  <a:moveTo>
                    <a:pt x="7798" y="3016"/>
                  </a:moveTo>
                  <a:cubicBezTo>
                    <a:pt x="7667" y="3016"/>
                    <a:pt x="7560" y="3112"/>
                    <a:pt x="7560" y="3229"/>
                  </a:cubicBezTo>
                  <a:cubicBezTo>
                    <a:pt x="7560" y="3345"/>
                    <a:pt x="7667" y="3439"/>
                    <a:pt x="7798" y="3439"/>
                  </a:cubicBezTo>
                  <a:cubicBezTo>
                    <a:pt x="7930" y="3439"/>
                    <a:pt x="8035" y="3345"/>
                    <a:pt x="8035" y="3229"/>
                  </a:cubicBezTo>
                  <a:cubicBezTo>
                    <a:pt x="8035" y="3112"/>
                    <a:pt x="7930" y="3016"/>
                    <a:pt x="7798" y="3016"/>
                  </a:cubicBezTo>
                  <a:close/>
                  <a:moveTo>
                    <a:pt x="8434" y="3016"/>
                  </a:moveTo>
                  <a:cubicBezTo>
                    <a:pt x="8303" y="3016"/>
                    <a:pt x="8196" y="3112"/>
                    <a:pt x="8196" y="3229"/>
                  </a:cubicBezTo>
                  <a:cubicBezTo>
                    <a:pt x="8196" y="3345"/>
                    <a:pt x="8303" y="3439"/>
                    <a:pt x="8434" y="3439"/>
                  </a:cubicBezTo>
                  <a:cubicBezTo>
                    <a:pt x="8565" y="3439"/>
                    <a:pt x="8670" y="3345"/>
                    <a:pt x="8670" y="3229"/>
                  </a:cubicBezTo>
                  <a:cubicBezTo>
                    <a:pt x="8670" y="3112"/>
                    <a:pt x="8565" y="3016"/>
                    <a:pt x="8434" y="3016"/>
                  </a:cubicBezTo>
                  <a:close/>
                  <a:moveTo>
                    <a:pt x="9141" y="3016"/>
                  </a:moveTo>
                  <a:cubicBezTo>
                    <a:pt x="9009" y="3016"/>
                    <a:pt x="8902" y="3112"/>
                    <a:pt x="8902" y="3229"/>
                  </a:cubicBezTo>
                  <a:cubicBezTo>
                    <a:pt x="8902" y="3345"/>
                    <a:pt x="9009" y="3439"/>
                    <a:pt x="9141" y="3439"/>
                  </a:cubicBezTo>
                  <a:cubicBezTo>
                    <a:pt x="9272" y="3439"/>
                    <a:pt x="9377" y="3345"/>
                    <a:pt x="9377" y="3229"/>
                  </a:cubicBezTo>
                  <a:cubicBezTo>
                    <a:pt x="9377" y="3112"/>
                    <a:pt x="9272" y="3016"/>
                    <a:pt x="9141" y="3016"/>
                  </a:cubicBezTo>
                  <a:close/>
                  <a:moveTo>
                    <a:pt x="9847" y="3016"/>
                  </a:moveTo>
                  <a:cubicBezTo>
                    <a:pt x="9716" y="3016"/>
                    <a:pt x="9609" y="3112"/>
                    <a:pt x="9609" y="3229"/>
                  </a:cubicBezTo>
                  <a:cubicBezTo>
                    <a:pt x="9609" y="3345"/>
                    <a:pt x="9716" y="3439"/>
                    <a:pt x="9847" y="3439"/>
                  </a:cubicBezTo>
                  <a:cubicBezTo>
                    <a:pt x="9978" y="3439"/>
                    <a:pt x="10084" y="3345"/>
                    <a:pt x="10084" y="3229"/>
                  </a:cubicBezTo>
                  <a:cubicBezTo>
                    <a:pt x="10084" y="3112"/>
                    <a:pt x="9978" y="3016"/>
                    <a:pt x="9847" y="3016"/>
                  </a:cubicBezTo>
                  <a:close/>
                  <a:moveTo>
                    <a:pt x="10483" y="3016"/>
                  </a:moveTo>
                  <a:cubicBezTo>
                    <a:pt x="10352" y="3016"/>
                    <a:pt x="10245" y="3112"/>
                    <a:pt x="10245" y="3229"/>
                  </a:cubicBezTo>
                  <a:cubicBezTo>
                    <a:pt x="10245" y="3345"/>
                    <a:pt x="10352" y="3439"/>
                    <a:pt x="10483" y="3439"/>
                  </a:cubicBezTo>
                  <a:cubicBezTo>
                    <a:pt x="10614" y="3439"/>
                    <a:pt x="10719" y="3345"/>
                    <a:pt x="10719" y="3229"/>
                  </a:cubicBezTo>
                  <a:cubicBezTo>
                    <a:pt x="10719" y="3112"/>
                    <a:pt x="10614" y="3016"/>
                    <a:pt x="10483" y="3016"/>
                  </a:cubicBezTo>
                  <a:close/>
                  <a:moveTo>
                    <a:pt x="11190" y="3016"/>
                  </a:moveTo>
                  <a:cubicBezTo>
                    <a:pt x="11058" y="3016"/>
                    <a:pt x="10951" y="3112"/>
                    <a:pt x="10951" y="3229"/>
                  </a:cubicBezTo>
                  <a:cubicBezTo>
                    <a:pt x="10951" y="3345"/>
                    <a:pt x="11058" y="3439"/>
                    <a:pt x="11190" y="3439"/>
                  </a:cubicBezTo>
                  <a:cubicBezTo>
                    <a:pt x="11321" y="3439"/>
                    <a:pt x="11426" y="3345"/>
                    <a:pt x="11426" y="3229"/>
                  </a:cubicBezTo>
                  <a:cubicBezTo>
                    <a:pt x="11426" y="3112"/>
                    <a:pt x="11321" y="3016"/>
                    <a:pt x="11190" y="3016"/>
                  </a:cubicBezTo>
                  <a:close/>
                  <a:moveTo>
                    <a:pt x="11826" y="3016"/>
                  </a:moveTo>
                  <a:cubicBezTo>
                    <a:pt x="11694" y="3016"/>
                    <a:pt x="11587" y="3112"/>
                    <a:pt x="11587" y="3229"/>
                  </a:cubicBezTo>
                  <a:cubicBezTo>
                    <a:pt x="11587" y="3345"/>
                    <a:pt x="11694" y="3439"/>
                    <a:pt x="11826" y="3439"/>
                  </a:cubicBezTo>
                  <a:cubicBezTo>
                    <a:pt x="11957" y="3439"/>
                    <a:pt x="12062" y="3345"/>
                    <a:pt x="12062" y="3229"/>
                  </a:cubicBezTo>
                  <a:cubicBezTo>
                    <a:pt x="12062" y="3112"/>
                    <a:pt x="11957" y="3016"/>
                    <a:pt x="11826" y="3016"/>
                  </a:cubicBezTo>
                  <a:close/>
                  <a:moveTo>
                    <a:pt x="12532" y="3016"/>
                  </a:moveTo>
                  <a:cubicBezTo>
                    <a:pt x="12401" y="3016"/>
                    <a:pt x="12294" y="3112"/>
                    <a:pt x="12294" y="3229"/>
                  </a:cubicBezTo>
                  <a:cubicBezTo>
                    <a:pt x="12294" y="3345"/>
                    <a:pt x="12401" y="3439"/>
                    <a:pt x="12532" y="3439"/>
                  </a:cubicBezTo>
                  <a:cubicBezTo>
                    <a:pt x="12663" y="3439"/>
                    <a:pt x="12768" y="3345"/>
                    <a:pt x="12768" y="3229"/>
                  </a:cubicBezTo>
                  <a:cubicBezTo>
                    <a:pt x="12768" y="3112"/>
                    <a:pt x="12663" y="3016"/>
                    <a:pt x="12532" y="3016"/>
                  </a:cubicBezTo>
                  <a:close/>
                  <a:moveTo>
                    <a:pt x="13239" y="3016"/>
                  </a:moveTo>
                  <a:cubicBezTo>
                    <a:pt x="13107" y="3016"/>
                    <a:pt x="13000" y="3112"/>
                    <a:pt x="13000" y="3229"/>
                  </a:cubicBezTo>
                  <a:cubicBezTo>
                    <a:pt x="13000" y="3345"/>
                    <a:pt x="13107" y="3439"/>
                    <a:pt x="13239" y="3439"/>
                  </a:cubicBezTo>
                  <a:cubicBezTo>
                    <a:pt x="13370" y="3439"/>
                    <a:pt x="13475" y="3345"/>
                    <a:pt x="13475" y="3229"/>
                  </a:cubicBezTo>
                  <a:cubicBezTo>
                    <a:pt x="13475" y="3112"/>
                    <a:pt x="13370" y="3016"/>
                    <a:pt x="13239" y="3016"/>
                  </a:cubicBezTo>
                  <a:close/>
                  <a:moveTo>
                    <a:pt x="13875" y="3016"/>
                  </a:moveTo>
                  <a:cubicBezTo>
                    <a:pt x="13743" y="3016"/>
                    <a:pt x="13636" y="3112"/>
                    <a:pt x="13636" y="3229"/>
                  </a:cubicBezTo>
                  <a:cubicBezTo>
                    <a:pt x="13636" y="3345"/>
                    <a:pt x="13743" y="3439"/>
                    <a:pt x="13875" y="3439"/>
                  </a:cubicBezTo>
                  <a:cubicBezTo>
                    <a:pt x="14005" y="3439"/>
                    <a:pt x="14111" y="3345"/>
                    <a:pt x="14111" y="3229"/>
                  </a:cubicBezTo>
                  <a:cubicBezTo>
                    <a:pt x="14111" y="3112"/>
                    <a:pt x="14005" y="3016"/>
                    <a:pt x="13875" y="3016"/>
                  </a:cubicBezTo>
                  <a:close/>
                  <a:moveTo>
                    <a:pt x="14581" y="3016"/>
                  </a:moveTo>
                  <a:cubicBezTo>
                    <a:pt x="14450" y="3016"/>
                    <a:pt x="14343" y="3112"/>
                    <a:pt x="14343" y="3229"/>
                  </a:cubicBezTo>
                  <a:cubicBezTo>
                    <a:pt x="14343" y="3345"/>
                    <a:pt x="14450" y="3439"/>
                    <a:pt x="14581" y="3439"/>
                  </a:cubicBezTo>
                  <a:cubicBezTo>
                    <a:pt x="14712" y="3439"/>
                    <a:pt x="14817" y="3345"/>
                    <a:pt x="14817" y="3229"/>
                  </a:cubicBezTo>
                  <a:cubicBezTo>
                    <a:pt x="14817" y="3112"/>
                    <a:pt x="14712" y="3016"/>
                    <a:pt x="14581" y="3016"/>
                  </a:cubicBezTo>
                  <a:close/>
                  <a:moveTo>
                    <a:pt x="15217" y="3016"/>
                  </a:moveTo>
                  <a:cubicBezTo>
                    <a:pt x="15086" y="3016"/>
                    <a:pt x="14978" y="3112"/>
                    <a:pt x="14978" y="3229"/>
                  </a:cubicBezTo>
                  <a:cubicBezTo>
                    <a:pt x="14978" y="3345"/>
                    <a:pt x="15086" y="3439"/>
                    <a:pt x="15217" y="3439"/>
                  </a:cubicBezTo>
                  <a:cubicBezTo>
                    <a:pt x="15348" y="3439"/>
                    <a:pt x="15453" y="3345"/>
                    <a:pt x="15453" y="3229"/>
                  </a:cubicBezTo>
                  <a:cubicBezTo>
                    <a:pt x="15453" y="3112"/>
                    <a:pt x="15348" y="3016"/>
                    <a:pt x="15217" y="3016"/>
                  </a:cubicBezTo>
                  <a:close/>
                  <a:moveTo>
                    <a:pt x="15923" y="3016"/>
                  </a:moveTo>
                  <a:cubicBezTo>
                    <a:pt x="15792" y="3016"/>
                    <a:pt x="15685" y="3112"/>
                    <a:pt x="15685" y="3229"/>
                  </a:cubicBezTo>
                  <a:cubicBezTo>
                    <a:pt x="15685" y="3345"/>
                    <a:pt x="15792" y="3439"/>
                    <a:pt x="15923" y="3439"/>
                  </a:cubicBezTo>
                  <a:cubicBezTo>
                    <a:pt x="16054" y="3439"/>
                    <a:pt x="16160" y="3345"/>
                    <a:pt x="16160" y="3229"/>
                  </a:cubicBezTo>
                  <a:cubicBezTo>
                    <a:pt x="16160" y="3112"/>
                    <a:pt x="16054" y="3016"/>
                    <a:pt x="15923" y="3016"/>
                  </a:cubicBezTo>
                  <a:close/>
                  <a:moveTo>
                    <a:pt x="1016" y="3582"/>
                  </a:moveTo>
                  <a:cubicBezTo>
                    <a:pt x="884" y="3582"/>
                    <a:pt x="777" y="3677"/>
                    <a:pt x="777" y="3794"/>
                  </a:cubicBezTo>
                  <a:cubicBezTo>
                    <a:pt x="777" y="3911"/>
                    <a:pt x="884" y="4004"/>
                    <a:pt x="1016" y="4004"/>
                  </a:cubicBezTo>
                  <a:cubicBezTo>
                    <a:pt x="1147" y="4004"/>
                    <a:pt x="1252" y="3911"/>
                    <a:pt x="1252" y="3794"/>
                  </a:cubicBezTo>
                  <a:cubicBezTo>
                    <a:pt x="1252" y="3677"/>
                    <a:pt x="1147" y="3582"/>
                    <a:pt x="1016" y="3582"/>
                  </a:cubicBezTo>
                  <a:close/>
                  <a:moveTo>
                    <a:pt x="1652" y="3582"/>
                  </a:moveTo>
                  <a:cubicBezTo>
                    <a:pt x="1520" y="3582"/>
                    <a:pt x="1413" y="3677"/>
                    <a:pt x="1413" y="3794"/>
                  </a:cubicBezTo>
                  <a:cubicBezTo>
                    <a:pt x="1413" y="3911"/>
                    <a:pt x="1520" y="4004"/>
                    <a:pt x="1652" y="4004"/>
                  </a:cubicBezTo>
                  <a:cubicBezTo>
                    <a:pt x="1783" y="4004"/>
                    <a:pt x="1888" y="3911"/>
                    <a:pt x="1888" y="3794"/>
                  </a:cubicBezTo>
                  <a:cubicBezTo>
                    <a:pt x="1888" y="3677"/>
                    <a:pt x="1783" y="3582"/>
                    <a:pt x="1652" y="3582"/>
                  </a:cubicBezTo>
                  <a:close/>
                  <a:moveTo>
                    <a:pt x="2287" y="3582"/>
                  </a:moveTo>
                  <a:cubicBezTo>
                    <a:pt x="2156" y="3582"/>
                    <a:pt x="2049" y="3677"/>
                    <a:pt x="2049" y="3794"/>
                  </a:cubicBezTo>
                  <a:cubicBezTo>
                    <a:pt x="2049" y="3911"/>
                    <a:pt x="2156" y="4004"/>
                    <a:pt x="2287" y="4004"/>
                  </a:cubicBezTo>
                  <a:cubicBezTo>
                    <a:pt x="2419" y="4004"/>
                    <a:pt x="2524" y="3911"/>
                    <a:pt x="2524" y="3794"/>
                  </a:cubicBezTo>
                  <a:cubicBezTo>
                    <a:pt x="2524" y="3677"/>
                    <a:pt x="2419" y="3582"/>
                    <a:pt x="2287" y="3582"/>
                  </a:cubicBezTo>
                  <a:close/>
                  <a:moveTo>
                    <a:pt x="2994" y="3582"/>
                  </a:moveTo>
                  <a:cubicBezTo>
                    <a:pt x="2863" y="3582"/>
                    <a:pt x="2755" y="3677"/>
                    <a:pt x="2755" y="3794"/>
                  </a:cubicBezTo>
                  <a:cubicBezTo>
                    <a:pt x="2755" y="3911"/>
                    <a:pt x="2863" y="4004"/>
                    <a:pt x="2994" y="4004"/>
                  </a:cubicBezTo>
                  <a:cubicBezTo>
                    <a:pt x="3125" y="4004"/>
                    <a:pt x="3230" y="3911"/>
                    <a:pt x="3230" y="3794"/>
                  </a:cubicBezTo>
                  <a:cubicBezTo>
                    <a:pt x="3230" y="3677"/>
                    <a:pt x="3125" y="3582"/>
                    <a:pt x="2994" y="3582"/>
                  </a:cubicBezTo>
                  <a:close/>
                  <a:moveTo>
                    <a:pt x="3700" y="3582"/>
                  </a:moveTo>
                  <a:cubicBezTo>
                    <a:pt x="3569" y="3582"/>
                    <a:pt x="3462" y="3677"/>
                    <a:pt x="3462" y="3794"/>
                  </a:cubicBezTo>
                  <a:cubicBezTo>
                    <a:pt x="3462" y="3911"/>
                    <a:pt x="3569" y="4004"/>
                    <a:pt x="3700" y="4004"/>
                  </a:cubicBezTo>
                  <a:cubicBezTo>
                    <a:pt x="3832" y="4004"/>
                    <a:pt x="3937" y="3911"/>
                    <a:pt x="3937" y="3794"/>
                  </a:cubicBezTo>
                  <a:cubicBezTo>
                    <a:pt x="3937" y="3677"/>
                    <a:pt x="3832" y="3582"/>
                    <a:pt x="3700" y="3582"/>
                  </a:cubicBezTo>
                  <a:close/>
                  <a:moveTo>
                    <a:pt x="4336" y="3582"/>
                  </a:moveTo>
                  <a:cubicBezTo>
                    <a:pt x="4205" y="3582"/>
                    <a:pt x="4098" y="3677"/>
                    <a:pt x="4098" y="3794"/>
                  </a:cubicBezTo>
                  <a:cubicBezTo>
                    <a:pt x="4098" y="3911"/>
                    <a:pt x="4205" y="4004"/>
                    <a:pt x="4336" y="4004"/>
                  </a:cubicBezTo>
                  <a:cubicBezTo>
                    <a:pt x="4468" y="4004"/>
                    <a:pt x="4573" y="3911"/>
                    <a:pt x="4573" y="3794"/>
                  </a:cubicBezTo>
                  <a:cubicBezTo>
                    <a:pt x="4573" y="3677"/>
                    <a:pt x="4468" y="3582"/>
                    <a:pt x="4336" y="3582"/>
                  </a:cubicBezTo>
                  <a:close/>
                  <a:moveTo>
                    <a:pt x="5043" y="3582"/>
                  </a:moveTo>
                  <a:cubicBezTo>
                    <a:pt x="4912" y="3582"/>
                    <a:pt x="4804" y="3677"/>
                    <a:pt x="4804" y="3794"/>
                  </a:cubicBezTo>
                  <a:cubicBezTo>
                    <a:pt x="4804" y="3911"/>
                    <a:pt x="4912" y="4004"/>
                    <a:pt x="5043" y="4004"/>
                  </a:cubicBezTo>
                  <a:cubicBezTo>
                    <a:pt x="5174" y="4004"/>
                    <a:pt x="5279" y="3911"/>
                    <a:pt x="5279" y="3794"/>
                  </a:cubicBezTo>
                  <a:cubicBezTo>
                    <a:pt x="5279" y="3677"/>
                    <a:pt x="5174" y="3582"/>
                    <a:pt x="5043" y="3582"/>
                  </a:cubicBezTo>
                  <a:close/>
                  <a:moveTo>
                    <a:pt x="5749" y="3582"/>
                  </a:moveTo>
                  <a:cubicBezTo>
                    <a:pt x="5618" y="3582"/>
                    <a:pt x="5511" y="3677"/>
                    <a:pt x="5511" y="3794"/>
                  </a:cubicBezTo>
                  <a:cubicBezTo>
                    <a:pt x="5511" y="3911"/>
                    <a:pt x="5618" y="4004"/>
                    <a:pt x="5749" y="4004"/>
                  </a:cubicBezTo>
                  <a:cubicBezTo>
                    <a:pt x="5880" y="4004"/>
                    <a:pt x="5986" y="3911"/>
                    <a:pt x="5986" y="3794"/>
                  </a:cubicBezTo>
                  <a:cubicBezTo>
                    <a:pt x="5986" y="3677"/>
                    <a:pt x="5880" y="3582"/>
                    <a:pt x="5749" y="3582"/>
                  </a:cubicBezTo>
                  <a:close/>
                  <a:moveTo>
                    <a:pt x="6385" y="3582"/>
                  </a:moveTo>
                  <a:cubicBezTo>
                    <a:pt x="6254" y="3582"/>
                    <a:pt x="6147" y="3677"/>
                    <a:pt x="6147" y="3794"/>
                  </a:cubicBezTo>
                  <a:cubicBezTo>
                    <a:pt x="6147" y="3911"/>
                    <a:pt x="6254" y="4004"/>
                    <a:pt x="6385" y="4004"/>
                  </a:cubicBezTo>
                  <a:cubicBezTo>
                    <a:pt x="6517" y="4004"/>
                    <a:pt x="6622" y="3911"/>
                    <a:pt x="6622" y="3794"/>
                  </a:cubicBezTo>
                  <a:cubicBezTo>
                    <a:pt x="6622" y="3677"/>
                    <a:pt x="6517" y="3582"/>
                    <a:pt x="6385" y="3582"/>
                  </a:cubicBezTo>
                  <a:close/>
                  <a:moveTo>
                    <a:pt x="7092" y="3582"/>
                  </a:moveTo>
                  <a:cubicBezTo>
                    <a:pt x="6961" y="3582"/>
                    <a:pt x="6853" y="3677"/>
                    <a:pt x="6853" y="3794"/>
                  </a:cubicBezTo>
                  <a:cubicBezTo>
                    <a:pt x="6853" y="3911"/>
                    <a:pt x="6961" y="4004"/>
                    <a:pt x="7092" y="4004"/>
                  </a:cubicBezTo>
                  <a:cubicBezTo>
                    <a:pt x="7223" y="4004"/>
                    <a:pt x="7328" y="3911"/>
                    <a:pt x="7328" y="3794"/>
                  </a:cubicBezTo>
                  <a:cubicBezTo>
                    <a:pt x="7328" y="3677"/>
                    <a:pt x="7223" y="3582"/>
                    <a:pt x="7092" y="3582"/>
                  </a:cubicBezTo>
                  <a:close/>
                  <a:moveTo>
                    <a:pt x="7798" y="3582"/>
                  </a:moveTo>
                  <a:cubicBezTo>
                    <a:pt x="7667" y="3582"/>
                    <a:pt x="7560" y="3677"/>
                    <a:pt x="7560" y="3794"/>
                  </a:cubicBezTo>
                  <a:cubicBezTo>
                    <a:pt x="7560" y="3911"/>
                    <a:pt x="7667" y="4004"/>
                    <a:pt x="7798" y="4004"/>
                  </a:cubicBezTo>
                  <a:cubicBezTo>
                    <a:pt x="7930" y="4004"/>
                    <a:pt x="8035" y="3911"/>
                    <a:pt x="8035" y="3794"/>
                  </a:cubicBezTo>
                  <a:cubicBezTo>
                    <a:pt x="8035" y="3677"/>
                    <a:pt x="7930" y="3582"/>
                    <a:pt x="7798" y="3582"/>
                  </a:cubicBezTo>
                  <a:close/>
                  <a:moveTo>
                    <a:pt x="8434" y="3582"/>
                  </a:moveTo>
                  <a:cubicBezTo>
                    <a:pt x="8303" y="3582"/>
                    <a:pt x="8196" y="3677"/>
                    <a:pt x="8196" y="3794"/>
                  </a:cubicBezTo>
                  <a:cubicBezTo>
                    <a:pt x="8196" y="3911"/>
                    <a:pt x="8303" y="4004"/>
                    <a:pt x="8434" y="4004"/>
                  </a:cubicBezTo>
                  <a:cubicBezTo>
                    <a:pt x="8565" y="4004"/>
                    <a:pt x="8670" y="3911"/>
                    <a:pt x="8670" y="3794"/>
                  </a:cubicBezTo>
                  <a:cubicBezTo>
                    <a:pt x="8670" y="3677"/>
                    <a:pt x="8565" y="3582"/>
                    <a:pt x="8434" y="3582"/>
                  </a:cubicBezTo>
                  <a:close/>
                  <a:moveTo>
                    <a:pt x="9141" y="3582"/>
                  </a:moveTo>
                  <a:cubicBezTo>
                    <a:pt x="9009" y="3582"/>
                    <a:pt x="8902" y="3677"/>
                    <a:pt x="8902" y="3794"/>
                  </a:cubicBezTo>
                  <a:cubicBezTo>
                    <a:pt x="8902" y="3911"/>
                    <a:pt x="9009" y="4004"/>
                    <a:pt x="9141" y="4004"/>
                  </a:cubicBezTo>
                  <a:cubicBezTo>
                    <a:pt x="9272" y="4004"/>
                    <a:pt x="9377" y="3911"/>
                    <a:pt x="9377" y="3794"/>
                  </a:cubicBezTo>
                  <a:cubicBezTo>
                    <a:pt x="9377" y="3677"/>
                    <a:pt x="9272" y="3582"/>
                    <a:pt x="9141" y="3582"/>
                  </a:cubicBezTo>
                  <a:close/>
                  <a:moveTo>
                    <a:pt x="9847" y="3582"/>
                  </a:moveTo>
                  <a:cubicBezTo>
                    <a:pt x="9716" y="3582"/>
                    <a:pt x="9609" y="3677"/>
                    <a:pt x="9609" y="3794"/>
                  </a:cubicBezTo>
                  <a:cubicBezTo>
                    <a:pt x="9609" y="3911"/>
                    <a:pt x="9716" y="4004"/>
                    <a:pt x="9847" y="4004"/>
                  </a:cubicBezTo>
                  <a:cubicBezTo>
                    <a:pt x="9978" y="4004"/>
                    <a:pt x="10084" y="3911"/>
                    <a:pt x="10084" y="3794"/>
                  </a:cubicBezTo>
                  <a:cubicBezTo>
                    <a:pt x="10084" y="3677"/>
                    <a:pt x="9978" y="3582"/>
                    <a:pt x="9847" y="3582"/>
                  </a:cubicBezTo>
                  <a:close/>
                  <a:moveTo>
                    <a:pt x="10483" y="3582"/>
                  </a:moveTo>
                  <a:cubicBezTo>
                    <a:pt x="10352" y="3582"/>
                    <a:pt x="10245" y="3677"/>
                    <a:pt x="10245" y="3794"/>
                  </a:cubicBezTo>
                  <a:cubicBezTo>
                    <a:pt x="10245" y="3911"/>
                    <a:pt x="10352" y="4004"/>
                    <a:pt x="10483" y="4004"/>
                  </a:cubicBezTo>
                  <a:cubicBezTo>
                    <a:pt x="10614" y="4004"/>
                    <a:pt x="10719" y="3911"/>
                    <a:pt x="10719" y="3794"/>
                  </a:cubicBezTo>
                  <a:cubicBezTo>
                    <a:pt x="10719" y="3677"/>
                    <a:pt x="10614" y="3582"/>
                    <a:pt x="10483" y="3582"/>
                  </a:cubicBezTo>
                  <a:close/>
                  <a:moveTo>
                    <a:pt x="11190" y="3582"/>
                  </a:moveTo>
                  <a:cubicBezTo>
                    <a:pt x="11058" y="3582"/>
                    <a:pt x="10951" y="3677"/>
                    <a:pt x="10951" y="3794"/>
                  </a:cubicBezTo>
                  <a:cubicBezTo>
                    <a:pt x="10951" y="3911"/>
                    <a:pt x="11058" y="4004"/>
                    <a:pt x="11190" y="4004"/>
                  </a:cubicBezTo>
                  <a:cubicBezTo>
                    <a:pt x="11321" y="4004"/>
                    <a:pt x="11426" y="3911"/>
                    <a:pt x="11426" y="3794"/>
                  </a:cubicBezTo>
                  <a:cubicBezTo>
                    <a:pt x="11426" y="3677"/>
                    <a:pt x="11321" y="3582"/>
                    <a:pt x="11190" y="3582"/>
                  </a:cubicBezTo>
                  <a:close/>
                  <a:moveTo>
                    <a:pt x="11826" y="3582"/>
                  </a:moveTo>
                  <a:cubicBezTo>
                    <a:pt x="11694" y="3582"/>
                    <a:pt x="11587" y="3677"/>
                    <a:pt x="11587" y="3794"/>
                  </a:cubicBezTo>
                  <a:cubicBezTo>
                    <a:pt x="11587" y="3911"/>
                    <a:pt x="11694" y="4004"/>
                    <a:pt x="11826" y="4004"/>
                  </a:cubicBezTo>
                  <a:cubicBezTo>
                    <a:pt x="11957" y="4004"/>
                    <a:pt x="12062" y="3911"/>
                    <a:pt x="12062" y="3794"/>
                  </a:cubicBezTo>
                  <a:cubicBezTo>
                    <a:pt x="12062" y="3677"/>
                    <a:pt x="11957" y="3582"/>
                    <a:pt x="11826" y="3582"/>
                  </a:cubicBezTo>
                  <a:close/>
                  <a:moveTo>
                    <a:pt x="12532" y="3582"/>
                  </a:moveTo>
                  <a:cubicBezTo>
                    <a:pt x="12401" y="3582"/>
                    <a:pt x="12294" y="3677"/>
                    <a:pt x="12294" y="3794"/>
                  </a:cubicBezTo>
                  <a:cubicBezTo>
                    <a:pt x="12294" y="3911"/>
                    <a:pt x="12401" y="4004"/>
                    <a:pt x="12532" y="4004"/>
                  </a:cubicBezTo>
                  <a:cubicBezTo>
                    <a:pt x="12663" y="4004"/>
                    <a:pt x="12768" y="3911"/>
                    <a:pt x="12768" y="3794"/>
                  </a:cubicBezTo>
                  <a:cubicBezTo>
                    <a:pt x="12768" y="3677"/>
                    <a:pt x="12663" y="3582"/>
                    <a:pt x="12532" y="3582"/>
                  </a:cubicBezTo>
                  <a:close/>
                  <a:moveTo>
                    <a:pt x="13239" y="3582"/>
                  </a:moveTo>
                  <a:cubicBezTo>
                    <a:pt x="13107" y="3582"/>
                    <a:pt x="13000" y="3677"/>
                    <a:pt x="13000" y="3794"/>
                  </a:cubicBezTo>
                  <a:cubicBezTo>
                    <a:pt x="13000" y="3911"/>
                    <a:pt x="13107" y="4004"/>
                    <a:pt x="13239" y="4004"/>
                  </a:cubicBezTo>
                  <a:cubicBezTo>
                    <a:pt x="13370" y="4004"/>
                    <a:pt x="13475" y="3911"/>
                    <a:pt x="13475" y="3794"/>
                  </a:cubicBezTo>
                  <a:cubicBezTo>
                    <a:pt x="13475" y="3677"/>
                    <a:pt x="13370" y="3582"/>
                    <a:pt x="13239" y="3582"/>
                  </a:cubicBezTo>
                  <a:close/>
                  <a:moveTo>
                    <a:pt x="13875" y="3582"/>
                  </a:moveTo>
                  <a:cubicBezTo>
                    <a:pt x="13743" y="3582"/>
                    <a:pt x="13636" y="3677"/>
                    <a:pt x="13636" y="3794"/>
                  </a:cubicBezTo>
                  <a:cubicBezTo>
                    <a:pt x="13636" y="3911"/>
                    <a:pt x="13743" y="4004"/>
                    <a:pt x="13875" y="4004"/>
                  </a:cubicBezTo>
                  <a:cubicBezTo>
                    <a:pt x="14005" y="4004"/>
                    <a:pt x="14111" y="3911"/>
                    <a:pt x="14111" y="3794"/>
                  </a:cubicBezTo>
                  <a:cubicBezTo>
                    <a:pt x="14111" y="3677"/>
                    <a:pt x="14005" y="3582"/>
                    <a:pt x="13875" y="3582"/>
                  </a:cubicBezTo>
                  <a:close/>
                  <a:moveTo>
                    <a:pt x="14581" y="3582"/>
                  </a:moveTo>
                  <a:cubicBezTo>
                    <a:pt x="14450" y="3582"/>
                    <a:pt x="14343" y="3677"/>
                    <a:pt x="14343" y="3794"/>
                  </a:cubicBezTo>
                  <a:cubicBezTo>
                    <a:pt x="14343" y="3911"/>
                    <a:pt x="14450" y="4004"/>
                    <a:pt x="14581" y="4004"/>
                  </a:cubicBezTo>
                  <a:cubicBezTo>
                    <a:pt x="14712" y="4004"/>
                    <a:pt x="14817" y="3911"/>
                    <a:pt x="14817" y="3794"/>
                  </a:cubicBezTo>
                  <a:cubicBezTo>
                    <a:pt x="14817" y="3677"/>
                    <a:pt x="14712" y="3582"/>
                    <a:pt x="14581" y="3582"/>
                  </a:cubicBezTo>
                  <a:close/>
                  <a:moveTo>
                    <a:pt x="15217" y="3582"/>
                  </a:moveTo>
                  <a:cubicBezTo>
                    <a:pt x="15086" y="3582"/>
                    <a:pt x="14978" y="3677"/>
                    <a:pt x="14978" y="3794"/>
                  </a:cubicBezTo>
                  <a:cubicBezTo>
                    <a:pt x="14978" y="3911"/>
                    <a:pt x="15086" y="4004"/>
                    <a:pt x="15217" y="4004"/>
                  </a:cubicBezTo>
                  <a:cubicBezTo>
                    <a:pt x="15348" y="4004"/>
                    <a:pt x="15453" y="3911"/>
                    <a:pt x="15453" y="3794"/>
                  </a:cubicBezTo>
                  <a:cubicBezTo>
                    <a:pt x="15453" y="3677"/>
                    <a:pt x="15348" y="3582"/>
                    <a:pt x="15217" y="3582"/>
                  </a:cubicBezTo>
                  <a:close/>
                  <a:moveTo>
                    <a:pt x="15923" y="3582"/>
                  </a:moveTo>
                  <a:cubicBezTo>
                    <a:pt x="15792" y="3582"/>
                    <a:pt x="15685" y="3677"/>
                    <a:pt x="15685" y="3794"/>
                  </a:cubicBezTo>
                  <a:cubicBezTo>
                    <a:pt x="15685" y="3911"/>
                    <a:pt x="15792" y="4004"/>
                    <a:pt x="15923" y="4004"/>
                  </a:cubicBezTo>
                  <a:cubicBezTo>
                    <a:pt x="16054" y="4004"/>
                    <a:pt x="16160" y="3911"/>
                    <a:pt x="16160" y="3794"/>
                  </a:cubicBezTo>
                  <a:cubicBezTo>
                    <a:pt x="16160" y="3677"/>
                    <a:pt x="16054" y="3582"/>
                    <a:pt x="15923" y="3582"/>
                  </a:cubicBezTo>
                  <a:close/>
                  <a:moveTo>
                    <a:pt x="1016" y="4273"/>
                  </a:moveTo>
                  <a:cubicBezTo>
                    <a:pt x="884" y="4273"/>
                    <a:pt x="777" y="4369"/>
                    <a:pt x="777" y="4485"/>
                  </a:cubicBezTo>
                  <a:cubicBezTo>
                    <a:pt x="777" y="4602"/>
                    <a:pt x="884" y="4695"/>
                    <a:pt x="1016" y="4695"/>
                  </a:cubicBezTo>
                  <a:cubicBezTo>
                    <a:pt x="1147" y="4695"/>
                    <a:pt x="1252" y="4602"/>
                    <a:pt x="1252" y="4485"/>
                  </a:cubicBezTo>
                  <a:cubicBezTo>
                    <a:pt x="1252" y="4369"/>
                    <a:pt x="1147" y="4273"/>
                    <a:pt x="1016" y="4273"/>
                  </a:cubicBezTo>
                  <a:close/>
                  <a:moveTo>
                    <a:pt x="1652" y="4273"/>
                  </a:moveTo>
                  <a:cubicBezTo>
                    <a:pt x="1520" y="4273"/>
                    <a:pt x="1413" y="4369"/>
                    <a:pt x="1413" y="4485"/>
                  </a:cubicBezTo>
                  <a:cubicBezTo>
                    <a:pt x="1413" y="4602"/>
                    <a:pt x="1520" y="4695"/>
                    <a:pt x="1652" y="4695"/>
                  </a:cubicBezTo>
                  <a:cubicBezTo>
                    <a:pt x="1783" y="4695"/>
                    <a:pt x="1888" y="4602"/>
                    <a:pt x="1888" y="4485"/>
                  </a:cubicBezTo>
                  <a:cubicBezTo>
                    <a:pt x="1888" y="4369"/>
                    <a:pt x="1783" y="4273"/>
                    <a:pt x="1652" y="4273"/>
                  </a:cubicBezTo>
                  <a:close/>
                  <a:moveTo>
                    <a:pt x="2287" y="4273"/>
                  </a:moveTo>
                  <a:cubicBezTo>
                    <a:pt x="2156" y="4273"/>
                    <a:pt x="2049" y="4369"/>
                    <a:pt x="2049" y="4485"/>
                  </a:cubicBezTo>
                  <a:cubicBezTo>
                    <a:pt x="2049" y="4602"/>
                    <a:pt x="2156" y="4695"/>
                    <a:pt x="2287" y="4695"/>
                  </a:cubicBezTo>
                  <a:cubicBezTo>
                    <a:pt x="2419" y="4695"/>
                    <a:pt x="2524" y="4602"/>
                    <a:pt x="2524" y="4485"/>
                  </a:cubicBezTo>
                  <a:cubicBezTo>
                    <a:pt x="2524" y="4369"/>
                    <a:pt x="2419" y="4273"/>
                    <a:pt x="2287" y="4273"/>
                  </a:cubicBezTo>
                  <a:close/>
                  <a:moveTo>
                    <a:pt x="2994" y="4273"/>
                  </a:moveTo>
                  <a:cubicBezTo>
                    <a:pt x="2863" y="4273"/>
                    <a:pt x="2755" y="4369"/>
                    <a:pt x="2755" y="4485"/>
                  </a:cubicBezTo>
                  <a:cubicBezTo>
                    <a:pt x="2755" y="4602"/>
                    <a:pt x="2863" y="4695"/>
                    <a:pt x="2994" y="4695"/>
                  </a:cubicBezTo>
                  <a:cubicBezTo>
                    <a:pt x="3125" y="4695"/>
                    <a:pt x="3230" y="4602"/>
                    <a:pt x="3230" y="4485"/>
                  </a:cubicBezTo>
                  <a:cubicBezTo>
                    <a:pt x="3230" y="4369"/>
                    <a:pt x="3125" y="4273"/>
                    <a:pt x="2994" y="4273"/>
                  </a:cubicBezTo>
                  <a:close/>
                  <a:moveTo>
                    <a:pt x="3700" y="4273"/>
                  </a:moveTo>
                  <a:cubicBezTo>
                    <a:pt x="3569" y="4273"/>
                    <a:pt x="3462" y="4369"/>
                    <a:pt x="3462" y="4485"/>
                  </a:cubicBezTo>
                  <a:cubicBezTo>
                    <a:pt x="3462" y="4602"/>
                    <a:pt x="3569" y="4695"/>
                    <a:pt x="3700" y="4695"/>
                  </a:cubicBezTo>
                  <a:cubicBezTo>
                    <a:pt x="3832" y="4695"/>
                    <a:pt x="3937" y="4602"/>
                    <a:pt x="3937" y="4485"/>
                  </a:cubicBezTo>
                  <a:cubicBezTo>
                    <a:pt x="3937" y="4369"/>
                    <a:pt x="3832" y="4273"/>
                    <a:pt x="3700" y="4273"/>
                  </a:cubicBezTo>
                  <a:close/>
                  <a:moveTo>
                    <a:pt x="4336" y="4273"/>
                  </a:moveTo>
                  <a:cubicBezTo>
                    <a:pt x="4205" y="4273"/>
                    <a:pt x="4098" y="4369"/>
                    <a:pt x="4098" y="4485"/>
                  </a:cubicBezTo>
                  <a:cubicBezTo>
                    <a:pt x="4098" y="4602"/>
                    <a:pt x="4205" y="4695"/>
                    <a:pt x="4336" y="4695"/>
                  </a:cubicBezTo>
                  <a:cubicBezTo>
                    <a:pt x="4468" y="4695"/>
                    <a:pt x="4573" y="4602"/>
                    <a:pt x="4573" y="4485"/>
                  </a:cubicBezTo>
                  <a:cubicBezTo>
                    <a:pt x="4573" y="4369"/>
                    <a:pt x="4468" y="4273"/>
                    <a:pt x="4336" y="4273"/>
                  </a:cubicBezTo>
                  <a:close/>
                  <a:moveTo>
                    <a:pt x="5043" y="4273"/>
                  </a:moveTo>
                  <a:cubicBezTo>
                    <a:pt x="4912" y="4273"/>
                    <a:pt x="4804" y="4369"/>
                    <a:pt x="4804" y="4485"/>
                  </a:cubicBezTo>
                  <a:cubicBezTo>
                    <a:pt x="4804" y="4602"/>
                    <a:pt x="4912" y="4695"/>
                    <a:pt x="5043" y="4695"/>
                  </a:cubicBezTo>
                  <a:cubicBezTo>
                    <a:pt x="5174" y="4695"/>
                    <a:pt x="5279" y="4602"/>
                    <a:pt x="5279" y="4485"/>
                  </a:cubicBezTo>
                  <a:cubicBezTo>
                    <a:pt x="5279" y="4369"/>
                    <a:pt x="5174" y="4273"/>
                    <a:pt x="5043" y="4273"/>
                  </a:cubicBezTo>
                  <a:close/>
                  <a:moveTo>
                    <a:pt x="5749" y="4273"/>
                  </a:moveTo>
                  <a:cubicBezTo>
                    <a:pt x="5618" y="4273"/>
                    <a:pt x="5511" y="4369"/>
                    <a:pt x="5511" y="4485"/>
                  </a:cubicBezTo>
                  <a:cubicBezTo>
                    <a:pt x="5511" y="4602"/>
                    <a:pt x="5618" y="4695"/>
                    <a:pt x="5749" y="4695"/>
                  </a:cubicBezTo>
                  <a:cubicBezTo>
                    <a:pt x="5880" y="4695"/>
                    <a:pt x="5986" y="4602"/>
                    <a:pt x="5986" y="4485"/>
                  </a:cubicBezTo>
                  <a:cubicBezTo>
                    <a:pt x="5986" y="4369"/>
                    <a:pt x="5880" y="4273"/>
                    <a:pt x="5749" y="4273"/>
                  </a:cubicBezTo>
                  <a:close/>
                  <a:moveTo>
                    <a:pt x="6385" y="4273"/>
                  </a:moveTo>
                  <a:cubicBezTo>
                    <a:pt x="6254" y="4273"/>
                    <a:pt x="6147" y="4369"/>
                    <a:pt x="6147" y="4485"/>
                  </a:cubicBezTo>
                  <a:cubicBezTo>
                    <a:pt x="6147" y="4602"/>
                    <a:pt x="6254" y="4695"/>
                    <a:pt x="6385" y="4695"/>
                  </a:cubicBezTo>
                  <a:cubicBezTo>
                    <a:pt x="6517" y="4695"/>
                    <a:pt x="6622" y="4602"/>
                    <a:pt x="6622" y="4485"/>
                  </a:cubicBezTo>
                  <a:cubicBezTo>
                    <a:pt x="6622" y="4369"/>
                    <a:pt x="6517" y="4273"/>
                    <a:pt x="6385" y="4273"/>
                  </a:cubicBezTo>
                  <a:close/>
                  <a:moveTo>
                    <a:pt x="7092" y="4273"/>
                  </a:moveTo>
                  <a:cubicBezTo>
                    <a:pt x="6961" y="4273"/>
                    <a:pt x="6853" y="4369"/>
                    <a:pt x="6853" y="4485"/>
                  </a:cubicBezTo>
                  <a:cubicBezTo>
                    <a:pt x="6853" y="4602"/>
                    <a:pt x="6961" y="4695"/>
                    <a:pt x="7092" y="4695"/>
                  </a:cubicBezTo>
                  <a:cubicBezTo>
                    <a:pt x="7223" y="4695"/>
                    <a:pt x="7328" y="4602"/>
                    <a:pt x="7328" y="4485"/>
                  </a:cubicBezTo>
                  <a:cubicBezTo>
                    <a:pt x="7328" y="4369"/>
                    <a:pt x="7223" y="4273"/>
                    <a:pt x="7092" y="4273"/>
                  </a:cubicBezTo>
                  <a:close/>
                  <a:moveTo>
                    <a:pt x="7798" y="4273"/>
                  </a:moveTo>
                  <a:cubicBezTo>
                    <a:pt x="7667" y="4273"/>
                    <a:pt x="7560" y="4369"/>
                    <a:pt x="7560" y="4485"/>
                  </a:cubicBezTo>
                  <a:cubicBezTo>
                    <a:pt x="7560" y="4602"/>
                    <a:pt x="7667" y="4695"/>
                    <a:pt x="7798" y="4695"/>
                  </a:cubicBezTo>
                  <a:cubicBezTo>
                    <a:pt x="7930" y="4695"/>
                    <a:pt x="8035" y="4602"/>
                    <a:pt x="8035" y="4485"/>
                  </a:cubicBezTo>
                  <a:cubicBezTo>
                    <a:pt x="8035" y="4369"/>
                    <a:pt x="7930" y="4273"/>
                    <a:pt x="7798" y="4273"/>
                  </a:cubicBezTo>
                  <a:close/>
                  <a:moveTo>
                    <a:pt x="8434" y="4273"/>
                  </a:moveTo>
                  <a:cubicBezTo>
                    <a:pt x="8303" y="4273"/>
                    <a:pt x="8196" y="4369"/>
                    <a:pt x="8196" y="4485"/>
                  </a:cubicBezTo>
                  <a:cubicBezTo>
                    <a:pt x="8196" y="4602"/>
                    <a:pt x="8303" y="4695"/>
                    <a:pt x="8434" y="4695"/>
                  </a:cubicBezTo>
                  <a:cubicBezTo>
                    <a:pt x="8565" y="4695"/>
                    <a:pt x="8670" y="4602"/>
                    <a:pt x="8670" y="4485"/>
                  </a:cubicBezTo>
                  <a:cubicBezTo>
                    <a:pt x="8670" y="4369"/>
                    <a:pt x="8565" y="4273"/>
                    <a:pt x="8434" y="4273"/>
                  </a:cubicBezTo>
                  <a:close/>
                  <a:moveTo>
                    <a:pt x="9141" y="4273"/>
                  </a:moveTo>
                  <a:cubicBezTo>
                    <a:pt x="9009" y="4273"/>
                    <a:pt x="8902" y="4369"/>
                    <a:pt x="8902" y="4485"/>
                  </a:cubicBezTo>
                  <a:cubicBezTo>
                    <a:pt x="8902" y="4602"/>
                    <a:pt x="9009" y="4695"/>
                    <a:pt x="9141" y="4695"/>
                  </a:cubicBezTo>
                  <a:cubicBezTo>
                    <a:pt x="9272" y="4695"/>
                    <a:pt x="9377" y="4602"/>
                    <a:pt x="9377" y="4485"/>
                  </a:cubicBezTo>
                  <a:cubicBezTo>
                    <a:pt x="9377" y="4369"/>
                    <a:pt x="9272" y="4273"/>
                    <a:pt x="9141" y="4273"/>
                  </a:cubicBezTo>
                  <a:close/>
                  <a:moveTo>
                    <a:pt x="9847" y="4273"/>
                  </a:moveTo>
                  <a:cubicBezTo>
                    <a:pt x="9716" y="4273"/>
                    <a:pt x="9609" y="4369"/>
                    <a:pt x="9609" y="4485"/>
                  </a:cubicBezTo>
                  <a:cubicBezTo>
                    <a:pt x="9609" y="4602"/>
                    <a:pt x="9716" y="4695"/>
                    <a:pt x="9847" y="4695"/>
                  </a:cubicBezTo>
                  <a:cubicBezTo>
                    <a:pt x="9978" y="4695"/>
                    <a:pt x="10084" y="4602"/>
                    <a:pt x="10084" y="4485"/>
                  </a:cubicBezTo>
                  <a:cubicBezTo>
                    <a:pt x="10084" y="4369"/>
                    <a:pt x="9978" y="4273"/>
                    <a:pt x="9847" y="4273"/>
                  </a:cubicBezTo>
                  <a:close/>
                  <a:moveTo>
                    <a:pt x="10483" y="4273"/>
                  </a:moveTo>
                  <a:cubicBezTo>
                    <a:pt x="10352" y="4273"/>
                    <a:pt x="10245" y="4369"/>
                    <a:pt x="10245" y="4485"/>
                  </a:cubicBezTo>
                  <a:cubicBezTo>
                    <a:pt x="10245" y="4602"/>
                    <a:pt x="10352" y="4695"/>
                    <a:pt x="10483" y="4695"/>
                  </a:cubicBezTo>
                  <a:cubicBezTo>
                    <a:pt x="10614" y="4695"/>
                    <a:pt x="10719" y="4602"/>
                    <a:pt x="10719" y="4485"/>
                  </a:cubicBezTo>
                  <a:cubicBezTo>
                    <a:pt x="10719" y="4369"/>
                    <a:pt x="10614" y="4273"/>
                    <a:pt x="10483" y="4273"/>
                  </a:cubicBezTo>
                  <a:close/>
                  <a:moveTo>
                    <a:pt x="11190" y="4273"/>
                  </a:moveTo>
                  <a:cubicBezTo>
                    <a:pt x="11058" y="4273"/>
                    <a:pt x="10951" y="4369"/>
                    <a:pt x="10951" y="4485"/>
                  </a:cubicBezTo>
                  <a:cubicBezTo>
                    <a:pt x="10951" y="4602"/>
                    <a:pt x="11058" y="4695"/>
                    <a:pt x="11190" y="4695"/>
                  </a:cubicBezTo>
                  <a:cubicBezTo>
                    <a:pt x="11321" y="4695"/>
                    <a:pt x="11426" y="4602"/>
                    <a:pt x="11426" y="4485"/>
                  </a:cubicBezTo>
                  <a:cubicBezTo>
                    <a:pt x="11426" y="4369"/>
                    <a:pt x="11321" y="4273"/>
                    <a:pt x="11190" y="4273"/>
                  </a:cubicBezTo>
                  <a:close/>
                  <a:moveTo>
                    <a:pt x="11826" y="4273"/>
                  </a:moveTo>
                  <a:cubicBezTo>
                    <a:pt x="11694" y="4273"/>
                    <a:pt x="11587" y="4369"/>
                    <a:pt x="11587" y="4485"/>
                  </a:cubicBezTo>
                  <a:cubicBezTo>
                    <a:pt x="11587" y="4602"/>
                    <a:pt x="11694" y="4695"/>
                    <a:pt x="11826" y="4695"/>
                  </a:cubicBezTo>
                  <a:cubicBezTo>
                    <a:pt x="11957" y="4695"/>
                    <a:pt x="12062" y="4602"/>
                    <a:pt x="12062" y="4485"/>
                  </a:cubicBezTo>
                  <a:cubicBezTo>
                    <a:pt x="12062" y="4369"/>
                    <a:pt x="11957" y="4273"/>
                    <a:pt x="11826" y="4273"/>
                  </a:cubicBezTo>
                  <a:close/>
                  <a:moveTo>
                    <a:pt x="12532" y="4273"/>
                  </a:moveTo>
                  <a:cubicBezTo>
                    <a:pt x="12401" y="4273"/>
                    <a:pt x="12294" y="4369"/>
                    <a:pt x="12294" y="4485"/>
                  </a:cubicBezTo>
                  <a:cubicBezTo>
                    <a:pt x="12294" y="4602"/>
                    <a:pt x="12401" y="4695"/>
                    <a:pt x="12532" y="4695"/>
                  </a:cubicBezTo>
                  <a:cubicBezTo>
                    <a:pt x="12663" y="4695"/>
                    <a:pt x="12768" y="4602"/>
                    <a:pt x="12768" y="4485"/>
                  </a:cubicBezTo>
                  <a:cubicBezTo>
                    <a:pt x="12768" y="4369"/>
                    <a:pt x="12663" y="4273"/>
                    <a:pt x="12532" y="4273"/>
                  </a:cubicBezTo>
                  <a:close/>
                  <a:moveTo>
                    <a:pt x="13239" y="4273"/>
                  </a:moveTo>
                  <a:cubicBezTo>
                    <a:pt x="13107" y="4273"/>
                    <a:pt x="13000" y="4369"/>
                    <a:pt x="13000" y="4485"/>
                  </a:cubicBezTo>
                  <a:cubicBezTo>
                    <a:pt x="13000" y="4602"/>
                    <a:pt x="13107" y="4695"/>
                    <a:pt x="13239" y="4695"/>
                  </a:cubicBezTo>
                  <a:cubicBezTo>
                    <a:pt x="13370" y="4695"/>
                    <a:pt x="13475" y="4602"/>
                    <a:pt x="13475" y="4485"/>
                  </a:cubicBezTo>
                  <a:cubicBezTo>
                    <a:pt x="13475" y="4369"/>
                    <a:pt x="13370" y="4273"/>
                    <a:pt x="13239" y="4273"/>
                  </a:cubicBezTo>
                  <a:close/>
                  <a:moveTo>
                    <a:pt x="13875" y="4273"/>
                  </a:moveTo>
                  <a:cubicBezTo>
                    <a:pt x="13743" y="4273"/>
                    <a:pt x="13636" y="4369"/>
                    <a:pt x="13636" y="4485"/>
                  </a:cubicBezTo>
                  <a:cubicBezTo>
                    <a:pt x="13636" y="4602"/>
                    <a:pt x="13743" y="4695"/>
                    <a:pt x="13875" y="4695"/>
                  </a:cubicBezTo>
                  <a:cubicBezTo>
                    <a:pt x="14005" y="4695"/>
                    <a:pt x="14111" y="4602"/>
                    <a:pt x="14111" y="4485"/>
                  </a:cubicBezTo>
                  <a:cubicBezTo>
                    <a:pt x="14111" y="4369"/>
                    <a:pt x="14005" y="4273"/>
                    <a:pt x="13875" y="4273"/>
                  </a:cubicBezTo>
                  <a:close/>
                  <a:moveTo>
                    <a:pt x="14581" y="4273"/>
                  </a:moveTo>
                  <a:cubicBezTo>
                    <a:pt x="14450" y="4273"/>
                    <a:pt x="14343" y="4369"/>
                    <a:pt x="14343" y="4485"/>
                  </a:cubicBezTo>
                  <a:cubicBezTo>
                    <a:pt x="14343" y="4602"/>
                    <a:pt x="14450" y="4695"/>
                    <a:pt x="14581" y="4695"/>
                  </a:cubicBezTo>
                  <a:cubicBezTo>
                    <a:pt x="14712" y="4695"/>
                    <a:pt x="14817" y="4602"/>
                    <a:pt x="14817" y="4485"/>
                  </a:cubicBezTo>
                  <a:cubicBezTo>
                    <a:pt x="14817" y="4369"/>
                    <a:pt x="14712" y="4273"/>
                    <a:pt x="14581" y="4273"/>
                  </a:cubicBezTo>
                  <a:close/>
                  <a:moveTo>
                    <a:pt x="15217" y="4273"/>
                  </a:moveTo>
                  <a:cubicBezTo>
                    <a:pt x="15086" y="4273"/>
                    <a:pt x="14978" y="4369"/>
                    <a:pt x="14978" y="4485"/>
                  </a:cubicBezTo>
                  <a:cubicBezTo>
                    <a:pt x="14978" y="4602"/>
                    <a:pt x="15086" y="4695"/>
                    <a:pt x="15217" y="4695"/>
                  </a:cubicBezTo>
                  <a:cubicBezTo>
                    <a:pt x="15348" y="4695"/>
                    <a:pt x="15453" y="4602"/>
                    <a:pt x="15453" y="4485"/>
                  </a:cubicBezTo>
                  <a:cubicBezTo>
                    <a:pt x="15453" y="4369"/>
                    <a:pt x="15348" y="4273"/>
                    <a:pt x="15217" y="4273"/>
                  </a:cubicBezTo>
                  <a:close/>
                  <a:moveTo>
                    <a:pt x="15923" y="4273"/>
                  </a:moveTo>
                  <a:cubicBezTo>
                    <a:pt x="15792" y="4273"/>
                    <a:pt x="15685" y="4369"/>
                    <a:pt x="15685" y="4485"/>
                  </a:cubicBezTo>
                  <a:cubicBezTo>
                    <a:pt x="15685" y="4602"/>
                    <a:pt x="15792" y="4695"/>
                    <a:pt x="15923" y="4695"/>
                  </a:cubicBezTo>
                  <a:cubicBezTo>
                    <a:pt x="16054" y="4695"/>
                    <a:pt x="16160" y="4602"/>
                    <a:pt x="16160" y="4485"/>
                  </a:cubicBezTo>
                  <a:cubicBezTo>
                    <a:pt x="16160" y="4369"/>
                    <a:pt x="16054" y="4273"/>
                    <a:pt x="15923" y="4273"/>
                  </a:cubicBezTo>
                  <a:close/>
                  <a:moveTo>
                    <a:pt x="16630" y="4273"/>
                  </a:moveTo>
                  <a:cubicBezTo>
                    <a:pt x="16499" y="4273"/>
                    <a:pt x="16392" y="4369"/>
                    <a:pt x="16392" y="4485"/>
                  </a:cubicBezTo>
                  <a:cubicBezTo>
                    <a:pt x="16392" y="4602"/>
                    <a:pt x="16499" y="4695"/>
                    <a:pt x="16630" y="4695"/>
                  </a:cubicBezTo>
                  <a:cubicBezTo>
                    <a:pt x="16761" y="4695"/>
                    <a:pt x="16866" y="4602"/>
                    <a:pt x="16866" y="4485"/>
                  </a:cubicBezTo>
                  <a:cubicBezTo>
                    <a:pt x="16866" y="4369"/>
                    <a:pt x="16761" y="4273"/>
                    <a:pt x="16630" y="4273"/>
                  </a:cubicBezTo>
                  <a:close/>
                  <a:moveTo>
                    <a:pt x="1016" y="4839"/>
                  </a:moveTo>
                  <a:cubicBezTo>
                    <a:pt x="884" y="4839"/>
                    <a:pt x="777" y="4934"/>
                    <a:pt x="777" y="5051"/>
                  </a:cubicBezTo>
                  <a:cubicBezTo>
                    <a:pt x="777" y="5167"/>
                    <a:pt x="884" y="5261"/>
                    <a:pt x="1016" y="5261"/>
                  </a:cubicBezTo>
                  <a:cubicBezTo>
                    <a:pt x="1147" y="5261"/>
                    <a:pt x="1252" y="5167"/>
                    <a:pt x="1252" y="5051"/>
                  </a:cubicBezTo>
                  <a:cubicBezTo>
                    <a:pt x="1252" y="4934"/>
                    <a:pt x="1147" y="4839"/>
                    <a:pt x="1016" y="4839"/>
                  </a:cubicBezTo>
                  <a:close/>
                  <a:moveTo>
                    <a:pt x="1652" y="4839"/>
                  </a:moveTo>
                  <a:cubicBezTo>
                    <a:pt x="1520" y="4839"/>
                    <a:pt x="1413" y="4934"/>
                    <a:pt x="1413" y="5051"/>
                  </a:cubicBezTo>
                  <a:cubicBezTo>
                    <a:pt x="1413" y="5167"/>
                    <a:pt x="1520" y="5261"/>
                    <a:pt x="1652" y="5261"/>
                  </a:cubicBezTo>
                  <a:cubicBezTo>
                    <a:pt x="1783" y="5261"/>
                    <a:pt x="1888" y="5167"/>
                    <a:pt x="1888" y="5051"/>
                  </a:cubicBezTo>
                  <a:cubicBezTo>
                    <a:pt x="1888" y="4934"/>
                    <a:pt x="1783" y="4839"/>
                    <a:pt x="1652" y="4839"/>
                  </a:cubicBezTo>
                  <a:close/>
                  <a:moveTo>
                    <a:pt x="2287" y="4839"/>
                  </a:moveTo>
                  <a:cubicBezTo>
                    <a:pt x="2156" y="4839"/>
                    <a:pt x="2049" y="4934"/>
                    <a:pt x="2049" y="5051"/>
                  </a:cubicBezTo>
                  <a:cubicBezTo>
                    <a:pt x="2049" y="5167"/>
                    <a:pt x="2156" y="5261"/>
                    <a:pt x="2287" y="5261"/>
                  </a:cubicBezTo>
                  <a:cubicBezTo>
                    <a:pt x="2419" y="5261"/>
                    <a:pt x="2524" y="5167"/>
                    <a:pt x="2524" y="5051"/>
                  </a:cubicBezTo>
                  <a:cubicBezTo>
                    <a:pt x="2524" y="4934"/>
                    <a:pt x="2419" y="4839"/>
                    <a:pt x="2287" y="4839"/>
                  </a:cubicBezTo>
                  <a:close/>
                  <a:moveTo>
                    <a:pt x="2994" y="4839"/>
                  </a:moveTo>
                  <a:cubicBezTo>
                    <a:pt x="2863" y="4839"/>
                    <a:pt x="2755" y="4934"/>
                    <a:pt x="2755" y="5051"/>
                  </a:cubicBezTo>
                  <a:cubicBezTo>
                    <a:pt x="2755" y="5167"/>
                    <a:pt x="2863" y="5261"/>
                    <a:pt x="2994" y="5261"/>
                  </a:cubicBezTo>
                  <a:cubicBezTo>
                    <a:pt x="3125" y="5261"/>
                    <a:pt x="3230" y="5167"/>
                    <a:pt x="3230" y="5051"/>
                  </a:cubicBezTo>
                  <a:cubicBezTo>
                    <a:pt x="3230" y="4934"/>
                    <a:pt x="3125" y="4839"/>
                    <a:pt x="2994" y="4839"/>
                  </a:cubicBezTo>
                  <a:close/>
                  <a:moveTo>
                    <a:pt x="3700" y="4839"/>
                  </a:moveTo>
                  <a:cubicBezTo>
                    <a:pt x="3569" y="4839"/>
                    <a:pt x="3462" y="4934"/>
                    <a:pt x="3462" y="5051"/>
                  </a:cubicBezTo>
                  <a:cubicBezTo>
                    <a:pt x="3462" y="5167"/>
                    <a:pt x="3569" y="5261"/>
                    <a:pt x="3700" y="5261"/>
                  </a:cubicBezTo>
                  <a:cubicBezTo>
                    <a:pt x="3832" y="5261"/>
                    <a:pt x="3937" y="5167"/>
                    <a:pt x="3937" y="5051"/>
                  </a:cubicBezTo>
                  <a:cubicBezTo>
                    <a:pt x="3937" y="4934"/>
                    <a:pt x="3832" y="4839"/>
                    <a:pt x="3700" y="4839"/>
                  </a:cubicBezTo>
                  <a:close/>
                  <a:moveTo>
                    <a:pt x="4336" y="4839"/>
                  </a:moveTo>
                  <a:cubicBezTo>
                    <a:pt x="4205" y="4839"/>
                    <a:pt x="4098" y="4934"/>
                    <a:pt x="4098" y="5051"/>
                  </a:cubicBezTo>
                  <a:cubicBezTo>
                    <a:pt x="4098" y="5167"/>
                    <a:pt x="4205" y="5261"/>
                    <a:pt x="4336" y="5261"/>
                  </a:cubicBezTo>
                  <a:cubicBezTo>
                    <a:pt x="4468" y="5261"/>
                    <a:pt x="4573" y="5167"/>
                    <a:pt x="4573" y="5051"/>
                  </a:cubicBezTo>
                  <a:cubicBezTo>
                    <a:pt x="4573" y="4934"/>
                    <a:pt x="4468" y="4839"/>
                    <a:pt x="4336" y="4839"/>
                  </a:cubicBezTo>
                  <a:close/>
                  <a:moveTo>
                    <a:pt x="5043" y="4839"/>
                  </a:moveTo>
                  <a:cubicBezTo>
                    <a:pt x="4912" y="4839"/>
                    <a:pt x="4804" y="4934"/>
                    <a:pt x="4804" y="5051"/>
                  </a:cubicBezTo>
                  <a:cubicBezTo>
                    <a:pt x="4804" y="5167"/>
                    <a:pt x="4912" y="5261"/>
                    <a:pt x="5043" y="5261"/>
                  </a:cubicBezTo>
                  <a:cubicBezTo>
                    <a:pt x="5174" y="5261"/>
                    <a:pt x="5279" y="5167"/>
                    <a:pt x="5279" y="5051"/>
                  </a:cubicBezTo>
                  <a:cubicBezTo>
                    <a:pt x="5279" y="4934"/>
                    <a:pt x="5174" y="4839"/>
                    <a:pt x="5043" y="4839"/>
                  </a:cubicBezTo>
                  <a:close/>
                  <a:moveTo>
                    <a:pt x="5749" y="4839"/>
                  </a:moveTo>
                  <a:cubicBezTo>
                    <a:pt x="5618" y="4839"/>
                    <a:pt x="5511" y="4934"/>
                    <a:pt x="5511" y="5051"/>
                  </a:cubicBezTo>
                  <a:cubicBezTo>
                    <a:pt x="5511" y="5167"/>
                    <a:pt x="5618" y="5261"/>
                    <a:pt x="5749" y="5261"/>
                  </a:cubicBezTo>
                  <a:cubicBezTo>
                    <a:pt x="5880" y="5261"/>
                    <a:pt x="5986" y="5167"/>
                    <a:pt x="5986" y="5051"/>
                  </a:cubicBezTo>
                  <a:cubicBezTo>
                    <a:pt x="5986" y="4934"/>
                    <a:pt x="5880" y="4839"/>
                    <a:pt x="5749" y="4839"/>
                  </a:cubicBezTo>
                  <a:close/>
                  <a:moveTo>
                    <a:pt x="6385" y="4839"/>
                  </a:moveTo>
                  <a:cubicBezTo>
                    <a:pt x="6254" y="4839"/>
                    <a:pt x="6147" y="4934"/>
                    <a:pt x="6147" y="5051"/>
                  </a:cubicBezTo>
                  <a:cubicBezTo>
                    <a:pt x="6147" y="5167"/>
                    <a:pt x="6254" y="5261"/>
                    <a:pt x="6385" y="5261"/>
                  </a:cubicBezTo>
                  <a:cubicBezTo>
                    <a:pt x="6517" y="5261"/>
                    <a:pt x="6622" y="5167"/>
                    <a:pt x="6622" y="5051"/>
                  </a:cubicBezTo>
                  <a:cubicBezTo>
                    <a:pt x="6622" y="4934"/>
                    <a:pt x="6517" y="4839"/>
                    <a:pt x="6385" y="4839"/>
                  </a:cubicBezTo>
                  <a:close/>
                  <a:moveTo>
                    <a:pt x="7092" y="4839"/>
                  </a:moveTo>
                  <a:cubicBezTo>
                    <a:pt x="6961" y="4839"/>
                    <a:pt x="6853" y="4934"/>
                    <a:pt x="6853" y="5051"/>
                  </a:cubicBezTo>
                  <a:cubicBezTo>
                    <a:pt x="6853" y="5167"/>
                    <a:pt x="6961" y="5261"/>
                    <a:pt x="7092" y="5261"/>
                  </a:cubicBezTo>
                  <a:cubicBezTo>
                    <a:pt x="7223" y="5261"/>
                    <a:pt x="7328" y="5167"/>
                    <a:pt x="7328" y="5051"/>
                  </a:cubicBezTo>
                  <a:cubicBezTo>
                    <a:pt x="7328" y="4934"/>
                    <a:pt x="7223" y="4839"/>
                    <a:pt x="7092" y="4839"/>
                  </a:cubicBezTo>
                  <a:close/>
                  <a:moveTo>
                    <a:pt x="7798" y="4839"/>
                  </a:moveTo>
                  <a:cubicBezTo>
                    <a:pt x="7667" y="4839"/>
                    <a:pt x="7560" y="4934"/>
                    <a:pt x="7560" y="5051"/>
                  </a:cubicBezTo>
                  <a:cubicBezTo>
                    <a:pt x="7560" y="5167"/>
                    <a:pt x="7667" y="5261"/>
                    <a:pt x="7798" y="5261"/>
                  </a:cubicBezTo>
                  <a:cubicBezTo>
                    <a:pt x="7930" y="5261"/>
                    <a:pt x="8035" y="5167"/>
                    <a:pt x="8035" y="5051"/>
                  </a:cubicBezTo>
                  <a:cubicBezTo>
                    <a:pt x="8035" y="4934"/>
                    <a:pt x="7930" y="4839"/>
                    <a:pt x="7798" y="4839"/>
                  </a:cubicBezTo>
                  <a:close/>
                  <a:moveTo>
                    <a:pt x="8434" y="4839"/>
                  </a:moveTo>
                  <a:cubicBezTo>
                    <a:pt x="8303" y="4839"/>
                    <a:pt x="8196" y="4934"/>
                    <a:pt x="8196" y="5051"/>
                  </a:cubicBezTo>
                  <a:cubicBezTo>
                    <a:pt x="8196" y="5167"/>
                    <a:pt x="8303" y="5261"/>
                    <a:pt x="8434" y="5261"/>
                  </a:cubicBezTo>
                  <a:cubicBezTo>
                    <a:pt x="8565" y="5261"/>
                    <a:pt x="8670" y="5167"/>
                    <a:pt x="8670" y="5051"/>
                  </a:cubicBezTo>
                  <a:cubicBezTo>
                    <a:pt x="8670" y="4934"/>
                    <a:pt x="8565" y="4839"/>
                    <a:pt x="8434" y="4839"/>
                  </a:cubicBezTo>
                  <a:close/>
                  <a:moveTo>
                    <a:pt x="9141" y="4839"/>
                  </a:moveTo>
                  <a:cubicBezTo>
                    <a:pt x="9009" y="4839"/>
                    <a:pt x="8902" y="4934"/>
                    <a:pt x="8902" y="5051"/>
                  </a:cubicBezTo>
                  <a:cubicBezTo>
                    <a:pt x="8902" y="5167"/>
                    <a:pt x="9009" y="5261"/>
                    <a:pt x="9141" y="5261"/>
                  </a:cubicBezTo>
                  <a:cubicBezTo>
                    <a:pt x="9272" y="5261"/>
                    <a:pt x="9377" y="5167"/>
                    <a:pt x="9377" y="5051"/>
                  </a:cubicBezTo>
                  <a:cubicBezTo>
                    <a:pt x="9377" y="4934"/>
                    <a:pt x="9272" y="4839"/>
                    <a:pt x="9141" y="4839"/>
                  </a:cubicBezTo>
                  <a:close/>
                  <a:moveTo>
                    <a:pt x="9847" y="4839"/>
                  </a:moveTo>
                  <a:cubicBezTo>
                    <a:pt x="9716" y="4839"/>
                    <a:pt x="9609" y="4934"/>
                    <a:pt x="9609" y="5051"/>
                  </a:cubicBezTo>
                  <a:cubicBezTo>
                    <a:pt x="9609" y="5167"/>
                    <a:pt x="9716" y="5261"/>
                    <a:pt x="9847" y="5261"/>
                  </a:cubicBezTo>
                  <a:cubicBezTo>
                    <a:pt x="9978" y="5261"/>
                    <a:pt x="10084" y="5167"/>
                    <a:pt x="10084" y="5051"/>
                  </a:cubicBezTo>
                  <a:cubicBezTo>
                    <a:pt x="10084" y="4934"/>
                    <a:pt x="9978" y="4839"/>
                    <a:pt x="9847" y="4839"/>
                  </a:cubicBezTo>
                  <a:close/>
                  <a:moveTo>
                    <a:pt x="10483" y="4839"/>
                  </a:moveTo>
                  <a:cubicBezTo>
                    <a:pt x="10352" y="4839"/>
                    <a:pt x="10245" y="4934"/>
                    <a:pt x="10245" y="5051"/>
                  </a:cubicBezTo>
                  <a:cubicBezTo>
                    <a:pt x="10245" y="5167"/>
                    <a:pt x="10352" y="5261"/>
                    <a:pt x="10483" y="5261"/>
                  </a:cubicBezTo>
                  <a:cubicBezTo>
                    <a:pt x="10614" y="5261"/>
                    <a:pt x="10719" y="5167"/>
                    <a:pt x="10719" y="5051"/>
                  </a:cubicBezTo>
                  <a:cubicBezTo>
                    <a:pt x="10719" y="4934"/>
                    <a:pt x="10614" y="4839"/>
                    <a:pt x="10483" y="4839"/>
                  </a:cubicBezTo>
                  <a:close/>
                  <a:moveTo>
                    <a:pt x="11190" y="4839"/>
                  </a:moveTo>
                  <a:cubicBezTo>
                    <a:pt x="11058" y="4839"/>
                    <a:pt x="10951" y="4934"/>
                    <a:pt x="10951" y="5051"/>
                  </a:cubicBezTo>
                  <a:cubicBezTo>
                    <a:pt x="10951" y="5167"/>
                    <a:pt x="11058" y="5261"/>
                    <a:pt x="11190" y="5261"/>
                  </a:cubicBezTo>
                  <a:cubicBezTo>
                    <a:pt x="11321" y="5261"/>
                    <a:pt x="11426" y="5167"/>
                    <a:pt x="11426" y="5051"/>
                  </a:cubicBezTo>
                  <a:cubicBezTo>
                    <a:pt x="11426" y="4934"/>
                    <a:pt x="11321" y="4839"/>
                    <a:pt x="11190" y="4839"/>
                  </a:cubicBezTo>
                  <a:close/>
                  <a:moveTo>
                    <a:pt x="11826" y="4839"/>
                  </a:moveTo>
                  <a:cubicBezTo>
                    <a:pt x="11694" y="4839"/>
                    <a:pt x="11587" y="4934"/>
                    <a:pt x="11587" y="5051"/>
                  </a:cubicBezTo>
                  <a:cubicBezTo>
                    <a:pt x="11587" y="5167"/>
                    <a:pt x="11694" y="5261"/>
                    <a:pt x="11826" y="5261"/>
                  </a:cubicBezTo>
                  <a:cubicBezTo>
                    <a:pt x="11957" y="5261"/>
                    <a:pt x="12062" y="5167"/>
                    <a:pt x="12062" y="5051"/>
                  </a:cubicBezTo>
                  <a:cubicBezTo>
                    <a:pt x="12062" y="4934"/>
                    <a:pt x="11957" y="4839"/>
                    <a:pt x="11826" y="4839"/>
                  </a:cubicBezTo>
                  <a:close/>
                  <a:moveTo>
                    <a:pt x="12532" y="4839"/>
                  </a:moveTo>
                  <a:cubicBezTo>
                    <a:pt x="12401" y="4839"/>
                    <a:pt x="12294" y="4934"/>
                    <a:pt x="12294" y="5051"/>
                  </a:cubicBezTo>
                  <a:cubicBezTo>
                    <a:pt x="12294" y="5167"/>
                    <a:pt x="12401" y="5261"/>
                    <a:pt x="12532" y="5261"/>
                  </a:cubicBezTo>
                  <a:cubicBezTo>
                    <a:pt x="12663" y="5261"/>
                    <a:pt x="12768" y="5167"/>
                    <a:pt x="12768" y="5051"/>
                  </a:cubicBezTo>
                  <a:cubicBezTo>
                    <a:pt x="12768" y="4934"/>
                    <a:pt x="12663" y="4839"/>
                    <a:pt x="12532" y="4839"/>
                  </a:cubicBezTo>
                  <a:close/>
                  <a:moveTo>
                    <a:pt x="13239" y="4839"/>
                  </a:moveTo>
                  <a:cubicBezTo>
                    <a:pt x="13107" y="4839"/>
                    <a:pt x="13000" y="4934"/>
                    <a:pt x="13000" y="5051"/>
                  </a:cubicBezTo>
                  <a:cubicBezTo>
                    <a:pt x="13000" y="5167"/>
                    <a:pt x="13107" y="5261"/>
                    <a:pt x="13239" y="5261"/>
                  </a:cubicBezTo>
                  <a:cubicBezTo>
                    <a:pt x="13370" y="5261"/>
                    <a:pt x="13475" y="5167"/>
                    <a:pt x="13475" y="5051"/>
                  </a:cubicBezTo>
                  <a:cubicBezTo>
                    <a:pt x="13475" y="4934"/>
                    <a:pt x="13370" y="4839"/>
                    <a:pt x="13239" y="4839"/>
                  </a:cubicBezTo>
                  <a:close/>
                  <a:moveTo>
                    <a:pt x="13875" y="4839"/>
                  </a:moveTo>
                  <a:cubicBezTo>
                    <a:pt x="13743" y="4839"/>
                    <a:pt x="13636" y="4934"/>
                    <a:pt x="13636" y="5051"/>
                  </a:cubicBezTo>
                  <a:cubicBezTo>
                    <a:pt x="13636" y="5167"/>
                    <a:pt x="13743" y="5261"/>
                    <a:pt x="13875" y="5261"/>
                  </a:cubicBezTo>
                  <a:cubicBezTo>
                    <a:pt x="14005" y="5261"/>
                    <a:pt x="14111" y="5167"/>
                    <a:pt x="14111" y="5051"/>
                  </a:cubicBezTo>
                  <a:cubicBezTo>
                    <a:pt x="14111" y="4934"/>
                    <a:pt x="14005" y="4839"/>
                    <a:pt x="13875" y="4839"/>
                  </a:cubicBezTo>
                  <a:close/>
                  <a:moveTo>
                    <a:pt x="14581" y="4839"/>
                  </a:moveTo>
                  <a:cubicBezTo>
                    <a:pt x="14450" y="4839"/>
                    <a:pt x="14343" y="4934"/>
                    <a:pt x="14343" y="5051"/>
                  </a:cubicBezTo>
                  <a:cubicBezTo>
                    <a:pt x="14343" y="5167"/>
                    <a:pt x="14450" y="5261"/>
                    <a:pt x="14581" y="5261"/>
                  </a:cubicBezTo>
                  <a:cubicBezTo>
                    <a:pt x="14712" y="5261"/>
                    <a:pt x="14817" y="5167"/>
                    <a:pt x="14817" y="5051"/>
                  </a:cubicBezTo>
                  <a:cubicBezTo>
                    <a:pt x="14817" y="4934"/>
                    <a:pt x="14712" y="4839"/>
                    <a:pt x="14581" y="4839"/>
                  </a:cubicBezTo>
                  <a:close/>
                  <a:moveTo>
                    <a:pt x="15217" y="4839"/>
                  </a:moveTo>
                  <a:cubicBezTo>
                    <a:pt x="15086" y="4839"/>
                    <a:pt x="14978" y="4934"/>
                    <a:pt x="14978" y="5051"/>
                  </a:cubicBezTo>
                  <a:cubicBezTo>
                    <a:pt x="14978" y="5167"/>
                    <a:pt x="15086" y="5261"/>
                    <a:pt x="15217" y="5261"/>
                  </a:cubicBezTo>
                  <a:cubicBezTo>
                    <a:pt x="15348" y="5261"/>
                    <a:pt x="15453" y="5167"/>
                    <a:pt x="15453" y="5051"/>
                  </a:cubicBezTo>
                  <a:cubicBezTo>
                    <a:pt x="15453" y="4934"/>
                    <a:pt x="15348" y="4839"/>
                    <a:pt x="15217" y="4839"/>
                  </a:cubicBezTo>
                  <a:close/>
                  <a:moveTo>
                    <a:pt x="15923" y="4839"/>
                  </a:moveTo>
                  <a:cubicBezTo>
                    <a:pt x="15792" y="4839"/>
                    <a:pt x="15685" y="4934"/>
                    <a:pt x="15685" y="5051"/>
                  </a:cubicBezTo>
                  <a:cubicBezTo>
                    <a:pt x="15685" y="5167"/>
                    <a:pt x="15792" y="5261"/>
                    <a:pt x="15923" y="5261"/>
                  </a:cubicBezTo>
                  <a:cubicBezTo>
                    <a:pt x="16054" y="5261"/>
                    <a:pt x="16160" y="5167"/>
                    <a:pt x="16160" y="5051"/>
                  </a:cubicBezTo>
                  <a:cubicBezTo>
                    <a:pt x="16160" y="4934"/>
                    <a:pt x="16054" y="4839"/>
                    <a:pt x="15923" y="4839"/>
                  </a:cubicBezTo>
                  <a:close/>
                  <a:moveTo>
                    <a:pt x="16630" y="4839"/>
                  </a:moveTo>
                  <a:cubicBezTo>
                    <a:pt x="16499" y="4839"/>
                    <a:pt x="16392" y="4934"/>
                    <a:pt x="16392" y="5051"/>
                  </a:cubicBezTo>
                  <a:cubicBezTo>
                    <a:pt x="16392" y="5167"/>
                    <a:pt x="16499" y="5261"/>
                    <a:pt x="16630" y="5261"/>
                  </a:cubicBezTo>
                  <a:cubicBezTo>
                    <a:pt x="16761" y="5261"/>
                    <a:pt x="16866" y="5167"/>
                    <a:pt x="16866" y="5051"/>
                  </a:cubicBezTo>
                  <a:cubicBezTo>
                    <a:pt x="16866" y="4934"/>
                    <a:pt x="16761" y="4839"/>
                    <a:pt x="16630" y="4839"/>
                  </a:cubicBezTo>
                  <a:close/>
                  <a:moveTo>
                    <a:pt x="1016" y="5404"/>
                  </a:moveTo>
                  <a:cubicBezTo>
                    <a:pt x="884" y="5404"/>
                    <a:pt x="777" y="5500"/>
                    <a:pt x="777" y="5617"/>
                  </a:cubicBezTo>
                  <a:cubicBezTo>
                    <a:pt x="777" y="5733"/>
                    <a:pt x="884" y="5827"/>
                    <a:pt x="1016" y="5827"/>
                  </a:cubicBezTo>
                  <a:cubicBezTo>
                    <a:pt x="1147" y="5827"/>
                    <a:pt x="1252" y="5733"/>
                    <a:pt x="1252" y="5617"/>
                  </a:cubicBezTo>
                  <a:cubicBezTo>
                    <a:pt x="1252" y="5500"/>
                    <a:pt x="1147" y="5404"/>
                    <a:pt x="1016" y="5404"/>
                  </a:cubicBezTo>
                  <a:close/>
                  <a:moveTo>
                    <a:pt x="1652" y="5404"/>
                  </a:moveTo>
                  <a:cubicBezTo>
                    <a:pt x="1520" y="5404"/>
                    <a:pt x="1413" y="5500"/>
                    <a:pt x="1413" y="5617"/>
                  </a:cubicBezTo>
                  <a:cubicBezTo>
                    <a:pt x="1413" y="5733"/>
                    <a:pt x="1520" y="5827"/>
                    <a:pt x="1652" y="5827"/>
                  </a:cubicBezTo>
                  <a:cubicBezTo>
                    <a:pt x="1783" y="5827"/>
                    <a:pt x="1888" y="5733"/>
                    <a:pt x="1888" y="5617"/>
                  </a:cubicBezTo>
                  <a:cubicBezTo>
                    <a:pt x="1888" y="5500"/>
                    <a:pt x="1783" y="5404"/>
                    <a:pt x="1652" y="5404"/>
                  </a:cubicBezTo>
                  <a:close/>
                  <a:moveTo>
                    <a:pt x="2287" y="5404"/>
                  </a:moveTo>
                  <a:cubicBezTo>
                    <a:pt x="2156" y="5404"/>
                    <a:pt x="2049" y="5500"/>
                    <a:pt x="2049" y="5617"/>
                  </a:cubicBezTo>
                  <a:cubicBezTo>
                    <a:pt x="2049" y="5733"/>
                    <a:pt x="2156" y="5827"/>
                    <a:pt x="2287" y="5827"/>
                  </a:cubicBezTo>
                  <a:cubicBezTo>
                    <a:pt x="2419" y="5827"/>
                    <a:pt x="2524" y="5733"/>
                    <a:pt x="2524" y="5617"/>
                  </a:cubicBezTo>
                  <a:cubicBezTo>
                    <a:pt x="2524" y="5500"/>
                    <a:pt x="2419" y="5404"/>
                    <a:pt x="2287" y="5404"/>
                  </a:cubicBezTo>
                  <a:close/>
                  <a:moveTo>
                    <a:pt x="2994" y="5404"/>
                  </a:moveTo>
                  <a:cubicBezTo>
                    <a:pt x="2863" y="5404"/>
                    <a:pt x="2755" y="5500"/>
                    <a:pt x="2755" y="5617"/>
                  </a:cubicBezTo>
                  <a:cubicBezTo>
                    <a:pt x="2755" y="5733"/>
                    <a:pt x="2863" y="5827"/>
                    <a:pt x="2994" y="5827"/>
                  </a:cubicBezTo>
                  <a:cubicBezTo>
                    <a:pt x="3125" y="5827"/>
                    <a:pt x="3230" y="5733"/>
                    <a:pt x="3230" y="5617"/>
                  </a:cubicBezTo>
                  <a:cubicBezTo>
                    <a:pt x="3230" y="5500"/>
                    <a:pt x="3125" y="5404"/>
                    <a:pt x="2994" y="5404"/>
                  </a:cubicBezTo>
                  <a:close/>
                  <a:moveTo>
                    <a:pt x="3700" y="5404"/>
                  </a:moveTo>
                  <a:cubicBezTo>
                    <a:pt x="3569" y="5404"/>
                    <a:pt x="3462" y="5500"/>
                    <a:pt x="3462" y="5617"/>
                  </a:cubicBezTo>
                  <a:cubicBezTo>
                    <a:pt x="3462" y="5733"/>
                    <a:pt x="3569" y="5827"/>
                    <a:pt x="3700" y="5827"/>
                  </a:cubicBezTo>
                  <a:cubicBezTo>
                    <a:pt x="3832" y="5827"/>
                    <a:pt x="3937" y="5733"/>
                    <a:pt x="3937" y="5617"/>
                  </a:cubicBezTo>
                  <a:cubicBezTo>
                    <a:pt x="3937" y="5500"/>
                    <a:pt x="3832" y="5404"/>
                    <a:pt x="3700" y="5404"/>
                  </a:cubicBezTo>
                  <a:close/>
                  <a:moveTo>
                    <a:pt x="4336" y="5404"/>
                  </a:moveTo>
                  <a:cubicBezTo>
                    <a:pt x="4205" y="5404"/>
                    <a:pt x="4098" y="5500"/>
                    <a:pt x="4098" y="5617"/>
                  </a:cubicBezTo>
                  <a:cubicBezTo>
                    <a:pt x="4098" y="5733"/>
                    <a:pt x="4205" y="5827"/>
                    <a:pt x="4336" y="5827"/>
                  </a:cubicBezTo>
                  <a:cubicBezTo>
                    <a:pt x="4468" y="5827"/>
                    <a:pt x="4573" y="5733"/>
                    <a:pt x="4573" y="5617"/>
                  </a:cubicBezTo>
                  <a:cubicBezTo>
                    <a:pt x="4573" y="5500"/>
                    <a:pt x="4468" y="5404"/>
                    <a:pt x="4336" y="5404"/>
                  </a:cubicBezTo>
                  <a:close/>
                  <a:moveTo>
                    <a:pt x="5043" y="5404"/>
                  </a:moveTo>
                  <a:cubicBezTo>
                    <a:pt x="4912" y="5404"/>
                    <a:pt x="4804" y="5500"/>
                    <a:pt x="4804" y="5617"/>
                  </a:cubicBezTo>
                  <a:cubicBezTo>
                    <a:pt x="4804" y="5733"/>
                    <a:pt x="4912" y="5827"/>
                    <a:pt x="5043" y="5827"/>
                  </a:cubicBezTo>
                  <a:cubicBezTo>
                    <a:pt x="5174" y="5827"/>
                    <a:pt x="5279" y="5733"/>
                    <a:pt x="5279" y="5617"/>
                  </a:cubicBezTo>
                  <a:cubicBezTo>
                    <a:pt x="5279" y="5500"/>
                    <a:pt x="5174" y="5404"/>
                    <a:pt x="5043" y="5404"/>
                  </a:cubicBezTo>
                  <a:close/>
                  <a:moveTo>
                    <a:pt x="5749" y="5404"/>
                  </a:moveTo>
                  <a:cubicBezTo>
                    <a:pt x="5618" y="5404"/>
                    <a:pt x="5511" y="5500"/>
                    <a:pt x="5511" y="5617"/>
                  </a:cubicBezTo>
                  <a:cubicBezTo>
                    <a:pt x="5511" y="5733"/>
                    <a:pt x="5618" y="5827"/>
                    <a:pt x="5749" y="5827"/>
                  </a:cubicBezTo>
                  <a:cubicBezTo>
                    <a:pt x="5880" y="5827"/>
                    <a:pt x="5986" y="5733"/>
                    <a:pt x="5986" y="5617"/>
                  </a:cubicBezTo>
                  <a:cubicBezTo>
                    <a:pt x="5986" y="5500"/>
                    <a:pt x="5880" y="5404"/>
                    <a:pt x="5749" y="5404"/>
                  </a:cubicBezTo>
                  <a:close/>
                  <a:moveTo>
                    <a:pt x="6385" y="5404"/>
                  </a:moveTo>
                  <a:cubicBezTo>
                    <a:pt x="6254" y="5404"/>
                    <a:pt x="6147" y="5500"/>
                    <a:pt x="6147" y="5617"/>
                  </a:cubicBezTo>
                  <a:cubicBezTo>
                    <a:pt x="6147" y="5733"/>
                    <a:pt x="6254" y="5827"/>
                    <a:pt x="6385" y="5827"/>
                  </a:cubicBezTo>
                  <a:cubicBezTo>
                    <a:pt x="6517" y="5827"/>
                    <a:pt x="6622" y="5733"/>
                    <a:pt x="6622" y="5617"/>
                  </a:cubicBezTo>
                  <a:cubicBezTo>
                    <a:pt x="6622" y="5500"/>
                    <a:pt x="6517" y="5404"/>
                    <a:pt x="6385" y="5404"/>
                  </a:cubicBezTo>
                  <a:close/>
                  <a:moveTo>
                    <a:pt x="7092" y="5404"/>
                  </a:moveTo>
                  <a:cubicBezTo>
                    <a:pt x="6961" y="5404"/>
                    <a:pt x="6853" y="5500"/>
                    <a:pt x="6853" y="5617"/>
                  </a:cubicBezTo>
                  <a:cubicBezTo>
                    <a:pt x="6853" y="5733"/>
                    <a:pt x="6961" y="5827"/>
                    <a:pt x="7092" y="5827"/>
                  </a:cubicBezTo>
                  <a:cubicBezTo>
                    <a:pt x="7223" y="5827"/>
                    <a:pt x="7328" y="5733"/>
                    <a:pt x="7328" y="5617"/>
                  </a:cubicBezTo>
                  <a:cubicBezTo>
                    <a:pt x="7328" y="5500"/>
                    <a:pt x="7223" y="5404"/>
                    <a:pt x="7092" y="5404"/>
                  </a:cubicBezTo>
                  <a:close/>
                  <a:moveTo>
                    <a:pt x="7798" y="5404"/>
                  </a:moveTo>
                  <a:cubicBezTo>
                    <a:pt x="7667" y="5404"/>
                    <a:pt x="7560" y="5500"/>
                    <a:pt x="7560" y="5617"/>
                  </a:cubicBezTo>
                  <a:cubicBezTo>
                    <a:pt x="7560" y="5733"/>
                    <a:pt x="7667" y="5827"/>
                    <a:pt x="7798" y="5827"/>
                  </a:cubicBezTo>
                  <a:cubicBezTo>
                    <a:pt x="7930" y="5827"/>
                    <a:pt x="8035" y="5733"/>
                    <a:pt x="8035" y="5617"/>
                  </a:cubicBezTo>
                  <a:cubicBezTo>
                    <a:pt x="8035" y="5500"/>
                    <a:pt x="7930" y="5404"/>
                    <a:pt x="7798" y="5404"/>
                  </a:cubicBezTo>
                  <a:close/>
                  <a:moveTo>
                    <a:pt x="8434" y="5404"/>
                  </a:moveTo>
                  <a:cubicBezTo>
                    <a:pt x="8303" y="5404"/>
                    <a:pt x="8196" y="5500"/>
                    <a:pt x="8196" y="5617"/>
                  </a:cubicBezTo>
                  <a:cubicBezTo>
                    <a:pt x="8196" y="5733"/>
                    <a:pt x="8303" y="5827"/>
                    <a:pt x="8434" y="5827"/>
                  </a:cubicBezTo>
                  <a:cubicBezTo>
                    <a:pt x="8565" y="5827"/>
                    <a:pt x="8670" y="5733"/>
                    <a:pt x="8670" y="5617"/>
                  </a:cubicBezTo>
                  <a:cubicBezTo>
                    <a:pt x="8670" y="5500"/>
                    <a:pt x="8565" y="5404"/>
                    <a:pt x="8434" y="5404"/>
                  </a:cubicBezTo>
                  <a:close/>
                  <a:moveTo>
                    <a:pt x="9141" y="5404"/>
                  </a:moveTo>
                  <a:cubicBezTo>
                    <a:pt x="9009" y="5404"/>
                    <a:pt x="8902" y="5500"/>
                    <a:pt x="8902" y="5617"/>
                  </a:cubicBezTo>
                  <a:cubicBezTo>
                    <a:pt x="8902" y="5733"/>
                    <a:pt x="9009" y="5827"/>
                    <a:pt x="9141" y="5827"/>
                  </a:cubicBezTo>
                  <a:cubicBezTo>
                    <a:pt x="9272" y="5827"/>
                    <a:pt x="9377" y="5733"/>
                    <a:pt x="9377" y="5617"/>
                  </a:cubicBezTo>
                  <a:cubicBezTo>
                    <a:pt x="9377" y="5500"/>
                    <a:pt x="9272" y="5404"/>
                    <a:pt x="9141" y="5404"/>
                  </a:cubicBezTo>
                  <a:close/>
                  <a:moveTo>
                    <a:pt x="9847" y="5404"/>
                  </a:moveTo>
                  <a:cubicBezTo>
                    <a:pt x="9716" y="5404"/>
                    <a:pt x="9609" y="5500"/>
                    <a:pt x="9609" y="5617"/>
                  </a:cubicBezTo>
                  <a:cubicBezTo>
                    <a:pt x="9609" y="5733"/>
                    <a:pt x="9716" y="5827"/>
                    <a:pt x="9847" y="5827"/>
                  </a:cubicBezTo>
                  <a:cubicBezTo>
                    <a:pt x="9978" y="5827"/>
                    <a:pt x="10084" y="5733"/>
                    <a:pt x="10084" y="5617"/>
                  </a:cubicBezTo>
                  <a:cubicBezTo>
                    <a:pt x="10084" y="5500"/>
                    <a:pt x="9978" y="5404"/>
                    <a:pt x="9847" y="5404"/>
                  </a:cubicBezTo>
                  <a:close/>
                  <a:moveTo>
                    <a:pt x="10483" y="5404"/>
                  </a:moveTo>
                  <a:cubicBezTo>
                    <a:pt x="10352" y="5404"/>
                    <a:pt x="10245" y="5500"/>
                    <a:pt x="10245" y="5617"/>
                  </a:cubicBezTo>
                  <a:cubicBezTo>
                    <a:pt x="10245" y="5733"/>
                    <a:pt x="10352" y="5827"/>
                    <a:pt x="10483" y="5827"/>
                  </a:cubicBezTo>
                  <a:cubicBezTo>
                    <a:pt x="10614" y="5827"/>
                    <a:pt x="10719" y="5733"/>
                    <a:pt x="10719" y="5617"/>
                  </a:cubicBezTo>
                  <a:cubicBezTo>
                    <a:pt x="10719" y="5500"/>
                    <a:pt x="10614" y="5404"/>
                    <a:pt x="10483" y="5404"/>
                  </a:cubicBezTo>
                  <a:close/>
                  <a:moveTo>
                    <a:pt x="11190" y="5404"/>
                  </a:moveTo>
                  <a:cubicBezTo>
                    <a:pt x="11058" y="5404"/>
                    <a:pt x="10951" y="5500"/>
                    <a:pt x="10951" y="5617"/>
                  </a:cubicBezTo>
                  <a:cubicBezTo>
                    <a:pt x="10951" y="5733"/>
                    <a:pt x="11058" y="5827"/>
                    <a:pt x="11190" y="5827"/>
                  </a:cubicBezTo>
                  <a:cubicBezTo>
                    <a:pt x="11321" y="5827"/>
                    <a:pt x="11426" y="5733"/>
                    <a:pt x="11426" y="5617"/>
                  </a:cubicBezTo>
                  <a:cubicBezTo>
                    <a:pt x="11426" y="5500"/>
                    <a:pt x="11321" y="5404"/>
                    <a:pt x="11190" y="5404"/>
                  </a:cubicBezTo>
                  <a:close/>
                  <a:moveTo>
                    <a:pt x="11826" y="5404"/>
                  </a:moveTo>
                  <a:cubicBezTo>
                    <a:pt x="11694" y="5404"/>
                    <a:pt x="11587" y="5500"/>
                    <a:pt x="11587" y="5617"/>
                  </a:cubicBezTo>
                  <a:cubicBezTo>
                    <a:pt x="11587" y="5733"/>
                    <a:pt x="11694" y="5827"/>
                    <a:pt x="11826" y="5827"/>
                  </a:cubicBezTo>
                  <a:cubicBezTo>
                    <a:pt x="11957" y="5827"/>
                    <a:pt x="12062" y="5733"/>
                    <a:pt x="12062" y="5617"/>
                  </a:cubicBezTo>
                  <a:cubicBezTo>
                    <a:pt x="12062" y="5500"/>
                    <a:pt x="11957" y="5404"/>
                    <a:pt x="11826" y="5404"/>
                  </a:cubicBezTo>
                  <a:close/>
                  <a:moveTo>
                    <a:pt x="12532" y="5404"/>
                  </a:moveTo>
                  <a:cubicBezTo>
                    <a:pt x="12401" y="5404"/>
                    <a:pt x="12294" y="5500"/>
                    <a:pt x="12294" y="5617"/>
                  </a:cubicBezTo>
                  <a:cubicBezTo>
                    <a:pt x="12294" y="5733"/>
                    <a:pt x="12401" y="5827"/>
                    <a:pt x="12532" y="5827"/>
                  </a:cubicBezTo>
                  <a:cubicBezTo>
                    <a:pt x="12663" y="5827"/>
                    <a:pt x="12768" y="5733"/>
                    <a:pt x="12768" y="5617"/>
                  </a:cubicBezTo>
                  <a:cubicBezTo>
                    <a:pt x="12768" y="5500"/>
                    <a:pt x="12663" y="5404"/>
                    <a:pt x="12532" y="5404"/>
                  </a:cubicBezTo>
                  <a:close/>
                  <a:moveTo>
                    <a:pt x="13239" y="5404"/>
                  </a:moveTo>
                  <a:cubicBezTo>
                    <a:pt x="13107" y="5404"/>
                    <a:pt x="13000" y="5500"/>
                    <a:pt x="13000" y="5617"/>
                  </a:cubicBezTo>
                  <a:cubicBezTo>
                    <a:pt x="13000" y="5733"/>
                    <a:pt x="13107" y="5827"/>
                    <a:pt x="13239" y="5827"/>
                  </a:cubicBezTo>
                  <a:cubicBezTo>
                    <a:pt x="13370" y="5827"/>
                    <a:pt x="13475" y="5733"/>
                    <a:pt x="13475" y="5617"/>
                  </a:cubicBezTo>
                  <a:cubicBezTo>
                    <a:pt x="13475" y="5500"/>
                    <a:pt x="13370" y="5404"/>
                    <a:pt x="13239" y="5404"/>
                  </a:cubicBezTo>
                  <a:close/>
                  <a:moveTo>
                    <a:pt x="13875" y="5404"/>
                  </a:moveTo>
                  <a:cubicBezTo>
                    <a:pt x="13743" y="5404"/>
                    <a:pt x="13636" y="5500"/>
                    <a:pt x="13636" y="5617"/>
                  </a:cubicBezTo>
                  <a:cubicBezTo>
                    <a:pt x="13636" y="5733"/>
                    <a:pt x="13743" y="5827"/>
                    <a:pt x="13875" y="5827"/>
                  </a:cubicBezTo>
                  <a:cubicBezTo>
                    <a:pt x="14005" y="5827"/>
                    <a:pt x="14111" y="5733"/>
                    <a:pt x="14111" y="5617"/>
                  </a:cubicBezTo>
                  <a:cubicBezTo>
                    <a:pt x="14111" y="5500"/>
                    <a:pt x="14005" y="5404"/>
                    <a:pt x="13875" y="5404"/>
                  </a:cubicBezTo>
                  <a:close/>
                  <a:moveTo>
                    <a:pt x="14581" y="5404"/>
                  </a:moveTo>
                  <a:cubicBezTo>
                    <a:pt x="14450" y="5404"/>
                    <a:pt x="14343" y="5500"/>
                    <a:pt x="14343" y="5617"/>
                  </a:cubicBezTo>
                  <a:cubicBezTo>
                    <a:pt x="14343" y="5733"/>
                    <a:pt x="14450" y="5827"/>
                    <a:pt x="14581" y="5827"/>
                  </a:cubicBezTo>
                  <a:cubicBezTo>
                    <a:pt x="14712" y="5827"/>
                    <a:pt x="14817" y="5733"/>
                    <a:pt x="14817" y="5617"/>
                  </a:cubicBezTo>
                  <a:cubicBezTo>
                    <a:pt x="14817" y="5500"/>
                    <a:pt x="14712" y="5404"/>
                    <a:pt x="14581" y="5404"/>
                  </a:cubicBezTo>
                  <a:close/>
                  <a:moveTo>
                    <a:pt x="15217" y="5404"/>
                  </a:moveTo>
                  <a:cubicBezTo>
                    <a:pt x="15086" y="5404"/>
                    <a:pt x="14978" y="5500"/>
                    <a:pt x="14978" y="5617"/>
                  </a:cubicBezTo>
                  <a:cubicBezTo>
                    <a:pt x="14978" y="5733"/>
                    <a:pt x="15086" y="5827"/>
                    <a:pt x="15217" y="5827"/>
                  </a:cubicBezTo>
                  <a:cubicBezTo>
                    <a:pt x="15348" y="5827"/>
                    <a:pt x="15453" y="5733"/>
                    <a:pt x="15453" y="5617"/>
                  </a:cubicBezTo>
                  <a:cubicBezTo>
                    <a:pt x="15453" y="5500"/>
                    <a:pt x="15348" y="5404"/>
                    <a:pt x="15217" y="5404"/>
                  </a:cubicBezTo>
                  <a:close/>
                  <a:moveTo>
                    <a:pt x="15923" y="5404"/>
                  </a:moveTo>
                  <a:cubicBezTo>
                    <a:pt x="15792" y="5404"/>
                    <a:pt x="15685" y="5500"/>
                    <a:pt x="15685" y="5617"/>
                  </a:cubicBezTo>
                  <a:cubicBezTo>
                    <a:pt x="15685" y="5733"/>
                    <a:pt x="15792" y="5827"/>
                    <a:pt x="15923" y="5827"/>
                  </a:cubicBezTo>
                  <a:cubicBezTo>
                    <a:pt x="16054" y="5827"/>
                    <a:pt x="16160" y="5733"/>
                    <a:pt x="16160" y="5617"/>
                  </a:cubicBezTo>
                  <a:cubicBezTo>
                    <a:pt x="16160" y="5500"/>
                    <a:pt x="16054" y="5404"/>
                    <a:pt x="15923" y="5404"/>
                  </a:cubicBezTo>
                  <a:close/>
                  <a:moveTo>
                    <a:pt x="16630" y="5404"/>
                  </a:moveTo>
                  <a:cubicBezTo>
                    <a:pt x="16499" y="5404"/>
                    <a:pt x="16392" y="5500"/>
                    <a:pt x="16392" y="5617"/>
                  </a:cubicBezTo>
                  <a:cubicBezTo>
                    <a:pt x="16392" y="5733"/>
                    <a:pt x="16499" y="5827"/>
                    <a:pt x="16630" y="5827"/>
                  </a:cubicBezTo>
                  <a:cubicBezTo>
                    <a:pt x="16761" y="5827"/>
                    <a:pt x="16866" y="5733"/>
                    <a:pt x="16866" y="5617"/>
                  </a:cubicBezTo>
                  <a:cubicBezTo>
                    <a:pt x="16866" y="5500"/>
                    <a:pt x="16761" y="5404"/>
                    <a:pt x="16630" y="5404"/>
                  </a:cubicBezTo>
                  <a:close/>
                  <a:moveTo>
                    <a:pt x="17266" y="5404"/>
                  </a:moveTo>
                  <a:cubicBezTo>
                    <a:pt x="17134" y="5404"/>
                    <a:pt x="17027" y="5500"/>
                    <a:pt x="17027" y="5617"/>
                  </a:cubicBezTo>
                  <a:cubicBezTo>
                    <a:pt x="17027" y="5733"/>
                    <a:pt x="17134" y="5827"/>
                    <a:pt x="17266" y="5827"/>
                  </a:cubicBezTo>
                  <a:cubicBezTo>
                    <a:pt x="17397" y="5827"/>
                    <a:pt x="17502" y="5733"/>
                    <a:pt x="17502" y="5617"/>
                  </a:cubicBezTo>
                  <a:cubicBezTo>
                    <a:pt x="17502" y="5500"/>
                    <a:pt x="17397" y="5404"/>
                    <a:pt x="17266" y="5404"/>
                  </a:cubicBezTo>
                  <a:close/>
                  <a:moveTo>
                    <a:pt x="238" y="6033"/>
                  </a:moveTo>
                  <a:cubicBezTo>
                    <a:pt x="107" y="6033"/>
                    <a:pt x="0" y="6128"/>
                    <a:pt x="0" y="6245"/>
                  </a:cubicBezTo>
                  <a:cubicBezTo>
                    <a:pt x="0" y="6362"/>
                    <a:pt x="107" y="6455"/>
                    <a:pt x="238" y="6455"/>
                  </a:cubicBezTo>
                  <a:cubicBezTo>
                    <a:pt x="370" y="6455"/>
                    <a:pt x="475" y="6362"/>
                    <a:pt x="475" y="6245"/>
                  </a:cubicBezTo>
                  <a:cubicBezTo>
                    <a:pt x="475" y="6128"/>
                    <a:pt x="370" y="6033"/>
                    <a:pt x="238" y="6033"/>
                  </a:cubicBezTo>
                  <a:close/>
                  <a:moveTo>
                    <a:pt x="1016" y="6033"/>
                  </a:moveTo>
                  <a:cubicBezTo>
                    <a:pt x="884" y="6033"/>
                    <a:pt x="777" y="6128"/>
                    <a:pt x="777" y="6245"/>
                  </a:cubicBezTo>
                  <a:cubicBezTo>
                    <a:pt x="777" y="6362"/>
                    <a:pt x="884" y="6455"/>
                    <a:pt x="1016" y="6455"/>
                  </a:cubicBezTo>
                  <a:cubicBezTo>
                    <a:pt x="1147" y="6455"/>
                    <a:pt x="1252" y="6362"/>
                    <a:pt x="1252" y="6245"/>
                  </a:cubicBezTo>
                  <a:cubicBezTo>
                    <a:pt x="1252" y="6128"/>
                    <a:pt x="1147" y="6033"/>
                    <a:pt x="1016" y="6033"/>
                  </a:cubicBezTo>
                  <a:close/>
                  <a:moveTo>
                    <a:pt x="1652" y="6033"/>
                  </a:moveTo>
                  <a:cubicBezTo>
                    <a:pt x="1520" y="6033"/>
                    <a:pt x="1413" y="6128"/>
                    <a:pt x="1413" y="6245"/>
                  </a:cubicBezTo>
                  <a:cubicBezTo>
                    <a:pt x="1413" y="6362"/>
                    <a:pt x="1520" y="6455"/>
                    <a:pt x="1652" y="6455"/>
                  </a:cubicBezTo>
                  <a:cubicBezTo>
                    <a:pt x="1783" y="6455"/>
                    <a:pt x="1888" y="6362"/>
                    <a:pt x="1888" y="6245"/>
                  </a:cubicBezTo>
                  <a:cubicBezTo>
                    <a:pt x="1888" y="6128"/>
                    <a:pt x="1783" y="6033"/>
                    <a:pt x="1652" y="6033"/>
                  </a:cubicBezTo>
                  <a:close/>
                  <a:moveTo>
                    <a:pt x="2287" y="6033"/>
                  </a:moveTo>
                  <a:cubicBezTo>
                    <a:pt x="2156" y="6033"/>
                    <a:pt x="2049" y="6128"/>
                    <a:pt x="2049" y="6245"/>
                  </a:cubicBezTo>
                  <a:cubicBezTo>
                    <a:pt x="2049" y="6362"/>
                    <a:pt x="2156" y="6455"/>
                    <a:pt x="2287" y="6455"/>
                  </a:cubicBezTo>
                  <a:cubicBezTo>
                    <a:pt x="2419" y="6455"/>
                    <a:pt x="2524" y="6362"/>
                    <a:pt x="2524" y="6245"/>
                  </a:cubicBezTo>
                  <a:cubicBezTo>
                    <a:pt x="2524" y="6128"/>
                    <a:pt x="2419" y="6033"/>
                    <a:pt x="2287" y="6033"/>
                  </a:cubicBezTo>
                  <a:close/>
                  <a:moveTo>
                    <a:pt x="2994" y="6033"/>
                  </a:moveTo>
                  <a:cubicBezTo>
                    <a:pt x="2863" y="6033"/>
                    <a:pt x="2755" y="6128"/>
                    <a:pt x="2755" y="6245"/>
                  </a:cubicBezTo>
                  <a:cubicBezTo>
                    <a:pt x="2755" y="6362"/>
                    <a:pt x="2863" y="6455"/>
                    <a:pt x="2994" y="6455"/>
                  </a:cubicBezTo>
                  <a:cubicBezTo>
                    <a:pt x="3125" y="6455"/>
                    <a:pt x="3230" y="6362"/>
                    <a:pt x="3230" y="6245"/>
                  </a:cubicBezTo>
                  <a:cubicBezTo>
                    <a:pt x="3230" y="6128"/>
                    <a:pt x="3125" y="6033"/>
                    <a:pt x="2994" y="6033"/>
                  </a:cubicBezTo>
                  <a:close/>
                  <a:moveTo>
                    <a:pt x="3700" y="6033"/>
                  </a:moveTo>
                  <a:cubicBezTo>
                    <a:pt x="3569" y="6033"/>
                    <a:pt x="3462" y="6128"/>
                    <a:pt x="3462" y="6245"/>
                  </a:cubicBezTo>
                  <a:cubicBezTo>
                    <a:pt x="3462" y="6362"/>
                    <a:pt x="3569" y="6455"/>
                    <a:pt x="3700" y="6455"/>
                  </a:cubicBezTo>
                  <a:cubicBezTo>
                    <a:pt x="3832" y="6455"/>
                    <a:pt x="3937" y="6362"/>
                    <a:pt x="3937" y="6245"/>
                  </a:cubicBezTo>
                  <a:cubicBezTo>
                    <a:pt x="3937" y="6128"/>
                    <a:pt x="3832" y="6033"/>
                    <a:pt x="3700" y="6033"/>
                  </a:cubicBezTo>
                  <a:close/>
                  <a:moveTo>
                    <a:pt x="4336" y="6033"/>
                  </a:moveTo>
                  <a:cubicBezTo>
                    <a:pt x="4205" y="6033"/>
                    <a:pt x="4098" y="6128"/>
                    <a:pt x="4098" y="6245"/>
                  </a:cubicBezTo>
                  <a:cubicBezTo>
                    <a:pt x="4098" y="6362"/>
                    <a:pt x="4205" y="6455"/>
                    <a:pt x="4336" y="6455"/>
                  </a:cubicBezTo>
                  <a:cubicBezTo>
                    <a:pt x="4468" y="6455"/>
                    <a:pt x="4573" y="6362"/>
                    <a:pt x="4573" y="6245"/>
                  </a:cubicBezTo>
                  <a:cubicBezTo>
                    <a:pt x="4573" y="6128"/>
                    <a:pt x="4468" y="6033"/>
                    <a:pt x="4336" y="6033"/>
                  </a:cubicBezTo>
                  <a:close/>
                  <a:moveTo>
                    <a:pt x="5043" y="6033"/>
                  </a:moveTo>
                  <a:cubicBezTo>
                    <a:pt x="4912" y="6033"/>
                    <a:pt x="4804" y="6128"/>
                    <a:pt x="4804" y="6245"/>
                  </a:cubicBezTo>
                  <a:cubicBezTo>
                    <a:pt x="4804" y="6362"/>
                    <a:pt x="4912" y="6455"/>
                    <a:pt x="5043" y="6455"/>
                  </a:cubicBezTo>
                  <a:cubicBezTo>
                    <a:pt x="5174" y="6455"/>
                    <a:pt x="5279" y="6362"/>
                    <a:pt x="5279" y="6245"/>
                  </a:cubicBezTo>
                  <a:cubicBezTo>
                    <a:pt x="5279" y="6128"/>
                    <a:pt x="5174" y="6033"/>
                    <a:pt x="5043" y="6033"/>
                  </a:cubicBezTo>
                  <a:close/>
                  <a:moveTo>
                    <a:pt x="5749" y="6033"/>
                  </a:moveTo>
                  <a:cubicBezTo>
                    <a:pt x="5618" y="6033"/>
                    <a:pt x="5511" y="6128"/>
                    <a:pt x="5511" y="6245"/>
                  </a:cubicBezTo>
                  <a:cubicBezTo>
                    <a:pt x="5511" y="6362"/>
                    <a:pt x="5618" y="6455"/>
                    <a:pt x="5749" y="6455"/>
                  </a:cubicBezTo>
                  <a:cubicBezTo>
                    <a:pt x="5880" y="6455"/>
                    <a:pt x="5986" y="6362"/>
                    <a:pt x="5986" y="6245"/>
                  </a:cubicBezTo>
                  <a:cubicBezTo>
                    <a:pt x="5986" y="6128"/>
                    <a:pt x="5880" y="6033"/>
                    <a:pt x="5749" y="6033"/>
                  </a:cubicBezTo>
                  <a:close/>
                  <a:moveTo>
                    <a:pt x="6385" y="6033"/>
                  </a:moveTo>
                  <a:cubicBezTo>
                    <a:pt x="6254" y="6033"/>
                    <a:pt x="6147" y="6128"/>
                    <a:pt x="6147" y="6245"/>
                  </a:cubicBezTo>
                  <a:cubicBezTo>
                    <a:pt x="6147" y="6362"/>
                    <a:pt x="6254" y="6455"/>
                    <a:pt x="6385" y="6455"/>
                  </a:cubicBezTo>
                  <a:cubicBezTo>
                    <a:pt x="6517" y="6455"/>
                    <a:pt x="6622" y="6362"/>
                    <a:pt x="6622" y="6245"/>
                  </a:cubicBezTo>
                  <a:cubicBezTo>
                    <a:pt x="6622" y="6128"/>
                    <a:pt x="6517" y="6033"/>
                    <a:pt x="6385" y="6033"/>
                  </a:cubicBezTo>
                  <a:close/>
                  <a:moveTo>
                    <a:pt x="7092" y="6033"/>
                  </a:moveTo>
                  <a:cubicBezTo>
                    <a:pt x="6961" y="6033"/>
                    <a:pt x="6853" y="6128"/>
                    <a:pt x="6853" y="6245"/>
                  </a:cubicBezTo>
                  <a:cubicBezTo>
                    <a:pt x="6853" y="6362"/>
                    <a:pt x="6961" y="6455"/>
                    <a:pt x="7092" y="6455"/>
                  </a:cubicBezTo>
                  <a:cubicBezTo>
                    <a:pt x="7223" y="6455"/>
                    <a:pt x="7328" y="6362"/>
                    <a:pt x="7328" y="6245"/>
                  </a:cubicBezTo>
                  <a:cubicBezTo>
                    <a:pt x="7328" y="6128"/>
                    <a:pt x="7223" y="6033"/>
                    <a:pt x="7092" y="6033"/>
                  </a:cubicBezTo>
                  <a:close/>
                  <a:moveTo>
                    <a:pt x="7798" y="6033"/>
                  </a:moveTo>
                  <a:cubicBezTo>
                    <a:pt x="7667" y="6033"/>
                    <a:pt x="7560" y="6128"/>
                    <a:pt x="7560" y="6245"/>
                  </a:cubicBezTo>
                  <a:cubicBezTo>
                    <a:pt x="7560" y="6362"/>
                    <a:pt x="7667" y="6455"/>
                    <a:pt x="7798" y="6455"/>
                  </a:cubicBezTo>
                  <a:cubicBezTo>
                    <a:pt x="7930" y="6455"/>
                    <a:pt x="8035" y="6362"/>
                    <a:pt x="8035" y="6245"/>
                  </a:cubicBezTo>
                  <a:cubicBezTo>
                    <a:pt x="8035" y="6128"/>
                    <a:pt x="7930" y="6033"/>
                    <a:pt x="7798" y="6033"/>
                  </a:cubicBezTo>
                  <a:close/>
                  <a:moveTo>
                    <a:pt x="8434" y="6033"/>
                  </a:moveTo>
                  <a:cubicBezTo>
                    <a:pt x="8303" y="6033"/>
                    <a:pt x="8196" y="6128"/>
                    <a:pt x="8196" y="6245"/>
                  </a:cubicBezTo>
                  <a:cubicBezTo>
                    <a:pt x="8196" y="6362"/>
                    <a:pt x="8303" y="6455"/>
                    <a:pt x="8434" y="6455"/>
                  </a:cubicBezTo>
                  <a:cubicBezTo>
                    <a:pt x="8565" y="6455"/>
                    <a:pt x="8670" y="6362"/>
                    <a:pt x="8670" y="6245"/>
                  </a:cubicBezTo>
                  <a:cubicBezTo>
                    <a:pt x="8670" y="6128"/>
                    <a:pt x="8565" y="6033"/>
                    <a:pt x="8434" y="6033"/>
                  </a:cubicBezTo>
                  <a:close/>
                  <a:moveTo>
                    <a:pt x="9141" y="6033"/>
                  </a:moveTo>
                  <a:cubicBezTo>
                    <a:pt x="9009" y="6033"/>
                    <a:pt x="8902" y="6128"/>
                    <a:pt x="8902" y="6245"/>
                  </a:cubicBezTo>
                  <a:cubicBezTo>
                    <a:pt x="8902" y="6362"/>
                    <a:pt x="9009" y="6455"/>
                    <a:pt x="9141" y="6455"/>
                  </a:cubicBezTo>
                  <a:cubicBezTo>
                    <a:pt x="9272" y="6455"/>
                    <a:pt x="9377" y="6362"/>
                    <a:pt x="9377" y="6245"/>
                  </a:cubicBezTo>
                  <a:cubicBezTo>
                    <a:pt x="9377" y="6128"/>
                    <a:pt x="9272" y="6033"/>
                    <a:pt x="9141" y="6033"/>
                  </a:cubicBezTo>
                  <a:close/>
                  <a:moveTo>
                    <a:pt x="9847" y="6033"/>
                  </a:moveTo>
                  <a:cubicBezTo>
                    <a:pt x="9716" y="6033"/>
                    <a:pt x="9609" y="6128"/>
                    <a:pt x="9609" y="6245"/>
                  </a:cubicBezTo>
                  <a:cubicBezTo>
                    <a:pt x="9609" y="6362"/>
                    <a:pt x="9716" y="6455"/>
                    <a:pt x="9847" y="6455"/>
                  </a:cubicBezTo>
                  <a:cubicBezTo>
                    <a:pt x="9978" y="6455"/>
                    <a:pt x="10084" y="6362"/>
                    <a:pt x="10084" y="6245"/>
                  </a:cubicBezTo>
                  <a:cubicBezTo>
                    <a:pt x="10084" y="6128"/>
                    <a:pt x="9978" y="6033"/>
                    <a:pt x="9847" y="6033"/>
                  </a:cubicBezTo>
                  <a:close/>
                  <a:moveTo>
                    <a:pt x="10483" y="6033"/>
                  </a:moveTo>
                  <a:cubicBezTo>
                    <a:pt x="10352" y="6033"/>
                    <a:pt x="10245" y="6128"/>
                    <a:pt x="10245" y="6245"/>
                  </a:cubicBezTo>
                  <a:cubicBezTo>
                    <a:pt x="10245" y="6362"/>
                    <a:pt x="10352" y="6455"/>
                    <a:pt x="10483" y="6455"/>
                  </a:cubicBezTo>
                  <a:cubicBezTo>
                    <a:pt x="10614" y="6455"/>
                    <a:pt x="10719" y="6362"/>
                    <a:pt x="10719" y="6245"/>
                  </a:cubicBezTo>
                  <a:cubicBezTo>
                    <a:pt x="10719" y="6128"/>
                    <a:pt x="10614" y="6033"/>
                    <a:pt x="10483" y="6033"/>
                  </a:cubicBezTo>
                  <a:close/>
                  <a:moveTo>
                    <a:pt x="11190" y="6033"/>
                  </a:moveTo>
                  <a:cubicBezTo>
                    <a:pt x="11058" y="6033"/>
                    <a:pt x="10951" y="6128"/>
                    <a:pt x="10951" y="6245"/>
                  </a:cubicBezTo>
                  <a:cubicBezTo>
                    <a:pt x="10951" y="6362"/>
                    <a:pt x="11058" y="6455"/>
                    <a:pt x="11190" y="6455"/>
                  </a:cubicBezTo>
                  <a:cubicBezTo>
                    <a:pt x="11321" y="6455"/>
                    <a:pt x="11426" y="6362"/>
                    <a:pt x="11426" y="6245"/>
                  </a:cubicBezTo>
                  <a:cubicBezTo>
                    <a:pt x="11426" y="6128"/>
                    <a:pt x="11321" y="6033"/>
                    <a:pt x="11190" y="6033"/>
                  </a:cubicBezTo>
                  <a:close/>
                  <a:moveTo>
                    <a:pt x="11826" y="6033"/>
                  </a:moveTo>
                  <a:cubicBezTo>
                    <a:pt x="11694" y="6033"/>
                    <a:pt x="11587" y="6128"/>
                    <a:pt x="11587" y="6245"/>
                  </a:cubicBezTo>
                  <a:cubicBezTo>
                    <a:pt x="11587" y="6362"/>
                    <a:pt x="11694" y="6455"/>
                    <a:pt x="11826" y="6455"/>
                  </a:cubicBezTo>
                  <a:cubicBezTo>
                    <a:pt x="11957" y="6455"/>
                    <a:pt x="12062" y="6362"/>
                    <a:pt x="12062" y="6245"/>
                  </a:cubicBezTo>
                  <a:cubicBezTo>
                    <a:pt x="12062" y="6128"/>
                    <a:pt x="11957" y="6033"/>
                    <a:pt x="11826" y="6033"/>
                  </a:cubicBezTo>
                  <a:close/>
                  <a:moveTo>
                    <a:pt x="12532" y="6033"/>
                  </a:moveTo>
                  <a:cubicBezTo>
                    <a:pt x="12401" y="6033"/>
                    <a:pt x="12294" y="6128"/>
                    <a:pt x="12294" y="6245"/>
                  </a:cubicBezTo>
                  <a:cubicBezTo>
                    <a:pt x="12294" y="6362"/>
                    <a:pt x="12401" y="6455"/>
                    <a:pt x="12532" y="6455"/>
                  </a:cubicBezTo>
                  <a:cubicBezTo>
                    <a:pt x="12663" y="6455"/>
                    <a:pt x="12768" y="6362"/>
                    <a:pt x="12768" y="6245"/>
                  </a:cubicBezTo>
                  <a:cubicBezTo>
                    <a:pt x="12768" y="6128"/>
                    <a:pt x="12663" y="6033"/>
                    <a:pt x="12532" y="6033"/>
                  </a:cubicBezTo>
                  <a:close/>
                  <a:moveTo>
                    <a:pt x="13239" y="6033"/>
                  </a:moveTo>
                  <a:cubicBezTo>
                    <a:pt x="13107" y="6033"/>
                    <a:pt x="13000" y="6128"/>
                    <a:pt x="13000" y="6245"/>
                  </a:cubicBezTo>
                  <a:cubicBezTo>
                    <a:pt x="13000" y="6362"/>
                    <a:pt x="13107" y="6455"/>
                    <a:pt x="13239" y="6455"/>
                  </a:cubicBezTo>
                  <a:cubicBezTo>
                    <a:pt x="13370" y="6455"/>
                    <a:pt x="13475" y="6362"/>
                    <a:pt x="13475" y="6245"/>
                  </a:cubicBezTo>
                  <a:cubicBezTo>
                    <a:pt x="13475" y="6128"/>
                    <a:pt x="13370" y="6033"/>
                    <a:pt x="13239" y="6033"/>
                  </a:cubicBezTo>
                  <a:close/>
                  <a:moveTo>
                    <a:pt x="13875" y="6033"/>
                  </a:moveTo>
                  <a:cubicBezTo>
                    <a:pt x="13743" y="6033"/>
                    <a:pt x="13636" y="6128"/>
                    <a:pt x="13636" y="6245"/>
                  </a:cubicBezTo>
                  <a:cubicBezTo>
                    <a:pt x="13636" y="6362"/>
                    <a:pt x="13743" y="6455"/>
                    <a:pt x="13875" y="6455"/>
                  </a:cubicBezTo>
                  <a:cubicBezTo>
                    <a:pt x="14005" y="6455"/>
                    <a:pt x="14111" y="6362"/>
                    <a:pt x="14111" y="6245"/>
                  </a:cubicBezTo>
                  <a:cubicBezTo>
                    <a:pt x="14111" y="6128"/>
                    <a:pt x="14005" y="6033"/>
                    <a:pt x="13875" y="6033"/>
                  </a:cubicBezTo>
                  <a:close/>
                  <a:moveTo>
                    <a:pt x="14581" y="6033"/>
                  </a:moveTo>
                  <a:cubicBezTo>
                    <a:pt x="14450" y="6033"/>
                    <a:pt x="14343" y="6128"/>
                    <a:pt x="14343" y="6245"/>
                  </a:cubicBezTo>
                  <a:cubicBezTo>
                    <a:pt x="14343" y="6362"/>
                    <a:pt x="14450" y="6455"/>
                    <a:pt x="14581" y="6455"/>
                  </a:cubicBezTo>
                  <a:cubicBezTo>
                    <a:pt x="14712" y="6455"/>
                    <a:pt x="14817" y="6362"/>
                    <a:pt x="14817" y="6245"/>
                  </a:cubicBezTo>
                  <a:cubicBezTo>
                    <a:pt x="14817" y="6128"/>
                    <a:pt x="14712" y="6033"/>
                    <a:pt x="14581" y="6033"/>
                  </a:cubicBezTo>
                  <a:close/>
                  <a:moveTo>
                    <a:pt x="15217" y="6033"/>
                  </a:moveTo>
                  <a:cubicBezTo>
                    <a:pt x="15086" y="6033"/>
                    <a:pt x="14978" y="6128"/>
                    <a:pt x="14978" y="6245"/>
                  </a:cubicBezTo>
                  <a:cubicBezTo>
                    <a:pt x="14978" y="6362"/>
                    <a:pt x="15086" y="6455"/>
                    <a:pt x="15217" y="6455"/>
                  </a:cubicBezTo>
                  <a:cubicBezTo>
                    <a:pt x="15348" y="6455"/>
                    <a:pt x="15453" y="6362"/>
                    <a:pt x="15453" y="6245"/>
                  </a:cubicBezTo>
                  <a:cubicBezTo>
                    <a:pt x="15453" y="6128"/>
                    <a:pt x="15348" y="6033"/>
                    <a:pt x="15217" y="6033"/>
                  </a:cubicBezTo>
                  <a:close/>
                  <a:moveTo>
                    <a:pt x="15923" y="6033"/>
                  </a:moveTo>
                  <a:cubicBezTo>
                    <a:pt x="15792" y="6033"/>
                    <a:pt x="15685" y="6128"/>
                    <a:pt x="15685" y="6245"/>
                  </a:cubicBezTo>
                  <a:cubicBezTo>
                    <a:pt x="15685" y="6362"/>
                    <a:pt x="15792" y="6455"/>
                    <a:pt x="15923" y="6455"/>
                  </a:cubicBezTo>
                  <a:cubicBezTo>
                    <a:pt x="16054" y="6455"/>
                    <a:pt x="16160" y="6362"/>
                    <a:pt x="16160" y="6245"/>
                  </a:cubicBezTo>
                  <a:cubicBezTo>
                    <a:pt x="16160" y="6128"/>
                    <a:pt x="16054" y="6033"/>
                    <a:pt x="15923" y="6033"/>
                  </a:cubicBezTo>
                  <a:close/>
                  <a:moveTo>
                    <a:pt x="16630" y="6033"/>
                  </a:moveTo>
                  <a:cubicBezTo>
                    <a:pt x="16499" y="6033"/>
                    <a:pt x="16392" y="6128"/>
                    <a:pt x="16392" y="6245"/>
                  </a:cubicBezTo>
                  <a:cubicBezTo>
                    <a:pt x="16392" y="6362"/>
                    <a:pt x="16499" y="6455"/>
                    <a:pt x="16630" y="6455"/>
                  </a:cubicBezTo>
                  <a:cubicBezTo>
                    <a:pt x="16761" y="6455"/>
                    <a:pt x="16866" y="6362"/>
                    <a:pt x="16866" y="6245"/>
                  </a:cubicBezTo>
                  <a:cubicBezTo>
                    <a:pt x="16866" y="6128"/>
                    <a:pt x="16761" y="6033"/>
                    <a:pt x="16630" y="6033"/>
                  </a:cubicBezTo>
                  <a:close/>
                  <a:moveTo>
                    <a:pt x="17266" y="6033"/>
                  </a:moveTo>
                  <a:cubicBezTo>
                    <a:pt x="17134" y="6033"/>
                    <a:pt x="17027" y="6128"/>
                    <a:pt x="17027" y="6245"/>
                  </a:cubicBezTo>
                  <a:cubicBezTo>
                    <a:pt x="17027" y="6362"/>
                    <a:pt x="17134" y="6455"/>
                    <a:pt x="17266" y="6455"/>
                  </a:cubicBezTo>
                  <a:cubicBezTo>
                    <a:pt x="17397" y="6455"/>
                    <a:pt x="17502" y="6362"/>
                    <a:pt x="17502" y="6245"/>
                  </a:cubicBezTo>
                  <a:cubicBezTo>
                    <a:pt x="17502" y="6128"/>
                    <a:pt x="17397" y="6033"/>
                    <a:pt x="17266" y="6033"/>
                  </a:cubicBezTo>
                  <a:close/>
                  <a:moveTo>
                    <a:pt x="1016" y="6661"/>
                  </a:moveTo>
                  <a:cubicBezTo>
                    <a:pt x="884" y="6661"/>
                    <a:pt x="777" y="6757"/>
                    <a:pt x="777" y="6873"/>
                  </a:cubicBezTo>
                  <a:cubicBezTo>
                    <a:pt x="777" y="6990"/>
                    <a:pt x="884" y="7083"/>
                    <a:pt x="1016" y="7083"/>
                  </a:cubicBezTo>
                  <a:cubicBezTo>
                    <a:pt x="1147" y="7083"/>
                    <a:pt x="1252" y="6990"/>
                    <a:pt x="1252" y="6873"/>
                  </a:cubicBezTo>
                  <a:cubicBezTo>
                    <a:pt x="1252" y="6757"/>
                    <a:pt x="1147" y="6661"/>
                    <a:pt x="1016" y="6661"/>
                  </a:cubicBezTo>
                  <a:close/>
                  <a:moveTo>
                    <a:pt x="1652" y="6661"/>
                  </a:moveTo>
                  <a:cubicBezTo>
                    <a:pt x="1520" y="6661"/>
                    <a:pt x="1413" y="6757"/>
                    <a:pt x="1413" y="6873"/>
                  </a:cubicBezTo>
                  <a:cubicBezTo>
                    <a:pt x="1413" y="6990"/>
                    <a:pt x="1520" y="7083"/>
                    <a:pt x="1652" y="7083"/>
                  </a:cubicBezTo>
                  <a:cubicBezTo>
                    <a:pt x="1783" y="7083"/>
                    <a:pt x="1888" y="6990"/>
                    <a:pt x="1888" y="6873"/>
                  </a:cubicBezTo>
                  <a:cubicBezTo>
                    <a:pt x="1888" y="6757"/>
                    <a:pt x="1783" y="6661"/>
                    <a:pt x="1652" y="6661"/>
                  </a:cubicBezTo>
                  <a:close/>
                  <a:moveTo>
                    <a:pt x="2287" y="6661"/>
                  </a:moveTo>
                  <a:cubicBezTo>
                    <a:pt x="2156" y="6661"/>
                    <a:pt x="2049" y="6757"/>
                    <a:pt x="2049" y="6873"/>
                  </a:cubicBezTo>
                  <a:cubicBezTo>
                    <a:pt x="2049" y="6990"/>
                    <a:pt x="2156" y="7083"/>
                    <a:pt x="2287" y="7083"/>
                  </a:cubicBezTo>
                  <a:cubicBezTo>
                    <a:pt x="2419" y="7083"/>
                    <a:pt x="2524" y="6990"/>
                    <a:pt x="2524" y="6873"/>
                  </a:cubicBezTo>
                  <a:cubicBezTo>
                    <a:pt x="2524" y="6757"/>
                    <a:pt x="2419" y="6661"/>
                    <a:pt x="2287" y="6661"/>
                  </a:cubicBezTo>
                  <a:close/>
                  <a:moveTo>
                    <a:pt x="2994" y="6661"/>
                  </a:moveTo>
                  <a:cubicBezTo>
                    <a:pt x="2863" y="6661"/>
                    <a:pt x="2755" y="6757"/>
                    <a:pt x="2755" y="6873"/>
                  </a:cubicBezTo>
                  <a:cubicBezTo>
                    <a:pt x="2755" y="6990"/>
                    <a:pt x="2863" y="7083"/>
                    <a:pt x="2994" y="7083"/>
                  </a:cubicBezTo>
                  <a:cubicBezTo>
                    <a:pt x="3125" y="7083"/>
                    <a:pt x="3230" y="6990"/>
                    <a:pt x="3230" y="6873"/>
                  </a:cubicBezTo>
                  <a:cubicBezTo>
                    <a:pt x="3230" y="6757"/>
                    <a:pt x="3125" y="6661"/>
                    <a:pt x="2994" y="6661"/>
                  </a:cubicBezTo>
                  <a:close/>
                  <a:moveTo>
                    <a:pt x="3700" y="6661"/>
                  </a:moveTo>
                  <a:cubicBezTo>
                    <a:pt x="3569" y="6661"/>
                    <a:pt x="3462" y="6757"/>
                    <a:pt x="3462" y="6873"/>
                  </a:cubicBezTo>
                  <a:cubicBezTo>
                    <a:pt x="3462" y="6990"/>
                    <a:pt x="3569" y="7083"/>
                    <a:pt x="3700" y="7083"/>
                  </a:cubicBezTo>
                  <a:cubicBezTo>
                    <a:pt x="3832" y="7083"/>
                    <a:pt x="3937" y="6990"/>
                    <a:pt x="3937" y="6873"/>
                  </a:cubicBezTo>
                  <a:cubicBezTo>
                    <a:pt x="3937" y="6757"/>
                    <a:pt x="3832" y="6661"/>
                    <a:pt x="3700" y="6661"/>
                  </a:cubicBezTo>
                  <a:close/>
                  <a:moveTo>
                    <a:pt x="4336" y="6661"/>
                  </a:moveTo>
                  <a:cubicBezTo>
                    <a:pt x="4205" y="6661"/>
                    <a:pt x="4098" y="6757"/>
                    <a:pt x="4098" y="6873"/>
                  </a:cubicBezTo>
                  <a:cubicBezTo>
                    <a:pt x="4098" y="6990"/>
                    <a:pt x="4205" y="7083"/>
                    <a:pt x="4336" y="7083"/>
                  </a:cubicBezTo>
                  <a:cubicBezTo>
                    <a:pt x="4468" y="7083"/>
                    <a:pt x="4573" y="6990"/>
                    <a:pt x="4573" y="6873"/>
                  </a:cubicBezTo>
                  <a:cubicBezTo>
                    <a:pt x="4573" y="6757"/>
                    <a:pt x="4468" y="6661"/>
                    <a:pt x="4336" y="6661"/>
                  </a:cubicBezTo>
                  <a:close/>
                  <a:moveTo>
                    <a:pt x="5043" y="6661"/>
                  </a:moveTo>
                  <a:cubicBezTo>
                    <a:pt x="4912" y="6661"/>
                    <a:pt x="4804" y="6757"/>
                    <a:pt x="4804" y="6873"/>
                  </a:cubicBezTo>
                  <a:cubicBezTo>
                    <a:pt x="4804" y="6990"/>
                    <a:pt x="4912" y="7083"/>
                    <a:pt x="5043" y="7083"/>
                  </a:cubicBezTo>
                  <a:cubicBezTo>
                    <a:pt x="5174" y="7083"/>
                    <a:pt x="5279" y="6990"/>
                    <a:pt x="5279" y="6873"/>
                  </a:cubicBezTo>
                  <a:cubicBezTo>
                    <a:pt x="5279" y="6757"/>
                    <a:pt x="5174" y="6661"/>
                    <a:pt x="5043" y="6661"/>
                  </a:cubicBezTo>
                  <a:close/>
                  <a:moveTo>
                    <a:pt x="5749" y="6661"/>
                  </a:moveTo>
                  <a:cubicBezTo>
                    <a:pt x="5618" y="6661"/>
                    <a:pt x="5511" y="6757"/>
                    <a:pt x="5511" y="6873"/>
                  </a:cubicBezTo>
                  <a:cubicBezTo>
                    <a:pt x="5511" y="6990"/>
                    <a:pt x="5618" y="7083"/>
                    <a:pt x="5749" y="7083"/>
                  </a:cubicBezTo>
                  <a:cubicBezTo>
                    <a:pt x="5880" y="7083"/>
                    <a:pt x="5986" y="6990"/>
                    <a:pt x="5986" y="6873"/>
                  </a:cubicBezTo>
                  <a:cubicBezTo>
                    <a:pt x="5986" y="6757"/>
                    <a:pt x="5880" y="6661"/>
                    <a:pt x="5749" y="6661"/>
                  </a:cubicBezTo>
                  <a:close/>
                  <a:moveTo>
                    <a:pt x="6385" y="6661"/>
                  </a:moveTo>
                  <a:cubicBezTo>
                    <a:pt x="6254" y="6661"/>
                    <a:pt x="6147" y="6757"/>
                    <a:pt x="6147" y="6873"/>
                  </a:cubicBezTo>
                  <a:cubicBezTo>
                    <a:pt x="6147" y="6990"/>
                    <a:pt x="6254" y="7083"/>
                    <a:pt x="6385" y="7083"/>
                  </a:cubicBezTo>
                  <a:cubicBezTo>
                    <a:pt x="6517" y="7083"/>
                    <a:pt x="6622" y="6990"/>
                    <a:pt x="6622" y="6873"/>
                  </a:cubicBezTo>
                  <a:cubicBezTo>
                    <a:pt x="6622" y="6757"/>
                    <a:pt x="6517" y="6661"/>
                    <a:pt x="6385" y="6661"/>
                  </a:cubicBezTo>
                  <a:close/>
                  <a:moveTo>
                    <a:pt x="7092" y="6661"/>
                  </a:moveTo>
                  <a:cubicBezTo>
                    <a:pt x="6961" y="6661"/>
                    <a:pt x="6853" y="6757"/>
                    <a:pt x="6853" y="6873"/>
                  </a:cubicBezTo>
                  <a:cubicBezTo>
                    <a:pt x="6853" y="6990"/>
                    <a:pt x="6961" y="7083"/>
                    <a:pt x="7092" y="7083"/>
                  </a:cubicBezTo>
                  <a:cubicBezTo>
                    <a:pt x="7223" y="7083"/>
                    <a:pt x="7328" y="6990"/>
                    <a:pt x="7328" y="6873"/>
                  </a:cubicBezTo>
                  <a:cubicBezTo>
                    <a:pt x="7328" y="6757"/>
                    <a:pt x="7223" y="6661"/>
                    <a:pt x="7092" y="6661"/>
                  </a:cubicBezTo>
                  <a:close/>
                  <a:moveTo>
                    <a:pt x="7798" y="6661"/>
                  </a:moveTo>
                  <a:cubicBezTo>
                    <a:pt x="7667" y="6661"/>
                    <a:pt x="7560" y="6757"/>
                    <a:pt x="7560" y="6873"/>
                  </a:cubicBezTo>
                  <a:cubicBezTo>
                    <a:pt x="7560" y="6990"/>
                    <a:pt x="7667" y="7083"/>
                    <a:pt x="7798" y="7083"/>
                  </a:cubicBezTo>
                  <a:cubicBezTo>
                    <a:pt x="7930" y="7083"/>
                    <a:pt x="8035" y="6990"/>
                    <a:pt x="8035" y="6873"/>
                  </a:cubicBezTo>
                  <a:cubicBezTo>
                    <a:pt x="8035" y="6757"/>
                    <a:pt x="7930" y="6661"/>
                    <a:pt x="7798" y="6661"/>
                  </a:cubicBezTo>
                  <a:close/>
                  <a:moveTo>
                    <a:pt x="8434" y="6661"/>
                  </a:moveTo>
                  <a:cubicBezTo>
                    <a:pt x="8303" y="6661"/>
                    <a:pt x="8196" y="6757"/>
                    <a:pt x="8196" y="6873"/>
                  </a:cubicBezTo>
                  <a:cubicBezTo>
                    <a:pt x="8196" y="6990"/>
                    <a:pt x="8303" y="7083"/>
                    <a:pt x="8434" y="7083"/>
                  </a:cubicBezTo>
                  <a:cubicBezTo>
                    <a:pt x="8565" y="7083"/>
                    <a:pt x="8670" y="6990"/>
                    <a:pt x="8670" y="6873"/>
                  </a:cubicBezTo>
                  <a:cubicBezTo>
                    <a:pt x="8670" y="6757"/>
                    <a:pt x="8565" y="6661"/>
                    <a:pt x="8434" y="6661"/>
                  </a:cubicBezTo>
                  <a:close/>
                  <a:moveTo>
                    <a:pt x="9141" y="6661"/>
                  </a:moveTo>
                  <a:cubicBezTo>
                    <a:pt x="9009" y="6661"/>
                    <a:pt x="8902" y="6757"/>
                    <a:pt x="8902" y="6873"/>
                  </a:cubicBezTo>
                  <a:cubicBezTo>
                    <a:pt x="8902" y="6990"/>
                    <a:pt x="9009" y="7083"/>
                    <a:pt x="9141" y="7083"/>
                  </a:cubicBezTo>
                  <a:cubicBezTo>
                    <a:pt x="9272" y="7083"/>
                    <a:pt x="9377" y="6990"/>
                    <a:pt x="9377" y="6873"/>
                  </a:cubicBezTo>
                  <a:cubicBezTo>
                    <a:pt x="9377" y="6757"/>
                    <a:pt x="9272" y="6661"/>
                    <a:pt x="9141" y="6661"/>
                  </a:cubicBezTo>
                  <a:close/>
                  <a:moveTo>
                    <a:pt x="9847" y="6661"/>
                  </a:moveTo>
                  <a:cubicBezTo>
                    <a:pt x="9716" y="6661"/>
                    <a:pt x="9609" y="6757"/>
                    <a:pt x="9609" y="6873"/>
                  </a:cubicBezTo>
                  <a:cubicBezTo>
                    <a:pt x="9609" y="6990"/>
                    <a:pt x="9716" y="7083"/>
                    <a:pt x="9847" y="7083"/>
                  </a:cubicBezTo>
                  <a:cubicBezTo>
                    <a:pt x="9978" y="7083"/>
                    <a:pt x="10084" y="6990"/>
                    <a:pt x="10084" y="6873"/>
                  </a:cubicBezTo>
                  <a:cubicBezTo>
                    <a:pt x="10084" y="6757"/>
                    <a:pt x="9978" y="6661"/>
                    <a:pt x="9847" y="6661"/>
                  </a:cubicBezTo>
                  <a:close/>
                  <a:moveTo>
                    <a:pt x="10483" y="6661"/>
                  </a:moveTo>
                  <a:cubicBezTo>
                    <a:pt x="10352" y="6661"/>
                    <a:pt x="10245" y="6757"/>
                    <a:pt x="10245" y="6873"/>
                  </a:cubicBezTo>
                  <a:cubicBezTo>
                    <a:pt x="10245" y="6990"/>
                    <a:pt x="10352" y="7083"/>
                    <a:pt x="10483" y="7083"/>
                  </a:cubicBezTo>
                  <a:cubicBezTo>
                    <a:pt x="10614" y="7083"/>
                    <a:pt x="10719" y="6990"/>
                    <a:pt x="10719" y="6873"/>
                  </a:cubicBezTo>
                  <a:cubicBezTo>
                    <a:pt x="10719" y="6757"/>
                    <a:pt x="10614" y="6661"/>
                    <a:pt x="10483" y="6661"/>
                  </a:cubicBezTo>
                  <a:close/>
                  <a:moveTo>
                    <a:pt x="11190" y="6661"/>
                  </a:moveTo>
                  <a:cubicBezTo>
                    <a:pt x="11058" y="6661"/>
                    <a:pt x="10951" y="6757"/>
                    <a:pt x="10951" y="6873"/>
                  </a:cubicBezTo>
                  <a:cubicBezTo>
                    <a:pt x="10951" y="6990"/>
                    <a:pt x="11058" y="7083"/>
                    <a:pt x="11190" y="7083"/>
                  </a:cubicBezTo>
                  <a:cubicBezTo>
                    <a:pt x="11321" y="7083"/>
                    <a:pt x="11426" y="6990"/>
                    <a:pt x="11426" y="6873"/>
                  </a:cubicBezTo>
                  <a:cubicBezTo>
                    <a:pt x="11426" y="6757"/>
                    <a:pt x="11321" y="6661"/>
                    <a:pt x="11190" y="6661"/>
                  </a:cubicBezTo>
                  <a:close/>
                  <a:moveTo>
                    <a:pt x="11826" y="6661"/>
                  </a:moveTo>
                  <a:cubicBezTo>
                    <a:pt x="11694" y="6661"/>
                    <a:pt x="11587" y="6757"/>
                    <a:pt x="11587" y="6873"/>
                  </a:cubicBezTo>
                  <a:cubicBezTo>
                    <a:pt x="11587" y="6990"/>
                    <a:pt x="11694" y="7083"/>
                    <a:pt x="11826" y="7083"/>
                  </a:cubicBezTo>
                  <a:cubicBezTo>
                    <a:pt x="11957" y="7083"/>
                    <a:pt x="12062" y="6990"/>
                    <a:pt x="12062" y="6873"/>
                  </a:cubicBezTo>
                  <a:cubicBezTo>
                    <a:pt x="12062" y="6757"/>
                    <a:pt x="11957" y="6661"/>
                    <a:pt x="11826" y="6661"/>
                  </a:cubicBezTo>
                  <a:close/>
                  <a:moveTo>
                    <a:pt x="12532" y="6661"/>
                  </a:moveTo>
                  <a:cubicBezTo>
                    <a:pt x="12401" y="6661"/>
                    <a:pt x="12294" y="6757"/>
                    <a:pt x="12294" y="6873"/>
                  </a:cubicBezTo>
                  <a:cubicBezTo>
                    <a:pt x="12294" y="6990"/>
                    <a:pt x="12401" y="7083"/>
                    <a:pt x="12532" y="7083"/>
                  </a:cubicBezTo>
                  <a:cubicBezTo>
                    <a:pt x="12663" y="7083"/>
                    <a:pt x="12768" y="6990"/>
                    <a:pt x="12768" y="6873"/>
                  </a:cubicBezTo>
                  <a:cubicBezTo>
                    <a:pt x="12768" y="6757"/>
                    <a:pt x="12663" y="6661"/>
                    <a:pt x="12532" y="6661"/>
                  </a:cubicBezTo>
                  <a:close/>
                  <a:moveTo>
                    <a:pt x="13239" y="6661"/>
                  </a:moveTo>
                  <a:cubicBezTo>
                    <a:pt x="13107" y="6661"/>
                    <a:pt x="13000" y="6757"/>
                    <a:pt x="13000" y="6873"/>
                  </a:cubicBezTo>
                  <a:cubicBezTo>
                    <a:pt x="13000" y="6990"/>
                    <a:pt x="13107" y="7083"/>
                    <a:pt x="13239" y="7083"/>
                  </a:cubicBezTo>
                  <a:cubicBezTo>
                    <a:pt x="13370" y="7083"/>
                    <a:pt x="13475" y="6990"/>
                    <a:pt x="13475" y="6873"/>
                  </a:cubicBezTo>
                  <a:cubicBezTo>
                    <a:pt x="13475" y="6757"/>
                    <a:pt x="13370" y="6661"/>
                    <a:pt x="13239" y="6661"/>
                  </a:cubicBezTo>
                  <a:close/>
                  <a:moveTo>
                    <a:pt x="13875" y="6661"/>
                  </a:moveTo>
                  <a:cubicBezTo>
                    <a:pt x="13743" y="6661"/>
                    <a:pt x="13636" y="6757"/>
                    <a:pt x="13636" y="6873"/>
                  </a:cubicBezTo>
                  <a:cubicBezTo>
                    <a:pt x="13636" y="6990"/>
                    <a:pt x="13743" y="7083"/>
                    <a:pt x="13875" y="7083"/>
                  </a:cubicBezTo>
                  <a:cubicBezTo>
                    <a:pt x="14005" y="7083"/>
                    <a:pt x="14111" y="6990"/>
                    <a:pt x="14111" y="6873"/>
                  </a:cubicBezTo>
                  <a:cubicBezTo>
                    <a:pt x="14111" y="6757"/>
                    <a:pt x="14005" y="6661"/>
                    <a:pt x="13875" y="6661"/>
                  </a:cubicBezTo>
                  <a:close/>
                  <a:moveTo>
                    <a:pt x="14581" y="6661"/>
                  </a:moveTo>
                  <a:cubicBezTo>
                    <a:pt x="14450" y="6661"/>
                    <a:pt x="14343" y="6757"/>
                    <a:pt x="14343" y="6873"/>
                  </a:cubicBezTo>
                  <a:cubicBezTo>
                    <a:pt x="14343" y="6990"/>
                    <a:pt x="14450" y="7083"/>
                    <a:pt x="14581" y="7083"/>
                  </a:cubicBezTo>
                  <a:cubicBezTo>
                    <a:pt x="14712" y="7083"/>
                    <a:pt x="14817" y="6990"/>
                    <a:pt x="14817" y="6873"/>
                  </a:cubicBezTo>
                  <a:cubicBezTo>
                    <a:pt x="14817" y="6757"/>
                    <a:pt x="14712" y="6661"/>
                    <a:pt x="14581" y="6661"/>
                  </a:cubicBezTo>
                  <a:close/>
                  <a:moveTo>
                    <a:pt x="15217" y="6661"/>
                  </a:moveTo>
                  <a:cubicBezTo>
                    <a:pt x="15086" y="6661"/>
                    <a:pt x="14978" y="6757"/>
                    <a:pt x="14978" y="6873"/>
                  </a:cubicBezTo>
                  <a:cubicBezTo>
                    <a:pt x="14978" y="6990"/>
                    <a:pt x="15086" y="7083"/>
                    <a:pt x="15217" y="7083"/>
                  </a:cubicBezTo>
                  <a:cubicBezTo>
                    <a:pt x="15348" y="7083"/>
                    <a:pt x="15453" y="6990"/>
                    <a:pt x="15453" y="6873"/>
                  </a:cubicBezTo>
                  <a:cubicBezTo>
                    <a:pt x="15453" y="6757"/>
                    <a:pt x="15348" y="6661"/>
                    <a:pt x="15217" y="6661"/>
                  </a:cubicBezTo>
                  <a:close/>
                  <a:moveTo>
                    <a:pt x="15923" y="6661"/>
                  </a:moveTo>
                  <a:cubicBezTo>
                    <a:pt x="15792" y="6661"/>
                    <a:pt x="15685" y="6757"/>
                    <a:pt x="15685" y="6873"/>
                  </a:cubicBezTo>
                  <a:cubicBezTo>
                    <a:pt x="15685" y="6990"/>
                    <a:pt x="15792" y="7083"/>
                    <a:pt x="15923" y="7083"/>
                  </a:cubicBezTo>
                  <a:cubicBezTo>
                    <a:pt x="16054" y="7083"/>
                    <a:pt x="16160" y="6990"/>
                    <a:pt x="16160" y="6873"/>
                  </a:cubicBezTo>
                  <a:cubicBezTo>
                    <a:pt x="16160" y="6757"/>
                    <a:pt x="16054" y="6661"/>
                    <a:pt x="15923" y="6661"/>
                  </a:cubicBezTo>
                  <a:close/>
                  <a:moveTo>
                    <a:pt x="16630" y="6661"/>
                  </a:moveTo>
                  <a:cubicBezTo>
                    <a:pt x="16499" y="6661"/>
                    <a:pt x="16392" y="6757"/>
                    <a:pt x="16392" y="6873"/>
                  </a:cubicBezTo>
                  <a:cubicBezTo>
                    <a:pt x="16392" y="6990"/>
                    <a:pt x="16499" y="7083"/>
                    <a:pt x="16630" y="7083"/>
                  </a:cubicBezTo>
                  <a:cubicBezTo>
                    <a:pt x="16761" y="7083"/>
                    <a:pt x="16866" y="6990"/>
                    <a:pt x="16866" y="6873"/>
                  </a:cubicBezTo>
                  <a:cubicBezTo>
                    <a:pt x="16866" y="6757"/>
                    <a:pt x="16761" y="6661"/>
                    <a:pt x="16630" y="6661"/>
                  </a:cubicBezTo>
                  <a:close/>
                  <a:moveTo>
                    <a:pt x="17266" y="6661"/>
                  </a:moveTo>
                  <a:cubicBezTo>
                    <a:pt x="17134" y="6661"/>
                    <a:pt x="17027" y="6757"/>
                    <a:pt x="17027" y="6873"/>
                  </a:cubicBezTo>
                  <a:cubicBezTo>
                    <a:pt x="17027" y="6990"/>
                    <a:pt x="17134" y="7083"/>
                    <a:pt x="17266" y="7083"/>
                  </a:cubicBezTo>
                  <a:cubicBezTo>
                    <a:pt x="17397" y="7083"/>
                    <a:pt x="17502" y="6990"/>
                    <a:pt x="17502" y="6873"/>
                  </a:cubicBezTo>
                  <a:cubicBezTo>
                    <a:pt x="17502" y="6757"/>
                    <a:pt x="17397" y="6661"/>
                    <a:pt x="17266" y="6661"/>
                  </a:cubicBezTo>
                  <a:close/>
                  <a:moveTo>
                    <a:pt x="17972" y="6661"/>
                  </a:moveTo>
                  <a:cubicBezTo>
                    <a:pt x="17841" y="6661"/>
                    <a:pt x="17734" y="6757"/>
                    <a:pt x="17734" y="6873"/>
                  </a:cubicBezTo>
                  <a:cubicBezTo>
                    <a:pt x="17734" y="6990"/>
                    <a:pt x="17841" y="7083"/>
                    <a:pt x="17972" y="7083"/>
                  </a:cubicBezTo>
                  <a:cubicBezTo>
                    <a:pt x="18104" y="7083"/>
                    <a:pt x="18209" y="6990"/>
                    <a:pt x="18209" y="6873"/>
                  </a:cubicBezTo>
                  <a:cubicBezTo>
                    <a:pt x="18209" y="6757"/>
                    <a:pt x="18104" y="6661"/>
                    <a:pt x="17972" y="6661"/>
                  </a:cubicBezTo>
                  <a:close/>
                  <a:moveTo>
                    <a:pt x="18608" y="6661"/>
                  </a:moveTo>
                  <a:cubicBezTo>
                    <a:pt x="18477" y="6661"/>
                    <a:pt x="18370" y="6757"/>
                    <a:pt x="18370" y="6873"/>
                  </a:cubicBezTo>
                  <a:cubicBezTo>
                    <a:pt x="18370" y="6990"/>
                    <a:pt x="18477" y="7083"/>
                    <a:pt x="18608" y="7083"/>
                  </a:cubicBezTo>
                  <a:cubicBezTo>
                    <a:pt x="18739" y="7083"/>
                    <a:pt x="18845" y="6990"/>
                    <a:pt x="18845" y="6873"/>
                  </a:cubicBezTo>
                  <a:cubicBezTo>
                    <a:pt x="18845" y="6757"/>
                    <a:pt x="18739" y="6661"/>
                    <a:pt x="18608" y="6661"/>
                  </a:cubicBezTo>
                  <a:close/>
                  <a:moveTo>
                    <a:pt x="19315" y="6661"/>
                  </a:moveTo>
                  <a:cubicBezTo>
                    <a:pt x="19183" y="6661"/>
                    <a:pt x="19076" y="6757"/>
                    <a:pt x="19076" y="6873"/>
                  </a:cubicBezTo>
                  <a:cubicBezTo>
                    <a:pt x="19076" y="6990"/>
                    <a:pt x="19183" y="7083"/>
                    <a:pt x="19315" y="7083"/>
                  </a:cubicBezTo>
                  <a:cubicBezTo>
                    <a:pt x="19446" y="7083"/>
                    <a:pt x="19551" y="6990"/>
                    <a:pt x="19551" y="6873"/>
                  </a:cubicBezTo>
                  <a:cubicBezTo>
                    <a:pt x="19551" y="6757"/>
                    <a:pt x="19446" y="6661"/>
                    <a:pt x="19315" y="6661"/>
                  </a:cubicBezTo>
                  <a:close/>
                  <a:moveTo>
                    <a:pt x="20021" y="6661"/>
                  </a:moveTo>
                  <a:cubicBezTo>
                    <a:pt x="19890" y="6661"/>
                    <a:pt x="19783" y="6757"/>
                    <a:pt x="19783" y="6873"/>
                  </a:cubicBezTo>
                  <a:cubicBezTo>
                    <a:pt x="19783" y="6990"/>
                    <a:pt x="19890" y="7083"/>
                    <a:pt x="20021" y="7083"/>
                  </a:cubicBezTo>
                  <a:cubicBezTo>
                    <a:pt x="20153" y="7083"/>
                    <a:pt x="20258" y="6990"/>
                    <a:pt x="20258" y="6873"/>
                  </a:cubicBezTo>
                  <a:cubicBezTo>
                    <a:pt x="20258" y="6757"/>
                    <a:pt x="20153" y="6661"/>
                    <a:pt x="20021" y="6661"/>
                  </a:cubicBezTo>
                  <a:close/>
                  <a:moveTo>
                    <a:pt x="1016" y="7290"/>
                  </a:moveTo>
                  <a:cubicBezTo>
                    <a:pt x="884" y="7290"/>
                    <a:pt x="777" y="7385"/>
                    <a:pt x="777" y="7502"/>
                  </a:cubicBezTo>
                  <a:cubicBezTo>
                    <a:pt x="777" y="7619"/>
                    <a:pt x="884" y="7714"/>
                    <a:pt x="1016" y="7714"/>
                  </a:cubicBezTo>
                  <a:cubicBezTo>
                    <a:pt x="1147" y="7714"/>
                    <a:pt x="1252" y="7619"/>
                    <a:pt x="1252" y="7502"/>
                  </a:cubicBezTo>
                  <a:cubicBezTo>
                    <a:pt x="1252" y="7385"/>
                    <a:pt x="1147" y="7290"/>
                    <a:pt x="1016" y="7290"/>
                  </a:cubicBezTo>
                  <a:close/>
                  <a:moveTo>
                    <a:pt x="1652" y="7290"/>
                  </a:moveTo>
                  <a:cubicBezTo>
                    <a:pt x="1520" y="7290"/>
                    <a:pt x="1413" y="7385"/>
                    <a:pt x="1413" y="7502"/>
                  </a:cubicBezTo>
                  <a:cubicBezTo>
                    <a:pt x="1413" y="7619"/>
                    <a:pt x="1520" y="7714"/>
                    <a:pt x="1652" y="7714"/>
                  </a:cubicBezTo>
                  <a:cubicBezTo>
                    <a:pt x="1783" y="7714"/>
                    <a:pt x="1888" y="7619"/>
                    <a:pt x="1888" y="7502"/>
                  </a:cubicBezTo>
                  <a:cubicBezTo>
                    <a:pt x="1888" y="7385"/>
                    <a:pt x="1783" y="7290"/>
                    <a:pt x="1652" y="7290"/>
                  </a:cubicBezTo>
                  <a:close/>
                  <a:moveTo>
                    <a:pt x="2287" y="7290"/>
                  </a:moveTo>
                  <a:cubicBezTo>
                    <a:pt x="2156" y="7290"/>
                    <a:pt x="2049" y="7385"/>
                    <a:pt x="2049" y="7502"/>
                  </a:cubicBezTo>
                  <a:cubicBezTo>
                    <a:pt x="2049" y="7619"/>
                    <a:pt x="2156" y="7714"/>
                    <a:pt x="2287" y="7714"/>
                  </a:cubicBezTo>
                  <a:cubicBezTo>
                    <a:pt x="2419" y="7714"/>
                    <a:pt x="2524" y="7619"/>
                    <a:pt x="2524" y="7502"/>
                  </a:cubicBezTo>
                  <a:cubicBezTo>
                    <a:pt x="2524" y="7385"/>
                    <a:pt x="2419" y="7290"/>
                    <a:pt x="2287" y="7290"/>
                  </a:cubicBezTo>
                  <a:close/>
                  <a:moveTo>
                    <a:pt x="2994" y="7290"/>
                  </a:moveTo>
                  <a:cubicBezTo>
                    <a:pt x="2863" y="7290"/>
                    <a:pt x="2755" y="7385"/>
                    <a:pt x="2755" y="7502"/>
                  </a:cubicBezTo>
                  <a:cubicBezTo>
                    <a:pt x="2755" y="7619"/>
                    <a:pt x="2863" y="7714"/>
                    <a:pt x="2994" y="7714"/>
                  </a:cubicBezTo>
                  <a:cubicBezTo>
                    <a:pt x="3125" y="7714"/>
                    <a:pt x="3230" y="7619"/>
                    <a:pt x="3230" y="7502"/>
                  </a:cubicBezTo>
                  <a:cubicBezTo>
                    <a:pt x="3230" y="7385"/>
                    <a:pt x="3125" y="7290"/>
                    <a:pt x="2994" y="7290"/>
                  </a:cubicBezTo>
                  <a:close/>
                  <a:moveTo>
                    <a:pt x="3700" y="7290"/>
                  </a:moveTo>
                  <a:cubicBezTo>
                    <a:pt x="3569" y="7290"/>
                    <a:pt x="3462" y="7385"/>
                    <a:pt x="3462" y="7502"/>
                  </a:cubicBezTo>
                  <a:cubicBezTo>
                    <a:pt x="3462" y="7619"/>
                    <a:pt x="3569" y="7714"/>
                    <a:pt x="3700" y="7714"/>
                  </a:cubicBezTo>
                  <a:cubicBezTo>
                    <a:pt x="3832" y="7714"/>
                    <a:pt x="3937" y="7619"/>
                    <a:pt x="3937" y="7502"/>
                  </a:cubicBezTo>
                  <a:cubicBezTo>
                    <a:pt x="3937" y="7385"/>
                    <a:pt x="3832" y="7290"/>
                    <a:pt x="3700" y="7290"/>
                  </a:cubicBezTo>
                  <a:close/>
                  <a:moveTo>
                    <a:pt x="4336" y="7290"/>
                  </a:moveTo>
                  <a:cubicBezTo>
                    <a:pt x="4205" y="7290"/>
                    <a:pt x="4098" y="7385"/>
                    <a:pt x="4098" y="7502"/>
                  </a:cubicBezTo>
                  <a:cubicBezTo>
                    <a:pt x="4098" y="7619"/>
                    <a:pt x="4205" y="7714"/>
                    <a:pt x="4336" y="7714"/>
                  </a:cubicBezTo>
                  <a:cubicBezTo>
                    <a:pt x="4468" y="7714"/>
                    <a:pt x="4573" y="7619"/>
                    <a:pt x="4573" y="7502"/>
                  </a:cubicBezTo>
                  <a:cubicBezTo>
                    <a:pt x="4573" y="7385"/>
                    <a:pt x="4468" y="7290"/>
                    <a:pt x="4336" y="7290"/>
                  </a:cubicBezTo>
                  <a:close/>
                  <a:moveTo>
                    <a:pt x="5043" y="7290"/>
                  </a:moveTo>
                  <a:cubicBezTo>
                    <a:pt x="4912" y="7290"/>
                    <a:pt x="4804" y="7385"/>
                    <a:pt x="4804" y="7502"/>
                  </a:cubicBezTo>
                  <a:cubicBezTo>
                    <a:pt x="4804" y="7619"/>
                    <a:pt x="4912" y="7714"/>
                    <a:pt x="5043" y="7714"/>
                  </a:cubicBezTo>
                  <a:cubicBezTo>
                    <a:pt x="5174" y="7714"/>
                    <a:pt x="5279" y="7619"/>
                    <a:pt x="5279" y="7502"/>
                  </a:cubicBezTo>
                  <a:cubicBezTo>
                    <a:pt x="5279" y="7385"/>
                    <a:pt x="5174" y="7290"/>
                    <a:pt x="5043" y="7290"/>
                  </a:cubicBezTo>
                  <a:close/>
                  <a:moveTo>
                    <a:pt x="5749" y="7290"/>
                  </a:moveTo>
                  <a:cubicBezTo>
                    <a:pt x="5618" y="7290"/>
                    <a:pt x="5511" y="7385"/>
                    <a:pt x="5511" y="7502"/>
                  </a:cubicBezTo>
                  <a:cubicBezTo>
                    <a:pt x="5511" y="7619"/>
                    <a:pt x="5618" y="7714"/>
                    <a:pt x="5749" y="7714"/>
                  </a:cubicBezTo>
                  <a:cubicBezTo>
                    <a:pt x="5880" y="7714"/>
                    <a:pt x="5986" y="7619"/>
                    <a:pt x="5986" y="7502"/>
                  </a:cubicBezTo>
                  <a:cubicBezTo>
                    <a:pt x="5986" y="7385"/>
                    <a:pt x="5880" y="7290"/>
                    <a:pt x="5749" y="7290"/>
                  </a:cubicBezTo>
                  <a:close/>
                  <a:moveTo>
                    <a:pt x="6385" y="7290"/>
                  </a:moveTo>
                  <a:cubicBezTo>
                    <a:pt x="6254" y="7290"/>
                    <a:pt x="6147" y="7385"/>
                    <a:pt x="6147" y="7502"/>
                  </a:cubicBezTo>
                  <a:cubicBezTo>
                    <a:pt x="6147" y="7619"/>
                    <a:pt x="6254" y="7714"/>
                    <a:pt x="6385" y="7714"/>
                  </a:cubicBezTo>
                  <a:cubicBezTo>
                    <a:pt x="6517" y="7714"/>
                    <a:pt x="6622" y="7619"/>
                    <a:pt x="6622" y="7502"/>
                  </a:cubicBezTo>
                  <a:cubicBezTo>
                    <a:pt x="6622" y="7385"/>
                    <a:pt x="6517" y="7290"/>
                    <a:pt x="6385" y="7290"/>
                  </a:cubicBezTo>
                  <a:close/>
                  <a:moveTo>
                    <a:pt x="7092" y="7290"/>
                  </a:moveTo>
                  <a:cubicBezTo>
                    <a:pt x="6961" y="7290"/>
                    <a:pt x="6853" y="7385"/>
                    <a:pt x="6853" y="7502"/>
                  </a:cubicBezTo>
                  <a:cubicBezTo>
                    <a:pt x="6853" y="7619"/>
                    <a:pt x="6961" y="7714"/>
                    <a:pt x="7092" y="7714"/>
                  </a:cubicBezTo>
                  <a:cubicBezTo>
                    <a:pt x="7223" y="7714"/>
                    <a:pt x="7328" y="7619"/>
                    <a:pt x="7328" y="7502"/>
                  </a:cubicBezTo>
                  <a:cubicBezTo>
                    <a:pt x="7328" y="7385"/>
                    <a:pt x="7223" y="7290"/>
                    <a:pt x="7092" y="7290"/>
                  </a:cubicBezTo>
                  <a:close/>
                  <a:moveTo>
                    <a:pt x="7798" y="7290"/>
                  </a:moveTo>
                  <a:cubicBezTo>
                    <a:pt x="7667" y="7290"/>
                    <a:pt x="7560" y="7385"/>
                    <a:pt x="7560" y="7502"/>
                  </a:cubicBezTo>
                  <a:cubicBezTo>
                    <a:pt x="7560" y="7619"/>
                    <a:pt x="7667" y="7714"/>
                    <a:pt x="7798" y="7714"/>
                  </a:cubicBezTo>
                  <a:cubicBezTo>
                    <a:pt x="7930" y="7714"/>
                    <a:pt x="8035" y="7619"/>
                    <a:pt x="8035" y="7502"/>
                  </a:cubicBezTo>
                  <a:cubicBezTo>
                    <a:pt x="8035" y="7385"/>
                    <a:pt x="7930" y="7290"/>
                    <a:pt x="7798" y="7290"/>
                  </a:cubicBezTo>
                  <a:close/>
                  <a:moveTo>
                    <a:pt x="8434" y="7290"/>
                  </a:moveTo>
                  <a:cubicBezTo>
                    <a:pt x="8303" y="7290"/>
                    <a:pt x="8196" y="7385"/>
                    <a:pt x="8196" y="7502"/>
                  </a:cubicBezTo>
                  <a:cubicBezTo>
                    <a:pt x="8196" y="7619"/>
                    <a:pt x="8303" y="7714"/>
                    <a:pt x="8434" y="7714"/>
                  </a:cubicBezTo>
                  <a:cubicBezTo>
                    <a:pt x="8565" y="7714"/>
                    <a:pt x="8670" y="7619"/>
                    <a:pt x="8670" y="7502"/>
                  </a:cubicBezTo>
                  <a:cubicBezTo>
                    <a:pt x="8670" y="7385"/>
                    <a:pt x="8565" y="7290"/>
                    <a:pt x="8434" y="7290"/>
                  </a:cubicBezTo>
                  <a:close/>
                  <a:moveTo>
                    <a:pt x="9141" y="7290"/>
                  </a:moveTo>
                  <a:cubicBezTo>
                    <a:pt x="9009" y="7290"/>
                    <a:pt x="8902" y="7385"/>
                    <a:pt x="8902" y="7502"/>
                  </a:cubicBezTo>
                  <a:cubicBezTo>
                    <a:pt x="8902" y="7619"/>
                    <a:pt x="9009" y="7714"/>
                    <a:pt x="9141" y="7714"/>
                  </a:cubicBezTo>
                  <a:cubicBezTo>
                    <a:pt x="9272" y="7714"/>
                    <a:pt x="9377" y="7619"/>
                    <a:pt x="9377" y="7502"/>
                  </a:cubicBezTo>
                  <a:cubicBezTo>
                    <a:pt x="9377" y="7385"/>
                    <a:pt x="9272" y="7290"/>
                    <a:pt x="9141" y="7290"/>
                  </a:cubicBezTo>
                  <a:close/>
                  <a:moveTo>
                    <a:pt x="9847" y="7290"/>
                  </a:moveTo>
                  <a:cubicBezTo>
                    <a:pt x="9716" y="7290"/>
                    <a:pt x="9609" y="7385"/>
                    <a:pt x="9609" y="7502"/>
                  </a:cubicBezTo>
                  <a:cubicBezTo>
                    <a:pt x="9609" y="7619"/>
                    <a:pt x="9716" y="7714"/>
                    <a:pt x="9847" y="7714"/>
                  </a:cubicBezTo>
                  <a:cubicBezTo>
                    <a:pt x="9978" y="7714"/>
                    <a:pt x="10084" y="7619"/>
                    <a:pt x="10084" y="7502"/>
                  </a:cubicBezTo>
                  <a:cubicBezTo>
                    <a:pt x="10084" y="7385"/>
                    <a:pt x="9978" y="7290"/>
                    <a:pt x="9847" y="7290"/>
                  </a:cubicBezTo>
                  <a:close/>
                  <a:moveTo>
                    <a:pt x="10483" y="7290"/>
                  </a:moveTo>
                  <a:cubicBezTo>
                    <a:pt x="10352" y="7290"/>
                    <a:pt x="10245" y="7385"/>
                    <a:pt x="10245" y="7502"/>
                  </a:cubicBezTo>
                  <a:cubicBezTo>
                    <a:pt x="10245" y="7619"/>
                    <a:pt x="10352" y="7714"/>
                    <a:pt x="10483" y="7714"/>
                  </a:cubicBezTo>
                  <a:cubicBezTo>
                    <a:pt x="10614" y="7714"/>
                    <a:pt x="10719" y="7619"/>
                    <a:pt x="10719" y="7502"/>
                  </a:cubicBezTo>
                  <a:cubicBezTo>
                    <a:pt x="10719" y="7385"/>
                    <a:pt x="10614" y="7290"/>
                    <a:pt x="10483" y="7290"/>
                  </a:cubicBezTo>
                  <a:close/>
                  <a:moveTo>
                    <a:pt x="11190" y="7290"/>
                  </a:moveTo>
                  <a:cubicBezTo>
                    <a:pt x="11058" y="7290"/>
                    <a:pt x="10951" y="7385"/>
                    <a:pt x="10951" y="7502"/>
                  </a:cubicBezTo>
                  <a:cubicBezTo>
                    <a:pt x="10951" y="7619"/>
                    <a:pt x="11058" y="7714"/>
                    <a:pt x="11190" y="7714"/>
                  </a:cubicBezTo>
                  <a:cubicBezTo>
                    <a:pt x="11321" y="7714"/>
                    <a:pt x="11426" y="7619"/>
                    <a:pt x="11426" y="7502"/>
                  </a:cubicBezTo>
                  <a:cubicBezTo>
                    <a:pt x="11426" y="7385"/>
                    <a:pt x="11321" y="7290"/>
                    <a:pt x="11190" y="7290"/>
                  </a:cubicBezTo>
                  <a:close/>
                  <a:moveTo>
                    <a:pt x="11826" y="7290"/>
                  </a:moveTo>
                  <a:cubicBezTo>
                    <a:pt x="11694" y="7290"/>
                    <a:pt x="11587" y="7385"/>
                    <a:pt x="11587" y="7502"/>
                  </a:cubicBezTo>
                  <a:cubicBezTo>
                    <a:pt x="11587" y="7619"/>
                    <a:pt x="11694" y="7714"/>
                    <a:pt x="11826" y="7714"/>
                  </a:cubicBezTo>
                  <a:cubicBezTo>
                    <a:pt x="11957" y="7714"/>
                    <a:pt x="12062" y="7619"/>
                    <a:pt x="12062" y="7502"/>
                  </a:cubicBezTo>
                  <a:cubicBezTo>
                    <a:pt x="12062" y="7385"/>
                    <a:pt x="11957" y="7290"/>
                    <a:pt x="11826" y="7290"/>
                  </a:cubicBezTo>
                  <a:close/>
                  <a:moveTo>
                    <a:pt x="12532" y="7290"/>
                  </a:moveTo>
                  <a:cubicBezTo>
                    <a:pt x="12401" y="7290"/>
                    <a:pt x="12294" y="7385"/>
                    <a:pt x="12294" y="7502"/>
                  </a:cubicBezTo>
                  <a:cubicBezTo>
                    <a:pt x="12294" y="7619"/>
                    <a:pt x="12401" y="7714"/>
                    <a:pt x="12532" y="7714"/>
                  </a:cubicBezTo>
                  <a:cubicBezTo>
                    <a:pt x="12663" y="7714"/>
                    <a:pt x="12768" y="7619"/>
                    <a:pt x="12768" y="7502"/>
                  </a:cubicBezTo>
                  <a:cubicBezTo>
                    <a:pt x="12768" y="7385"/>
                    <a:pt x="12663" y="7290"/>
                    <a:pt x="12532" y="7290"/>
                  </a:cubicBezTo>
                  <a:close/>
                  <a:moveTo>
                    <a:pt x="13239" y="7290"/>
                  </a:moveTo>
                  <a:cubicBezTo>
                    <a:pt x="13107" y="7290"/>
                    <a:pt x="13000" y="7385"/>
                    <a:pt x="13000" y="7502"/>
                  </a:cubicBezTo>
                  <a:cubicBezTo>
                    <a:pt x="13000" y="7619"/>
                    <a:pt x="13107" y="7714"/>
                    <a:pt x="13239" y="7714"/>
                  </a:cubicBezTo>
                  <a:cubicBezTo>
                    <a:pt x="13370" y="7714"/>
                    <a:pt x="13475" y="7619"/>
                    <a:pt x="13475" y="7502"/>
                  </a:cubicBezTo>
                  <a:cubicBezTo>
                    <a:pt x="13475" y="7385"/>
                    <a:pt x="13370" y="7290"/>
                    <a:pt x="13239" y="7290"/>
                  </a:cubicBezTo>
                  <a:close/>
                  <a:moveTo>
                    <a:pt x="13875" y="7290"/>
                  </a:moveTo>
                  <a:cubicBezTo>
                    <a:pt x="13743" y="7290"/>
                    <a:pt x="13636" y="7385"/>
                    <a:pt x="13636" y="7502"/>
                  </a:cubicBezTo>
                  <a:cubicBezTo>
                    <a:pt x="13636" y="7619"/>
                    <a:pt x="13743" y="7714"/>
                    <a:pt x="13875" y="7714"/>
                  </a:cubicBezTo>
                  <a:cubicBezTo>
                    <a:pt x="14005" y="7714"/>
                    <a:pt x="14111" y="7619"/>
                    <a:pt x="14111" y="7502"/>
                  </a:cubicBezTo>
                  <a:cubicBezTo>
                    <a:pt x="14111" y="7385"/>
                    <a:pt x="14005" y="7290"/>
                    <a:pt x="13875" y="7290"/>
                  </a:cubicBezTo>
                  <a:close/>
                  <a:moveTo>
                    <a:pt x="14581" y="7290"/>
                  </a:moveTo>
                  <a:cubicBezTo>
                    <a:pt x="14450" y="7290"/>
                    <a:pt x="14343" y="7385"/>
                    <a:pt x="14343" y="7502"/>
                  </a:cubicBezTo>
                  <a:cubicBezTo>
                    <a:pt x="14343" y="7619"/>
                    <a:pt x="14450" y="7714"/>
                    <a:pt x="14581" y="7714"/>
                  </a:cubicBezTo>
                  <a:cubicBezTo>
                    <a:pt x="14712" y="7714"/>
                    <a:pt x="14817" y="7619"/>
                    <a:pt x="14817" y="7502"/>
                  </a:cubicBezTo>
                  <a:cubicBezTo>
                    <a:pt x="14817" y="7385"/>
                    <a:pt x="14712" y="7290"/>
                    <a:pt x="14581" y="7290"/>
                  </a:cubicBezTo>
                  <a:close/>
                  <a:moveTo>
                    <a:pt x="15217" y="7290"/>
                  </a:moveTo>
                  <a:cubicBezTo>
                    <a:pt x="15086" y="7290"/>
                    <a:pt x="14978" y="7385"/>
                    <a:pt x="14978" y="7502"/>
                  </a:cubicBezTo>
                  <a:cubicBezTo>
                    <a:pt x="14978" y="7619"/>
                    <a:pt x="15086" y="7714"/>
                    <a:pt x="15217" y="7714"/>
                  </a:cubicBezTo>
                  <a:cubicBezTo>
                    <a:pt x="15348" y="7714"/>
                    <a:pt x="15453" y="7619"/>
                    <a:pt x="15453" y="7502"/>
                  </a:cubicBezTo>
                  <a:cubicBezTo>
                    <a:pt x="15453" y="7385"/>
                    <a:pt x="15348" y="7290"/>
                    <a:pt x="15217" y="7290"/>
                  </a:cubicBezTo>
                  <a:close/>
                  <a:moveTo>
                    <a:pt x="15923" y="7290"/>
                  </a:moveTo>
                  <a:cubicBezTo>
                    <a:pt x="15792" y="7290"/>
                    <a:pt x="15685" y="7385"/>
                    <a:pt x="15685" y="7502"/>
                  </a:cubicBezTo>
                  <a:cubicBezTo>
                    <a:pt x="15685" y="7619"/>
                    <a:pt x="15792" y="7714"/>
                    <a:pt x="15923" y="7714"/>
                  </a:cubicBezTo>
                  <a:cubicBezTo>
                    <a:pt x="16054" y="7714"/>
                    <a:pt x="16160" y="7619"/>
                    <a:pt x="16160" y="7502"/>
                  </a:cubicBezTo>
                  <a:cubicBezTo>
                    <a:pt x="16160" y="7385"/>
                    <a:pt x="16054" y="7290"/>
                    <a:pt x="15923" y="7290"/>
                  </a:cubicBezTo>
                  <a:close/>
                  <a:moveTo>
                    <a:pt x="16630" y="7290"/>
                  </a:moveTo>
                  <a:cubicBezTo>
                    <a:pt x="16499" y="7290"/>
                    <a:pt x="16392" y="7385"/>
                    <a:pt x="16392" y="7502"/>
                  </a:cubicBezTo>
                  <a:cubicBezTo>
                    <a:pt x="16392" y="7619"/>
                    <a:pt x="16499" y="7714"/>
                    <a:pt x="16630" y="7714"/>
                  </a:cubicBezTo>
                  <a:cubicBezTo>
                    <a:pt x="16761" y="7714"/>
                    <a:pt x="16866" y="7619"/>
                    <a:pt x="16866" y="7502"/>
                  </a:cubicBezTo>
                  <a:cubicBezTo>
                    <a:pt x="16866" y="7385"/>
                    <a:pt x="16761" y="7290"/>
                    <a:pt x="16630" y="7290"/>
                  </a:cubicBezTo>
                  <a:close/>
                  <a:moveTo>
                    <a:pt x="17266" y="7290"/>
                  </a:moveTo>
                  <a:cubicBezTo>
                    <a:pt x="17134" y="7290"/>
                    <a:pt x="17027" y="7385"/>
                    <a:pt x="17027" y="7502"/>
                  </a:cubicBezTo>
                  <a:cubicBezTo>
                    <a:pt x="17027" y="7619"/>
                    <a:pt x="17134" y="7714"/>
                    <a:pt x="17266" y="7714"/>
                  </a:cubicBezTo>
                  <a:cubicBezTo>
                    <a:pt x="17397" y="7714"/>
                    <a:pt x="17502" y="7619"/>
                    <a:pt x="17502" y="7502"/>
                  </a:cubicBezTo>
                  <a:cubicBezTo>
                    <a:pt x="17502" y="7385"/>
                    <a:pt x="17397" y="7290"/>
                    <a:pt x="17266" y="7290"/>
                  </a:cubicBezTo>
                  <a:close/>
                  <a:moveTo>
                    <a:pt x="17972" y="7290"/>
                  </a:moveTo>
                  <a:cubicBezTo>
                    <a:pt x="17841" y="7290"/>
                    <a:pt x="17734" y="7385"/>
                    <a:pt x="17734" y="7502"/>
                  </a:cubicBezTo>
                  <a:cubicBezTo>
                    <a:pt x="17734" y="7619"/>
                    <a:pt x="17841" y="7714"/>
                    <a:pt x="17972" y="7714"/>
                  </a:cubicBezTo>
                  <a:cubicBezTo>
                    <a:pt x="18104" y="7714"/>
                    <a:pt x="18209" y="7619"/>
                    <a:pt x="18209" y="7502"/>
                  </a:cubicBezTo>
                  <a:cubicBezTo>
                    <a:pt x="18209" y="7385"/>
                    <a:pt x="18104" y="7290"/>
                    <a:pt x="17972" y="7290"/>
                  </a:cubicBezTo>
                  <a:close/>
                  <a:moveTo>
                    <a:pt x="18608" y="7290"/>
                  </a:moveTo>
                  <a:cubicBezTo>
                    <a:pt x="18477" y="7290"/>
                    <a:pt x="18370" y="7385"/>
                    <a:pt x="18370" y="7502"/>
                  </a:cubicBezTo>
                  <a:cubicBezTo>
                    <a:pt x="18370" y="7619"/>
                    <a:pt x="18477" y="7714"/>
                    <a:pt x="18608" y="7714"/>
                  </a:cubicBezTo>
                  <a:cubicBezTo>
                    <a:pt x="18739" y="7714"/>
                    <a:pt x="18845" y="7619"/>
                    <a:pt x="18845" y="7502"/>
                  </a:cubicBezTo>
                  <a:cubicBezTo>
                    <a:pt x="18845" y="7385"/>
                    <a:pt x="18739" y="7290"/>
                    <a:pt x="18608" y="7290"/>
                  </a:cubicBezTo>
                  <a:close/>
                  <a:moveTo>
                    <a:pt x="1652" y="7855"/>
                  </a:moveTo>
                  <a:cubicBezTo>
                    <a:pt x="1520" y="7855"/>
                    <a:pt x="1413" y="7951"/>
                    <a:pt x="1413" y="8067"/>
                  </a:cubicBezTo>
                  <a:cubicBezTo>
                    <a:pt x="1413" y="8184"/>
                    <a:pt x="1520" y="8277"/>
                    <a:pt x="1652" y="8277"/>
                  </a:cubicBezTo>
                  <a:cubicBezTo>
                    <a:pt x="1783" y="8277"/>
                    <a:pt x="1888" y="8184"/>
                    <a:pt x="1888" y="8067"/>
                  </a:cubicBezTo>
                  <a:cubicBezTo>
                    <a:pt x="1888" y="7951"/>
                    <a:pt x="1783" y="7855"/>
                    <a:pt x="1652" y="7855"/>
                  </a:cubicBezTo>
                  <a:close/>
                  <a:moveTo>
                    <a:pt x="2287" y="7855"/>
                  </a:moveTo>
                  <a:cubicBezTo>
                    <a:pt x="2156" y="7855"/>
                    <a:pt x="2049" y="7951"/>
                    <a:pt x="2049" y="8067"/>
                  </a:cubicBezTo>
                  <a:cubicBezTo>
                    <a:pt x="2049" y="8184"/>
                    <a:pt x="2156" y="8277"/>
                    <a:pt x="2287" y="8277"/>
                  </a:cubicBezTo>
                  <a:cubicBezTo>
                    <a:pt x="2419" y="8277"/>
                    <a:pt x="2524" y="8184"/>
                    <a:pt x="2524" y="8067"/>
                  </a:cubicBezTo>
                  <a:cubicBezTo>
                    <a:pt x="2524" y="7951"/>
                    <a:pt x="2419" y="7855"/>
                    <a:pt x="2287" y="7855"/>
                  </a:cubicBezTo>
                  <a:close/>
                  <a:moveTo>
                    <a:pt x="2994" y="7855"/>
                  </a:moveTo>
                  <a:cubicBezTo>
                    <a:pt x="2863" y="7855"/>
                    <a:pt x="2755" y="7951"/>
                    <a:pt x="2755" y="8067"/>
                  </a:cubicBezTo>
                  <a:cubicBezTo>
                    <a:pt x="2755" y="8184"/>
                    <a:pt x="2863" y="8277"/>
                    <a:pt x="2994" y="8277"/>
                  </a:cubicBezTo>
                  <a:cubicBezTo>
                    <a:pt x="3125" y="8277"/>
                    <a:pt x="3230" y="8184"/>
                    <a:pt x="3230" y="8067"/>
                  </a:cubicBezTo>
                  <a:cubicBezTo>
                    <a:pt x="3230" y="7951"/>
                    <a:pt x="3125" y="7855"/>
                    <a:pt x="2994" y="7855"/>
                  </a:cubicBezTo>
                  <a:close/>
                  <a:moveTo>
                    <a:pt x="3700" y="7855"/>
                  </a:moveTo>
                  <a:cubicBezTo>
                    <a:pt x="3569" y="7855"/>
                    <a:pt x="3462" y="7951"/>
                    <a:pt x="3462" y="8067"/>
                  </a:cubicBezTo>
                  <a:cubicBezTo>
                    <a:pt x="3462" y="8184"/>
                    <a:pt x="3569" y="8277"/>
                    <a:pt x="3700" y="8277"/>
                  </a:cubicBezTo>
                  <a:cubicBezTo>
                    <a:pt x="3832" y="8277"/>
                    <a:pt x="3937" y="8184"/>
                    <a:pt x="3937" y="8067"/>
                  </a:cubicBezTo>
                  <a:cubicBezTo>
                    <a:pt x="3937" y="7951"/>
                    <a:pt x="3832" y="7855"/>
                    <a:pt x="3700" y="7855"/>
                  </a:cubicBezTo>
                  <a:close/>
                  <a:moveTo>
                    <a:pt x="4336" y="7855"/>
                  </a:moveTo>
                  <a:cubicBezTo>
                    <a:pt x="4205" y="7855"/>
                    <a:pt x="4098" y="7951"/>
                    <a:pt x="4098" y="8067"/>
                  </a:cubicBezTo>
                  <a:cubicBezTo>
                    <a:pt x="4098" y="8184"/>
                    <a:pt x="4205" y="8277"/>
                    <a:pt x="4336" y="8277"/>
                  </a:cubicBezTo>
                  <a:cubicBezTo>
                    <a:pt x="4468" y="8277"/>
                    <a:pt x="4573" y="8184"/>
                    <a:pt x="4573" y="8067"/>
                  </a:cubicBezTo>
                  <a:cubicBezTo>
                    <a:pt x="4573" y="7951"/>
                    <a:pt x="4468" y="7855"/>
                    <a:pt x="4336" y="7855"/>
                  </a:cubicBezTo>
                  <a:close/>
                  <a:moveTo>
                    <a:pt x="5043" y="7855"/>
                  </a:moveTo>
                  <a:cubicBezTo>
                    <a:pt x="4912" y="7855"/>
                    <a:pt x="4804" y="7951"/>
                    <a:pt x="4804" y="8067"/>
                  </a:cubicBezTo>
                  <a:cubicBezTo>
                    <a:pt x="4804" y="8184"/>
                    <a:pt x="4912" y="8277"/>
                    <a:pt x="5043" y="8277"/>
                  </a:cubicBezTo>
                  <a:cubicBezTo>
                    <a:pt x="5174" y="8277"/>
                    <a:pt x="5279" y="8184"/>
                    <a:pt x="5279" y="8067"/>
                  </a:cubicBezTo>
                  <a:cubicBezTo>
                    <a:pt x="5279" y="7951"/>
                    <a:pt x="5174" y="7855"/>
                    <a:pt x="5043" y="7855"/>
                  </a:cubicBezTo>
                  <a:close/>
                  <a:moveTo>
                    <a:pt x="5749" y="7855"/>
                  </a:moveTo>
                  <a:cubicBezTo>
                    <a:pt x="5618" y="7855"/>
                    <a:pt x="5511" y="7951"/>
                    <a:pt x="5511" y="8067"/>
                  </a:cubicBezTo>
                  <a:cubicBezTo>
                    <a:pt x="5511" y="8184"/>
                    <a:pt x="5618" y="8277"/>
                    <a:pt x="5749" y="8277"/>
                  </a:cubicBezTo>
                  <a:cubicBezTo>
                    <a:pt x="5880" y="8277"/>
                    <a:pt x="5986" y="8184"/>
                    <a:pt x="5986" y="8067"/>
                  </a:cubicBezTo>
                  <a:cubicBezTo>
                    <a:pt x="5986" y="7951"/>
                    <a:pt x="5880" y="7855"/>
                    <a:pt x="5749" y="7855"/>
                  </a:cubicBezTo>
                  <a:close/>
                  <a:moveTo>
                    <a:pt x="6385" y="7855"/>
                  </a:moveTo>
                  <a:cubicBezTo>
                    <a:pt x="6254" y="7855"/>
                    <a:pt x="6147" y="7951"/>
                    <a:pt x="6147" y="8067"/>
                  </a:cubicBezTo>
                  <a:cubicBezTo>
                    <a:pt x="6147" y="8184"/>
                    <a:pt x="6254" y="8277"/>
                    <a:pt x="6385" y="8277"/>
                  </a:cubicBezTo>
                  <a:cubicBezTo>
                    <a:pt x="6517" y="8277"/>
                    <a:pt x="6622" y="8184"/>
                    <a:pt x="6622" y="8067"/>
                  </a:cubicBezTo>
                  <a:cubicBezTo>
                    <a:pt x="6622" y="7951"/>
                    <a:pt x="6517" y="7855"/>
                    <a:pt x="6385" y="7855"/>
                  </a:cubicBezTo>
                  <a:close/>
                  <a:moveTo>
                    <a:pt x="7092" y="7855"/>
                  </a:moveTo>
                  <a:cubicBezTo>
                    <a:pt x="6961" y="7855"/>
                    <a:pt x="6853" y="7951"/>
                    <a:pt x="6853" y="8067"/>
                  </a:cubicBezTo>
                  <a:cubicBezTo>
                    <a:pt x="6853" y="8184"/>
                    <a:pt x="6961" y="8277"/>
                    <a:pt x="7092" y="8277"/>
                  </a:cubicBezTo>
                  <a:cubicBezTo>
                    <a:pt x="7223" y="8277"/>
                    <a:pt x="7328" y="8184"/>
                    <a:pt x="7328" y="8067"/>
                  </a:cubicBezTo>
                  <a:cubicBezTo>
                    <a:pt x="7328" y="7951"/>
                    <a:pt x="7223" y="7855"/>
                    <a:pt x="7092" y="7855"/>
                  </a:cubicBezTo>
                  <a:close/>
                  <a:moveTo>
                    <a:pt x="7798" y="7855"/>
                  </a:moveTo>
                  <a:cubicBezTo>
                    <a:pt x="7667" y="7855"/>
                    <a:pt x="7560" y="7951"/>
                    <a:pt x="7560" y="8067"/>
                  </a:cubicBezTo>
                  <a:cubicBezTo>
                    <a:pt x="7560" y="8184"/>
                    <a:pt x="7667" y="8277"/>
                    <a:pt x="7798" y="8277"/>
                  </a:cubicBezTo>
                  <a:cubicBezTo>
                    <a:pt x="7930" y="8277"/>
                    <a:pt x="8035" y="8184"/>
                    <a:pt x="8035" y="8067"/>
                  </a:cubicBezTo>
                  <a:cubicBezTo>
                    <a:pt x="8035" y="7951"/>
                    <a:pt x="7930" y="7855"/>
                    <a:pt x="7798" y="7855"/>
                  </a:cubicBezTo>
                  <a:close/>
                  <a:moveTo>
                    <a:pt x="8434" y="7855"/>
                  </a:moveTo>
                  <a:cubicBezTo>
                    <a:pt x="8303" y="7855"/>
                    <a:pt x="8196" y="7951"/>
                    <a:pt x="8196" y="8067"/>
                  </a:cubicBezTo>
                  <a:cubicBezTo>
                    <a:pt x="8196" y="8184"/>
                    <a:pt x="8303" y="8277"/>
                    <a:pt x="8434" y="8277"/>
                  </a:cubicBezTo>
                  <a:cubicBezTo>
                    <a:pt x="8565" y="8277"/>
                    <a:pt x="8670" y="8184"/>
                    <a:pt x="8670" y="8067"/>
                  </a:cubicBezTo>
                  <a:cubicBezTo>
                    <a:pt x="8670" y="7951"/>
                    <a:pt x="8565" y="7855"/>
                    <a:pt x="8434" y="7855"/>
                  </a:cubicBezTo>
                  <a:close/>
                  <a:moveTo>
                    <a:pt x="9141" y="7855"/>
                  </a:moveTo>
                  <a:cubicBezTo>
                    <a:pt x="9009" y="7855"/>
                    <a:pt x="8902" y="7951"/>
                    <a:pt x="8902" y="8067"/>
                  </a:cubicBezTo>
                  <a:cubicBezTo>
                    <a:pt x="8902" y="8184"/>
                    <a:pt x="9009" y="8277"/>
                    <a:pt x="9141" y="8277"/>
                  </a:cubicBezTo>
                  <a:cubicBezTo>
                    <a:pt x="9272" y="8277"/>
                    <a:pt x="9377" y="8184"/>
                    <a:pt x="9377" y="8067"/>
                  </a:cubicBezTo>
                  <a:cubicBezTo>
                    <a:pt x="9377" y="7951"/>
                    <a:pt x="9272" y="7855"/>
                    <a:pt x="9141" y="7855"/>
                  </a:cubicBezTo>
                  <a:close/>
                  <a:moveTo>
                    <a:pt x="9847" y="7855"/>
                  </a:moveTo>
                  <a:cubicBezTo>
                    <a:pt x="9716" y="7855"/>
                    <a:pt x="9609" y="7951"/>
                    <a:pt x="9609" y="8067"/>
                  </a:cubicBezTo>
                  <a:cubicBezTo>
                    <a:pt x="9609" y="8184"/>
                    <a:pt x="9716" y="8277"/>
                    <a:pt x="9847" y="8277"/>
                  </a:cubicBezTo>
                  <a:cubicBezTo>
                    <a:pt x="9978" y="8277"/>
                    <a:pt x="10084" y="8184"/>
                    <a:pt x="10084" y="8067"/>
                  </a:cubicBezTo>
                  <a:cubicBezTo>
                    <a:pt x="10084" y="7951"/>
                    <a:pt x="9978" y="7855"/>
                    <a:pt x="9847" y="7855"/>
                  </a:cubicBezTo>
                  <a:close/>
                  <a:moveTo>
                    <a:pt x="10483" y="7855"/>
                  </a:moveTo>
                  <a:cubicBezTo>
                    <a:pt x="10352" y="7855"/>
                    <a:pt x="10245" y="7951"/>
                    <a:pt x="10245" y="8067"/>
                  </a:cubicBezTo>
                  <a:cubicBezTo>
                    <a:pt x="10245" y="8184"/>
                    <a:pt x="10352" y="8277"/>
                    <a:pt x="10483" y="8277"/>
                  </a:cubicBezTo>
                  <a:cubicBezTo>
                    <a:pt x="10614" y="8277"/>
                    <a:pt x="10719" y="8184"/>
                    <a:pt x="10719" y="8067"/>
                  </a:cubicBezTo>
                  <a:cubicBezTo>
                    <a:pt x="10719" y="7951"/>
                    <a:pt x="10614" y="7855"/>
                    <a:pt x="10483" y="7855"/>
                  </a:cubicBezTo>
                  <a:close/>
                  <a:moveTo>
                    <a:pt x="11190" y="7855"/>
                  </a:moveTo>
                  <a:cubicBezTo>
                    <a:pt x="11058" y="7855"/>
                    <a:pt x="10951" y="7951"/>
                    <a:pt x="10951" y="8067"/>
                  </a:cubicBezTo>
                  <a:cubicBezTo>
                    <a:pt x="10951" y="8184"/>
                    <a:pt x="11058" y="8277"/>
                    <a:pt x="11190" y="8277"/>
                  </a:cubicBezTo>
                  <a:cubicBezTo>
                    <a:pt x="11321" y="8277"/>
                    <a:pt x="11426" y="8184"/>
                    <a:pt x="11426" y="8067"/>
                  </a:cubicBezTo>
                  <a:cubicBezTo>
                    <a:pt x="11426" y="7951"/>
                    <a:pt x="11321" y="7855"/>
                    <a:pt x="11190" y="7855"/>
                  </a:cubicBezTo>
                  <a:close/>
                  <a:moveTo>
                    <a:pt x="11826" y="7855"/>
                  </a:moveTo>
                  <a:cubicBezTo>
                    <a:pt x="11694" y="7855"/>
                    <a:pt x="11587" y="7951"/>
                    <a:pt x="11587" y="8067"/>
                  </a:cubicBezTo>
                  <a:cubicBezTo>
                    <a:pt x="11587" y="8184"/>
                    <a:pt x="11694" y="8277"/>
                    <a:pt x="11826" y="8277"/>
                  </a:cubicBezTo>
                  <a:cubicBezTo>
                    <a:pt x="11957" y="8277"/>
                    <a:pt x="12062" y="8184"/>
                    <a:pt x="12062" y="8067"/>
                  </a:cubicBezTo>
                  <a:cubicBezTo>
                    <a:pt x="12062" y="7951"/>
                    <a:pt x="11957" y="7855"/>
                    <a:pt x="11826" y="7855"/>
                  </a:cubicBezTo>
                  <a:close/>
                  <a:moveTo>
                    <a:pt x="12532" y="7855"/>
                  </a:moveTo>
                  <a:cubicBezTo>
                    <a:pt x="12401" y="7855"/>
                    <a:pt x="12294" y="7951"/>
                    <a:pt x="12294" y="8067"/>
                  </a:cubicBezTo>
                  <a:cubicBezTo>
                    <a:pt x="12294" y="8184"/>
                    <a:pt x="12401" y="8277"/>
                    <a:pt x="12532" y="8277"/>
                  </a:cubicBezTo>
                  <a:cubicBezTo>
                    <a:pt x="12663" y="8277"/>
                    <a:pt x="12768" y="8184"/>
                    <a:pt x="12768" y="8067"/>
                  </a:cubicBezTo>
                  <a:cubicBezTo>
                    <a:pt x="12768" y="7951"/>
                    <a:pt x="12663" y="7855"/>
                    <a:pt x="12532" y="7855"/>
                  </a:cubicBezTo>
                  <a:close/>
                  <a:moveTo>
                    <a:pt x="13239" y="7855"/>
                  </a:moveTo>
                  <a:cubicBezTo>
                    <a:pt x="13107" y="7855"/>
                    <a:pt x="13000" y="7951"/>
                    <a:pt x="13000" y="8067"/>
                  </a:cubicBezTo>
                  <a:cubicBezTo>
                    <a:pt x="13000" y="8184"/>
                    <a:pt x="13107" y="8277"/>
                    <a:pt x="13239" y="8277"/>
                  </a:cubicBezTo>
                  <a:cubicBezTo>
                    <a:pt x="13370" y="8277"/>
                    <a:pt x="13475" y="8184"/>
                    <a:pt x="13475" y="8067"/>
                  </a:cubicBezTo>
                  <a:cubicBezTo>
                    <a:pt x="13475" y="7951"/>
                    <a:pt x="13370" y="7855"/>
                    <a:pt x="13239" y="7855"/>
                  </a:cubicBezTo>
                  <a:close/>
                  <a:moveTo>
                    <a:pt x="13875" y="7855"/>
                  </a:moveTo>
                  <a:cubicBezTo>
                    <a:pt x="13743" y="7855"/>
                    <a:pt x="13636" y="7951"/>
                    <a:pt x="13636" y="8067"/>
                  </a:cubicBezTo>
                  <a:cubicBezTo>
                    <a:pt x="13636" y="8184"/>
                    <a:pt x="13743" y="8277"/>
                    <a:pt x="13875" y="8277"/>
                  </a:cubicBezTo>
                  <a:cubicBezTo>
                    <a:pt x="14005" y="8277"/>
                    <a:pt x="14111" y="8184"/>
                    <a:pt x="14111" y="8067"/>
                  </a:cubicBezTo>
                  <a:cubicBezTo>
                    <a:pt x="14111" y="7951"/>
                    <a:pt x="14005" y="7855"/>
                    <a:pt x="13875" y="7855"/>
                  </a:cubicBezTo>
                  <a:close/>
                  <a:moveTo>
                    <a:pt x="14581" y="7855"/>
                  </a:moveTo>
                  <a:cubicBezTo>
                    <a:pt x="14450" y="7855"/>
                    <a:pt x="14343" y="7951"/>
                    <a:pt x="14343" y="8067"/>
                  </a:cubicBezTo>
                  <a:cubicBezTo>
                    <a:pt x="14343" y="8184"/>
                    <a:pt x="14450" y="8277"/>
                    <a:pt x="14581" y="8277"/>
                  </a:cubicBezTo>
                  <a:cubicBezTo>
                    <a:pt x="14712" y="8277"/>
                    <a:pt x="14817" y="8184"/>
                    <a:pt x="14817" y="8067"/>
                  </a:cubicBezTo>
                  <a:cubicBezTo>
                    <a:pt x="14817" y="7951"/>
                    <a:pt x="14712" y="7855"/>
                    <a:pt x="14581" y="7855"/>
                  </a:cubicBezTo>
                  <a:close/>
                  <a:moveTo>
                    <a:pt x="15217" y="7855"/>
                  </a:moveTo>
                  <a:cubicBezTo>
                    <a:pt x="15086" y="7855"/>
                    <a:pt x="14978" y="7951"/>
                    <a:pt x="14978" y="8067"/>
                  </a:cubicBezTo>
                  <a:cubicBezTo>
                    <a:pt x="14978" y="8184"/>
                    <a:pt x="15086" y="8277"/>
                    <a:pt x="15217" y="8277"/>
                  </a:cubicBezTo>
                  <a:cubicBezTo>
                    <a:pt x="15348" y="8277"/>
                    <a:pt x="15453" y="8184"/>
                    <a:pt x="15453" y="8067"/>
                  </a:cubicBezTo>
                  <a:cubicBezTo>
                    <a:pt x="15453" y="7951"/>
                    <a:pt x="15348" y="7855"/>
                    <a:pt x="15217" y="7855"/>
                  </a:cubicBezTo>
                  <a:close/>
                  <a:moveTo>
                    <a:pt x="15923" y="7855"/>
                  </a:moveTo>
                  <a:cubicBezTo>
                    <a:pt x="15792" y="7855"/>
                    <a:pt x="15685" y="7951"/>
                    <a:pt x="15685" y="8067"/>
                  </a:cubicBezTo>
                  <a:cubicBezTo>
                    <a:pt x="15685" y="8184"/>
                    <a:pt x="15792" y="8277"/>
                    <a:pt x="15923" y="8277"/>
                  </a:cubicBezTo>
                  <a:cubicBezTo>
                    <a:pt x="16054" y="8277"/>
                    <a:pt x="16160" y="8184"/>
                    <a:pt x="16160" y="8067"/>
                  </a:cubicBezTo>
                  <a:cubicBezTo>
                    <a:pt x="16160" y="7951"/>
                    <a:pt x="16054" y="7855"/>
                    <a:pt x="15923" y="7855"/>
                  </a:cubicBezTo>
                  <a:close/>
                  <a:moveTo>
                    <a:pt x="16630" y="7855"/>
                  </a:moveTo>
                  <a:cubicBezTo>
                    <a:pt x="16499" y="7855"/>
                    <a:pt x="16392" y="7951"/>
                    <a:pt x="16392" y="8067"/>
                  </a:cubicBezTo>
                  <a:cubicBezTo>
                    <a:pt x="16392" y="8184"/>
                    <a:pt x="16499" y="8277"/>
                    <a:pt x="16630" y="8277"/>
                  </a:cubicBezTo>
                  <a:cubicBezTo>
                    <a:pt x="16761" y="8277"/>
                    <a:pt x="16866" y="8184"/>
                    <a:pt x="16866" y="8067"/>
                  </a:cubicBezTo>
                  <a:cubicBezTo>
                    <a:pt x="16866" y="7951"/>
                    <a:pt x="16761" y="7855"/>
                    <a:pt x="16630" y="7855"/>
                  </a:cubicBezTo>
                  <a:close/>
                  <a:moveTo>
                    <a:pt x="17266" y="7855"/>
                  </a:moveTo>
                  <a:cubicBezTo>
                    <a:pt x="17134" y="7855"/>
                    <a:pt x="17027" y="7951"/>
                    <a:pt x="17027" y="8067"/>
                  </a:cubicBezTo>
                  <a:cubicBezTo>
                    <a:pt x="17027" y="8184"/>
                    <a:pt x="17134" y="8277"/>
                    <a:pt x="17266" y="8277"/>
                  </a:cubicBezTo>
                  <a:cubicBezTo>
                    <a:pt x="17397" y="8277"/>
                    <a:pt x="17502" y="8184"/>
                    <a:pt x="17502" y="8067"/>
                  </a:cubicBezTo>
                  <a:cubicBezTo>
                    <a:pt x="17502" y="7951"/>
                    <a:pt x="17397" y="7855"/>
                    <a:pt x="17266" y="7855"/>
                  </a:cubicBezTo>
                  <a:close/>
                  <a:moveTo>
                    <a:pt x="17972" y="7855"/>
                  </a:moveTo>
                  <a:cubicBezTo>
                    <a:pt x="17841" y="7855"/>
                    <a:pt x="17734" y="7951"/>
                    <a:pt x="17734" y="8067"/>
                  </a:cubicBezTo>
                  <a:cubicBezTo>
                    <a:pt x="17734" y="8184"/>
                    <a:pt x="17841" y="8277"/>
                    <a:pt x="17972" y="8277"/>
                  </a:cubicBezTo>
                  <a:cubicBezTo>
                    <a:pt x="18104" y="8277"/>
                    <a:pt x="18209" y="8184"/>
                    <a:pt x="18209" y="8067"/>
                  </a:cubicBezTo>
                  <a:cubicBezTo>
                    <a:pt x="18209" y="7951"/>
                    <a:pt x="18104" y="7855"/>
                    <a:pt x="17972" y="7855"/>
                  </a:cubicBezTo>
                  <a:close/>
                  <a:moveTo>
                    <a:pt x="18608" y="7855"/>
                  </a:moveTo>
                  <a:cubicBezTo>
                    <a:pt x="18477" y="7855"/>
                    <a:pt x="18370" y="7951"/>
                    <a:pt x="18370" y="8067"/>
                  </a:cubicBezTo>
                  <a:cubicBezTo>
                    <a:pt x="18370" y="8184"/>
                    <a:pt x="18477" y="8277"/>
                    <a:pt x="18608" y="8277"/>
                  </a:cubicBezTo>
                  <a:cubicBezTo>
                    <a:pt x="18739" y="8277"/>
                    <a:pt x="18845" y="8184"/>
                    <a:pt x="18845" y="8067"/>
                  </a:cubicBezTo>
                  <a:cubicBezTo>
                    <a:pt x="18845" y="7951"/>
                    <a:pt x="18739" y="7855"/>
                    <a:pt x="18608" y="7855"/>
                  </a:cubicBezTo>
                  <a:close/>
                  <a:moveTo>
                    <a:pt x="19315" y="7855"/>
                  </a:moveTo>
                  <a:cubicBezTo>
                    <a:pt x="19183" y="7855"/>
                    <a:pt x="19076" y="7951"/>
                    <a:pt x="19076" y="8067"/>
                  </a:cubicBezTo>
                  <a:cubicBezTo>
                    <a:pt x="19076" y="8184"/>
                    <a:pt x="19183" y="8277"/>
                    <a:pt x="19315" y="8277"/>
                  </a:cubicBezTo>
                  <a:cubicBezTo>
                    <a:pt x="19446" y="8277"/>
                    <a:pt x="19551" y="8184"/>
                    <a:pt x="19551" y="8067"/>
                  </a:cubicBezTo>
                  <a:cubicBezTo>
                    <a:pt x="19551" y="7951"/>
                    <a:pt x="19446" y="7855"/>
                    <a:pt x="19315" y="7855"/>
                  </a:cubicBezTo>
                  <a:close/>
                  <a:moveTo>
                    <a:pt x="20021" y="7855"/>
                  </a:moveTo>
                  <a:cubicBezTo>
                    <a:pt x="19890" y="7855"/>
                    <a:pt x="19783" y="7951"/>
                    <a:pt x="19783" y="8067"/>
                  </a:cubicBezTo>
                  <a:cubicBezTo>
                    <a:pt x="19783" y="8184"/>
                    <a:pt x="19890" y="8277"/>
                    <a:pt x="20021" y="8277"/>
                  </a:cubicBezTo>
                  <a:cubicBezTo>
                    <a:pt x="20153" y="8277"/>
                    <a:pt x="20258" y="8184"/>
                    <a:pt x="20258" y="8067"/>
                  </a:cubicBezTo>
                  <a:cubicBezTo>
                    <a:pt x="20258" y="7951"/>
                    <a:pt x="20153" y="7855"/>
                    <a:pt x="20021" y="7855"/>
                  </a:cubicBezTo>
                  <a:close/>
                  <a:moveTo>
                    <a:pt x="20657" y="7855"/>
                  </a:moveTo>
                  <a:cubicBezTo>
                    <a:pt x="20526" y="7855"/>
                    <a:pt x="20419" y="7951"/>
                    <a:pt x="20419" y="8067"/>
                  </a:cubicBezTo>
                  <a:cubicBezTo>
                    <a:pt x="20419" y="8184"/>
                    <a:pt x="20526" y="8277"/>
                    <a:pt x="20657" y="8277"/>
                  </a:cubicBezTo>
                  <a:cubicBezTo>
                    <a:pt x="20788" y="8277"/>
                    <a:pt x="20893" y="8184"/>
                    <a:pt x="20893" y="8067"/>
                  </a:cubicBezTo>
                  <a:cubicBezTo>
                    <a:pt x="20893" y="7951"/>
                    <a:pt x="20788" y="7855"/>
                    <a:pt x="20657" y="7855"/>
                  </a:cubicBezTo>
                  <a:close/>
                  <a:moveTo>
                    <a:pt x="21364" y="7855"/>
                  </a:moveTo>
                  <a:cubicBezTo>
                    <a:pt x="21232" y="7855"/>
                    <a:pt x="21125" y="7951"/>
                    <a:pt x="21125" y="8067"/>
                  </a:cubicBezTo>
                  <a:cubicBezTo>
                    <a:pt x="21125" y="8184"/>
                    <a:pt x="21232" y="8277"/>
                    <a:pt x="21364" y="8277"/>
                  </a:cubicBezTo>
                  <a:cubicBezTo>
                    <a:pt x="21495" y="8277"/>
                    <a:pt x="21600" y="8184"/>
                    <a:pt x="21600" y="8067"/>
                  </a:cubicBezTo>
                  <a:cubicBezTo>
                    <a:pt x="21600" y="7951"/>
                    <a:pt x="21495" y="7855"/>
                    <a:pt x="21364" y="7855"/>
                  </a:cubicBezTo>
                  <a:close/>
                  <a:moveTo>
                    <a:pt x="1652" y="8484"/>
                  </a:moveTo>
                  <a:cubicBezTo>
                    <a:pt x="1520" y="8484"/>
                    <a:pt x="1413" y="8579"/>
                    <a:pt x="1413" y="8696"/>
                  </a:cubicBezTo>
                  <a:cubicBezTo>
                    <a:pt x="1413" y="8812"/>
                    <a:pt x="1520" y="8908"/>
                    <a:pt x="1652" y="8908"/>
                  </a:cubicBezTo>
                  <a:cubicBezTo>
                    <a:pt x="1783" y="8908"/>
                    <a:pt x="1888" y="8812"/>
                    <a:pt x="1888" y="8696"/>
                  </a:cubicBezTo>
                  <a:cubicBezTo>
                    <a:pt x="1888" y="8579"/>
                    <a:pt x="1783" y="8484"/>
                    <a:pt x="1652" y="8484"/>
                  </a:cubicBezTo>
                  <a:close/>
                  <a:moveTo>
                    <a:pt x="2287" y="8484"/>
                  </a:moveTo>
                  <a:cubicBezTo>
                    <a:pt x="2156" y="8484"/>
                    <a:pt x="2049" y="8579"/>
                    <a:pt x="2049" y="8696"/>
                  </a:cubicBezTo>
                  <a:cubicBezTo>
                    <a:pt x="2049" y="8812"/>
                    <a:pt x="2156" y="8908"/>
                    <a:pt x="2287" y="8908"/>
                  </a:cubicBezTo>
                  <a:cubicBezTo>
                    <a:pt x="2419" y="8908"/>
                    <a:pt x="2524" y="8812"/>
                    <a:pt x="2524" y="8696"/>
                  </a:cubicBezTo>
                  <a:cubicBezTo>
                    <a:pt x="2524" y="8579"/>
                    <a:pt x="2419" y="8484"/>
                    <a:pt x="2287" y="8484"/>
                  </a:cubicBezTo>
                  <a:close/>
                  <a:moveTo>
                    <a:pt x="2994" y="8484"/>
                  </a:moveTo>
                  <a:cubicBezTo>
                    <a:pt x="2863" y="8484"/>
                    <a:pt x="2755" y="8579"/>
                    <a:pt x="2755" y="8696"/>
                  </a:cubicBezTo>
                  <a:cubicBezTo>
                    <a:pt x="2755" y="8812"/>
                    <a:pt x="2863" y="8908"/>
                    <a:pt x="2994" y="8908"/>
                  </a:cubicBezTo>
                  <a:cubicBezTo>
                    <a:pt x="3125" y="8908"/>
                    <a:pt x="3230" y="8812"/>
                    <a:pt x="3230" y="8696"/>
                  </a:cubicBezTo>
                  <a:cubicBezTo>
                    <a:pt x="3230" y="8579"/>
                    <a:pt x="3125" y="8484"/>
                    <a:pt x="2994" y="8484"/>
                  </a:cubicBezTo>
                  <a:close/>
                  <a:moveTo>
                    <a:pt x="3700" y="8484"/>
                  </a:moveTo>
                  <a:cubicBezTo>
                    <a:pt x="3569" y="8484"/>
                    <a:pt x="3462" y="8579"/>
                    <a:pt x="3462" y="8696"/>
                  </a:cubicBezTo>
                  <a:cubicBezTo>
                    <a:pt x="3462" y="8812"/>
                    <a:pt x="3569" y="8908"/>
                    <a:pt x="3700" y="8908"/>
                  </a:cubicBezTo>
                  <a:cubicBezTo>
                    <a:pt x="3832" y="8908"/>
                    <a:pt x="3937" y="8812"/>
                    <a:pt x="3937" y="8696"/>
                  </a:cubicBezTo>
                  <a:cubicBezTo>
                    <a:pt x="3937" y="8579"/>
                    <a:pt x="3832" y="8484"/>
                    <a:pt x="3700" y="8484"/>
                  </a:cubicBezTo>
                  <a:close/>
                  <a:moveTo>
                    <a:pt x="4336" y="8484"/>
                  </a:moveTo>
                  <a:cubicBezTo>
                    <a:pt x="4205" y="8484"/>
                    <a:pt x="4098" y="8579"/>
                    <a:pt x="4098" y="8696"/>
                  </a:cubicBezTo>
                  <a:cubicBezTo>
                    <a:pt x="4098" y="8812"/>
                    <a:pt x="4205" y="8908"/>
                    <a:pt x="4336" y="8908"/>
                  </a:cubicBezTo>
                  <a:cubicBezTo>
                    <a:pt x="4468" y="8908"/>
                    <a:pt x="4573" y="8812"/>
                    <a:pt x="4573" y="8696"/>
                  </a:cubicBezTo>
                  <a:cubicBezTo>
                    <a:pt x="4573" y="8579"/>
                    <a:pt x="4468" y="8484"/>
                    <a:pt x="4336" y="8484"/>
                  </a:cubicBezTo>
                  <a:close/>
                  <a:moveTo>
                    <a:pt x="5043" y="8484"/>
                  </a:moveTo>
                  <a:cubicBezTo>
                    <a:pt x="4912" y="8484"/>
                    <a:pt x="4804" y="8579"/>
                    <a:pt x="4804" y="8696"/>
                  </a:cubicBezTo>
                  <a:cubicBezTo>
                    <a:pt x="4804" y="8812"/>
                    <a:pt x="4912" y="8908"/>
                    <a:pt x="5043" y="8908"/>
                  </a:cubicBezTo>
                  <a:cubicBezTo>
                    <a:pt x="5174" y="8908"/>
                    <a:pt x="5279" y="8812"/>
                    <a:pt x="5279" y="8696"/>
                  </a:cubicBezTo>
                  <a:cubicBezTo>
                    <a:pt x="5279" y="8579"/>
                    <a:pt x="5174" y="8484"/>
                    <a:pt x="5043" y="8484"/>
                  </a:cubicBezTo>
                  <a:close/>
                  <a:moveTo>
                    <a:pt x="5749" y="8484"/>
                  </a:moveTo>
                  <a:cubicBezTo>
                    <a:pt x="5618" y="8484"/>
                    <a:pt x="5511" y="8579"/>
                    <a:pt x="5511" y="8696"/>
                  </a:cubicBezTo>
                  <a:cubicBezTo>
                    <a:pt x="5511" y="8812"/>
                    <a:pt x="5618" y="8908"/>
                    <a:pt x="5749" y="8908"/>
                  </a:cubicBezTo>
                  <a:cubicBezTo>
                    <a:pt x="5880" y="8908"/>
                    <a:pt x="5986" y="8812"/>
                    <a:pt x="5986" y="8696"/>
                  </a:cubicBezTo>
                  <a:cubicBezTo>
                    <a:pt x="5986" y="8579"/>
                    <a:pt x="5880" y="8484"/>
                    <a:pt x="5749" y="8484"/>
                  </a:cubicBezTo>
                  <a:close/>
                  <a:moveTo>
                    <a:pt x="6385" y="8484"/>
                  </a:moveTo>
                  <a:cubicBezTo>
                    <a:pt x="6254" y="8484"/>
                    <a:pt x="6147" y="8579"/>
                    <a:pt x="6147" y="8696"/>
                  </a:cubicBezTo>
                  <a:cubicBezTo>
                    <a:pt x="6147" y="8812"/>
                    <a:pt x="6254" y="8908"/>
                    <a:pt x="6385" y="8908"/>
                  </a:cubicBezTo>
                  <a:cubicBezTo>
                    <a:pt x="6517" y="8908"/>
                    <a:pt x="6622" y="8812"/>
                    <a:pt x="6622" y="8696"/>
                  </a:cubicBezTo>
                  <a:cubicBezTo>
                    <a:pt x="6622" y="8579"/>
                    <a:pt x="6517" y="8484"/>
                    <a:pt x="6385" y="8484"/>
                  </a:cubicBezTo>
                  <a:close/>
                  <a:moveTo>
                    <a:pt x="7092" y="8484"/>
                  </a:moveTo>
                  <a:cubicBezTo>
                    <a:pt x="6961" y="8484"/>
                    <a:pt x="6853" y="8579"/>
                    <a:pt x="6853" y="8696"/>
                  </a:cubicBezTo>
                  <a:cubicBezTo>
                    <a:pt x="6853" y="8812"/>
                    <a:pt x="6961" y="8908"/>
                    <a:pt x="7092" y="8908"/>
                  </a:cubicBezTo>
                  <a:cubicBezTo>
                    <a:pt x="7223" y="8908"/>
                    <a:pt x="7328" y="8812"/>
                    <a:pt x="7328" y="8696"/>
                  </a:cubicBezTo>
                  <a:cubicBezTo>
                    <a:pt x="7328" y="8579"/>
                    <a:pt x="7223" y="8484"/>
                    <a:pt x="7092" y="8484"/>
                  </a:cubicBezTo>
                  <a:close/>
                  <a:moveTo>
                    <a:pt x="7798" y="8484"/>
                  </a:moveTo>
                  <a:cubicBezTo>
                    <a:pt x="7667" y="8484"/>
                    <a:pt x="7560" y="8579"/>
                    <a:pt x="7560" y="8696"/>
                  </a:cubicBezTo>
                  <a:cubicBezTo>
                    <a:pt x="7560" y="8812"/>
                    <a:pt x="7667" y="8908"/>
                    <a:pt x="7798" y="8908"/>
                  </a:cubicBezTo>
                  <a:cubicBezTo>
                    <a:pt x="7930" y="8908"/>
                    <a:pt x="8035" y="8812"/>
                    <a:pt x="8035" y="8696"/>
                  </a:cubicBezTo>
                  <a:cubicBezTo>
                    <a:pt x="8035" y="8579"/>
                    <a:pt x="7930" y="8484"/>
                    <a:pt x="7798" y="8484"/>
                  </a:cubicBezTo>
                  <a:close/>
                  <a:moveTo>
                    <a:pt x="8434" y="8484"/>
                  </a:moveTo>
                  <a:cubicBezTo>
                    <a:pt x="8303" y="8484"/>
                    <a:pt x="8196" y="8579"/>
                    <a:pt x="8196" y="8696"/>
                  </a:cubicBezTo>
                  <a:cubicBezTo>
                    <a:pt x="8196" y="8812"/>
                    <a:pt x="8303" y="8908"/>
                    <a:pt x="8434" y="8908"/>
                  </a:cubicBezTo>
                  <a:cubicBezTo>
                    <a:pt x="8565" y="8908"/>
                    <a:pt x="8670" y="8812"/>
                    <a:pt x="8670" y="8696"/>
                  </a:cubicBezTo>
                  <a:cubicBezTo>
                    <a:pt x="8670" y="8579"/>
                    <a:pt x="8565" y="8484"/>
                    <a:pt x="8434" y="8484"/>
                  </a:cubicBezTo>
                  <a:close/>
                  <a:moveTo>
                    <a:pt x="9141" y="8484"/>
                  </a:moveTo>
                  <a:cubicBezTo>
                    <a:pt x="9009" y="8484"/>
                    <a:pt x="8902" y="8579"/>
                    <a:pt x="8902" y="8696"/>
                  </a:cubicBezTo>
                  <a:cubicBezTo>
                    <a:pt x="8902" y="8812"/>
                    <a:pt x="9009" y="8908"/>
                    <a:pt x="9141" y="8908"/>
                  </a:cubicBezTo>
                  <a:cubicBezTo>
                    <a:pt x="9272" y="8908"/>
                    <a:pt x="9377" y="8812"/>
                    <a:pt x="9377" y="8696"/>
                  </a:cubicBezTo>
                  <a:cubicBezTo>
                    <a:pt x="9377" y="8579"/>
                    <a:pt x="9272" y="8484"/>
                    <a:pt x="9141" y="8484"/>
                  </a:cubicBezTo>
                  <a:close/>
                  <a:moveTo>
                    <a:pt x="9847" y="8484"/>
                  </a:moveTo>
                  <a:cubicBezTo>
                    <a:pt x="9716" y="8484"/>
                    <a:pt x="9609" y="8579"/>
                    <a:pt x="9609" y="8696"/>
                  </a:cubicBezTo>
                  <a:cubicBezTo>
                    <a:pt x="9609" y="8812"/>
                    <a:pt x="9716" y="8908"/>
                    <a:pt x="9847" y="8908"/>
                  </a:cubicBezTo>
                  <a:cubicBezTo>
                    <a:pt x="9978" y="8908"/>
                    <a:pt x="10084" y="8812"/>
                    <a:pt x="10084" y="8696"/>
                  </a:cubicBezTo>
                  <a:cubicBezTo>
                    <a:pt x="10084" y="8579"/>
                    <a:pt x="9978" y="8484"/>
                    <a:pt x="9847" y="8484"/>
                  </a:cubicBezTo>
                  <a:close/>
                  <a:moveTo>
                    <a:pt x="10483" y="8484"/>
                  </a:moveTo>
                  <a:cubicBezTo>
                    <a:pt x="10352" y="8484"/>
                    <a:pt x="10245" y="8579"/>
                    <a:pt x="10245" y="8696"/>
                  </a:cubicBezTo>
                  <a:cubicBezTo>
                    <a:pt x="10245" y="8812"/>
                    <a:pt x="10352" y="8908"/>
                    <a:pt x="10483" y="8908"/>
                  </a:cubicBezTo>
                  <a:cubicBezTo>
                    <a:pt x="10614" y="8908"/>
                    <a:pt x="10719" y="8812"/>
                    <a:pt x="10719" y="8696"/>
                  </a:cubicBezTo>
                  <a:cubicBezTo>
                    <a:pt x="10719" y="8579"/>
                    <a:pt x="10614" y="8484"/>
                    <a:pt x="10483" y="8484"/>
                  </a:cubicBezTo>
                  <a:close/>
                  <a:moveTo>
                    <a:pt x="11190" y="8484"/>
                  </a:moveTo>
                  <a:cubicBezTo>
                    <a:pt x="11058" y="8484"/>
                    <a:pt x="10951" y="8579"/>
                    <a:pt x="10951" y="8696"/>
                  </a:cubicBezTo>
                  <a:cubicBezTo>
                    <a:pt x="10951" y="8812"/>
                    <a:pt x="11058" y="8908"/>
                    <a:pt x="11190" y="8908"/>
                  </a:cubicBezTo>
                  <a:cubicBezTo>
                    <a:pt x="11321" y="8908"/>
                    <a:pt x="11426" y="8812"/>
                    <a:pt x="11426" y="8696"/>
                  </a:cubicBezTo>
                  <a:cubicBezTo>
                    <a:pt x="11426" y="8579"/>
                    <a:pt x="11321" y="8484"/>
                    <a:pt x="11190" y="8484"/>
                  </a:cubicBezTo>
                  <a:close/>
                  <a:moveTo>
                    <a:pt x="11826" y="8484"/>
                  </a:moveTo>
                  <a:cubicBezTo>
                    <a:pt x="11694" y="8484"/>
                    <a:pt x="11587" y="8579"/>
                    <a:pt x="11587" y="8696"/>
                  </a:cubicBezTo>
                  <a:cubicBezTo>
                    <a:pt x="11587" y="8812"/>
                    <a:pt x="11694" y="8908"/>
                    <a:pt x="11826" y="8908"/>
                  </a:cubicBezTo>
                  <a:cubicBezTo>
                    <a:pt x="11957" y="8908"/>
                    <a:pt x="12062" y="8812"/>
                    <a:pt x="12062" y="8696"/>
                  </a:cubicBezTo>
                  <a:cubicBezTo>
                    <a:pt x="12062" y="8579"/>
                    <a:pt x="11957" y="8484"/>
                    <a:pt x="11826" y="8484"/>
                  </a:cubicBezTo>
                  <a:close/>
                  <a:moveTo>
                    <a:pt x="12532" y="8484"/>
                  </a:moveTo>
                  <a:cubicBezTo>
                    <a:pt x="12401" y="8484"/>
                    <a:pt x="12294" y="8579"/>
                    <a:pt x="12294" y="8696"/>
                  </a:cubicBezTo>
                  <a:cubicBezTo>
                    <a:pt x="12294" y="8812"/>
                    <a:pt x="12401" y="8908"/>
                    <a:pt x="12532" y="8908"/>
                  </a:cubicBezTo>
                  <a:cubicBezTo>
                    <a:pt x="12663" y="8908"/>
                    <a:pt x="12768" y="8812"/>
                    <a:pt x="12768" y="8696"/>
                  </a:cubicBezTo>
                  <a:cubicBezTo>
                    <a:pt x="12768" y="8579"/>
                    <a:pt x="12663" y="8484"/>
                    <a:pt x="12532" y="8484"/>
                  </a:cubicBezTo>
                  <a:close/>
                  <a:moveTo>
                    <a:pt x="13239" y="8484"/>
                  </a:moveTo>
                  <a:cubicBezTo>
                    <a:pt x="13107" y="8484"/>
                    <a:pt x="13000" y="8579"/>
                    <a:pt x="13000" y="8696"/>
                  </a:cubicBezTo>
                  <a:cubicBezTo>
                    <a:pt x="13000" y="8812"/>
                    <a:pt x="13107" y="8908"/>
                    <a:pt x="13239" y="8908"/>
                  </a:cubicBezTo>
                  <a:cubicBezTo>
                    <a:pt x="13370" y="8908"/>
                    <a:pt x="13475" y="8812"/>
                    <a:pt x="13475" y="8696"/>
                  </a:cubicBezTo>
                  <a:cubicBezTo>
                    <a:pt x="13475" y="8579"/>
                    <a:pt x="13370" y="8484"/>
                    <a:pt x="13239" y="8484"/>
                  </a:cubicBezTo>
                  <a:close/>
                  <a:moveTo>
                    <a:pt x="13875" y="8484"/>
                  </a:moveTo>
                  <a:cubicBezTo>
                    <a:pt x="13743" y="8484"/>
                    <a:pt x="13636" y="8579"/>
                    <a:pt x="13636" y="8696"/>
                  </a:cubicBezTo>
                  <a:cubicBezTo>
                    <a:pt x="13636" y="8812"/>
                    <a:pt x="13743" y="8908"/>
                    <a:pt x="13875" y="8908"/>
                  </a:cubicBezTo>
                  <a:cubicBezTo>
                    <a:pt x="14005" y="8908"/>
                    <a:pt x="14111" y="8812"/>
                    <a:pt x="14111" y="8696"/>
                  </a:cubicBezTo>
                  <a:cubicBezTo>
                    <a:pt x="14111" y="8579"/>
                    <a:pt x="14005" y="8484"/>
                    <a:pt x="13875" y="8484"/>
                  </a:cubicBezTo>
                  <a:close/>
                  <a:moveTo>
                    <a:pt x="14581" y="8484"/>
                  </a:moveTo>
                  <a:cubicBezTo>
                    <a:pt x="14450" y="8484"/>
                    <a:pt x="14343" y="8579"/>
                    <a:pt x="14343" y="8696"/>
                  </a:cubicBezTo>
                  <a:cubicBezTo>
                    <a:pt x="14343" y="8812"/>
                    <a:pt x="14450" y="8908"/>
                    <a:pt x="14581" y="8908"/>
                  </a:cubicBezTo>
                  <a:cubicBezTo>
                    <a:pt x="14712" y="8908"/>
                    <a:pt x="14817" y="8812"/>
                    <a:pt x="14817" y="8696"/>
                  </a:cubicBezTo>
                  <a:cubicBezTo>
                    <a:pt x="14817" y="8579"/>
                    <a:pt x="14712" y="8484"/>
                    <a:pt x="14581" y="8484"/>
                  </a:cubicBezTo>
                  <a:close/>
                  <a:moveTo>
                    <a:pt x="15217" y="8484"/>
                  </a:moveTo>
                  <a:cubicBezTo>
                    <a:pt x="15086" y="8484"/>
                    <a:pt x="14978" y="8579"/>
                    <a:pt x="14978" y="8696"/>
                  </a:cubicBezTo>
                  <a:cubicBezTo>
                    <a:pt x="14978" y="8812"/>
                    <a:pt x="15086" y="8908"/>
                    <a:pt x="15217" y="8908"/>
                  </a:cubicBezTo>
                  <a:cubicBezTo>
                    <a:pt x="15348" y="8908"/>
                    <a:pt x="15453" y="8812"/>
                    <a:pt x="15453" y="8696"/>
                  </a:cubicBezTo>
                  <a:cubicBezTo>
                    <a:pt x="15453" y="8579"/>
                    <a:pt x="15348" y="8484"/>
                    <a:pt x="15217" y="8484"/>
                  </a:cubicBezTo>
                  <a:close/>
                  <a:moveTo>
                    <a:pt x="15923" y="8484"/>
                  </a:moveTo>
                  <a:cubicBezTo>
                    <a:pt x="15792" y="8484"/>
                    <a:pt x="15685" y="8579"/>
                    <a:pt x="15685" y="8696"/>
                  </a:cubicBezTo>
                  <a:cubicBezTo>
                    <a:pt x="15685" y="8812"/>
                    <a:pt x="15792" y="8908"/>
                    <a:pt x="15923" y="8908"/>
                  </a:cubicBezTo>
                  <a:cubicBezTo>
                    <a:pt x="16054" y="8908"/>
                    <a:pt x="16160" y="8812"/>
                    <a:pt x="16160" y="8696"/>
                  </a:cubicBezTo>
                  <a:cubicBezTo>
                    <a:pt x="16160" y="8579"/>
                    <a:pt x="16054" y="8484"/>
                    <a:pt x="15923" y="8484"/>
                  </a:cubicBezTo>
                  <a:close/>
                  <a:moveTo>
                    <a:pt x="16630" y="8484"/>
                  </a:moveTo>
                  <a:cubicBezTo>
                    <a:pt x="16499" y="8484"/>
                    <a:pt x="16392" y="8579"/>
                    <a:pt x="16392" y="8696"/>
                  </a:cubicBezTo>
                  <a:cubicBezTo>
                    <a:pt x="16392" y="8812"/>
                    <a:pt x="16499" y="8908"/>
                    <a:pt x="16630" y="8908"/>
                  </a:cubicBezTo>
                  <a:cubicBezTo>
                    <a:pt x="16761" y="8908"/>
                    <a:pt x="16866" y="8812"/>
                    <a:pt x="16866" y="8696"/>
                  </a:cubicBezTo>
                  <a:cubicBezTo>
                    <a:pt x="16866" y="8579"/>
                    <a:pt x="16761" y="8484"/>
                    <a:pt x="16630" y="8484"/>
                  </a:cubicBezTo>
                  <a:close/>
                  <a:moveTo>
                    <a:pt x="17266" y="8484"/>
                  </a:moveTo>
                  <a:cubicBezTo>
                    <a:pt x="17134" y="8484"/>
                    <a:pt x="17027" y="8579"/>
                    <a:pt x="17027" y="8696"/>
                  </a:cubicBezTo>
                  <a:cubicBezTo>
                    <a:pt x="17027" y="8812"/>
                    <a:pt x="17134" y="8908"/>
                    <a:pt x="17266" y="8908"/>
                  </a:cubicBezTo>
                  <a:cubicBezTo>
                    <a:pt x="17397" y="8908"/>
                    <a:pt x="17502" y="8812"/>
                    <a:pt x="17502" y="8696"/>
                  </a:cubicBezTo>
                  <a:cubicBezTo>
                    <a:pt x="17502" y="8579"/>
                    <a:pt x="17397" y="8484"/>
                    <a:pt x="17266" y="8484"/>
                  </a:cubicBezTo>
                  <a:close/>
                  <a:moveTo>
                    <a:pt x="17972" y="8484"/>
                  </a:moveTo>
                  <a:cubicBezTo>
                    <a:pt x="17841" y="8484"/>
                    <a:pt x="17734" y="8579"/>
                    <a:pt x="17734" y="8696"/>
                  </a:cubicBezTo>
                  <a:cubicBezTo>
                    <a:pt x="17734" y="8812"/>
                    <a:pt x="17841" y="8908"/>
                    <a:pt x="17972" y="8908"/>
                  </a:cubicBezTo>
                  <a:cubicBezTo>
                    <a:pt x="18104" y="8908"/>
                    <a:pt x="18209" y="8812"/>
                    <a:pt x="18209" y="8696"/>
                  </a:cubicBezTo>
                  <a:cubicBezTo>
                    <a:pt x="18209" y="8579"/>
                    <a:pt x="18104" y="8484"/>
                    <a:pt x="17972" y="8484"/>
                  </a:cubicBezTo>
                  <a:close/>
                  <a:moveTo>
                    <a:pt x="18608" y="8484"/>
                  </a:moveTo>
                  <a:cubicBezTo>
                    <a:pt x="18477" y="8484"/>
                    <a:pt x="18370" y="8579"/>
                    <a:pt x="18370" y="8696"/>
                  </a:cubicBezTo>
                  <a:cubicBezTo>
                    <a:pt x="18370" y="8812"/>
                    <a:pt x="18477" y="8908"/>
                    <a:pt x="18608" y="8908"/>
                  </a:cubicBezTo>
                  <a:cubicBezTo>
                    <a:pt x="18739" y="8908"/>
                    <a:pt x="18845" y="8812"/>
                    <a:pt x="18845" y="8696"/>
                  </a:cubicBezTo>
                  <a:cubicBezTo>
                    <a:pt x="18845" y="8579"/>
                    <a:pt x="18739" y="8484"/>
                    <a:pt x="18608" y="8484"/>
                  </a:cubicBezTo>
                  <a:close/>
                  <a:moveTo>
                    <a:pt x="19315" y="8484"/>
                  </a:moveTo>
                  <a:cubicBezTo>
                    <a:pt x="19183" y="8484"/>
                    <a:pt x="19076" y="8579"/>
                    <a:pt x="19076" y="8696"/>
                  </a:cubicBezTo>
                  <a:cubicBezTo>
                    <a:pt x="19076" y="8812"/>
                    <a:pt x="19183" y="8908"/>
                    <a:pt x="19315" y="8908"/>
                  </a:cubicBezTo>
                  <a:cubicBezTo>
                    <a:pt x="19446" y="8908"/>
                    <a:pt x="19551" y="8812"/>
                    <a:pt x="19551" y="8696"/>
                  </a:cubicBezTo>
                  <a:cubicBezTo>
                    <a:pt x="19551" y="8579"/>
                    <a:pt x="19446" y="8484"/>
                    <a:pt x="19315" y="8484"/>
                  </a:cubicBezTo>
                  <a:close/>
                  <a:moveTo>
                    <a:pt x="20021" y="8484"/>
                  </a:moveTo>
                  <a:cubicBezTo>
                    <a:pt x="19890" y="8484"/>
                    <a:pt x="19783" y="8579"/>
                    <a:pt x="19783" y="8696"/>
                  </a:cubicBezTo>
                  <a:cubicBezTo>
                    <a:pt x="19783" y="8812"/>
                    <a:pt x="19890" y="8908"/>
                    <a:pt x="20021" y="8908"/>
                  </a:cubicBezTo>
                  <a:cubicBezTo>
                    <a:pt x="20153" y="8908"/>
                    <a:pt x="20258" y="8812"/>
                    <a:pt x="20258" y="8696"/>
                  </a:cubicBezTo>
                  <a:cubicBezTo>
                    <a:pt x="20258" y="8579"/>
                    <a:pt x="20153" y="8484"/>
                    <a:pt x="20021" y="8484"/>
                  </a:cubicBezTo>
                  <a:close/>
                  <a:moveTo>
                    <a:pt x="20657" y="8484"/>
                  </a:moveTo>
                  <a:cubicBezTo>
                    <a:pt x="20526" y="8484"/>
                    <a:pt x="20419" y="8579"/>
                    <a:pt x="20419" y="8696"/>
                  </a:cubicBezTo>
                  <a:cubicBezTo>
                    <a:pt x="20419" y="8812"/>
                    <a:pt x="20526" y="8908"/>
                    <a:pt x="20657" y="8908"/>
                  </a:cubicBezTo>
                  <a:cubicBezTo>
                    <a:pt x="20788" y="8908"/>
                    <a:pt x="20893" y="8812"/>
                    <a:pt x="20893" y="8696"/>
                  </a:cubicBezTo>
                  <a:cubicBezTo>
                    <a:pt x="20893" y="8579"/>
                    <a:pt x="20788" y="8484"/>
                    <a:pt x="20657" y="8484"/>
                  </a:cubicBezTo>
                  <a:close/>
                  <a:moveTo>
                    <a:pt x="2287" y="9049"/>
                  </a:moveTo>
                  <a:cubicBezTo>
                    <a:pt x="2156" y="9049"/>
                    <a:pt x="2049" y="9145"/>
                    <a:pt x="2049" y="9261"/>
                  </a:cubicBezTo>
                  <a:cubicBezTo>
                    <a:pt x="2049" y="9378"/>
                    <a:pt x="2156" y="9471"/>
                    <a:pt x="2287" y="9471"/>
                  </a:cubicBezTo>
                  <a:cubicBezTo>
                    <a:pt x="2419" y="9471"/>
                    <a:pt x="2524" y="9378"/>
                    <a:pt x="2524" y="9261"/>
                  </a:cubicBezTo>
                  <a:cubicBezTo>
                    <a:pt x="2524" y="9145"/>
                    <a:pt x="2419" y="9049"/>
                    <a:pt x="2287" y="9049"/>
                  </a:cubicBezTo>
                  <a:close/>
                  <a:moveTo>
                    <a:pt x="2994" y="9049"/>
                  </a:moveTo>
                  <a:cubicBezTo>
                    <a:pt x="2863" y="9049"/>
                    <a:pt x="2755" y="9145"/>
                    <a:pt x="2755" y="9261"/>
                  </a:cubicBezTo>
                  <a:cubicBezTo>
                    <a:pt x="2755" y="9378"/>
                    <a:pt x="2863" y="9471"/>
                    <a:pt x="2994" y="9471"/>
                  </a:cubicBezTo>
                  <a:cubicBezTo>
                    <a:pt x="3125" y="9471"/>
                    <a:pt x="3230" y="9378"/>
                    <a:pt x="3230" y="9261"/>
                  </a:cubicBezTo>
                  <a:cubicBezTo>
                    <a:pt x="3230" y="9145"/>
                    <a:pt x="3125" y="9049"/>
                    <a:pt x="2994" y="9049"/>
                  </a:cubicBezTo>
                  <a:close/>
                  <a:moveTo>
                    <a:pt x="3700" y="9049"/>
                  </a:moveTo>
                  <a:cubicBezTo>
                    <a:pt x="3569" y="9049"/>
                    <a:pt x="3462" y="9145"/>
                    <a:pt x="3462" y="9261"/>
                  </a:cubicBezTo>
                  <a:cubicBezTo>
                    <a:pt x="3462" y="9378"/>
                    <a:pt x="3569" y="9471"/>
                    <a:pt x="3700" y="9471"/>
                  </a:cubicBezTo>
                  <a:cubicBezTo>
                    <a:pt x="3832" y="9471"/>
                    <a:pt x="3937" y="9378"/>
                    <a:pt x="3937" y="9261"/>
                  </a:cubicBezTo>
                  <a:cubicBezTo>
                    <a:pt x="3937" y="9145"/>
                    <a:pt x="3832" y="9049"/>
                    <a:pt x="3700" y="9049"/>
                  </a:cubicBezTo>
                  <a:close/>
                  <a:moveTo>
                    <a:pt x="4336" y="9049"/>
                  </a:moveTo>
                  <a:cubicBezTo>
                    <a:pt x="4205" y="9049"/>
                    <a:pt x="4098" y="9145"/>
                    <a:pt x="4098" y="9261"/>
                  </a:cubicBezTo>
                  <a:cubicBezTo>
                    <a:pt x="4098" y="9378"/>
                    <a:pt x="4205" y="9471"/>
                    <a:pt x="4336" y="9471"/>
                  </a:cubicBezTo>
                  <a:cubicBezTo>
                    <a:pt x="4468" y="9471"/>
                    <a:pt x="4573" y="9378"/>
                    <a:pt x="4573" y="9261"/>
                  </a:cubicBezTo>
                  <a:cubicBezTo>
                    <a:pt x="4573" y="9145"/>
                    <a:pt x="4468" y="9049"/>
                    <a:pt x="4336" y="9049"/>
                  </a:cubicBezTo>
                  <a:close/>
                  <a:moveTo>
                    <a:pt x="5043" y="9049"/>
                  </a:moveTo>
                  <a:cubicBezTo>
                    <a:pt x="4912" y="9049"/>
                    <a:pt x="4804" y="9145"/>
                    <a:pt x="4804" y="9261"/>
                  </a:cubicBezTo>
                  <a:cubicBezTo>
                    <a:pt x="4804" y="9378"/>
                    <a:pt x="4912" y="9471"/>
                    <a:pt x="5043" y="9471"/>
                  </a:cubicBezTo>
                  <a:cubicBezTo>
                    <a:pt x="5174" y="9471"/>
                    <a:pt x="5279" y="9378"/>
                    <a:pt x="5279" y="9261"/>
                  </a:cubicBezTo>
                  <a:cubicBezTo>
                    <a:pt x="5279" y="9145"/>
                    <a:pt x="5174" y="9049"/>
                    <a:pt x="5043" y="9049"/>
                  </a:cubicBezTo>
                  <a:close/>
                  <a:moveTo>
                    <a:pt x="7092" y="9049"/>
                  </a:moveTo>
                  <a:cubicBezTo>
                    <a:pt x="6961" y="9049"/>
                    <a:pt x="6853" y="9145"/>
                    <a:pt x="6853" y="9261"/>
                  </a:cubicBezTo>
                  <a:cubicBezTo>
                    <a:pt x="6853" y="9379"/>
                    <a:pt x="6961" y="9473"/>
                    <a:pt x="7092" y="9473"/>
                  </a:cubicBezTo>
                  <a:cubicBezTo>
                    <a:pt x="7223" y="9473"/>
                    <a:pt x="7328" y="9379"/>
                    <a:pt x="7328" y="9261"/>
                  </a:cubicBezTo>
                  <a:cubicBezTo>
                    <a:pt x="7328" y="9145"/>
                    <a:pt x="7223" y="9049"/>
                    <a:pt x="7092" y="9049"/>
                  </a:cubicBezTo>
                  <a:close/>
                  <a:moveTo>
                    <a:pt x="7798" y="9049"/>
                  </a:moveTo>
                  <a:cubicBezTo>
                    <a:pt x="7667" y="9049"/>
                    <a:pt x="7560" y="9145"/>
                    <a:pt x="7560" y="9261"/>
                  </a:cubicBezTo>
                  <a:cubicBezTo>
                    <a:pt x="7560" y="9379"/>
                    <a:pt x="7667" y="9473"/>
                    <a:pt x="7798" y="9473"/>
                  </a:cubicBezTo>
                  <a:cubicBezTo>
                    <a:pt x="7930" y="9473"/>
                    <a:pt x="8035" y="9379"/>
                    <a:pt x="8035" y="9261"/>
                  </a:cubicBezTo>
                  <a:cubicBezTo>
                    <a:pt x="8035" y="9145"/>
                    <a:pt x="7930" y="9049"/>
                    <a:pt x="7798" y="9049"/>
                  </a:cubicBezTo>
                  <a:close/>
                  <a:moveTo>
                    <a:pt x="8434" y="9049"/>
                  </a:moveTo>
                  <a:cubicBezTo>
                    <a:pt x="8303" y="9049"/>
                    <a:pt x="8196" y="9145"/>
                    <a:pt x="8196" y="9261"/>
                  </a:cubicBezTo>
                  <a:cubicBezTo>
                    <a:pt x="8196" y="9379"/>
                    <a:pt x="8303" y="9473"/>
                    <a:pt x="8434" y="9473"/>
                  </a:cubicBezTo>
                  <a:cubicBezTo>
                    <a:pt x="8565" y="9473"/>
                    <a:pt x="8670" y="9379"/>
                    <a:pt x="8670" y="9261"/>
                  </a:cubicBezTo>
                  <a:cubicBezTo>
                    <a:pt x="8670" y="9145"/>
                    <a:pt x="8565" y="9049"/>
                    <a:pt x="8434" y="9049"/>
                  </a:cubicBezTo>
                  <a:close/>
                  <a:moveTo>
                    <a:pt x="9141" y="9049"/>
                  </a:moveTo>
                  <a:cubicBezTo>
                    <a:pt x="9009" y="9049"/>
                    <a:pt x="8902" y="9145"/>
                    <a:pt x="8902" y="9261"/>
                  </a:cubicBezTo>
                  <a:cubicBezTo>
                    <a:pt x="8902" y="9379"/>
                    <a:pt x="9009" y="9473"/>
                    <a:pt x="9141" y="9473"/>
                  </a:cubicBezTo>
                  <a:cubicBezTo>
                    <a:pt x="9272" y="9473"/>
                    <a:pt x="9377" y="9379"/>
                    <a:pt x="9377" y="9261"/>
                  </a:cubicBezTo>
                  <a:cubicBezTo>
                    <a:pt x="9377" y="9145"/>
                    <a:pt x="9272" y="9049"/>
                    <a:pt x="9141" y="9049"/>
                  </a:cubicBezTo>
                  <a:close/>
                  <a:moveTo>
                    <a:pt x="9847" y="9049"/>
                  </a:moveTo>
                  <a:cubicBezTo>
                    <a:pt x="9716" y="9049"/>
                    <a:pt x="9609" y="9145"/>
                    <a:pt x="9609" y="9261"/>
                  </a:cubicBezTo>
                  <a:cubicBezTo>
                    <a:pt x="9609" y="9379"/>
                    <a:pt x="9716" y="9473"/>
                    <a:pt x="9847" y="9473"/>
                  </a:cubicBezTo>
                  <a:cubicBezTo>
                    <a:pt x="9978" y="9473"/>
                    <a:pt x="10084" y="9379"/>
                    <a:pt x="10084" y="9261"/>
                  </a:cubicBezTo>
                  <a:cubicBezTo>
                    <a:pt x="10084" y="9145"/>
                    <a:pt x="9978" y="9049"/>
                    <a:pt x="9847" y="9049"/>
                  </a:cubicBezTo>
                  <a:close/>
                  <a:moveTo>
                    <a:pt x="10483" y="9049"/>
                  </a:moveTo>
                  <a:cubicBezTo>
                    <a:pt x="10352" y="9049"/>
                    <a:pt x="10245" y="9145"/>
                    <a:pt x="10245" y="9261"/>
                  </a:cubicBezTo>
                  <a:cubicBezTo>
                    <a:pt x="10245" y="9379"/>
                    <a:pt x="10352" y="9473"/>
                    <a:pt x="10483" y="9473"/>
                  </a:cubicBezTo>
                  <a:cubicBezTo>
                    <a:pt x="10614" y="9473"/>
                    <a:pt x="10719" y="9379"/>
                    <a:pt x="10719" y="9261"/>
                  </a:cubicBezTo>
                  <a:cubicBezTo>
                    <a:pt x="10719" y="9145"/>
                    <a:pt x="10614" y="9049"/>
                    <a:pt x="10483" y="9049"/>
                  </a:cubicBezTo>
                  <a:close/>
                  <a:moveTo>
                    <a:pt x="11190" y="9049"/>
                  </a:moveTo>
                  <a:cubicBezTo>
                    <a:pt x="11058" y="9049"/>
                    <a:pt x="10951" y="9145"/>
                    <a:pt x="10951" y="9261"/>
                  </a:cubicBezTo>
                  <a:cubicBezTo>
                    <a:pt x="10951" y="9379"/>
                    <a:pt x="11058" y="9473"/>
                    <a:pt x="11190" y="9473"/>
                  </a:cubicBezTo>
                  <a:cubicBezTo>
                    <a:pt x="11321" y="9473"/>
                    <a:pt x="11426" y="9379"/>
                    <a:pt x="11426" y="9261"/>
                  </a:cubicBezTo>
                  <a:cubicBezTo>
                    <a:pt x="11426" y="9145"/>
                    <a:pt x="11321" y="9049"/>
                    <a:pt x="11190" y="9049"/>
                  </a:cubicBezTo>
                  <a:close/>
                  <a:moveTo>
                    <a:pt x="11826" y="9049"/>
                  </a:moveTo>
                  <a:cubicBezTo>
                    <a:pt x="11694" y="9049"/>
                    <a:pt x="11587" y="9145"/>
                    <a:pt x="11587" y="9261"/>
                  </a:cubicBezTo>
                  <a:cubicBezTo>
                    <a:pt x="11587" y="9379"/>
                    <a:pt x="11694" y="9473"/>
                    <a:pt x="11826" y="9473"/>
                  </a:cubicBezTo>
                  <a:cubicBezTo>
                    <a:pt x="11957" y="9473"/>
                    <a:pt x="12062" y="9379"/>
                    <a:pt x="12062" y="9261"/>
                  </a:cubicBezTo>
                  <a:cubicBezTo>
                    <a:pt x="12062" y="9145"/>
                    <a:pt x="11957" y="9049"/>
                    <a:pt x="11826" y="9049"/>
                  </a:cubicBezTo>
                  <a:close/>
                  <a:moveTo>
                    <a:pt x="12532" y="9049"/>
                  </a:moveTo>
                  <a:cubicBezTo>
                    <a:pt x="12401" y="9049"/>
                    <a:pt x="12294" y="9145"/>
                    <a:pt x="12294" y="9261"/>
                  </a:cubicBezTo>
                  <a:cubicBezTo>
                    <a:pt x="12294" y="9379"/>
                    <a:pt x="12401" y="9473"/>
                    <a:pt x="12532" y="9473"/>
                  </a:cubicBezTo>
                  <a:cubicBezTo>
                    <a:pt x="12663" y="9473"/>
                    <a:pt x="12768" y="9379"/>
                    <a:pt x="12768" y="9261"/>
                  </a:cubicBezTo>
                  <a:cubicBezTo>
                    <a:pt x="12768" y="9145"/>
                    <a:pt x="12663" y="9049"/>
                    <a:pt x="12532" y="9049"/>
                  </a:cubicBezTo>
                  <a:close/>
                  <a:moveTo>
                    <a:pt x="13239" y="9049"/>
                  </a:moveTo>
                  <a:cubicBezTo>
                    <a:pt x="13107" y="9049"/>
                    <a:pt x="13000" y="9145"/>
                    <a:pt x="13000" y="9261"/>
                  </a:cubicBezTo>
                  <a:cubicBezTo>
                    <a:pt x="13000" y="9379"/>
                    <a:pt x="13107" y="9473"/>
                    <a:pt x="13239" y="9473"/>
                  </a:cubicBezTo>
                  <a:cubicBezTo>
                    <a:pt x="13370" y="9473"/>
                    <a:pt x="13475" y="9379"/>
                    <a:pt x="13475" y="9261"/>
                  </a:cubicBezTo>
                  <a:cubicBezTo>
                    <a:pt x="13475" y="9145"/>
                    <a:pt x="13370" y="9049"/>
                    <a:pt x="13239" y="9049"/>
                  </a:cubicBezTo>
                  <a:close/>
                  <a:moveTo>
                    <a:pt x="13875" y="9049"/>
                  </a:moveTo>
                  <a:cubicBezTo>
                    <a:pt x="13743" y="9049"/>
                    <a:pt x="13636" y="9145"/>
                    <a:pt x="13636" y="9261"/>
                  </a:cubicBezTo>
                  <a:cubicBezTo>
                    <a:pt x="13636" y="9379"/>
                    <a:pt x="13743" y="9473"/>
                    <a:pt x="13875" y="9473"/>
                  </a:cubicBezTo>
                  <a:cubicBezTo>
                    <a:pt x="14005" y="9473"/>
                    <a:pt x="14111" y="9379"/>
                    <a:pt x="14111" y="9261"/>
                  </a:cubicBezTo>
                  <a:cubicBezTo>
                    <a:pt x="14111" y="9145"/>
                    <a:pt x="14005" y="9049"/>
                    <a:pt x="13875" y="9049"/>
                  </a:cubicBezTo>
                  <a:close/>
                  <a:moveTo>
                    <a:pt x="14581" y="9049"/>
                  </a:moveTo>
                  <a:cubicBezTo>
                    <a:pt x="14450" y="9049"/>
                    <a:pt x="14343" y="9145"/>
                    <a:pt x="14343" y="9261"/>
                  </a:cubicBezTo>
                  <a:cubicBezTo>
                    <a:pt x="14343" y="9379"/>
                    <a:pt x="14450" y="9473"/>
                    <a:pt x="14581" y="9473"/>
                  </a:cubicBezTo>
                  <a:cubicBezTo>
                    <a:pt x="14712" y="9473"/>
                    <a:pt x="14817" y="9379"/>
                    <a:pt x="14817" y="9261"/>
                  </a:cubicBezTo>
                  <a:cubicBezTo>
                    <a:pt x="14817" y="9145"/>
                    <a:pt x="14712" y="9049"/>
                    <a:pt x="14581" y="9049"/>
                  </a:cubicBezTo>
                  <a:close/>
                  <a:moveTo>
                    <a:pt x="15217" y="9049"/>
                  </a:moveTo>
                  <a:cubicBezTo>
                    <a:pt x="15086" y="9049"/>
                    <a:pt x="14978" y="9145"/>
                    <a:pt x="14978" y="9261"/>
                  </a:cubicBezTo>
                  <a:cubicBezTo>
                    <a:pt x="14978" y="9379"/>
                    <a:pt x="15086" y="9473"/>
                    <a:pt x="15217" y="9473"/>
                  </a:cubicBezTo>
                  <a:cubicBezTo>
                    <a:pt x="15348" y="9473"/>
                    <a:pt x="15453" y="9379"/>
                    <a:pt x="15453" y="9261"/>
                  </a:cubicBezTo>
                  <a:cubicBezTo>
                    <a:pt x="15453" y="9145"/>
                    <a:pt x="15348" y="9049"/>
                    <a:pt x="15217" y="9049"/>
                  </a:cubicBezTo>
                  <a:close/>
                  <a:moveTo>
                    <a:pt x="15923" y="9049"/>
                  </a:moveTo>
                  <a:cubicBezTo>
                    <a:pt x="15792" y="9049"/>
                    <a:pt x="15685" y="9145"/>
                    <a:pt x="15685" y="9261"/>
                  </a:cubicBezTo>
                  <a:cubicBezTo>
                    <a:pt x="15685" y="9379"/>
                    <a:pt x="15792" y="9473"/>
                    <a:pt x="15923" y="9473"/>
                  </a:cubicBezTo>
                  <a:cubicBezTo>
                    <a:pt x="16054" y="9473"/>
                    <a:pt x="16160" y="9379"/>
                    <a:pt x="16160" y="9261"/>
                  </a:cubicBezTo>
                  <a:cubicBezTo>
                    <a:pt x="16160" y="9145"/>
                    <a:pt x="16054" y="9049"/>
                    <a:pt x="15923" y="9049"/>
                  </a:cubicBezTo>
                  <a:close/>
                  <a:moveTo>
                    <a:pt x="16630" y="9049"/>
                  </a:moveTo>
                  <a:cubicBezTo>
                    <a:pt x="16499" y="9049"/>
                    <a:pt x="16392" y="9145"/>
                    <a:pt x="16392" y="9261"/>
                  </a:cubicBezTo>
                  <a:cubicBezTo>
                    <a:pt x="16392" y="9379"/>
                    <a:pt x="16499" y="9473"/>
                    <a:pt x="16630" y="9473"/>
                  </a:cubicBezTo>
                  <a:cubicBezTo>
                    <a:pt x="16761" y="9473"/>
                    <a:pt x="16866" y="9379"/>
                    <a:pt x="16866" y="9261"/>
                  </a:cubicBezTo>
                  <a:cubicBezTo>
                    <a:pt x="16866" y="9145"/>
                    <a:pt x="16761" y="9049"/>
                    <a:pt x="16630" y="9049"/>
                  </a:cubicBezTo>
                  <a:close/>
                  <a:moveTo>
                    <a:pt x="17266" y="9049"/>
                  </a:moveTo>
                  <a:cubicBezTo>
                    <a:pt x="17134" y="9049"/>
                    <a:pt x="17027" y="9145"/>
                    <a:pt x="17027" y="9261"/>
                  </a:cubicBezTo>
                  <a:cubicBezTo>
                    <a:pt x="17027" y="9379"/>
                    <a:pt x="17134" y="9473"/>
                    <a:pt x="17266" y="9473"/>
                  </a:cubicBezTo>
                  <a:cubicBezTo>
                    <a:pt x="17397" y="9473"/>
                    <a:pt x="17502" y="9379"/>
                    <a:pt x="17502" y="9261"/>
                  </a:cubicBezTo>
                  <a:cubicBezTo>
                    <a:pt x="17502" y="9145"/>
                    <a:pt x="17397" y="9049"/>
                    <a:pt x="17266" y="9049"/>
                  </a:cubicBezTo>
                  <a:close/>
                  <a:moveTo>
                    <a:pt x="17972" y="9049"/>
                  </a:moveTo>
                  <a:cubicBezTo>
                    <a:pt x="17841" y="9049"/>
                    <a:pt x="17734" y="9145"/>
                    <a:pt x="17734" y="9261"/>
                  </a:cubicBezTo>
                  <a:cubicBezTo>
                    <a:pt x="17734" y="9379"/>
                    <a:pt x="17841" y="9473"/>
                    <a:pt x="17972" y="9473"/>
                  </a:cubicBezTo>
                  <a:cubicBezTo>
                    <a:pt x="18104" y="9473"/>
                    <a:pt x="18209" y="9379"/>
                    <a:pt x="18209" y="9261"/>
                  </a:cubicBezTo>
                  <a:cubicBezTo>
                    <a:pt x="18209" y="9145"/>
                    <a:pt x="18104" y="9049"/>
                    <a:pt x="17972" y="9049"/>
                  </a:cubicBezTo>
                  <a:close/>
                  <a:moveTo>
                    <a:pt x="18608" y="9049"/>
                  </a:moveTo>
                  <a:cubicBezTo>
                    <a:pt x="18477" y="9049"/>
                    <a:pt x="18370" y="9145"/>
                    <a:pt x="18370" y="9261"/>
                  </a:cubicBezTo>
                  <a:cubicBezTo>
                    <a:pt x="18370" y="9379"/>
                    <a:pt x="18477" y="9473"/>
                    <a:pt x="18608" y="9473"/>
                  </a:cubicBezTo>
                  <a:cubicBezTo>
                    <a:pt x="18739" y="9473"/>
                    <a:pt x="18845" y="9379"/>
                    <a:pt x="18845" y="9261"/>
                  </a:cubicBezTo>
                  <a:cubicBezTo>
                    <a:pt x="18845" y="9145"/>
                    <a:pt x="18739" y="9049"/>
                    <a:pt x="18608" y="9049"/>
                  </a:cubicBezTo>
                  <a:close/>
                  <a:moveTo>
                    <a:pt x="19315" y="9049"/>
                  </a:moveTo>
                  <a:cubicBezTo>
                    <a:pt x="19183" y="9049"/>
                    <a:pt x="19076" y="9145"/>
                    <a:pt x="19076" y="9261"/>
                  </a:cubicBezTo>
                  <a:cubicBezTo>
                    <a:pt x="19076" y="9379"/>
                    <a:pt x="19183" y="9473"/>
                    <a:pt x="19315" y="9473"/>
                  </a:cubicBezTo>
                  <a:cubicBezTo>
                    <a:pt x="19446" y="9473"/>
                    <a:pt x="19551" y="9379"/>
                    <a:pt x="19551" y="9261"/>
                  </a:cubicBezTo>
                  <a:cubicBezTo>
                    <a:pt x="19551" y="9145"/>
                    <a:pt x="19446" y="9049"/>
                    <a:pt x="19315" y="9049"/>
                  </a:cubicBezTo>
                  <a:close/>
                  <a:moveTo>
                    <a:pt x="20021" y="9049"/>
                  </a:moveTo>
                  <a:cubicBezTo>
                    <a:pt x="19890" y="9049"/>
                    <a:pt x="19783" y="9145"/>
                    <a:pt x="19783" y="9261"/>
                  </a:cubicBezTo>
                  <a:cubicBezTo>
                    <a:pt x="19783" y="9379"/>
                    <a:pt x="19890" y="9473"/>
                    <a:pt x="20021" y="9473"/>
                  </a:cubicBezTo>
                  <a:cubicBezTo>
                    <a:pt x="20153" y="9473"/>
                    <a:pt x="20258" y="9379"/>
                    <a:pt x="20258" y="9261"/>
                  </a:cubicBezTo>
                  <a:cubicBezTo>
                    <a:pt x="20258" y="9145"/>
                    <a:pt x="20153" y="9049"/>
                    <a:pt x="20021" y="9049"/>
                  </a:cubicBezTo>
                  <a:close/>
                  <a:moveTo>
                    <a:pt x="20657" y="9049"/>
                  </a:moveTo>
                  <a:cubicBezTo>
                    <a:pt x="20526" y="9049"/>
                    <a:pt x="20419" y="9145"/>
                    <a:pt x="20419" y="9261"/>
                  </a:cubicBezTo>
                  <a:cubicBezTo>
                    <a:pt x="20419" y="9379"/>
                    <a:pt x="20526" y="9473"/>
                    <a:pt x="20657" y="9473"/>
                  </a:cubicBezTo>
                  <a:cubicBezTo>
                    <a:pt x="20788" y="9473"/>
                    <a:pt x="20893" y="9379"/>
                    <a:pt x="20893" y="9261"/>
                  </a:cubicBezTo>
                  <a:cubicBezTo>
                    <a:pt x="20893" y="9145"/>
                    <a:pt x="20788" y="9049"/>
                    <a:pt x="20657" y="9049"/>
                  </a:cubicBezTo>
                  <a:close/>
                  <a:moveTo>
                    <a:pt x="8434" y="9678"/>
                  </a:moveTo>
                  <a:cubicBezTo>
                    <a:pt x="8303" y="9678"/>
                    <a:pt x="8196" y="9773"/>
                    <a:pt x="8196" y="9890"/>
                  </a:cubicBezTo>
                  <a:cubicBezTo>
                    <a:pt x="8196" y="10006"/>
                    <a:pt x="8303" y="10100"/>
                    <a:pt x="8434" y="10100"/>
                  </a:cubicBezTo>
                  <a:cubicBezTo>
                    <a:pt x="8565" y="10100"/>
                    <a:pt x="8670" y="10006"/>
                    <a:pt x="8670" y="9890"/>
                  </a:cubicBezTo>
                  <a:cubicBezTo>
                    <a:pt x="8670" y="9773"/>
                    <a:pt x="8565" y="9678"/>
                    <a:pt x="8434" y="9678"/>
                  </a:cubicBezTo>
                  <a:close/>
                  <a:moveTo>
                    <a:pt x="9141" y="9678"/>
                  </a:moveTo>
                  <a:cubicBezTo>
                    <a:pt x="9009" y="9678"/>
                    <a:pt x="8902" y="9773"/>
                    <a:pt x="8902" y="9890"/>
                  </a:cubicBezTo>
                  <a:cubicBezTo>
                    <a:pt x="8902" y="10006"/>
                    <a:pt x="9009" y="10100"/>
                    <a:pt x="9141" y="10100"/>
                  </a:cubicBezTo>
                  <a:cubicBezTo>
                    <a:pt x="9272" y="10100"/>
                    <a:pt x="9377" y="10006"/>
                    <a:pt x="9377" y="9890"/>
                  </a:cubicBezTo>
                  <a:cubicBezTo>
                    <a:pt x="9377" y="9773"/>
                    <a:pt x="9272" y="9678"/>
                    <a:pt x="9141" y="9678"/>
                  </a:cubicBezTo>
                  <a:close/>
                  <a:moveTo>
                    <a:pt x="9847" y="9678"/>
                  </a:moveTo>
                  <a:cubicBezTo>
                    <a:pt x="9716" y="9678"/>
                    <a:pt x="9609" y="9773"/>
                    <a:pt x="9609" y="9890"/>
                  </a:cubicBezTo>
                  <a:cubicBezTo>
                    <a:pt x="9609" y="10006"/>
                    <a:pt x="9716" y="10100"/>
                    <a:pt x="9847" y="10100"/>
                  </a:cubicBezTo>
                  <a:cubicBezTo>
                    <a:pt x="9978" y="10100"/>
                    <a:pt x="10084" y="10006"/>
                    <a:pt x="10084" y="9890"/>
                  </a:cubicBezTo>
                  <a:cubicBezTo>
                    <a:pt x="10084" y="9773"/>
                    <a:pt x="9978" y="9678"/>
                    <a:pt x="9847" y="9678"/>
                  </a:cubicBezTo>
                  <a:close/>
                  <a:moveTo>
                    <a:pt x="10483" y="9678"/>
                  </a:moveTo>
                  <a:cubicBezTo>
                    <a:pt x="10352" y="9678"/>
                    <a:pt x="10245" y="9773"/>
                    <a:pt x="10245" y="9890"/>
                  </a:cubicBezTo>
                  <a:cubicBezTo>
                    <a:pt x="10245" y="10006"/>
                    <a:pt x="10352" y="10100"/>
                    <a:pt x="10483" y="10100"/>
                  </a:cubicBezTo>
                  <a:cubicBezTo>
                    <a:pt x="10614" y="10100"/>
                    <a:pt x="10719" y="10006"/>
                    <a:pt x="10719" y="9890"/>
                  </a:cubicBezTo>
                  <a:cubicBezTo>
                    <a:pt x="10719" y="9773"/>
                    <a:pt x="10614" y="9678"/>
                    <a:pt x="10483" y="9678"/>
                  </a:cubicBezTo>
                  <a:close/>
                  <a:moveTo>
                    <a:pt x="11190" y="9678"/>
                  </a:moveTo>
                  <a:cubicBezTo>
                    <a:pt x="11058" y="9678"/>
                    <a:pt x="10951" y="9773"/>
                    <a:pt x="10951" y="9890"/>
                  </a:cubicBezTo>
                  <a:cubicBezTo>
                    <a:pt x="10951" y="10006"/>
                    <a:pt x="11058" y="10100"/>
                    <a:pt x="11190" y="10100"/>
                  </a:cubicBezTo>
                  <a:cubicBezTo>
                    <a:pt x="11321" y="10100"/>
                    <a:pt x="11426" y="10006"/>
                    <a:pt x="11426" y="9890"/>
                  </a:cubicBezTo>
                  <a:cubicBezTo>
                    <a:pt x="11426" y="9773"/>
                    <a:pt x="11321" y="9678"/>
                    <a:pt x="11190" y="9678"/>
                  </a:cubicBezTo>
                  <a:close/>
                  <a:moveTo>
                    <a:pt x="11826" y="9678"/>
                  </a:moveTo>
                  <a:cubicBezTo>
                    <a:pt x="11694" y="9678"/>
                    <a:pt x="11587" y="9773"/>
                    <a:pt x="11587" y="9890"/>
                  </a:cubicBezTo>
                  <a:cubicBezTo>
                    <a:pt x="11587" y="10006"/>
                    <a:pt x="11694" y="10100"/>
                    <a:pt x="11826" y="10100"/>
                  </a:cubicBezTo>
                  <a:cubicBezTo>
                    <a:pt x="11957" y="10100"/>
                    <a:pt x="12062" y="10006"/>
                    <a:pt x="12062" y="9890"/>
                  </a:cubicBezTo>
                  <a:cubicBezTo>
                    <a:pt x="12062" y="9773"/>
                    <a:pt x="11957" y="9678"/>
                    <a:pt x="11826" y="9678"/>
                  </a:cubicBezTo>
                  <a:close/>
                  <a:moveTo>
                    <a:pt x="12532" y="9678"/>
                  </a:moveTo>
                  <a:cubicBezTo>
                    <a:pt x="12401" y="9678"/>
                    <a:pt x="12294" y="9773"/>
                    <a:pt x="12294" y="9890"/>
                  </a:cubicBezTo>
                  <a:cubicBezTo>
                    <a:pt x="12294" y="10006"/>
                    <a:pt x="12401" y="10100"/>
                    <a:pt x="12532" y="10100"/>
                  </a:cubicBezTo>
                  <a:cubicBezTo>
                    <a:pt x="12663" y="10100"/>
                    <a:pt x="12768" y="10006"/>
                    <a:pt x="12768" y="9890"/>
                  </a:cubicBezTo>
                  <a:cubicBezTo>
                    <a:pt x="12768" y="9773"/>
                    <a:pt x="12663" y="9678"/>
                    <a:pt x="12532" y="9678"/>
                  </a:cubicBezTo>
                  <a:close/>
                  <a:moveTo>
                    <a:pt x="13239" y="9678"/>
                  </a:moveTo>
                  <a:cubicBezTo>
                    <a:pt x="13107" y="9678"/>
                    <a:pt x="13000" y="9773"/>
                    <a:pt x="13000" y="9890"/>
                  </a:cubicBezTo>
                  <a:cubicBezTo>
                    <a:pt x="13000" y="10006"/>
                    <a:pt x="13107" y="10100"/>
                    <a:pt x="13239" y="10100"/>
                  </a:cubicBezTo>
                  <a:cubicBezTo>
                    <a:pt x="13370" y="10100"/>
                    <a:pt x="13475" y="10006"/>
                    <a:pt x="13475" y="9890"/>
                  </a:cubicBezTo>
                  <a:cubicBezTo>
                    <a:pt x="13475" y="9773"/>
                    <a:pt x="13370" y="9678"/>
                    <a:pt x="13239" y="9678"/>
                  </a:cubicBezTo>
                  <a:close/>
                  <a:moveTo>
                    <a:pt x="13875" y="9678"/>
                  </a:moveTo>
                  <a:cubicBezTo>
                    <a:pt x="13743" y="9678"/>
                    <a:pt x="13636" y="9773"/>
                    <a:pt x="13636" y="9890"/>
                  </a:cubicBezTo>
                  <a:cubicBezTo>
                    <a:pt x="13636" y="10006"/>
                    <a:pt x="13743" y="10100"/>
                    <a:pt x="13875" y="10100"/>
                  </a:cubicBezTo>
                  <a:cubicBezTo>
                    <a:pt x="14005" y="10100"/>
                    <a:pt x="14111" y="10006"/>
                    <a:pt x="14111" y="9890"/>
                  </a:cubicBezTo>
                  <a:cubicBezTo>
                    <a:pt x="14111" y="9773"/>
                    <a:pt x="14005" y="9678"/>
                    <a:pt x="13875" y="9678"/>
                  </a:cubicBezTo>
                  <a:close/>
                  <a:moveTo>
                    <a:pt x="14581" y="9678"/>
                  </a:moveTo>
                  <a:cubicBezTo>
                    <a:pt x="14450" y="9678"/>
                    <a:pt x="14343" y="9773"/>
                    <a:pt x="14343" y="9890"/>
                  </a:cubicBezTo>
                  <a:cubicBezTo>
                    <a:pt x="14343" y="10006"/>
                    <a:pt x="14450" y="10100"/>
                    <a:pt x="14581" y="10100"/>
                  </a:cubicBezTo>
                  <a:cubicBezTo>
                    <a:pt x="14712" y="10100"/>
                    <a:pt x="14817" y="10006"/>
                    <a:pt x="14817" y="9890"/>
                  </a:cubicBezTo>
                  <a:cubicBezTo>
                    <a:pt x="14817" y="9773"/>
                    <a:pt x="14712" y="9678"/>
                    <a:pt x="14581" y="9678"/>
                  </a:cubicBezTo>
                  <a:close/>
                  <a:moveTo>
                    <a:pt x="15217" y="9678"/>
                  </a:moveTo>
                  <a:cubicBezTo>
                    <a:pt x="15086" y="9678"/>
                    <a:pt x="14978" y="9773"/>
                    <a:pt x="14978" y="9890"/>
                  </a:cubicBezTo>
                  <a:cubicBezTo>
                    <a:pt x="14978" y="10006"/>
                    <a:pt x="15086" y="10100"/>
                    <a:pt x="15217" y="10100"/>
                  </a:cubicBezTo>
                  <a:cubicBezTo>
                    <a:pt x="15348" y="10100"/>
                    <a:pt x="15453" y="10006"/>
                    <a:pt x="15453" y="9890"/>
                  </a:cubicBezTo>
                  <a:cubicBezTo>
                    <a:pt x="15453" y="9773"/>
                    <a:pt x="15348" y="9678"/>
                    <a:pt x="15217" y="9678"/>
                  </a:cubicBezTo>
                  <a:close/>
                  <a:moveTo>
                    <a:pt x="15923" y="9678"/>
                  </a:moveTo>
                  <a:cubicBezTo>
                    <a:pt x="15792" y="9678"/>
                    <a:pt x="15685" y="9773"/>
                    <a:pt x="15685" y="9890"/>
                  </a:cubicBezTo>
                  <a:cubicBezTo>
                    <a:pt x="15685" y="10006"/>
                    <a:pt x="15792" y="10100"/>
                    <a:pt x="15923" y="10100"/>
                  </a:cubicBezTo>
                  <a:cubicBezTo>
                    <a:pt x="16054" y="10100"/>
                    <a:pt x="16160" y="10006"/>
                    <a:pt x="16160" y="9890"/>
                  </a:cubicBezTo>
                  <a:cubicBezTo>
                    <a:pt x="16160" y="9773"/>
                    <a:pt x="16054" y="9678"/>
                    <a:pt x="15923" y="9678"/>
                  </a:cubicBezTo>
                  <a:close/>
                  <a:moveTo>
                    <a:pt x="16630" y="9678"/>
                  </a:moveTo>
                  <a:cubicBezTo>
                    <a:pt x="16499" y="9678"/>
                    <a:pt x="16392" y="9773"/>
                    <a:pt x="16392" y="9890"/>
                  </a:cubicBezTo>
                  <a:cubicBezTo>
                    <a:pt x="16392" y="10006"/>
                    <a:pt x="16499" y="10100"/>
                    <a:pt x="16630" y="10100"/>
                  </a:cubicBezTo>
                  <a:cubicBezTo>
                    <a:pt x="16761" y="10100"/>
                    <a:pt x="16866" y="10006"/>
                    <a:pt x="16866" y="9890"/>
                  </a:cubicBezTo>
                  <a:cubicBezTo>
                    <a:pt x="16866" y="9773"/>
                    <a:pt x="16761" y="9678"/>
                    <a:pt x="16630" y="9678"/>
                  </a:cubicBezTo>
                  <a:close/>
                  <a:moveTo>
                    <a:pt x="17266" y="9678"/>
                  </a:moveTo>
                  <a:cubicBezTo>
                    <a:pt x="17134" y="9678"/>
                    <a:pt x="17027" y="9773"/>
                    <a:pt x="17027" y="9890"/>
                  </a:cubicBezTo>
                  <a:cubicBezTo>
                    <a:pt x="17027" y="10006"/>
                    <a:pt x="17134" y="10100"/>
                    <a:pt x="17266" y="10100"/>
                  </a:cubicBezTo>
                  <a:cubicBezTo>
                    <a:pt x="17397" y="10100"/>
                    <a:pt x="17502" y="10006"/>
                    <a:pt x="17502" y="9890"/>
                  </a:cubicBezTo>
                  <a:cubicBezTo>
                    <a:pt x="17502" y="9773"/>
                    <a:pt x="17397" y="9678"/>
                    <a:pt x="17266" y="9678"/>
                  </a:cubicBezTo>
                  <a:close/>
                  <a:moveTo>
                    <a:pt x="17972" y="9678"/>
                  </a:moveTo>
                  <a:cubicBezTo>
                    <a:pt x="17841" y="9678"/>
                    <a:pt x="17734" y="9773"/>
                    <a:pt x="17734" y="9890"/>
                  </a:cubicBezTo>
                  <a:cubicBezTo>
                    <a:pt x="17734" y="10006"/>
                    <a:pt x="17841" y="10100"/>
                    <a:pt x="17972" y="10100"/>
                  </a:cubicBezTo>
                  <a:cubicBezTo>
                    <a:pt x="18104" y="10100"/>
                    <a:pt x="18209" y="10006"/>
                    <a:pt x="18209" y="9890"/>
                  </a:cubicBezTo>
                  <a:cubicBezTo>
                    <a:pt x="18209" y="9773"/>
                    <a:pt x="18104" y="9678"/>
                    <a:pt x="17972" y="9678"/>
                  </a:cubicBezTo>
                  <a:close/>
                  <a:moveTo>
                    <a:pt x="18608" y="9678"/>
                  </a:moveTo>
                  <a:cubicBezTo>
                    <a:pt x="18477" y="9678"/>
                    <a:pt x="18370" y="9773"/>
                    <a:pt x="18370" y="9890"/>
                  </a:cubicBezTo>
                  <a:cubicBezTo>
                    <a:pt x="18370" y="10006"/>
                    <a:pt x="18477" y="10100"/>
                    <a:pt x="18608" y="10100"/>
                  </a:cubicBezTo>
                  <a:cubicBezTo>
                    <a:pt x="18739" y="10100"/>
                    <a:pt x="18845" y="10006"/>
                    <a:pt x="18845" y="9890"/>
                  </a:cubicBezTo>
                  <a:cubicBezTo>
                    <a:pt x="18845" y="9773"/>
                    <a:pt x="18739" y="9678"/>
                    <a:pt x="18608" y="9678"/>
                  </a:cubicBezTo>
                  <a:close/>
                  <a:moveTo>
                    <a:pt x="19315" y="9678"/>
                  </a:moveTo>
                  <a:cubicBezTo>
                    <a:pt x="19183" y="9678"/>
                    <a:pt x="19076" y="9773"/>
                    <a:pt x="19076" y="9890"/>
                  </a:cubicBezTo>
                  <a:cubicBezTo>
                    <a:pt x="19076" y="10006"/>
                    <a:pt x="19183" y="10100"/>
                    <a:pt x="19315" y="10100"/>
                  </a:cubicBezTo>
                  <a:cubicBezTo>
                    <a:pt x="19446" y="10100"/>
                    <a:pt x="19551" y="10006"/>
                    <a:pt x="19551" y="9890"/>
                  </a:cubicBezTo>
                  <a:cubicBezTo>
                    <a:pt x="19551" y="9773"/>
                    <a:pt x="19446" y="9678"/>
                    <a:pt x="19315" y="9678"/>
                  </a:cubicBezTo>
                  <a:close/>
                  <a:moveTo>
                    <a:pt x="20021" y="9678"/>
                  </a:moveTo>
                  <a:cubicBezTo>
                    <a:pt x="19890" y="9678"/>
                    <a:pt x="19783" y="9773"/>
                    <a:pt x="19783" y="9890"/>
                  </a:cubicBezTo>
                  <a:cubicBezTo>
                    <a:pt x="19783" y="10006"/>
                    <a:pt x="19890" y="10100"/>
                    <a:pt x="20021" y="10100"/>
                  </a:cubicBezTo>
                  <a:cubicBezTo>
                    <a:pt x="20153" y="10100"/>
                    <a:pt x="20258" y="10006"/>
                    <a:pt x="20258" y="9890"/>
                  </a:cubicBezTo>
                  <a:cubicBezTo>
                    <a:pt x="20258" y="9773"/>
                    <a:pt x="20153" y="9678"/>
                    <a:pt x="20021" y="9678"/>
                  </a:cubicBezTo>
                  <a:close/>
                  <a:moveTo>
                    <a:pt x="9141" y="10306"/>
                  </a:moveTo>
                  <a:cubicBezTo>
                    <a:pt x="9010" y="10306"/>
                    <a:pt x="8902" y="10402"/>
                    <a:pt x="8902" y="10518"/>
                  </a:cubicBezTo>
                  <a:cubicBezTo>
                    <a:pt x="8902" y="10635"/>
                    <a:pt x="9010" y="10728"/>
                    <a:pt x="9141" y="10728"/>
                  </a:cubicBezTo>
                  <a:cubicBezTo>
                    <a:pt x="9272" y="10728"/>
                    <a:pt x="9377" y="10635"/>
                    <a:pt x="9377" y="10518"/>
                  </a:cubicBezTo>
                  <a:cubicBezTo>
                    <a:pt x="9377" y="10402"/>
                    <a:pt x="9272" y="10306"/>
                    <a:pt x="9141" y="10306"/>
                  </a:cubicBezTo>
                  <a:close/>
                  <a:moveTo>
                    <a:pt x="9847" y="10306"/>
                  </a:moveTo>
                  <a:cubicBezTo>
                    <a:pt x="9716" y="10306"/>
                    <a:pt x="9609" y="10402"/>
                    <a:pt x="9609" y="10518"/>
                  </a:cubicBezTo>
                  <a:cubicBezTo>
                    <a:pt x="9609" y="10635"/>
                    <a:pt x="9716" y="10728"/>
                    <a:pt x="9847" y="10728"/>
                  </a:cubicBezTo>
                  <a:cubicBezTo>
                    <a:pt x="9978" y="10728"/>
                    <a:pt x="10084" y="10635"/>
                    <a:pt x="10084" y="10518"/>
                  </a:cubicBezTo>
                  <a:cubicBezTo>
                    <a:pt x="10084" y="10402"/>
                    <a:pt x="9978" y="10306"/>
                    <a:pt x="9847" y="10306"/>
                  </a:cubicBezTo>
                  <a:close/>
                  <a:moveTo>
                    <a:pt x="10483" y="10306"/>
                  </a:moveTo>
                  <a:cubicBezTo>
                    <a:pt x="10352" y="10306"/>
                    <a:pt x="10245" y="10402"/>
                    <a:pt x="10245" y="10518"/>
                  </a:cubicBezTo>
                  <a:cubicBezTo>
                    <a:pt x="10245" y="10635"/>
                    <a:pt x="10352" y="10728"/>
                    <a:pt x="10483" y="10728"/>
                  </a:cubicBezTo>
                  <a:cubicBezTo>
                    <a:pt x="10614" y="10728"/>
                    <a:pt x="10719" y="10635"/>
                    <a:pt x="10719" y="10518"/>
                  </a:cubicBezTo>
                  <a:cubicBezTo>
                    <a:pt x="10719" y="10402"/>
                    <a:pt x="10614" y="10306"/>
                    <a:pt x="10483" y="10306"/>
                  </a:cubicBezTo>
                  <a:close/>
                  <a:moveTo>
                    <a:pt x="11190" y="10306"/>
                  </a:moveTo>
                  <a:cubicBezTo>
                    <a:pt x="11058" y="10306"/>
                    <a:pt x="10951" y="10402"/>
                    <a:pt x="10951" y="10518"/>
                  </a:cubicBezTo>
                  <a:cubicBezTo>
                    <a:pt x="10951" y="10635"/>
                    <a:pt x="11058" y="10728"/>
                    <a:pt x="11190" y="10728"/>
                  </a:cubicBezTo>
                  <a:cubicBezTo>
                    <a:pt x="11321" y="10728"/>
                    <a:pt x="11426" y="10635"/>
                    <a:pt x="11426" y="10518"/>
                  </a:cubicBezTo>
                  <a:cubicBezTo>
                    <a:pt x="11426" y="10402"/>
                    <a:pt x="11321" y="10306"/>
                    <a:pt x="11190" y="10306"/>
                  </a:cubicBezTo>
                  <a:close/>
                  <a:moveTo>
                    <a:pt x="11826" y="10306"/>
                  </a:moveTo>
                  <a:cubicBezTo>
                    <a:pt x="11694" y="10306"/>
                    <a:pt x="11587" y="10402"/>
                    <a:pt x="11587" y="10518"/>
                  </a:cubicBezTo>
                  <a:cubicBezTo>
                    <a:pt x="11587" y="10635"/>
                    <a:pt x="11694" y="10728"/>
                    <a:pt x="11826" y="10728"/>
                  </a:cubicBezTo>
                  <a:cubicBezTo>
                    <a:pt x="11957" y="10728"/>
                    <a:pt x="12062" y="10635"/>
                    <a:pt x="12062" y="10518"/>
                  </a:cubicBezTo>
                  <a:cubicBezTo>
                    <a:pt x="12062" y="10402"/>
                    <a:pt x="11957" y="10306"/>
                    <a:pt x="11826" y="10306"/>
                  </a:cubicBezTo>
                  <a:close/>
                  <a:moveTo>
                    <a:pt x="12532" y="10306"/>
                  </a:moveTo>
                  <a:cubicBezTo>
                    <a:pt x="12401" y="10306"/>
                    <a:pt x="12294" y="10402"/>
                    <a:pt x="12294" y="10518"/>
                  </a:cubicBezTo>
                  <a:cubicBezTo>
                    <a:pt x="12294" y="10635"/>
                    <a:pt x="12401" y="10728"/>
                    <a:pt x="12532" y="10728"/>
                  </a:cubicBezTo>
                  <a:cubicBezTo>
                    <a:pt x="12663" y="10728"/>
                    <a:pt x="12768" y="10635"/>
                    <a:pt x="12768" y="10518"/>
                  </a:cubicBezTo>
                  <a:cubicBezTo>
                    <a:pt x="12768" y="10402"/>
                    <a:pt x="12663" y="10306"/>
                    <a:pt x="12532" y="10306"/>
                  </a:cubicBezTo>
                  <a:close/>
                  <a:moveTo>
                    <a:pt x="13239" y="10306"/>
                  </a:moveTo>
                  <a:cubicBezTo>
                    <a:pt x="13107" y="10306"/>
                    <a:pt x="13000" y="10402"/>
                    <a:pt x="13000" y="10518"/>
                  </a:cubicBezTo>
                  <a:cubicBezTo>
                    <a:pt x="13000" y="10635"/>
                    <a:pt x="13107" y="10728"/>
                    <a:pt x="13239" y="10728"/>
                  </a:cubicBezTo>
                  <a:cubicBezTo>
                    <a:pt x="13370" y="10728"/>
                    <a:pt x="13475" y="10635"/>
                    <a:pt x="13475" y="10518"/>
                  </a:cubicBezTo>
                  <a:cubicBezTo>
                    <a:pt x="13475" y="10402"/>
                    <a:pt x="13370" y="10306"/>
                    <a:pt x="13239" y="10306"/>
                  </a:cubicBezTo>
                  <a:close/>
                  <a:moveTo>
                    <a:pt x="13875" y="10306"/>
                  </a:moveTo>
                  <a:cubicBezTo>
                    <a:pt x="13743" y="10306"/>
                    <a:pt x="13636" y="10402"/>
                    <a:pt x="13636" y="10518"/>
                  </a:cubicBezTo>
                  <a:cubicBezTo>
                    <a:pt x="13636" y="10635"/>
                    <a:pt x="13743" y="10728"/>
                    <a:pt x="13875" y="10728"/>
                  </a:cubicBezTo>
                  <a:cubicBezTo>
                    <a:pt x="14005" y="10728"/>
                    <a:pt x="14111" y="10635"/>
                    <a:pt x="14111" y="10518"/>
                  </a:cubicBezTo>
                  <a:cubicBezTo>
                    <a:pt x="14111" y="10402"/>
                    <a:pt x="14005" y="10306"/>
                    <a:pt x="13875" y="10306"/>
                  </a:cubicBezTo>
                  <a:close/>
                  <a:moveTo>
                    <a:pt x="14581" y="10306"/>
                  </a:moveTo>
                  <a:cubicBezTo>
                    <a:pt x="14450" y="10306"/>
                    <a:pt x="14343" y="10402"/>
                    <a:pt x="14343" y="10518"/>
                  </a:cubicBezTo>
                  <a:cubicBezTo>
                    <a:pt x="14343" y="10635"/>
                    <a:pt x="14450" y="10728"/>
                    <a:pt x="14581" y="10728"/>
                  </a:cubicBezTo>
                  <a:cubicBezTo>
                    <a:pt x="14712" y="10728"/>
                    <a:pt x="14817" y="10635"/>
                    <a:pt x="14817" y="10518"/>
                  </a:cubicBezTo>
                  <a:cubicBezTo>
                    <a:pt x="14817" y="10402"/>
                    <a:pt x="14712" y="10306"/>
                    <a:pt x="14581" y="10306"/>
                  </a:cubicBezTo>
                  <a:close/>
                  <a:moveTo>
                    <a:pt x="15217" y="10306"/>
                  </a:moveTo>
                  <a:cubicBezTo>
                    <a:pt x="15086" y="10306"/>
                    <a:pt x="14978" y="10402"/>
                    <a:pt x="14978" y="10518"/>
                  </a:cubicBezTo>
                  <a:cubicBezTo>
                    <a:pt x="14978" y="10635"/>
                    <a:pt x="15086" y="10728"/>
                    <a:pt x="15217" y="10728"/>
                  </a:cubicBezTo>
                  <a:cubicBezTo>
                    <a:pt x="15348" y="10728"/>
                    <a:pt x="15453" y="10635"/>
                    <a:pt x="15453" y="10518"/>
                  </a:cubicBezTo>
                  <a:cubicBezTo>
                    <a:pt x="15453" y="10402"/>
                    <a:pt x="15348" y="10306"/>
                    <a:pt x="15217" y="10306"/>
                  </a:cubicBezTo>
                  <a:close/>
                  <a:moveTo>
                    <a:pt x="15923" y="10306"/>
                  </a:moveTo>
                  <a:cubicBezTo>
                    <a:pt x="15792" y="10306"/>
                    <a:pt x="15685" y="10402"/>
                    <a:pt x="15685" y="10518"/>
                  </a:cubicBezTo>
                  <a:cubicBezTo>
                    <a:pt x="15685" y="10635"/>
                    <a:pt x="15792" y="10728"/>
                    <a:pt x="15923" y="10728"/>
                  </a:cubicBezTo>
                  <a:cubicBezTo>
                    <a:pt x="16054" y="10728"/>
                    <a:pt x="16160" y="10635"/>
                    <a:pt x="16160" y="10518"/>
                  </a:cubicBezTo>
                  <a:cubicBezTo>
                    <a:pt x="16160" y="10402"/>
                    <a:pt x="16054" y="10306"/>
                    <a:pt x="15923" y="10306"/>
                  </a:cubicBezTo>
                  <a:close/>
                  <a:moveTo>
                    <a:pt x="16630" y="10306"/>
                  </a:moveTo>
                  <a:cubicBezTo>
                    <a:pt x="16499" y="10306"/>
                    <a:pt x="16392" y="10402"/>
                    <a:pt x="16392" y="10518"/>
                  </a:cubicBezTo>
                  <a:cubicBezTo>
                    <a:pt x="16392" y="10635"/>
                    <a:pt x="16499" y="10728"/>
                    <a:pt x="16630" y="10728"/>
                  </a:cubicBezTo>
                  <a:cubicBezTo>
                    <a:pt x="16761" y="10728"/>
                    <a:pt x="16866" y="10635"/>
                    <a:pt x="16866" y="10518"/>
                  </a:cubicBezTo>
                  <a:cubicBezTo>
                    <a:pt x="16866" y="10402"/>
                    <a:pt x="16761" y="10306"/>
                    <a:pt x="16630" y="10306"/>
                  </a:cubicBezTo>
                  <a:close/>
                  <a:moveTo>
                    <a:pt x="17266" y="10306"/>
                  </a:moveTo>
                  <a:cubicBezTo>
                    <a:pt x="17134" y="10306"/>
                    <a:pt x="17027" y="10402"/>
                    <a:pt x="17027" y="10518"/>
                  </a:cubicBezTo>
                  <a:cubicBezTo>
                    <a:pt x="17027" y="10635"/>
                    <a:pt x="17134" y="10728"/>
                    <a:pt x="17266" y="10728"/>
                  </a:cubicBezTo>
                  <a:cubicBezTo>
                    <a:pt x="17397" y="10728"/>
                    <a:pt x="17502" y="10635"/>
                    <a:pt x="17502" y="10518"/>
                  </a:cubicBezTo>
                  <a:cubicBezTo>
                    <a:pt x="17502" y="10402"/>
                    <a:pt x="17397" y="10306"/>
                    <a:pt x="17266" y="10306"/>
                  </a:cubicBezTo>
                  <a:close/>
                  <a:moveTo>
                    <a:pt x="17972" y="10306"/>
                  </a:moveTo>
                  <a:cubicBezTo>
                    <a:pt x="17841" y="10306"/>
                    <a:pt x="17734" y="10402"/>
                    <a:pt x="17734" y="10518"/>
                  </a:cubicBezTo>
                  <a:cubicBezTo>
                    <a:pt x="17734" y="10635"/>
                    <a:pt x="17841" y="10728"/>
                    <a:pt x="17972" y="10728"/>
                  </a:cubicBezTo>
                  <a:cubicBezTo>
                    <a:pt x="18104" y="10728"/>
                    <a:pt x="18209" y="10635"/>
                    <a:pt x="18209" y="10518"/>
                  </a:cubicBezTo>
                  <a:cubicBezTo>
                    <a:pt x="18209" y="10402"/>
                    <a:pt x="18104" y="10306"/>
                    <a:pt x="17972" y="10306"/>
                  </a:cubicBezTo>
                  <a:close/>
                  <a:moveTo>
                    <a:pt x="18608" y="10306"/>
                  </a:moveTo>
                  <a:cubicBezTo>
                    <a:pt x="18477" y="10306"/>
                    <a:pt x="18370" y="10402"/>
                    <a:pt x="18370" y="10518"/>
                  </a:cubicBezTo>
                  <a:cubicBezTo>
                    <a:pt x="18370" y="10635"/>
                    <a:pt x="18477" y="10728"/>
                    <a:pt x="18608" y="10728"/>
                  </a:cubicBezTo>
                  <a:cubicBezTo>
                    <a:pt x="18739" y="10728"/>
                    <a:pt x="18845" y="10635"/>
                    <a:pt x="18845" y="10518"/>
                  </a:cubicBezTo>
                  <a:cubicBezTo>
                    <a:pt x="18845" y="10402"/>
                    <a:pt x="18739" y="10306"/>
                    <a:pt x="18608" y="10306"/>
                  </a:cubicBezTo>
                  <a:close/>
                  <a:moveTo>
                    <a:pt x="19315" y="10306"/>
                  </a:moveTo>
                  <a:cubicBezTo>
                    <a:pt x="19183" y="10306"/>
                    <a:pt x="19076" y="10402"/>
                    <a:pt x="19076" y="10518"/>
                  </a:cubicBezTo>
                  <a:cubicBezTo>
                    <a:pt x="19076" y="10635"/>
                    <a:pt x="19183" y="10728"/>
                    <a:pt x="19315" y="10728"/>
                  </a:cubicBezTo>
                  <a:cubicBezTo>
                    <a:pt x="19446" y="10728"/>
                    <a:pt x="19551" y="10635"/>
                    <a:pt x="19551" y="10518"/>
                  </a:cubicBezTo>
                  <a:cubicBezTo>
                    <a:pt x="19551" y="10402"/>
                    <a:pt x="19446" y="10306"/>
                    <a:pt x="19315" y="10306"/>
                  </a:cubicBezTo>
                  <a:close/>
                  <a:moveTo>
                    <a:pt x="8434" y="10872"/>
                  </a:moveTo>
                  <a:cubicBezTo>
                    <a:pt x="8303" y="10872"/>
                    <a:pt x="8196" y="10967"/>
                    <a:pt x="8196" y="11084"/>
                  </a:cubicBezTo>
                  <a:cubicBezTo>
                    <a:pt x="8196" y="11200"/>
                    <a:pt x="8303" y="11296"/>
                    <a:pt x="8434" y="11296"/>
                  </a:cubicBezTo>
                  <a:cubicBezTo>
                    <a:pt x="8565" y="11296"/>
                    <a:pt x="8670" y="11200"/>
                    <a:pt x="8670" y="11084"/>
                  </a:cubicBezTo>
                  <a:cubicBezTo>
                    <a:pt x="8670" y="10967"/>
                    <a:pt x="8565" y="10872"/>
                    <a:pt x="8434" y="10872"/>
                  </a:cubicBezTo>
                  <a:close/>
                  <a:moveTo>
                    <a:pt x="9141" y="10872"/>
                  </a:moveTo>
                  <a:cubicBezTo>
                    <a:pt x="9010" y="10872"/>
                    <a:pt x="8902" y="10967"/>
                    <a:pt x="8902" y="11084"/>
                  </a:cubicBezTo>
                  <a:cubicBezTo>
                    <a:pt x="8902" y="11200"/>
                    <a:pt x="9010" y="11296"/>
                    <a:pt x="9141" y="11296"/>
                  </a:cubicBezTo>
                  <a:cubicBezTo>
                    <a:pt x="9272" y="11296"/>
                    <a:pt x="9377" y="11200"/>
                    <a:pt x="9377" y="11084"/>
                  </a:cubicBezTo>
                  <a:cubicBezTo>
                    <a:pt x="9377" y="10967"/>
                    <a:pt x="9272" y="10872"/>
                    <a:pt x="9141" y="10872"/>
                  </a:cubicBezTo>
                  <a:close/>
                  <a:moveTo>
                    <a:pt x="9847" y="10872"/>
                  </a:moveTo>
                  <a:cubicBezTo>
                    <a:pt x="9716" y="10872"/>
                    <a:pt x="9609" y="10967"/>
                    <a:pt x="9609" y="11084"/>
                  </a:cubicBezTo>
                  <a:cubicBezTo>
                    <a:pt x="9609" y="11200"/>
                    <a:pt x="9716" y="11296"/>
                    <a:pt x="9847" y="11296"/>
                  </a:cubicBezTo>
                  <a:cubicBezTo>
                    <a:pt x="9978" y="11296"/>
                    <a:pt x="10084" y="11200"/>
                    <a:pt x="10084" y="11084"/>
                  </a:cubicBezTo>
                  <a:cubicBezTo>
                    <a:pt x="10084" y="10967"/>
                    <a:pt x="9978" y="10872"/>
                    <a:pt x="9847" y="10872"/>
                  </a:cubicBezTo>
                  <a:close/>
                  <a:moveTo>
                    <a:pt x="10483" y="10872"/>
                  </a:moveTo>
                  <a:cubicBezTo>
                    <a:pt x="10352" y="10872"/>
                    <a:pt x="10245" y="10967"/>
                    <a:pt x="10245" y="11084"/>
                  </a:cubicBezTo>
                  <a:cubicBezTo>
                    <a:pt x="10245" y="11200"/>
                    <a:pt x="10352" y="11296"/>
                    <a:pt x="10483" y="11296"/>
                  </a:cubicBezTo>
                  <a:cubicBezTo>
                    <a:pt x="10614" y="11296"/>
                    <a:pt x="10719" y="11200"/>
                    <a:pt x="10719" y="11084"/>
                  </a:cubicBezTo>
                  <a:cubicBezTo>
                    <a:pt x="10719" y="10967"/>
                    <a:pt x="10614" y="10872"/>
                    <a:pt x="10483" y="10872"/>
                  </a:cubicBezTo>
                  <a:close/>
                  <a:moveTo>
                    <a:pt x="11190" y="10872"/>
                  </a:moveTo>
                  <a:cubicBezTo>
                    <a:pt x="11058" y="10872"/>
                    <a:pt x="10951" y="10967"/>
                    <a:pt x="10951" y="11084"/>
                  </a:cubicBezTo>
                  <a:cubicBezTo>
                    <a:pt x="10951" y="11200"/>
                    <a:pt x="11058" y="11296"/>
                    <a:pt x="11190" y="11296"/>
                  </a:cubicBezTo>
                  <a:cubicBezTo>
                    <a:pt x="11321" y="11296"/>
                    <a:pt x="11426" y="11200"/>
                    <a:pt x="11426" y="11084"/>
                  </a:cubicBezTo>
                  <a:cubicBezTo>
                    <a:pt x="11426" y="10967"/>
                    <a:pt x="11321" y="10872"/>
                    <a:pt x="11190" y="10872"/>
                  </a:cubicBezTo>
                  <a:close/>
                  <a:moveTo>
                    <a:pt x="11826" y="10872"/>
                  </a:moveTo>
                  <a:cubicBezTo>
                    <a:pt x="11694" y="10872"/>
                    <a:pt x="11587" y="10967"/>
                    <a:pt x="11587" y="11084"/>
                  </a:cubicBezTo>
                  <a:cubicBezTo>
                    <a:pt x="11587" y="11200"/>
                    <a:pt x="11694" y="11296"/>
                    <a:pt x="11826" y="11296"/>
                  </a:cubicBezTo>
                  <a:cubicBezTo>
                    <a:pt x="11957" y="11296"/>
                    <a:pt x="12062" y="11200"/>
                    <a:pt x="12062" y="11084"/>
                  </a:cubicBezTo>
                  <a:cubicBezTo>
                    <a:pt x="12062" y="10967"/>
                    <a:pt x="11957" y="10872"/>
                    <a:pt x="11826" y="10872"/>
                  </a:cubicBezTo>
                  <a:close/>
                  <a:moveTo>
                    <a:pt x="12532" y="10872"/>
                  </a:moveTo>
                  <a:cubicBezTo>
                    <a:pt x="12401" y="10872"/>
                    <a:pt x="12294" y="10967"/>
                    <a:pt x="12294" y="11084"/>
                  </a:cubicBezTo>
                  <a:cubicBezTo>
                    <a:pt x="12294" y="11200"/>
                    <a:pt x="12401" y="11296"/>
                    <a:pt x="12532" y="11296"/>
                  </a:cubicBezTo>
                  <a:cubicBezTo>
                    <a:pt x="12663" y="11296"/>
                    <a:pt x="12768" y="11200"/>
                    <a:pt x="12768" y="11084"/>
                  </a:cubicBezTo>
                  <a:cubicBezTo>
                    <a:pt x="12768" y="10967"/>
                    <a:pt x="12663" y="10872"/>
                    <a:pt x="12532" y="10872"/>
                  </a:cubicBezTo>
                  <a:close/>
                  <a:moveTo>
                    <a:pt x="13239" y="10872"/>
                  </a:moveTo>
                  <a:cubicBezTo>
                    <a:pt x="13107" y="10872"/>
                    <a:pt x="13000" y="10967"/>
                    <a:pt x="13000" y="11084"/>
                  </a:cubicBezTo>
                  <a:cubicBezTo>
                    <a:pt x="13000" y="11200"/>
                    <a:pt x="13107" y="11296"/>
                    <a:pt x="13239" y="11296"/>
                  </a:cubicBezTo>
                  <a:cubicBezTo>
                    <a:pt x="13370" y="11296"/>
                    <a:pt x="13475" y="11200"/>
                    <a:pt x="13475" y="11084"/>
                  </a:cubicBezTo>
                  <a:cubicBezTo>
                    <a:pt x="13475" y="10967"/>
                    <a:pt x="13370" y="10872"/>
                    <a:pt x="13239" y="10872"/>
                  </a:cubicBezTo>
                  <a:close/>
                  <a:moveTo>
                    <a:pt x="13875" y="10872"/>
                  </a:moveTo>
                  <a:cubicBezTo>
                    <a:pt x="13743" y="10872"/>
                    <a:pt x="13636" y="10967"/>
                    <a:pt x="13636" y="11084"/>
                  </a:cubicBezTo>
                  <a:cubicBezTo>
                    <a:pt x="13636" y="11200"/>
                    <a:pt x="13743" y="11296"/>
                    <a:pt x="13875" y="11296"/>
                  </a:cubicBezTo>
                  <a:cubicBezTo>
                    <a:pt x="14005" y="11296"/>
                    <a:pt x="14111" y="11200"/>
                    <a:pt x="14111" y="11084"/>
                  </a:cubicBezTo>
                  <a:cubicBezTo>
                    <a:pt x="14111" y="10967"/>
                    <a:pt x="14005" y="10872"/>
                    <a:pt x="13875" y="10872"/>
                  </a:cubicBezTo>
                  <a:close/>
                  <a:moveTo>
                    <a:pt x="14581" y="10872"/>
                  </a:moveTo>
                  <a:cubicBezTo>
                    <a:pt x="14450" y="10872"/>
                    <a:pt x="14343" y="10967"/>
                    <a:pt x="14343" y="11084"/>
                  </a:cubicBezTo>
                  <a:cubicBezTo>
                    <a:pt x="14343" y="11200"/>
                    <a:pt x="14450" y="11296"/>
                    <a:pt x="14581" y="11296"/>
                  </a:cubicBezTo>
                  <a:cubicBezTo>
                    <a:pt x="14712" y="11296"/>
                    <a:pt x="14817" y="11200"/>
                    <a:pt x="14817" y="11084"/>
                  </a:cubicBezTo>
                  <a:cubicBezTo>
                    <a:pt x="14817" y="10967"/>
                    <a:pt x="14712" y="10872"/>
                    <a:pt x="14581" y="10872"/>
                  </a:cubicBezTo>
                  <a:close/>
                  <a:moveTo>
                    <a:pt x="15217" y="10872"/>
                  </a:moveTo>
                  <a:cubicBezTo>
                    <a:pt x="15086" y="10872"/>
                    <a:pt x="14978" y="10967"/>
                    <a:pt x="14978" y="11084"/>
                  </a:cubicBezTo>
                  <a:cubicBezTo>
                    <a:pt x="14978" y="11200"/>
                    <a:pt x="15086" y="11296"/>
                    <a:pt x="15217" y="11296"/>
                  </a:cubicBezTo>
                  <a:cubicBezTo>
                    <a:pt x="15348" y="11296"/>
                    <a:pt x="15453" y="11200"/>
                    <a:pt x="15453" y="11084"/>
                  </a:cubicBezTo>
                  <a:cubicBezTo>
                    <a:pt x="15453" y="10967"/>
                    <a:pt x="15348" y="10872"/>
                    <a:pt x="15217" y="10872"/>
                  </a:cubicBezTo>
                  <a:close/>
                  <a:moveTo>
                    <a:pt x="15923" y="10872"/>
                  </a:moveTo>
                  <a:cubicBezTo>
                    <a:pt x="15792" y="10872"/>
                    <a:pt x="15685" y="10967"/>
                    <a:pt x="15685" y="11084"/>
                  </a:cubicBezTo>
                  <a:cubicBezTo>
                    <a:pt x="15685" y="11200"/>
                    <a:pt x="15792" y="11296"/>
                    <a:pt x="15923" y="11296"/>
                  </a:cubicBezTo>
                  <a:cubicBezTo>
                    <a:pt x="16054" y="11296"/>
                    <a:pt x="16160" y="11200"/>
                    <a:pt x="16160" y="11084"/>
                  </a:cubicBezTo>
                  <a:cubicBezTo>
                    <a:pt x="16160" y="10967"/>
                    <a:pt x="16054" y="10872"/>
                    <a:pt x="15923" y="10872"/>
                  </a:cubicBezTo>
                  <a:close/>
                  <a:moveTo>
                    <a:pt x="16630" y="10872"/>
                  </a:moveTo>
                  <a:cubicBezTo>
                    <a:pt x="16499" y="10872"/>
                    <a:pt x="16392" y="10967"/>
                    <a:pt x="16392" y="11084"/>
                  </a:cubicBezTo>
                  <a:cubicBezTo>
                    <a:pt x="16392" y="11200"/>
                    <a:pt x="16499" y="11296"/>
                    <a:pt x="16630" y="11296"/>
                  </a:cubicBezTo>
                  <a:cubicBezTo>
                    <a:pt x="16761" y="11296"/>
                    <a:pt x="16866" y="11200"/>
                    <a:pt x="16866" y="11084"/>
                  </a:cubicBezTo>
                  <a:cubicBezTo>
                    <a:pt x="16866" y="10967"/>
                    <a:pt x="16761" y="10872"/>
                    <a:pt x="16630" y="10872"/>
                  </a:cubicBezTo>
                  <a:close/>
                  <a:moveTo>
                    <a:pt x="17266" y="10872"/>
                  </a:moveTo>
                  <a:cubicBezTo>
                    <a:pt x="17134" y="10872"/>
                    <a:pt x="17027" y="10967"/>
                    <a:pt x="17027" y="11084"/>
                  </a:cubicBezTo>
                  <a:cubicBezTo>
                    <a:pt x="17027" y="11200"/>
                    <a:pt x="17134" y="11296"/>
                    <a:pt x="17266" y="11296"/>
                  </a:cubicBezTo>
                  <a:cubicBezTo>
                    <a:pt x="17397" y="11296"/>
                    <a:pt x="17502" y="11200"/>
                    <a:pt x="17502" y="11084"/>
                  </a:cubicBezTo>
                  <a:cubicBezTo>
                    <a:pt x="17502" y="10967"/>
                    <a:pt x="17397" y="10872"/>
                    <a:pt x="17266" y="10872"/>
                  </a:cubicBezTo>
                  <a:close/>
                  <a:moveTo>
                    <a:pt x="17972" y="10872"/>
                  </a:moveTo>
                  <a:cubicBezTo>
                    <a:pt x="17841" y="10872"/>
                    <a:pt x="17734" y="10967"/>
                    <a:pt x="17734" y="11084"/>
                  </a:cubicBezTo>
                  <a:cubicBezTo>
                    <a:pt x="17734" y="11200"/>
                    <a:pt x="17841" y="11296"/>
                    <a:pt x="17972" y="11296"/>
                  </a:cubicBezTo>
                  <a:cubicBezTo>
                    <a:pt x="18104" y="11296"/>
                    <a:pt x="18209" y="11200"/>
                    <a:pt x="18209" y="11084"/>
                  </a:cubicBezTo>
                  <a:cubicBezTo>
                    <a:pt x="18209" y="10967"/>
                    <a:pt x="18104" y="10872"/>
                    <a:pt x="17972" y="10872"/>
                  </a:cubicBezTo>
                  <a:close/>
                  <a:moveTo>
                    <a:pt x="18608" y="10872"/>
                  </a:moveTo>
                  <a:cubicBezTo>
                    <a:pt x="18477" y="10872"/>
                    <a:pt x="18370" y="10967"/>
                    <a:pt x="18370" y="11084"/>
                  </a:cubicBezTo>
                  <a:cubicBezTo>
                    <a:pt x="18370" y="11200"/>
                    <a:pt x="18477" y="11296"/>
                    <a:pt x="18608" y="11296"/>
                  </a:cubicBezTo>
                  <a:cubicBezTo>
                    <a:pt x="18739" y="11296"/>
                    <a:pt x="18845" y="11200"/>
                    <a:pt x="18845" y="11084"/>
                  </a:cubicBezTo>
                  <a:cubicBezTo>
                    <a:pt x="18845" y="10967"/>
                    <a:pt x="18739" y="10872"/>
                    <a:pt x="18608" y="10872"/>
                  </a:cubicBezTo>
                  <a:close/>
                  <a:moveTo>
                    <a:pt x="8434" y="11500"/>
                  </a:moveTo>
                  <a:cubicBezTo>
                    <a:pt x="8303" y="11500"/>
                    <a:pt x="8196" y="11596"/>
                    <a:pt x="8196" y="11712"/>
                  </a:cubicBezTo>
                  <a:cubicBezTo>
                    <a:pt x="8196" y="11829"/>
                    <a:pt x="8303" y="11922"/>
                    <a:pt x="8434" y="11922"/>
                  </a:cubicBezTo>
                  <a:cubicBezTo>
                    <a:pt x="8565" y="11922"/>
                    <a:pt x="8670" y="11829"/>
                    <a:pt x="8670" y="11712"/>
                  </a:cubicBezTo>
                  <a:cubicBezTo>
                    <a:pt x="8670" y="11596"/>
                    <a:pt x="8565" y="11500"/>
                    <a:pt x="8434" y="11500"/>
                  </a:cubicBezTo>
                  <a:close/>
                  <a:moveTo>
                    <a:pt x="9141" y="11500"/>
                  </a:moveTo>
                  <a:cubicBezTo>
                    <a:pt x="9010" y="11500"/>
                    <a:pt x="8902" y="11596"/>
                    <a:pt x="8902" y="11712"/>
                  </a:cubicBezTo>
                  <a:cubicBezTo>
                    <a:pt x="8902" y="11829"/>
                    <a:pt x="9010" y="11922"/>
                    <a:pt x="9141" y="11922"/>
                  </a:cubicBezTo>
                  <a:cubicBezTo>
                    <a:pt x="9272" y="11922"/>
                    <a:pt x="9377" y="11829"/>
                    <a:pt x="9377" y="11712"/>
                  </a:cubicBezTo>
                  <a:cubicBezTo>
                    <a:pt x="9377" y="11596"/>
                    <a:pt x="9272" y="11500"/>
                    <a:pt x="9141" y="11500"/>
                  </a:cubicBezTo>
                  <a:close/>
                  <a:moveTo>
                    <a:pt x="9847" y="11500"/>
                  </a:moveTo>
                  <a:cubicBezTo>
                    <a:pt x="9716" y="11500"/>
                    <a:pt x="9609" y="11596"/>
                    <a:pt x="9609" y="11712"/>
                  </a:cubicBezTo>
                  <a:cubicBezTo>
                    <a:pt x="9609" y="11829"/>
                    <a:pt x="9716" y="11922"/>
                    <a:pt x="9847" y="11922"/>
                  </a:cubicBezTo>
                  <a:cubicBezTo>
                    <a:pt x="9978" y="11922"/>
                    <a:pt x="10084" y="11829"/>
                    <a:pt x="10084" y="11712"/>
                  </a:cubicBezTo>
                  <a:cubicBezTo>
                    <a:pt x="10084" y="11596"/>
                    <a:pt x="9978" y="11500"/>
                    <a:pt x="9847" y="11500"/>
                  </a:cubicBezTo>
                  <a:close/>
                  <a:moveTo>
                    <a:pt x="10483" y="11500"/>
                  </a:moveTo>
                  <a:cubicBezTo>
                    <a:pt x="10352" y="11500"/>
                    <a:pt x="10245" y="11596"/>
                    <a:pt x="10245" y="11712"/>
                  </a:cubicBezTo>
                  <a:cubicBezTo>
                    <a:pt x="10245" y="11829"/>
                    <a:pt x="10352" y="11922"/>
                    <a:pt x="10483" y="11922"/>
                  </a:cubicBezTo>
                  <a:cubicBezTo>
                    <a:pt x="10614" y="11922"/>
                    <a:pt x="10719" y="11829"/>
                    <a:pt x="10719" y="11712"/>
                  </a:cubicBezTo>
                  <a:cubicBezTo>
                    <a:pt x="10719" y="11596"/>
                    <a:pt x="10614" y="11500"/>
                    <a:pt x="10483" y="11500"/>
                  </a:cubicBezTo>
                  <a:close/>
                  <a:moveTo>
                    <a:pt x="11190" y="11500"/>
                  </a:moveTo>
                  <a:cubicBezTo>
                    <a:pt x="11058" y="11500"/>
                    <a:pt x="10951" y="11596"/>
                    <a:pt x="10951" y="11712"/>
                  </a:cubicBezTo>
                  <a:cubicBezTo>
                    <a:pt x="10951" y="11829"/>
                    <a:pt x="11058" y="11922"/>
                    <a:pt x="11190" y="11922"/>
                  </a:cubicBezTo>
                  <a:cubicBezTo>
                    <a:pt x="11321" y="11922"/>
                    <a:pt x="11426" y="11829"/>
                    <a:pt x="11426" y="11712"/>
                  </a:cubicBezTo>
                  <a:cubicBezTo>
                    <a:pt x="11426" y="11596"/>
                    <a:pt x="11321" y="11500"/>
                    <a:pt x="11190" y="11500"/>
                  </a:cubicBezTo>
                  <a:close/>
                  <a:moveTo>
                    <a:pt x="11826" y="11500"/>
                  </a:moveTo>
                  <a:cubicBezTo>
                    <a:pt x="11694" y="11500"/>
                    <a:pt x="11587" y="11596"/>
                    <a:pt x="11587" y="11712"/>
                  </a:cubicBezTo>
                  <a:cubicBezTo>
                    <a:pt x="11587" y="11829"/>
                    <a:pt x="11694" y="11922"/>
                    <a:pt x="11826" y="11922"/>
                  </a:cubicBezTo>
                  <a:cubicBezTo>
                    <a:pt x="11957" y="11922"/>
                    <a:pt x="12062" y="11829"/>
                    <a:pt x="12062" y="11712"/>
                  </a:cubicBezTo>
                  <a:cubicBezTo>
                    <a:pt x="12062" y="11596"/>
                    <a:pt x="11957" y="11500"/>
                    <a:pt x="11826" y="11500"/>
                  </a:cubicBezTo>
                  <a:close/>
                  <a:moveTo>
                    <a:pt x="12532" y="11500"/>
                  </a:moveTo>
                  <a:cubicBezTo>
                    <a:pt x="12401" y="11500"/>
                    <a:pt x="12294" y="11596"/>
                    <a:pt x="12294" y="11712"/>
                  </a:cubicBezTo>
                  <a:cubicBezTo>
                    <a:pt x="12294" y="11829"/>
                    <a:pt x="12401" y="11922"/>
                    <a:pt x="12532" y="11922"/>
                  </a:cubicBezTo>
                  <a:cubicBezTo>
                    <a:pt x="12663" y="11922"/>
                    <a:pt x="12768" y="11829"/>
                    <a:pt x="12768" y="11712"/>
                  </a:cubicBezTo>
                  <a:cubicBezTo>
                    <a:pt x="12768" y="11596"/>
                    <a:pt x="12663" y="11500"/>
                    <a:pt x="12532" y="11500"/>
                  </a:cubicBezTo>
                  <a:close/>
                  <a:moveTo>
                    <a:pt x="13239" y="11500"/>
                  </a:moveTo>
                  <a:cubicBezTo>
                    <a:pt x="13107" y="11500"/>
                    <a:pt x="13000" y="11596"/>
                    <a:pt x="13000" y="11712"/>
                  </a:cubicBezTo>
                  <a:cubicBezTo>
                    <a:pt x="13000" y="11829"/>
                    <a:pt x="13107" y="11922"/>
                    <a:pt x="13239" y="11922"/>
                  </a:cubicBezTo>
                  <a:cubicBezTo>
                    <a:pt x="13370" y="11922"/>
                    <a:pt x="13475" y="11829"/>
                    <a:pt x="13475" y="11712"/>
                  </a:cubicBezTo>
                  <a:cubicBezTo>
                    <a:pt x="13475" y="11596"/>
                    <a:pt x="13370" y="11500"/>
                    <a:pt x="13239" y="11500"/>
                  </a:cubicBezTo>
                  <a:close/>
                  <a:moveTo>
                    <a:pt x="13875" y="11500"/>
                  </a:moveTo>
                  <a:cubicBezTo>
                    <a:pt x="13743" y="11500"/>
                    <a:pt x="13636" y="11596"/>
                    <a:pt x="13636" y="11712"/>
                  </a:cubicBezTo>
                  <a:cubicBezTo>
                    <a:pt x="13636" y="11829"/>
                    <a:pt x="13743" y="11922"/>
                    <a:pt x="13875" y="11922"/>
                  </a:cubicBezTo>
                  <a:cubicBezTo>
                    <a:pt x="14005" y="11922"/>
                    <a:pt x="14111" y="11829"/>
                    <a:pt x="14111" y="11712"/>
                  </a:cubicBezTo>
                  <a:cubicBezTo>
                    <a:pt x="14111" y="11596"/>
                    <a:pt x="14005" y="11500"/>
                    <a:pt x="13875" y="11500"/>
                  </a:cubicBezTo>
                  <a:close/>
                  <a:moveTo>
                    <a:pt x="14581" y="11500"/>
                  </a:moveTo>
                  <a:cubicBezTo>
                    <a:pt x="14450" y="11500"/>
                    <a:pt x="14343" y="11596"/>
                    <a:pt x="14343" y="11712"/>
                  </a:cubicBezTo>
                  <a:cubicBezTo>
                    <a:pt x="14343" y="11829"/>
                    <a:pt x="14450" y="11922"/>
                    <a:pt x="14581" y="11922"/>
                  </a:cubicBezTo>
                  <a:cubicBezTo>
                    <a:pt x="14712" y="11922"/>
                    <a:pt x="14817" y="11829"/>
                    <a:pt x="14817" y="11712"/>
                  </a:cubicBezTo>
                  <a:cubicBezTo>
                    <a:pt x="14817" y="11596"/>
                    <a:pt x="14712" y="11500"/>
                    <a:pt x="14581" y="11500"/>
                  </a:cubicBezTo>
                  <a:close/>
                  <a:moveTo>
                    <a:pt x="15217" y="11500"/>
                  </a:moveTo>
                  <a:cubicBezTo>
                    <a:pt x="15086" y="11500"/>
                    <a:pt x="14978" y="11596"/>
                    <a:pt x="14978" y="11712"/>
                  </a:cubicBezTo>
                  <a:cubicBezTo>
                    <a:pt x="14978" y="11829"/>
                    <a:pt x="15086" y="11922"/>
                    <a:pt x="15217" y="11922"/>
                  </a:cubicBezTo>
                  <a:cubicBezTo>
                    <a:pt x="15348" y="11922"/>
                    <a:pt x="15453" y="11829"/>
                    <a:pt x="15453" y="11712"/>
                  </a:cubicBezTo>
                  <a:cubicBezTo>
                    <a:pt x="15453" y="11596"/>
                    <a:pt x="15348" y="11500"/>
                    <a:pt x="15217" y="11500"/>
                  </a:cubicBezTo>
                  <a:close/>
                  <a:moveTo>
                    <a:pt x="15923" y="11500"/>
                  </a:moveTo>
                  <a:cubicBezTo>
                    <a:pt x="15792" y="11500"/>
                    <a:pt x="15685" y="11596"/>
                    <a:pt x="15685" y="11712"/>
                  </a:cubicBezTo>
                  <a:cubicBezTo>
                    <a:pt x="15685" y="11829"/>
                    <a:pt x="15792" y="11922"/>
                    <a:pt x="15923" y="11922"/>
                  </a:cubicBezTo>
                  <a:cubicBezTo>
                    <a:pt x="16054" y="11922"/>
                    <a:pt x="16160" y="11829"/>
                    <a:pt x="16160" y="11712"/>
                  </a:cubicBezTo>
                  <a:cubicBezTo>
                    <a:pt x="16160" y="11596"/>
                    <a:pt x="16054" y="11500"/>
                    <a:pt x="15923" y="11500"/>
                  </a:cubicBezTo>
                  <a:close/>
                  <a:moveTo>
                    <a:pt x="16630" y="11500"/>
                  </a:moveTo>
                  <a:cubicBezTo>
                    <a:pt x="16499" y="11500"/>
                    <a:pt x="16392" y="11596"/>
                    <a:pt x="16392" y="11712"/>
                  </a:cubicBezTo>
                  <a:cubicBezTo>
                    <a:pt x="16392" y="11829"/>
                    <a:pt x="16499" y="11922"/>
                    <a:pt x="16630" y="11922"/>
                  </a:cubicBezTo>
                  <a:cubicBezTo>
                    <a:pt x="16761" y="11922"/>
                    <a:pt x="16866" y="11829"/>
                    <a:pt x="16866" y="11712"/>
                  </a:cubicBezTo>
                  <a:cubicBezTo>
                    <a:pt x="16866" y="11596"/>
                    <a:pt x="16761" y="11500"/>
                    <a:pt x="16630" y="11500"/>
                  </a:cubicBezTo>
                  <a:close/>
                  <a:moveTo>
                    <a:pt x="17266" y="11500"/>
                  </a:moveTo>
                  <a:cubicBezTo>
                    <a:pt x="17134" y="11500"/>
                    <a:pt x="17027" y="11596"/>
                    <a:pt x="17027" y="11712"/>
                  </a:cubicBezTo>
                  <a:cubicBezTo>
                    <a:pt x="17027" y="11829"/>
                    <a:pt x="17134" y="11922"/>
                    <a:pt x="17266" y="11922"/>
                  </a:cubicBezTo>
                  <a:cubicBezTo>
                    <a:pt x="17397" y="11922"/>
                    <a:pt x="17502" y="11829"/>
                    <a:pt x="17502" y="11712"/>
                  </a:cubicBezTo>
                  <a:cubicBezTo>
                    <a:pt x="17502" y="11596"/>
                    <a:pt x="17397" y="11500"/>
                    <a:pt x="17266" y="11500"/>
                  </a:cubicBezTo>
                  <a:close/>
                  <a:moveTo>
                    <a:pt x="17972" y="11500"/>
                  </a:moveTo>
                  <a:cubicBezTo>
                    <a:pt x="17841" y="11500"/>
                    <a:pt x="17734" y="11596"/>
                    <a:pt x="17734" y="11712"/>
                  </a:cubicBezTo>
                  <a:cubicBezTo>
                    <a:pt x="17734" y="11829"/>
                    <a:pt x="17841" y="11922"/>
                    <a:pt x="17972" y="11922"/>
                  </a:cubicBezTo>
                  <a:cubicBezTo>
                    <a:pt x="18104" y="11922"/>
                    <a:pt x="18209" y="11829"/>
                    <a:pt x="18209" y="11712"/>
                  </a:cubicBezTo>
                  <a:cubicBezTo>
                    <a:pt x="18209" y="11596"/>
                    <a:pt x="18104" y="11500"/>
                    <a:pt x="17972" y="11500"/>
                  </a:cubicBezTo>
                  <a:close/>
                  <a:moveTo>
                    <a:pt x="9141" y="12129"/>
                  </a:moveTo>
                  <a:cubicBezTo>
                    <a:pt x="9010" y="12129"/>
                    <a:pt x="8902" y="12224"/>
                    <a:pt x="8902" y="12341"/>
                  </a:cubicBezTo>
                  <a:cubicBezTo>
                    <a:pt x="8902" y="12458"/>
                    <a:pt x="9010" y="12551"/>
                    <a:pt x="9141" y="12551"/>
                  </a:cubicBezTo>
                  <a:cubicBezTo>
                    <a:pt x="9272" y="12551"/>
                    <a:pt x="9377" y="12458"/>
                    <a:pt x="9377" y="12341"/>
                  </a:cubicBezTo>
                  <a:cubicBezTo>
                    <a:pt x="9377" y="12224"/>
                    <a:pt x="9272" y="12129"/>
                    <a:pt x="9141" y="12129"/>
                  </a:cubicBezTo>
                  <a:close/>
                  <a:moveTo>
                    <a:pt x="9847" y="12129"/>
                  </a:moveTo>
                  <a:cubicBezTo>
                    <a:pt x="9716" y="12129"/>
                    <a:pt x="9609" y="12224"/>
                    <a:pt x="9609" y="12341"/>
                  </a:cubicBezTo>
                  <a:cubicBezTo>
                    <a:pt x="9609" y="12458"/>
                    <a:pt x="9716" y="12551"/>
                    <a:pt x="9847" y="12551"/>
                  </a:cubicBezTo>
                  <a:cubicBezTo>
                    <a:pt x="9978" y="12551"/>
                    <a:pt x="10084" y="12458"/>
                    <a:pt x="10084" y="12341"/>
                  </a:cubicBezTo>
                  <a:cubicBezTo>
                    <a:pt x="10084" y="12224"/>
                    <a:pt x="9978" y="12129"/>
                    <a:pt x="9847" y="12129"/>
                  </a:cubicBezTo>
                  <a:close/>
                  <a:moveTo>
                    <a:pt x="10483" y="12129"/>
                  </a:moveTo>
                  <a:cubicBezTo>
                    <a:pt x="10352" y="12129"/>
                    <a:pt x="10245" y="12224"/>
                    <a:pt x="10245" y="12341"/>
                  </a:cubicBezTo>
                  <a:cubicBezTo>
                    <a:pt x="10245" y="12458"/>
                    <a:pt x="10352" y="12551"/>
                    <a:pt x="10483" y="12551"/>
                  </a:cubicBezTo>
                  <a:cubicBezTo>
                    <a:pt x="10614" y="12551"/>
                    <a:pt x="10719" y="12458"/>
                    <a:pt x="10719" y="12341"/>
                  </a:cubicBezTo>
                  <a:cubicBezTo>
                    <a:pt x="10719" y="12224"/>
                    <a:pt x="10614" y="12129"/>
                    <a:pt x="10483" y="12129"/>
                  </a:cubicBezTo>
                  <a:close/>
                  <a:moveTo>
                    <a:pt x="11190" y="12129"/>
                  </a:moveTo>
                  <a:cubicBezTo>
                    <a:pt x="11058" y="12129"/>
                    <a:pt x="10951" y="12224"/>
                    <a:pt x="10951" y="12341"/>
                  </a:cubicBezTo>
                  <a:cubicBezTo>
                    <a:pt x="10951" y="12458"/>
                    <a:pt x="11058" y="12551"/>
                    <a:pt x="11190" y="12551"/>
                  </a:cubicBezTo>
                  <a:cubicBezTo>
                    <a:pt x="11321" y="12551"/>
                    <a:pt x="11426" y="12458"/>
                    <a:pt x="11426" y="12341"/>
                  </a:cubicBezTo>
                  <a:cubicBezTo>
                    <a:pt x="11426" y="12224"/>
                    <a:pt x="11321" y="12129"/>
                    <a:pt x="11190" y="12129"/>
                  </a:cubicBezTo>
                  <a:close/>
                  <a:moveTo>
                    <a:pt x="11826" y="12129"/>
                  </a:moveTo>
                  <a:cubicBezTo>
                    <a:pt x="11694" y="12129"/>
                    <a:pt x="11587" y="12224"/>
                    <a:pt x="11587" y="12341"/>
                  </a:cubicBezTo>
                  <a:cubicBezTo>
                    <a:pt x="11587" y="12458"/>
                    <a:pt x="11694" y="12551"/>
                    <a:pt x="11826" y="12551"/>
                  </a:cubicBezTo>
                  <a:cubicBezTo>
                    <a:pt x="11957" y="12551"/>
                    <a:pt x="12062" y="12458"/>
                    <a:pt x="12062" y="12341"/>
                  </a:cubicBezTo>
                  <a:cubicBezTo>
                    <a:pt x="12062" y="12224"/>
                    <a:pt x="11957" y="12129"/>
                    <a:pt x="11826" y="12129"/>
                  </a:cubicBezTo>
                  <a:close/>
                  <a:moveTo>
                    <a:pt x="12532" y="12129"/>
                  </a:moveTo>
                  <a:cubicBezTo>
                    <a:pt x="12401" y="12129"/>
                    <a:pt x="12294" y="12224"/>
                    <a:pt x="12294" y="12341"/>
                  </a:cubicBezTo>
                  <a:cubicBezTo>
                    <a:pt x="12294" y="12458"/>
                    <a:pt x="12401" y="12551"/>
                    <a:pt x="12532" y="12551"/>
                  </a:cubicBezTo>
                  <a:cubicBezTo>
                    <a:pt x="12663" y="12551"/>
                    <a:pt x="12768" y="12458"/>
                    <a:pt x="12768" y="12341"/>
                  </a:cubicBezTo>
                  <a:cubicBezTo>
                    <a:pt x="12768" y="12224"/>
                    <a:pt x="12663" y="12129"/>
                    <a:pt x="12532" y="12129"/>
                  </a:cubicBezTo>
                  <a:close/>
                  <a:moveTo>
                    <a:pt x="13239" y="12129"/>
                  </a:moveTo>
                  <a:cubicBezTo>
                    <a:pt x="13107" y="12129"/>
                    <a:pt x="13000" y="12224"/>
                    <a:pt x="13000" y="12341"/>
                  </a:cubicBezTo>
                  <a:cubicBezTo>
                    <a:pt x="13000" y="12458"/>
                    <a:pt x="13107" y="12551"/>
                    <a:pt x="13239" y="12551"/>
                  </a:cubicBezTo>
                  <a:cubicBezTo>
                    <a:pt x="13370" y="12551"/>
                    <a:pt x="13475" y="12458"/>
                    <a:pt x="13475" y="12341"/>
                  </a:cubicBezTo>
                  <a:cubicBezTo>
                    <a:pt x="13475" y="12224"/>
                    <a:pt x="13370" y="12129"/>
                    <a:pt x="13239" y="12129"/>
                  </a:cubicBezTo>
                  <a:close/>
                  <a:moveTo>
                    <a:pt x="13875" y="12129"/>
                  </a:moveTo>
                  <a:cubicBezTo>
                    <a:pt x="13743" y="12129"/>
                    <a:pt x="13636" y="12224"/>
                    <a:pt x="13636" y="12341"/>
                  </a:cubicBezTo>
                  <a:cubicBezTo>
                    <a:pt x="13636" y="12458"/>
                    <a:pt x="13743" y="12551"/>
                    <a:pt x="13875" y="12551"/>
                  </a:cubicBezTo>
                  <a:cubicBezTo>
                    <a:pt x="14005" y="12551"/>
                    <a:pt x="14111" y="12458"/>
                    <a:pt x="14111" y="12341"/>
                  </a:cubicBezTo>
                  <a:cubicBezTo>
                    <a:pt x="14111" y="12224"/>
                    <a:pt x="14005" y="12129"/>
                    <a:pt x="13875" y="12129"/>
                  </a:cubicBezTo>
                  <a:close/>
                  <a:moveTo>
                    <a:pt x="14581" y="12129"/>
                  </a:moveTo>
                  <a:cubicBezTo>
                    <a:pt x="14450" y="12129"/>
                    <a:pt x="14343" y="12224"/>
                    <a:pt x="14343" y="12341"/>
                  </a:cubicBezTo>
                  <a:cubicBezTo>
                    <a:pt x="14343" y="12458"/>
                    <a:pt x="14450" y="12551"/>
                    <a:pt x="14581" y="12551"/>
                  </a:cubicBezTo>
                  <a:cubicBezTo>
                    <a:pt x="14712" y="12551"/>
                    <a:pt x="14817" y="12458"/>
                    <a:pt x="14817" y="12341"/>
                  </a:cubicBezTo>
                  <a:cubicBezTo>
                    <a:pt x="14817" y="12224"/>
                    <a:pt x="14712" y="12129"/>
                    <a:pt x="14581" y="12129"/>
                  </a:cubicBezTo>
                  <a:close/>
                  <a:moveTo>
                    <a:pt x="15217" y="12129"/>
                  </a:moveTo>
                  <a:cubicBezTo>
                    <a:pt x="15086" y="12129"/>
                    <a:pt x="14978" y="12224"/>
                    <a:pt x="14978" y="12341"/>
                  </a:cubicBezTo>
                  <a:cubicBezTo>
                    <a:pt x="14978" y="12458"/>
                    <a:pt x="15086" y="12551"/>
                    <a:pt x="15217" y="12551"/>
                  </a:cubicBezTo>
                  <a:cubicBezTo>
                    <a:pt x="15348" y="12551"/>
                    <a:pt x="15453" y="12458"/>
                    <a:pt x="15453" y="12341"/>
                  </a:cubicBezTo>
                  <a:cubicBezTo>
                    <a:pt x="15453" y="12224"/>
                    <a:pt x="15348" y="12129"/>
                    <a:pt x="15217" y="12129"/>
                  </a:cubicBezTo>
                  <a:close/>
                  <a:moveTo>
                    <a:pt x="15923" y="12129"/>
                  </a:moveTo>
                  <a:cubicBezTo>
                    <a:pt x="15792" y="12129"/>
                    <a:pt x="15685" y="12224"/>
                    <a:pt x="15685" y="12341"/>
                  </a:cubicBezTo>
                  <a:cubicBezTo>
                    <a:pt x="15685" y="12458"/>
                    <a:pt x="15792" y="12551"/>
                    <a:pt x="15923" y="12551"/>
                  </a:cubicBezTo>
                  <a:cubicBezTo>
                    <a:pt x="16054" y="12551"/>
                    <a:pt x="16160" y="12458"/>
                    <a:pt x="16160" y="12341"/>
                  </a:cubicBezTo>
                  <a:cubicBezTo>
                    <a:pt x="16160" y="12224"/>
                    <a:pt x="16054" y="12129"/>
                    <a:pt x="15923" y="12129"/>
                  </a:cubicBezTo>
                  <a:close/>
                  <a:moveTo>
                    <a:pt x="16630" y="12129"/>
                  </a:moveTo>
                  <a:cubicBezTo>
                    <a:pt x="16499" y="12129"/>
                    <a:pt x="16392" y="12224"/>
                    <a:pt x="16392" y="12341"/>
                  </a:cubicBezTo>
                  <a:cubicBezTo>
                    <a:pt x="16392" y="12458"/>
                    <a:pt x="16499" y="12551"/>
                    <a:pt x="16630" y="12551"/>
                  </a:cubicBezTo>
                  <a:cubicBezTo>
                    <a:pt x="16761" y="12551"/>
                    <a:pt x="16866" y="12458"/>
                    <a:pt x="16866" y="12341"/>
                  </a:cubicBezTo>
                  <a:cubicBezTo>
                    <a:pt x="16866" y="12224"/>
                    <a:pt x="16761" y="12129"/>
                    <a:pt x="16630" y="12129"/>
                  </a:cubicBezTo>
                  <a:close/>
                  <a:moveTo>
                    <a:pt x="17266" y="12129"/>
                  </a:moveTo>
                  <a:cubicBezTo>
                    <a:pt x="17134" y="12129"/>
                    <a:pt x="17027" y="12224"/>
                    <a:pt x="17027" y="12341"/>
                  </a:cubicBezTo>
                  <a:cubicBezTo>
                    <a:pt x="17027" y="12458"/>
                    <a:pt x="17134" y="12551"/>
                    <a:pt x="17266" y="12551"/>
                  </a:cubicBezTo>
                  <a:cubicBezTo>
                    <a:pt x="17397" y="12551"/>
                    <a:pt x="17502" y="12458"/>
                    <a:pt x="17502" y="12341"/>
                  </a:cubicBezTo>
                  <a:cubicBezTo>
                    <a:pt x="17502" y="12224"/>
                    <a:pt x="17397" y="12129"/>
                    <a:pt x="17266" y="12129"/>
                  </a:cubicBezTo>
                  <a:close/>
                  <a:moveTo>
                    <a:pt x="9777" y="12694"/>
                  </a:moveTo>
                  <a:cubicBezTo>
                    <a:pt x="9645" y="12694"/>
                    <a:pt x="9538" y="12789"/>
                    <a:pt x="9538" y="12906"/>
                  </a:cubicBezTo>
                  <a:cubicBezTo>
                    <a:pt x="9538" y="13023"/>
                    <a:pt x="9645" y="13116"/>
                    <a:pt x="9777" y="13116"/>
                  </a:cubicBezTo>
                  <a:cubicBezTo>
                    <a:pt x="9908" y="13116"/>
                    <a:pt x="10013" y="13023"/>
                    <a:pt x="10013" y="12906"/>
                  </a:cubicBezTo>
                  <a:cubicBezTo>
                    <a:pt x="10013" y="12789"/>
                    <a:pt x="9908" y="12694"/>
                    <a:pt x="9777" y="12694"/>
                  </a:cubicBezTo>
                  <a:close/>
                  <a:moveTo>
                    <a:pt x="10483" y="12694"/>
                  </a:moveTo>
                  <a:cubicBezTo>
                    <a:pt x="10352" y="12694"/>
                    <a:pt x="10245" y="12789"/>
                    <a:pt x="10245" y="12906"/>
                  </a:cubicBezTo>
                  <a:cubicBezTo>
                    <a:pt x="10245" y="13023"/>
                    <a:pt x="10352" y="13116"/>
                    <a:pt x="10483" y="13116"/>
                  </a:cubicBezTo>
                  <a:cubicBezTo>
                    <a:pt x="10614" y="13116"/>
                    <a:pt x="10719" y="13023"/>
                    <a:pt x="10719" y="12906"/>
                  </a:cubicBezTo>
                  <a:cubicBezTo>
                    <a:pt x="10719" y="12789"/>
                    <a:pt x="10614" y="12694"/>
                    <a:pt x="10483" y="12694"/>
                  </a:cubicBezTo>
                  <a:close/>
                  <a:moveTo>
                    <a:pt x="11190" y="12694"/>
                  </a:moveTo>
                  <a:cubicBezTo>
                    <a:pt x="11059" y="12694"/>
                    <a:pt x="10951" y="12789"/>
                    <a:pt x="10951" y="12906"/>
                  </a:cubicBezTo>
                  <a:cubicBezTo>
                    <a:pt x="10951" y="13023"/>
                    <a:pt x="11059" y="13116"/>
                    <a:pt x="11190" y="13116"/>
                  </a:cubicBezTo>
                  <a:cubicBezTo>
                    <a:pt x="11321" y="13116"/>
                    <a:pt x="11426" y="13023"/>
                    <a:pt x="11426" y="12906"/>
                  </a:cubicBezTo>
                  <a:cubicBezTo>
                    <a:pt x="11426" y="12789"/>
                    <a:pt x="11321" y="12694"/>
                    <a:pt x="11190" y="12694"/>
                  </a:cubicBezTo>
                  <a:close/>
                  <a:moveTo>
                    <a:pt x="11826" y="12694"/>
                  </a:moveTo>
                  <a:cubicBezTo>
                    <a:pt x="11694" y="12694"/>
                    <a:pt x="11587" y="12789"/>
                    <a:pt x="11587" y="12906"/>
                  </a:cubicBezTo>
                  <a:cubicBezTo>
                    <a:pt x="11587" y="13023"/>
                    <a:pt x="11694" y="13116"/>
                    <a:pt x="11826" y="13116"/>
                  </a:cubicBezTo>
                  <a:cubicBezTo>
                    <a:pt x="11957" y="13116"/>
                    <a:pt x="12062" y="13023"/>
                    <a:pt x="12062" y="12906"/>
                  </a:cubicBezTo>
                  <a:cubicBezTo>
                    <a:pt x="12062" y="12789"/>
                    <a:pt x="11957" y="12694"/>
                    <a:pt x="11826" y="12694"/>
                  </a:cubicBezTo>
                  <a:close/>
                  <a:moveTo>
                    <a:pt x="12532" y="12694"/>
                  </a:moveTo>
                  <a:cubicBezTo>
                    <a:pt x="12401" y="12694"/>
                    <a:pt x="12294" y="12789"/>
                    <a:pt x="12294" y="12906"/>
                  </a:cubicBezTo>
                  <a:cubicBezTo>
                    <a:pt x="12294" y="13023"/>
                    <a:pt x="12401" y="13116"/>
                    <a:pt x="12532" y="13116"/>
                  </a:cubicBezTo>
                  <a:cubicBezTo>
                    <a:pt x="12663" y="13116"/>
                    <a:pt x="12768" y="13023"/>
                    <a:pt x="12768" y="12906"/>
                  </a:cubicBezTo>
                  <a:cubicBezTo>
                    <a:pt x="12768" y="12789"/>
                    <a:pt x="12663" y="12694"/>
                    <a:pt x="12532" y="12694"/>
                  </a:cubicBezTo>
                  <a:close/>
                  <a:moveTo>
                    <a:pt x="13168" y="12694"/>
                  </a:moveTo>
                  <a:cubicBezTo>
                    <a:pt x="13037" y="12694"/>
                    <a:pt x="12930" y="12789"/>
                    <a:pt x="12930" y="12906"/>
                  </a:cubicBezTo>
                  <a:cubicBezTo>
                    <a:pt x="12930" y="13023"/>
                    <a:pt x="13037" y="13116"/>
                    <a:pt x="13168" y="13116"/>
                  </a:cubicBezTo>
                  <a:cubicBezTo>
                    <a:pt x="13299" y="13116"/>
                    <a:pt x="13404" y="13023"/>
                    <a:pt x="13404" y="12906"/>
                  </a:cubicBezTo>
                  <a:cubicBezTo>
                    <a:pt x="13404" y="12789"/>
                    <a:pt x="13299" y="12694"/>
                    <a:pt x="13168" y="12694"/>
                  </a:cubicBezTo>
                  <a:close/>
                  <a:moveTo>
                    <a:pt x="13875" y="12694"/>
                  </a:moveTo>
                  <a:cubicBezTo>
                    <a:pt x="13743" y="12694"/>
                    <a:pt x="13636" y="12789"/>
                    <a:pt x="13636" y="12906"/>
                  </a:cubicBezTo>
                  <a:cubicBezTo>
                    <a:pt x="13636" y="13023"/>
                    <a:pt x="13743" y="13116"/>
                    <a:pt x="13875" y="13116"/>
                  </a:cubicBezTo>
                  <a:cubicBezTo>
                    <a:pt x="14005" y="13116"/>
                    <a:pt x="14111" y="13023"/>
                    <a:pt x="14111" y="12906"/>
                  </a:cubicBezTo>
                  <a:cubicBezTo>
                    <a:pt x="14111" y="12789"/>
                    <a:pt x="14005" y="12694"/>
                    <a:pt x="13875" y="12694"/>
                  </a:cubicBezTo>
                  <a:close/>
                  <a:moveTo>
                    <a:pt x="14581" y="12694"/>
                  </a:moveTo>
                  <a:cubicBezTo>
                    <a:pt x="14450" y="12694"/>
                    <a:pt x="14343" y="12789"/>
                    <a:pt x="14343" y="12906"/>
                  </a:cubicBezTo>
                  <a:cubicBezTo>
                    <a:pt x="14343" y="13023"/>
                    <a:pt x="14450" y="13116"/>
                    <a:pt x="14581" y="13116"/>
                  </a:cubicBezTo>
                  <a:cubicBezTo>
                    <a:pt x="14712" y="13116"/>
                    <a:pt x="14817" y="13023"/>
                    <a:pt x="14817" y="12906"/>
                  </a:cubicBezTo>
                  <a:cubicBezTo>
                    <a:pt x="14817" y="12789"/>
                    <a:pt x="14712" y="12694"/>
                    <a:pt x="14581" y="12694"/>
                  </a:cubicBezTo>
                  <a:close/>
                  <a:moveTo>
                    <a:pt x="15217" y="12694"/>
                  </a:moveTo>
                  <a:cubicBezTo>
                    <a:pt x="15086" y="12694"/>
                    <a:pt x="14978" y="12789"/>
                    <a:pt x="14978" y="12906"/>
                  </a:cubicBezTo>
                  <a:cubicBezTo>
                    <a:pt x="14978" y="13023"/>
                    <a:pt x="15086" y="13116"/>
                    <a:pt x="15217" y="13116"/>
                  </a:cubicBezTo>
                  <a:cubicBezTo>
                    <a:pt x="15348" y="13116"/>
                    <a:pt x="15453" y="13023"/>
                    <a:pt x="15453" y="12906"/>
                  </a:cubicBezTo>
                  <a:cubicBezTo>
                    <a:pt x="15453" y="12789"/>
                    <a:pt x="15348" y="12694"/>
                    <a:pt x="15217" y="12694"/>
                  </a:cubicBezTo>
                  <a:close/>
                  <a:moveTo>
                    <a:pt x="15923" y="12694"/>
                  </a:moveTo>
                  <a:cubicBezTo>
                    <a:pt x="15792" y="12694"/>
                    <a:pt x="15685" y="12789"/>
                    <a:pt x="15685" y="12906"/>
                  </a:cubicBezTo>
                  <a:cubicBezTo>
                    <a:pt x="15685" y="13023"/>
                    <a:pt x="15792" y="13116"/>
                    <a:pt x="15923" y="13116"/>
                  </a:cubicBezTo>
                  <a:cubicBezTo>
                    <a:pt x="16054" y="13116"/>
                    <a:pt x="16160" y="13023"/>
                    <a:pt x="16160" y="12906"/>
                  </a:cubicBezTo>
                  <a:cubicBezTo>
                    <a:pt x="16160" y="12789"/>
                    <a:pt x="16054" y="12694"/>
                    <a:pt x="15923" y="12694"/>
                  </a:cubicBezTo>
                  <a:close/>
                  <a:moveTo>
                    <a:pt x="16630" y="12694"/>
                  </a:moveTo>
                  <a:cubicBezTo>
                    <a:pt x="16499" y="12694"/>
                    <a:pt x="16392" y="12789"/>
                    <a:pt x="16392" y="12906"/>
                  </a:cubicBezTo>
                  <a:cubicBezTo>
                    <a:pt x="16392" y="13023"/>
                    <a:pt x="16499" y="13116"/>
                    <a:pt x="16630" y="13116"/>
                  </a:cubicBezTo>
                  <a:cubicBezTo>
                    <a:pt x="16761" y="13116"/>
                    <a:pt x="16866" y="13023"/>
                    <a:pt x="16866" y="12906"/>
                  </a:cubicBezTo>
                  <a:cubicBezTo>
                    <a:pt x="16866" y="12789"/>
                    <a:pt x="16761" y="12694"/>
                    <a:pt x="16630" y="12694"/>
                  </a:cubicBezTo>
                  <a:close/>
                  <a:moveTo>
                    <a:pt x="17266" y="12694"/>
                  </a:moveTo>
                  <a:cubicBezTo>
                    <a:pt x="17134" y="12694"/>
                    <a:pt x="17027" y="12789"/>
                    <a:pt x="17027" y="12906"/>
                  </a:cubicBezTo>
                  <a:cubicBezTo>
                    <a:pt x="17027" y="13023"/>
                    <a:pt x="17134" y="13116"/>
                    <a:pt x="17266" y="13116"/>
                  </a:cubicBezTo>
                  <a:cubicBezTo>
                    <a:pt x="17397" y="13116"/>
                    <a:pt x="17502" y="13023"/>
                    <a:pt x="17502" y="12906"/>
                  </a:cubicBezTo>
                  <a:cubicBezTo>
                    <a:pt x="17502" y="12789"/>
                    <a:pt x="17397" y="12694"/>
                    <a:pt x="17266" y="12694"/>
                  </a:cubicBezTo>
                  <a:close/>
                  <a:moveTo>
                    <a:pt x="9777" y="13323"/>
                  </a:moveTo>
                  <a:cubicBezTo>
                    <a:pt x="9646" y="13323"/>
                    <a:pt x="9538" y="13418"/>
                    <a:pt x="9538" y="13535"/>
                  </a:cubicBezTo>
                  <a:cubicBezTo>
                    <a:pt x="9538" y="13651"/>
                    <a:pt x="9646" y="13745"/>
                    <a:pt x="9777" y="13745"/>
                  </a:cubicBezTo>
                  <a:cubicBezTo>
                    <a:pt x="9908" y="13745"/>
                    <a:pt x="10013" y="13651"/>
                    <a:pt x="10013" y="13535"/>
                  </a:cubicBezTo>
                  <a:cubicBezTo>
                    <a:pt x="10013" y="13418"/>
                    <a:pt x="9908" y="13323"/>
                    <a:pt x="9777" y="13323"/>
                  </a:cubicBezTo>
                  <a:close/>
                  <a:moveTo>
                    <a:pt x="10483" y="13323"/>
                  </a:moveTo>
                  <a:cubicBezTo>
                    <a:pt x="10352" y="13323"/>
                    <a:pt x="10245" y="13418"/>
                    <a:pt x="10245" y="13535"/>
                  </a:cubicBezTo>
                  <a:cubicBezTo>
                    <a:pt x="10245" y="13651"/>
                    <a:pt x="10352" y="13745"/>
                    <a:pt x="10483" y="13745"/>
                  </a:cubicBezTo>
                  <a:cubicBezTo>
                    <a:pt x="10614" y="13745"/>
                    <a:pt x="10719" y="13651"/>
                    <a:pt x="10719" y="13535"/>
                  </a:cubicBezTo>
                  <a:cubicBezTo>
                    <a:pt x="10719" y="13418"/>
                    <a:pt x="10614" y="13323"/>
                    <a:pt x="10483" y="13323"/>
                  </a:cubicBezTo>
                  <a:close/>
                  <a:moveTo>
                    <a:pt x="11190" y="13323"/>
                  </a:moveTo>
                  <a:cubicBezTo>
                    <a:pt x="11059" y="13323"/>
                    <a:pt x="10951" y="13418"/>
                    <a:pt x="10951" y="13535"/>
                  </a:cubicBezTo>
                  <a:cubicBezTo>
                    <a:pt x="10951" y="13651"/>
                    <a:pt x="11059" y="13745"/>
                    <a:pt x="11190" y="13745"/>
                  </a:cubicBezTo>
                  <a:cubicBezTo>
                    <a:pt x="11321" y="13745"/>
                    <a:pt x="11426" y="13651"/>
                    <a:pt x="11426" y="13535"/>
                  </a:cubicBezTo>
                  <a:cubicBezTo>
                    <a:pt x="11426" y="13418"/>
                    <a:pt x="11321" y="13323"/>
                    <a:pt x="11190" y="13323"/>
                  </a:cubicBezTo>
                  <a:close/>
                  <a:moveTo>
                    <a:pt x="11826" y="13323"/>
                  </a:moveTo>
                  <a:cubicBezTo>
                    <a:pt x="11694" y="13323"/>
                    <a:pt x="11587" y="13418"/>
                    <a:pt x="11587" y="13535"/>
                  </a:cubicBezTo>
                  <a:cubicBezTo>
                    <a:pt x="11587" y="13651"/>
                    <a:pt x="11694" y="13745"/>
                    <a:pt x="11826" y="13745"/>
                  </a:cubicBezTo>
                  <a:cubicBezTo>
                    <a:pt x="11957" y="13745"/>
                    <a:pt x="12062" y="13651"/>
                    <a:pt x="12062" y="13535"/>
                  </a:cubicBezTo>
                  <a:cubicBezTo>
                    <a:pt x="12062" y="13418"/>
                    <a:pt x="11957" y="13323"/>
                    <a:pt x="11826" y="13323"/>
                  </a:cubicBezTo>
                  <a:close/>
                  <a:moveTo>
                    <a:pt x="12532" y="13323"/>
                  </a:moveTo>
                  <a:cubicBezTo>
                    <a:pt x="12401" y="13323"/>
                    <a:pt x="12294" y="13418"/>
                    <a:pt x="12294" y="13535"/>
                  </a:cubicBezTo>
                  <a:cubicBezTo>
                    <a:pt x="12294" y="13651"/>
                    <a:pt x="12401" y="13745"/>
                    <a:pt x="12532" y="13745"/>
                  </a:cubicBezTo>
                  <a:cubicBezTo>
                    <a:pt x="12663" y="13745"/>
                    <a:pt x="12768" y="13651"/>
                    <a:pt x="12768" y="13535"/>
                  </a:cubicBezTo>
                  <a:cubicBezTo>
                    <a:pt x="12768" y="13418"/>
                    <a:pt x="12663" y="13323"/>
                    <a:pt x="12532" y="13323"/>
                  </a:cubicBezTo>
                  <a:close/>
                  <a:moveTo>
                    <a:pt x="13168" y="13323"/>
                  </a:moveTo>
                  <a:cubicBezTo>
                    <a:pt x="13037" y="13323"/>
                    <a:pt x="12930" y="13418"/>
                    <a:pt x="12930" y="13535"/>
                  </a:cubicBezTo>
                  <a:cubicBezTo>
                    <a:pt x="12930" y="13651"/>
                    <a:pt x="13037" y="13745"/>
                    <a:pt x="13168" y="13745"/>
                  </a:cubicBezTo>
                  <a:cubicBezTo>
                    <a:pt x="13299" y="13745"/>
                    <a:pt x="13404" y="13651"/>
                    <a:pt x="13404" y="13535"/>
                  </a:cubicBezTo>
                  <a:cubicBezTo>
                    <a:pt x="13404" y="13418"/>
                    <a:pt x="13299" y="13323"/>
                    <a:pt x="13168" y="13323"/>
                  </a:cubicBezTo>
                  <a:close/>
                  <a:moveTo>
                    <a:pt x="13875" y="13323"/>
                  </a:moveTo>
                  <a:cubicBezTo>
                    <a:pt x="13743" y="13323"/>
                    <a:pt x="13636" y="13418"/>
                    <a:pt x="13636" y="13535"/>
                  </a:cubicBezTo>
                  <a:cubicBezTo>
                    <a:pt x="13636" y="13651"/>
                    <a:pt x="13743" y="13745"/>
                    <a:pt x="13875" y="13745"/>
                  </a:cubicBezTo>
                  <a:cubicBezTo>
                    <a:pt x="14005" y="13745"/>
                    <a:pt x="14111" y="13651"/>
                    <a:pt x="14111" y="13535"/>
                  </a:cubicBezTo>
                  <a:cubicBezTo>
                    <a:pt x="14111" y="13418"/>
                    <a:pt x="14005" y="13323"/>
                    <a:pt x="13875" y="13323"/>
                  </a:cubicBezTo>
                  <a:close/>
                  <a:moveTo>
                    <a:pt x="14581" y="13323"/>
                  </a:moveTo>
                  <a:cubicBezTo>
                    <a:pt x="14450" y="13323"/>
                    <a:pt x="14343" y="13418"/>
                    <a:pt x="14343" y="13535"/>
                  </a:cubicBezTo>
                  <a:cubicBezTo>
                    <a:pt x="14343" y="13651"/>
                    <a:pt x="14450" y="13745"/>
                    <a:pt x="14581" y="13745"/>
                  </a:cubicBezTo>
                  <a:cubicBezTo>
                    <a:pt x="14712" y="13745"/>
                    <a:pt x="14817" y="13651"/>
                    <a:pt x="14817" y="13535"/>
                  </a:cubicBezTo>
                  <a:cubicBezTo>
                    <a:pt x="14817" y="13418"/>
                    <a:pt x="14712" y="13323"/>
                    <a:pt x="14581" y="13323"/>
                  </a:cubicBezTo>
                  <a:close/>
                  <a:moveTo>
                    <a:pt x="15217" y="13323"/>
                  </a:moveTo>
                  <a:cubicBezTo>
                    <a:pt x="15086" y="13323"/>
                    <a:pt x="14978" y="13418"/>
                    <a:pt x="14978" y="13535"/>
                  </a:cubicBezTo>
                  <a:cubicBezTo>
                    <a:pt x="14978" y="13651"/>
                    <a:pt x="15086" y="13745"/>
                    <a:pt x="15217" y="13745"/>
                  </a:cubicBezTo>
                  <a:cubicBezTo>
                    <a:pt x="15348" y="13745"/>
                    <a:pt x="15453" y="13651"/>
                    <a:pt x="15453" y="13535"/>
                  </a:cubicBezTo>
                  <a:cubicBezTo>
                    <a:pt x="15453" y="13418"/>
                    <a:pt x="15348" y="13323"/>
                    <a:pt x="15217" y="13323"/>
                  </a:cubicBezTo>
                  <a:close/>
                  <a:moveTo>
                    <a:pt x="15923" y="13323"/>
                  </a:moveTo>
                  <a:cubicBezTo>
                    <a:pt x="15792" y="13323"/>
                    <a:pt x="15685" y="13418"/>
                    <a:pt x="15685" y="13535"/>
                  </a:cubicBezTo>
                  <a:cubicBezTo>
                    <a:pt x="15685" y="13651"/>
                    <a:pt x="15792" y="13745"/>
                    <a:pt x="15923" y="13745"/>
                  </a:cubicBezTo>
                  <a:cubicBezTo>
                    <a:pt x="16054" y="13745"/>
                    <a:pt x="16160" y="13651"/>
                    <a:pt x="16160" y="13535"/>
                  </a:cubicBezTo>
                  <a:cubicBezTo>
                    <a:pt x="16160" y="13418"/>
                    <a:pt x="16054" y="13323"/>
                    <a:pt x="15923" y="13323"/>
                  </a:cubicBezTo>
                  <a:close/>
                  <a:moveTo>
                    <a:pt x="16630" y="13323"/>
                  </a:moveTo>
                  <a:cubicBezTo>
                    <a:pt x="16499" y="13323"/>
                    <a:pt x="16392" y="13418"/>
                    <a:pt x="16392" y="13535"/>
                  </a:cubicBezTo>
                  <a:cubicBezTo>
                    <a:pt x="16392" y="13651"/>
                    <a:pt x="16499" y="13745"/>
                    <a:pt x="16630" y="13745"/>
                  </a:cubicBezTo>
                  <a:cubicBezTo>
                    <a:pt x="16761" y="13745"/>
                    <a:pt x="16866" y="13651"/>
                    <a:pt x="16866" y="13535"/>
                  </a:cubicBezTo>
                  <a:cubicBezTo>
                    <a:pt x="16866" y="13418"/>
                    <a:pt x="16761" y="13323"/>
                    <a:pt x="16630" y="13323"/>
                  </a:cubicBezTo>
                  <a:close/>
                  <a:moveTo>
                    <a:pt x="17266" y="13323"/>
                  </a:moveTo>
                  <a:cubicBezTo>
                    <a:pt x="17134" y="13323"/>
                    <a:pt x="17027" y="13418"/>
                    <a:pt x="17027" y="13535"/>
                  </a:cubicBezTo>
                  <a:cubicBezTo>
                    <a:pt x="17027" y="13651"/>
                    <a:pt x="17134" y="13745"/>
                    <a:pt x="17266" y="13745"/>
                  </a:cubicBezTo>
                  <a:cubicBezTo>
                    <a:pt x="17397" y="13745"/>
                    <a:pt x="17502" y="13651"/>
                    <a:pt x="17502" y="13535"/>
                  </a:cubicBezTo>
                  <a:cubicBezTo>
                    <a:pt x="17502" y="13418"/>
                    <a:pt x="17397" y="13323"/>
                    <a:pt x="17266" y="13323"/>
                  </a:cubicBezTo>
                  <a:close/>
                  <a:moveTo>
                    <a:pt x="9777" y="13951"/>
                  </a:moveTo>
                  <a:cubicBezTo>
                    <a:pt x="9646" y="13951"/>
                    <a:pt x="9538" y="14046"/>
                    <a:pt x="9538" y="14163"/>
                  </a:cubicBezTo>
                  <a:cubicBezTo>
                    <a:pt x="9538" y="14280"/>
                    <a:pt x="9646" y="14373"/>
                    <a:pt x="9777" y="14373"/>
                  </a:cubicBezTo>
                  <a:cubicBezTo>
                    <a:pt x="9908" y="14373"/>
                    <a:pt x="10013" y="14280"/>
                    <a:pt x="10013" y="14163"/>
                  </a:cubicBezTo>
                  <a:cubicBezTo>
                    <a:pt x="10013" y="14046"/>
                    <a:pt x="9908" y="13951"/>
                    <a:pt x="9777" y="13951"/>
                  </a:cubicBezTo>
                  <a:close/>
                  <a:moveTo>
                    <a:pt x="10483" y="13951"/>
                  </a:moveTo>
                  <a:cubicBezTo>
                    <a:pt x="10352" y="13951"/>
                    <a:pt x="10245" y="14046"/>
                    <a:pt x="10245" y="14163"/>
                  </a:cubicBezTo>
                  <a:cubicBezTo>
                    <a:pt x="10245" y="14280"/>
                    <a:pt x="10352" y="14373"/>
                    <a:pt x="10483" y="14373"/>
                  </a:cubicBezTo>
                  <a:cubicBezTo>
                    <a:pt x="10614" y="14373"/>
                    <a:pt x="10719" y="14280"/>
                    <a:pt x="10719" y="14163"/>
                  </a:cubicBezTo>
                  <a:cubicBezTo>
                    <a:pt x="10719" y="14046"/>
                    <a:pt x="10614" y="13951"/>
                    <a:pt x="10483" y="13951"/>
                  </a:cubicBezTo>
                  <a:close/>
                  <a:moveTo>
                    <a:pt x="11190" y="13951"/>
                  </a:moveTo>
                  <a:cubicBezTo>
                    <a:pt x="11059" y="13951"/>
                    <a:pt x="10951" y="14046"/>
                    <a:pt x="10951" y="14163"/>
                  </a:cubicBezTo>
                  <a:cubicBezTo>
                    <a:pt x="10951" y="14280"/>
                    <a:pt x="11059" y="14373"/>
                    <a:pt x="11190" y="14373"/>
                  </a:cubicBezTo>
                  <a:cubicBezTo>
                    <a:pt x="11321" y="14373"/>
                    <a:pt x="11426" y="14280"/>
                    <a:pt x="11426" y="14163"/>
                  </a:cubicBezTo>
                  <a:cubicBezTo>
                    <a:pt x="11426" y="14046"/>
                    <a:pt x="11321" y="13951"/>
                    <a:pt x="11190" y="13951"/>
                  </a:cubicBezTo>
                  <a:close/>
                  <a:moveTo>
                    <a:pt x="11826" y="13951"/>
                  </a:moveTo>
                  <a:cubicBezTo>
                    <a:pt x="11694" y="13951"/>
                    <a:pt x="11587" y="14046"/>
                    <a:pt x="11587" y="14163"/>
                  </a:cubicBezTo>
                  <a:cubicBezTo>
                    <a:pt x="11587" y="14280"/>
                    <a:pt x="11694" y="14373"/>
                    <a:pt x="11826" y="14373"/>
                  </a:cubicBezTo>
                  <a:cubicBezTo>
                    <a:pt x="11957" y="14373"/>
                    <a:pt x="12062" y="14280"/>
                    <a:pt x="12062" y="14163"/>
                  </a:cubicBezTo>
                  <a:cubicBezTo>
                    <a:pt x="12062" y="14046"/>
                    <a:pt x="11957" y="13951"/>
                    <a:pt x="11826" y="13951"/>
                  </a:cubicBezTo>
                  <a:close/>
                  <a:moveTo>
                    <a:pt x="12532" y="13951"/>
                  </a:moveTo>
                  <a:cubicBezTo>
                    <a:pt x="12401" y="13951"/>
                    <a:pt x="12294" y="14046"/>
                    <a:pt x="12294" y="14163"/>
                  </a:cubicBezTo>
                  <a:cubicBezTo>
                    <a:pt x="12294" y="14280"/>
                    <a:pt x="12401" y="14373"/>
                    <a:pt x="12532" y="14373"/>
                  </a:cubicBezTo>
                  <a:cubicBezTo>
                    <a:pt x="12663" y="14373"/>
                    <a:pt x="12768" y="14280"/>
                    <a:pt x="12768" y="14163"/>
                  </a:cubicBezTo>
                  <a:cubicBezTo>
                    <a:pt x="12768" y="14046"/>
                    <a:pt x="12663" y="13951"/>
                    <a:pt x="12532" y="13951"/>
                  </a:cubicBezTo>
                  <a:close/>
                  <a:moveTo>
                    <a:pt x="13168" y="13951"/>
                  </a:moveTo>
                  <a:cubicBezTo>
                    <a:pt x="13037" y="13951"/>
                    <a:pt x="12930" y="14046"/>
                    <a:pt x="12930" y="14163"/>
                  </a:cubicBezTo>
                  <a:cubicBezTo>
                    <a:pt x="12930" y="14280"/>
                    <a:pt x="13037" y="14373"/>
                    <a:pt x="13168" y="14373"/>
                  </a:cubicBezTo>
                  <a:cubicBezTo>
                    <a:pt x="13299" y="14373"/>
                    <a:pt x="13404" y="14280"/>
                    <a:pt x="13404" y="14163"/>
                  </a:cubicBezTo>
                  <a:cubicBezTo>
                    <a:pt x="13404" y="14046"/>
                    <a:pt x="13299" y="13951"/>
                    <a:pt x="13168" y="13951"/>
                  </a:cubicBezTo>
                  <a:close/>
                  <a:moveTo>
                    <a:pt x="13875" y="13951"/>
                  </a:moveTo>
                  <a:cubicBezTo>
                    <a:pt x="13743" y="13951"/>
                    <a:pt x="13636" y="14046"/>
                    <a:pt x="13636" y="14163"/>
                  </a:cubicBezTo>
                  <a:cubicBezTo>
                    <a:pt x="13636" y="14280"/>
                    <a:pt x="13743" y="14373"/>
                    <a:pt x="13875" y="14373"/>
                  </a:cubicBezTo>
                  <a:cubicBezTo>
                    <a:pt x="14005" y="14373"/>
                    <a:pt x="14111" y="14280"/>
                    <a:pt x="14111" y="14163"/>
                  </a:cubicBezTo>
                  <a:cubicBezTo>
                    <a:pt x="14111" y="14046"/>
                    <a:pt x="14005" y="13951"/>
                    <a:pt x="13875" y="13951"/>
                  </a:cubicBezTo>
                  <a:close/>
                  <a:moveTo>
                    <a:pt x="14581" y="13951"/>
                  </a:moveTo>
                  <a:cubicBezTo>
                    <a:pt x="14450" y="13951"/>
                    <a:pt x="14343" y="14046"/>
                    <a:pt x="14343" y="14163"/>
                  </a:cubicBezTo>
                  <a:cubicBezTo>
                    <a:pt x="14343" y="14280"/>
                    <a:pt x="14450" y="14373"/>
                    <a:pt x="14581" y="14373"/>
                  </a:cubicBezTo>
                  <a:cubicBezTo>
                    <a:pt x="14712" y="14373"/>
                    <a:pt x="14817" y="14280"/>
                    <a:pt x="14817" y="14163"/>
                  </a:cubicBezTo>
                  <a:cubicBezTo>
                    <a:pt x="14817" y="14046"/>
                    <a:pt x="14712" y="13951"/>
                    <a:pt x="14581" y="13951"/>
                  </a:cubicBezTo>
                  <a:close/>
                  <a:moveTo>
                    <a:pt x="15217" y="13951"/>
                  </a:moveTo>
                  <a:cubicBezTo>
                    <a:pt x="15086" y="13951"/>
                    <a:pt x="14978" y="14046"/>
                    <a:pt x="14978" y="14163"/>
                  </a:cubicBezTo>
                  <a:cubicBezTo>
                    <a:pt x="14978" y="14280"/>
                    <a:pt x="15086" y="14373"/>
                    <a:pt x="15217" y="14373"/>
                  </a:cubicBezTo>
                  <a:cubicBezTo>
                    <a:pt x="15348" y="14373"/>
                    <a:pt x="15453" y="14280"/>
                    <a:pt x="15453" y="14163"/>
                  </a:cubicBezTo>
                  <a:cubicBezTo>
                    <a:pt x="15453" y="14046"/>
                    <a:pt x="15348" y="13951"/>
                    <a:pt x="15217" y="13951"/>
                  </a:cubicBezTo>
                  <a:close/>
                  <a:moveTo>
                    <a:pt x="15923" y="13951"/>
                  </a:moveTo>
                  <a:cubicBezTo>
                    <a:pt x="15792" y="13951"/>
                    <a:pt x="15685" y="14046"/>
                    <a:pt x="15685" y="14163"/>
                  </a:cubicBezTo>
                  <a:cubicBezTo>
                    <a:pt x="15685" y="14280"/>
                    <a:pt x="15792" y="14373"/>
                    <a:pt x="15923" y="14373"/>
                  </a:cubicBezTo>
                  <a:cubicBezTo>
                    <a:pt x="16054" y="14373"/>
                    <a:pt x="16160" y="14280"/>
                    <a:pt x="16160" y="14163"/>
                  </a:cubicBezTo>
                  <a:cubicBezTo>
                    <a:pt x="16160" y="14046"/>
                    <a:pt x="16054" y="13951"/>
                    <a:pt x="15923" y="13951"/>
                  </a:cubicBezTo>
                  <a:close/>
                  <a:moveTo>
                    <a:pt x="16630" y="13951"/>
                  </a:moveTo>
                  <a:cubicBezTo>
                    <a:pt x="16499" y="13951"/>
                    <a:pt x="16392" y="14046"/>
                    <a:pt x="16392" y="14163"/>
                  </a:cubicBezTo>
                  <a:cubicBezTo>
                    <a:pt x="16392" y="14280"/>
                    <a:pt x="16499" y="14373"/>
                    <a:pt x="16630" y="14373"/>
                  </a:cubicBezTo>
                  <a:cubicBezTo>
                    <a:pt x="16761" y="14373"/>
                    <a:pt x="16866" y="14280"/>
                    <a:pt x="16866" y="14163"/>
                  </a:cubicBezTo>
                  <a:cubicBezTo>
                    <a:pt x="16866" y="14046"/>
                    <a:pt x="16761" y="13951"/>
                    <a:pt x="16630" y="13951"/>
                  </a:cubicBezTo>
                  <a:close/>
                  <a:moveTo>
                    <a:pt x="17266" y="13951"/>
                  </a:moveTo>
                  <a:cubicBezTo>
                    <a:pt x="17134" y="13951"/>
                    <a:pt x="17027" y="14046"/>
                    <a:pt x="17027" y="14163"/>
                  </a:cubicBezTo>
                  <a:cubicBezTo>
                    <a:pt x="17027" y="14280"/>
                    <a:pt x="17134" y="14373"/>
                    <a:pt x="17266" y="14373"/>
                  </a:cubicBezTo>
                  <a:cubicBezTo>
                    <a:pt x="17397" y="14373"/>
                    <a:pt x="17502" y="14280"/>
                    <a:pt x="17502" y="14163"/>
                  </a:cubicBezTo>
                  <a:cubicBezTo>
                    <a:pt x="17502" y="14046"/>
                    <a:pt x="17397" y="13951"/>
                    <a:pt x="17266" y="13951"/>
                  </a:cubicBezTo>
                  <a:close/>
                  <a:moveTo>
                    <a:pt x="17972" y="13951"/>
                  </a:moveTo>
                  <a:cubicBezTo>
                    <a:pt x="17841" y="13951"/>
                    <a:pt x="17734" y="14046"/>
                    <a:pt x="17734" y="14163"/>
                  </a:cubicBezTo>
                  <a:cubicBezTo>
                    <a:pt x="17734" y="14280"/>
                    <a:pt x="17841" y="14373"/>
                    <a:pt x="17972" y="14373"/>
                  </a:cubicBezTo>
                  <a:cubicBezTo>
                    <a:pt x="18104" y="14373"/>
                    <a:pt x="18209" y="14280"/>
                    <a:pt x="18209" y="14163"/>
                  </a:cubicBezTo>
                  <a:cubicBezTo>
                    <a:pt x="18209" y="14046"/>
                    <a:pt x="18104" y="13951"/>
                    <a:pt x="17972" y="13951"/>
                  </a:cubicBezTo>
                  <a:close/>
                  <a:moveTo>
                    <a:pt x="9777" y="14579"/>
                  </a:moveTo>
                  <a:cubicBezTo>
                    <a:pt x="9646" y="14579"/>
                    <a:pt x="9538" y="14674"/>
                    <a:pt x="9538" y="14791"/>
                  </a:cubicBezTo>
                  <a:cubicBezTo>
                    <a:pt x="9538" y="14908"/>
                    <a:pt x="9646" y="15004"/>
                    <a:pt x="9777" y="15004"/>
                  </a:cubicBezTo>
                  <a:cubicBezTo>
                    <a:pt x="9908" y="15004"/>
                    <a:pt x="10013" y="14908"/>
                    <a:pt x="10013" y="14791"/>
                  </a:cubicBezTo>
                  <a:cubicBezTo>
                    <a:pt x="10013" y="14674"/>
                    <a:pt x="9908" y="14579"/>
                    <a:pt x="9777" y="14579"/>
                  </a:cubicBezTo>
                  <a:close/>
                  <a:moveTo>
                    <a:pt x="10483" y="14579"/>
                  </a:moveTo>
                  <a:cubicBezTo>
                    <a:pt x="10352" y="14579"/>
                    <a:pt x="10245" y="14674"/>
                    <a:pt x="10245" y="14791"/>
                  </a:cubicBezTo>
                  <a:cubicBezTo>
                    <a:pt x="10245" y="14908"/>
                    <a:pt x="10352" y="15004"/>
                    <a:pt x="10483" y="15004"/>
                  </a:cubicBezTo>
                  <a:cubicBezTo>
                    <a:pt x="10614" y="15004"/>
                    <a:pt x="10719" y="14908"/>
                    <a:pt x="10719" y="14791"/>
                  </a:cubicBezTo>
                  <a:cubicBezTo>
                    <a:pt x="10719" y="14674"/>
                    <a:pt x="10614" y="14579"/>
                    <a:pt x="10483" y="14579"/>
                  </a:cubicBezTo>
                  <a:close/>
                  <a:moveTo>
                    <a:pt x="11190" y="14579"/>
                  </a:moveTo>
                  <a:cubicBezTo>
                    <a:pt x="11059" y="14579"/>
                    <a:pt x="10951" y="14674"/>
                    <a:pt x="10951" y="14791"/>
                  </a:cubicBezTo>
                  <a:cubicBezTo>
                    <a:pt x="10951" y="14908"/>
                    <a:pt x="11059" y="15004"/>
                    <a:pt x="11190" y="15004"/>
                  </a:cubicBezTo>
                  <a:cubicBezTo>
                    <a:pt x="11321" y="15004"/>
                    <a:pt x="11426" y="14908"/>
                    <a:pt x="11426" y="14791"/>
                  </a:cubicBezTo>
                  <a:cubicBezTo>
                    <a:pt x="11426" y="14674"/>
                    <a:pt x="11321" y="14579"/>
                    <a:pt x="11190" y="14579"/>
                  </a:cubicBezTo>
                  <a:close/>
                  <a:moveTo>
                    <a:pt x="11826" y="14579"/>
                  </a:moveTo>
                  <a:cubicBezTo>
                    <a:pt x="11694" y="14579"/>
                    <a:pt x="11587" y="14674"/>
                    <a:pt x="11587" y="14791"/>
                  </a:cubicBezTo>
                  <a:cubicBezTo>
                    <a:pt x="11587" y="14908"/>
                    <a:pt x="11694" y="15004"/>
                    <a:pt x="11826" y="15004"/>
                  </a:cubicBezTo>
                  <a:cubicBezTo>
                    <a:pt x="11957" y="15004"/>
                    <a:pt x="12062" y="14908"/>
                    <a:pt x="12062" y="14791"/>
                  </a:cubicBezTo>
                  <a:cubicBezTo>
                    <a:pt x="12062" y="14674"/>
                    <a:pt x="11957" y="14579"/>
                    <a:pt x="11826" y="14579"/>
                  </a:cubicBezTo>
                  <a:close/>
                  <a:moveTo>
                    <a:pt x="12532" y="14579"/>
                  </a:moveTo>
                  <a:cubicBezTo>
                    <a:pt x="12401" y="14579"/>
                    <a:pt x="12294" y="14674"/>
                    <a:pt x="12294" y="14791"/>
                  </a:cubicBezTo>
                  <a:cubicBezTo>
                    <a:pt x="12294" y="14908"/>
                    <a:pt x="12401" y="15004"/>
                    <a:pt x="12532" y="15004"/>
                  </a:cubicBezTo>
                  <a:cubicBezTo>
                    <a:pt x="12663" y="15004"/>
                    <a:pt x="12768" y="14908"/>
                    <a:pt x="12768" y="14791"/>
                  </a:cubicBezTo>
                  <a:cubicBezTo>
                    <a:pt x="12768" y="14674"/>
                    <a:pt x="12663" y="14579"/>
                    <a:pt x="12532" y="14579"/>
                  </a:cubicBezTo>
                  <a:close/>
                  <a:moveTo>
                    <a:pt x="13168" y="14579"/>
                  </a:moveTo>
                  <a:cubicBezTo>
                    <a:pt x="13037" y="14579"/>
                    <a:pt x="12930" y="14674"/>
                    <a:pt x="12930" y="14791"/>
                  </a:cubicBezTo>
                  <a:cubicBezTo>
                    <a:pt x="12930" y="14908"/>
                    <a:pt x="13037" y="15004"/>
                    <a:pt x="13168" y="15004"/>
                  </a:cubicBezTo>
                  <a:cubicBezTo>
                    <a:pt x="13299" y="15004"/>
                    <a:pt x="13404" y="14908"/>
                    <a:pt x="13404" y="14791"/>
                  </a:cubicBezTo>
                  <a:cubicBezTo>
                    <a:pt x="13404" y="14674"/>
                    <a:pt x="13299" y="14579"/>
                    <a:pt x="13168" y="14579"/>
                  </a:cubicBezTo>
                  <a:close/>
                  <a:moveTo>
                    <a:pt x="13875" y="14579"/>
                  </a:moveTo>
                  <a:cubicBezTo>
                    <a:pt x="13743" y="14579"/>
                    <a:pt x="13636" y="14674"/>
                    <a:pt x="13636" y="14791"/>
                  </a:cubicBezTo>
                  <a:cubicBezTo>
                    <a:pt x="13636" y="14908"/>
                    <a:pt x="13743" y="15004"/>
                    <a:pt x="13875" y="15004"/>
                  </a:cubicBezTo>
                  <a:cubicBezTo>
                    <a:pt x="14005" y="15004"/>
                    <a:pt x="14111" y="14908"/>
                    <a:pt x="14111" y="14791"/>
                  </a:cubicBezTo>
                  <a:cubicBezTo>
                    <a:pt x="14111" y="14674"/>
                    <a:pt x="14005" y="14579"/>
                    <a:pt x="13875" y="14579"/>
                  </a:cubicBezTo>
                  <a:close/>
                  <a:moveTo>
                    <a:pt x="14581" y="14579"/>
                  </a:moveTo>
                  <a:cubicBezTo>
                    <a:pt x="14450" y="14579"/>
                    <a:pt x="14343" y="14674"/>
                    <a:pt x="14343" y="14791"/>
                  </a:cubicBezTo>
                  <a:cubicBezTo>
                    <a:pt x="14343" y="14908"/>
                    <a:pt x="14450" y="15004"/>
                    <a:pt x="14581" y="15004"/>
                  </a:cubicBezTo>
                  <a:cubicBezTo>
                    <a:pt x="14712" y="15004"/>
                    <a:pt x="14817" y="14908"/>
                    <a:pt x="14817" y="14791"/>
                  </a:cubicBezTo>
                  <a:cubicBezTo>
                    <a:pt x="14817" y="14674"/>
                    <a:pt x="14712" y="14579"/>
                    <a:pt x="14581" y="14579"/>
                  </a:cubicBezTo>
                  <a:close/>
                  <a:moveTo>
                    <a:pt x="15217" y="14579"/>
                  </a:moveTo>
                  <a:cubicBezTo>
                    <a:pt x="15086" y="14579"/>
                    <a:pt x="14978" y="14674"/>
                    <a:pt x="14978" y="14791"/>
                  </a:cubicBezTo>
                  <a:cubicBezTo>
                    <a:pt x="14978" y="14908"/>
                    <a:pt x="15086" y="15004"/>
                    <a:pt x="15217" y="15004"/>
                  </a:cubicBezTo>
                  <a:cubicBezTo>
                    <a:pt x="15348" y="15004"/>
                    <a:pt x="15453" y="14908"/>
                    <a:pt x="15453" y="14791"/>
                  </a:cubicBezTo>
                  <a:cubicBezTo>
                    <a:pt x="15453" y="14674"/>
                    <a:pt x="15348" y="14579"/>
                    <a:pt x="15217" y="14579"/>
                  </a:cubicBezTo>
                  <a:close/>
                  <a:moveTo>
                    <a:pt x="15923" y="14579"/>
                  </a:moveTo>
                  <a:cubicBezTo>
                    <a:pt x="15792" y="14579"/>
                    <a:pt x="15685" y="14674"/>
                    <a:pt x="15685" y="14791"/>
                  </a:cubicBezTo>
                  <a:cubicBezTo>
                    <a:pt x="15685" y="14908"/>
                    <a:pt x="15792" y="15004"/>
                    <a:pt x="15923" y="15004"/>
                  </a:cubicBezTo>
                  <a:cubicBezTo>
                    <a:pt x="16054" y="15004"/>
                    <a:pt x="16160" y="14908"/>
                    <a:pt x="16160" y="14791"/>
                  </a:cubicBezTo>
                  <a:cubicBezTo>
                    <a:pt x="16160" y="14674"/>
                    <a:pt x="16054" y="14579"/>
                    <a:pt x="15923" y="14579"/>
                  </a:cubicBezTo>
                  <a:close/>
                  <a:moveTo>
                    <a:pt x="16630" y="14579"/>
                  </a:moveTo>
                  <a:cubicBezTo>
                    <a:pt x="16499" y="14579"/>
                    <a:pt x="16392" y="14674"/>
                    <a:pt x="16392" y="14791"/>
                  </a:cubicBezTo>
                  <a:cubicBezTo>
                    <a:pt x="16392" y="14908"/>
                    <a:pt x="16499" y="15004"/>
                    <a:pt x="16630" y="15004"/>
                  </a:cubicBezTo>
                  <a:cubicBezTo>
                    <a:pt x="16761" y="15004"/>
                    <a:pt x="16866" y="14908"/>
                    <a:pt x="16866" y="14791"/>
                  </a:cubicBezTo>
                  <a:cubicBezTo>
                    <a:pt x="16866" y="14674"/>
                    <a:pt x="16761" y="14579"/>
                    <a:pt x="16630" y="14579"/>
                  </a:cubicBezTo>
                  <a:close/>
                  <a:moveTo>
                    <a:pt x="17266" y="14579"/>
                  </a:moveTo>
                  <a:cubicBezTo>
                    <a:pt x="17134" y="14579"/>
                    <a:pt x="17027" y="14674"/>
                    <a:pt x="17027" y="14791"/>
                  </a:cubicBezTo>
                  <a:cubicBezTo>
                    <a:pt x="17027" y="14908"/>
                    <a:pt x="17134" y="15004"/>
                    <a:pt x="17266" y="15004"/>
                  </a:cubicBezTo>
                  <a:cubicBezTo>
                    <a:pt x="17397" y="15004"/>
                    <a:pt x="17502" y="14908"/>
                    <a:pt x="17502" y="14791"/>
                  </a:cubicBezTo>
                  <a:cubicBezTo>
                    <a:pt x="17502" y="14674"/>
                    <a:pt x="17397" y="14579"/>
                    <a:pt x="17266" y="14579"/>
                  </a:cubicBezTo>
                  <a:close/>
                  <a:moveTo>
                    <a:pt x="17972" y="14579"/>
                  </a:moveTo>
                  <a:cubicBezTo>
                    <a:pt x="17841" y="14579"/>
                    <a:pt x="17734" y="14674"/>
                    <a:pt x="17734" y="14791"/>
                  </a:cubicBezTo>
                  <a:cubicBezTo>
                    <a:pt x="17734" y="14908"/>
                    <a:pt x="17841" y="15004"/>
                    <a:pt x="17972" y="15004"/>
                  </a:cubicBezTo>
                  <a:cubicBezTo>
                    <a:pt x="18104" y="15004"/>
                    <a:pt x="18209" y="14908"/>
                    <a:pt x="18209" y="14791"/>
                  </a:cubicBezTo>
                  <a:cubicBezTo>
                    <a:pt x="18209" y="14674"/>
                    <a:pt x="18104" y="14579"/>
                    <a:pt x="17972" y="14579"/>
                  </a:cubicBezTo>
                  <a:close/>
                  <a:moveTo>
                    <a:pt x="9777" y="15145"/>
                  </a:moveTo>
                  <a:cubicBezTo>
                    <a:pt x="9646" y="15145"/>
                    <a:pt x="9538" y="15240"/>
                    <a:pt x="9538" y="15357"/>
                  </a:cubicBezTo>
                  <a:cubicBezTo>
                    <a:pt x="9538" y="15474"/>
                    <a:pt x="9646" y="15567"/>
                    <a:pt x="9777" y="15567"/>
                  </a:cubicBezTo>
                  <a:cubicBezTo>
                    <a:pt x="9908" y="15567"/>
                    <a:pt x="10013" y="15474"/>
                    <a:pt x="10013" y="15357"/>
                  </a:cubicBezTo>
                  <a:cubicBezTo>
                    <a:pt x="10013" y="15240"/>
                    <a:pt x="9908" y="15145"/>
                    <a:pt x="9777" y="15145"/>
                  </a:cubicBezTo>
                  <a:close/>
                  <a:moveTo>
                    <a:pt x="10483" y="15145"/>
                  </a:moveTo>
                  <a:cubicBezTo>
                    <a:pt x="10352" y="15145"/>
                    <a:pt x="10245" y="15240"/>
                    <a:pt x="10245" y="15357"/>
                  </a:cubicBezTo>
                  <a:cubicBezTo>
                    <a:pt x="10245" y="15474"/>
                    <a:pt x="10352" y="15567"/>
                    <a:pt x="10483" y="15567"/>
                  </a:cubicBezTo>
                  <a:cubicBezTo>
                    <a:pt x="10614" y="15567"/>
                    <a:pt x="10719" y="15474"/>
                    <a:pt x="10719" y="15357"/>
                  </a:cubicBezTo>
                  <a:cubicBezTo>
                    <a:pt x="10719" y="15240"/>
                    <a:pt x="10614" y="15145"/>
                    <a:pt x="10483" y="15145"/>
                  </a:cubicBezTo>
                  <a:close/>
                  <a:moveTo>
                    <a:pt x="11190" y="15145"/>
                  </a:moveTo>
                  <a:cubicBezTo>
                    <a:pt x="11059" y="15145"/>
                    <a:pt x="10951" y="15240"/>
                    <a:pt x="10951" y="15357"/>
                  </a:cubicBezTo>
                  <a:cubicBezTo>
                    <a:pt x="10951" y="15474"/>
                    <a:pt x="11059" y="15567"/>
                    <a:pt x="11190" y="15567"/>
                  </a:cubicBezTo>
                  <a:cubicBezTo>
                    <a:pt x="11321" y="15567"/>
                    <a:pt x="11426" y="15474"/>
                    <a:pt x="11426" y="15357"/>
                  </a:cubicBezTo>
                  <a:cubicBezTo>
                    <a:pt x="11426" y="15240"/>
                    <a:pt x="11321" y="15145"/>
                    <a:pt x="11190" y="15145"/>
                  </a:cubicBezTo>
                  <a:close/>
                  <a:moveTo>
                    <a:pt x="11826" y="15145"/>
                  </a:moveTo>
                  <a:cubicBezTo>
                    <a:pt x="11694" y="15145"/>
                    <a:pt x="11587" y="15240"/>
                    <a:pt x="11587" y="15357"/>
                  </a:cubicBezTo>
                  <a:cubicBezTo>
                    <a:pt x="11587" y="15474"/>
                    <a:pt x="11694" y="15567"/>
                    <a:pt x="11826" y="15567"/>
                  </a:cubicBezTo>
                  <a:cubicBezTo>
                    <a:pt x="11957" y="15567"/>
                    <a:pt x="12062" y="15474"/>
                    <a:pt x="12062" y="15357"/>
                  </a:cubicBezTo>
                  <a:cubicBezTo>
                    <a:pt x="12062" y="15240"/>
                    <a:pt x="11957" y="15145"/>
                    <a:pt x="11826" y="15145"/>
                  </a:cubicBezTo>
                  <a:close/>
                  <a:moveTo>
                    <a:pt x="12532" y="15145"/>
                  </a:moveTo>
                  <a:cubicBezTo>
                    <a:pt x="12401" y="15145"/>
                    <a:pt x="12294" y="15240"/>
                    <a:pt x="12294" y="15357"/>
                  </a:cubicBezTo>
                  <a:cubicBezTo>
                    <a:pt x="12294" y="15474"/>
                    <a:pt x="12401" y="15567"/>
                    <a:pt x="12532" y="15567"/>
                  </a:cubicBezTo>
                  <a:cubicBezTo>
                    <a:pt x="12663" y="15567"/>
                    <a:pt x="12768" y="15474"/>
                    <a:pt x="12768" y="15357"/>
                  </a:cubicBezTo>
                  <a:cubicBezTo>
                    <a:pt x="12768" y="15240"/>
                    <a:pt x="12663" y="15145"/>
                    <a:pt x="12532" y="15145"/>
                  </a:cubicBezTo>
                  <a:close/>
                  <a:moveTo>
                    <a:pt x="13168" y="15145"/>
                  </a:moveTo>
                  <a:cubicBezTo>
                    <a:pt x="13037" y="15145"/>
                    <a:pt x="12930" y="15240"/>
                    <a:pt x="12930" y="15357"/>
                  </a:cubicBezTo>
                  <a:cubicBezTo>
                    <a:pt x="12930" y="15474"/>
                    <a:pt x="13037" y="15567"/>
                    <a:pt x="13168" y="15567"/>
                  </a:cubicBezTo>
                  <a:cubicBezTo>
                    <a:pt x="13299" y="15567"/>
                    <a:pt x="13404" y="15474"/>
                    <a:pt x="13404" y="15357"/>
                  </a:cubicBezTo>
                  <a:cubicBezTo>
                    <a:pt x="13404" y="15240"/>
                    <a:pt x="13299" y="15145"/>
                    <a:pt x="13168" y="15145"/>
                  </a:cubicBezTo>
                  <a:close/>
                  <a:moveTo>
                    <a:pt x="13875" y="15145"/>
                  </a:moveTo>
                  <a:cubicBezTo>
                    <a:pt x="13743" y="15145"/>
                    <a:pt x="13636" y="15240"/>
                    <a:pt x="13636" y="15357"/>
                  </a:cubicBezTo>
                  <a:cubicBezTo>
                    <a:pt x="13636" y="15474"/>
                    <a:pt x="13743" y="15567"/>
                    <a:pt x="13875" y="15567"/>
                  </a:cubicBezTo>
                  <a:cubicBezTo>
                    <a:pt x="14005" y="15567"/>
                    <a:pt x="14111" y="15474"/>
                    <a:pt x="14111" y="15357"/>
                  </a:cubicBezTo>
                  <a:cubicBezTo>
                    <a:pt x="14111" y="15240"/>
                    <a:pt x="14005" y="15145"/>
                    <a:pt x="13875" y="15145"/>
                  </a:cubicBezTo>
                  <a:close/>
                  <a:moveTo>
                    <a:pt x="14581" y="15145"/>
                  </a:moveTo>
                  <a:cubicBezTo>
                    <a:pt x="14450" y="15145"/>
                    <a:pt x="14343" y="15240"/>
                    <a:pt x="14343" y="15357"/>
                  </a:cubicBezTo>
                  <a:cubicBezTo>
                    <a:pt x="14343" y="15474"/>
                    <a:pt x="14450" y="15567"/>
                    <a:pt x="14581" y="15567"/>
                  </a:cubicBezTo>
                  <a:cubicBezTo>
                    <a:pt x="14712" y="15567"/>
                    <a:pt x="14817" y="15474"/>
                    <a:pt x="14817" y="15357"/>
                  </a:cubicBezTo>
                  <a:cubicBezTo>
                    <a:pt x="14817" y="15240"/>
                    <a:pt x="14712" y="15145"/>
                    <a:pt x="14581" y="15145"/>
                  </a:cubicBezTo>
                  <a:close/>
                  <a:moveTo>
                    <a:pt x="15217" y="15145"/>
                  </a:moveTo>
                  <a:cubicBezTo>
                    <a:pt x="15086" y="15145"/>
                    <a:pt x="14978" y="15240"/>
                    <a:pt x="14978" y="15357"/>
                  </a:cubicBezTo>
                  <a:cubicBezTo>
                    <a:pt x="14978" y="15474"/>
                    <a:pt x="15086" y="15567"/>
                    <a:pt x="15217" y="15567"/>
                  </a:cubicBezTo>
                  <a:cubicBezTo>
                    <a:pt x="15348" y="15567"/>
                    <a:pt x="15453" y="15474"/>
                    <a:pt x="15453" y="15357"/>
                  </a:cubicBezTo>
                  <a:cubicBezTo>
                    <a:pt x="15453" y="15240"/>
                    <a:pt x="15348" y="15145"/>
                    <a:pt x="15217" y="15145"/>
                  </a:cubicBezTo>
                  <a:close/>
                  <a:moveTo>
                    <a:pt x="15923" y="15145"/>
                  </a:moveTo>
                  <a:cubicBezTo>
                    <a:pt x="15792" y="15145"/>
                    <a:pt x="15685" y="15240"/>
                    <a:pt x="15685" y="15357"/>
                  </a:cubicBezTo>
                  <a:cubicBezTo>
                    <a:pt x="15685" y="15474"/>
                    <a:pt x="15792" y="15567"/>
                    <a:pt x="15923" y="15567"/>
                  </a:cubicBezTo>
                  <a:cubicBezTo>
                    <a:pt x="16054" y="15567"/>
                    <a:pt x="16160" y="15474"/>
                    <a:pt x="16160" y="15357"/>
                  </a:cubicBezTo>
                  <a:cubicBezTo>
                    <a:pt x="16160" y="15240"/>
                    <a:pt x="16054" y="15145"/>
                    <a:pt x="15923" y="15145"/>
                  </a:cubicBezTo>
                  <a:close/>
                  <a:moveTo>
                    <a:pt x="16630" y="15145"/>
                  </a:moveTo>
                  <a:cubicBezTo>
                    <a:pt x="16499" y="15145"/>
                    <a:pt x="16392" y="15240"/>
                    <a:pt x="16392" y="15357"/>
                  </a:cubicBezTo>
                  <a:cubicBezTo>
                    <a:pt x="16392" y="15474"/>
                    <a:pt x="16499" y="15567"/>
                    <a:pt x="16630" y="15567"/>
                  </a:cubicBezTo>
                  <a:cubicBezTo>
                    <a:pt x="16761" y="15567"/>
                    <a:pt x="16866" y="15474"/>
                    <a:pt x="16866" y="15357"/>
                  </a:cubicBezTo>
                  <a:cubicBezTo>
                    <a:pt x="16866" y="15240"/>
                    <a:pt x="16761" y="15145"/>
                    <a:pt x="16630" y="15145"/>
                  </a:cubicBezTo>
                  <a:close/>
                  <a:moveTo>
                    <a:pt x="17266" y="15145"/>
                  </a:moveTo>
                  <a:cubicBezTo>
                    <a:pt x="17134" y="15145"/>
                    <a:pt x="17027" y="15240"/>
                    <a:pt x="17027" y="15357"/>
                  </a:cubicBezTo>
                  <a:cubicBezTo>
                    <a:pt x="17027" y="15474"/>
                    <a:pt x="17134" y="15567"/>
                    <a:pt x="17266" y="15567"/>
                  </a:cubicBezTo>
                  <a:cubicBezTo>
                    <a:pt x="17397" y="15567"/>
                    <a:pt x="17502" y="15474"/>
                    <a:pt x="17502" y="15357"/>
                  </a:cubicBezTo>
                  <a:cubicBezTo>
                    <a:pt x="17502" y="15240"/>
                    <a:pt x="17397" y="15145"/>
                    <a:pt x="17266" y="15145"/>
                  </a:cubicBezTo>
                  <a:close/>
                  <a:moveTo>
                    <a:pt x="17972" y="15145"/>
                  </a:moveTo>
                  <a:cubicBezTo>
                    <a:pt x="17841" y="15145"/>
                    <a:pt x="17734" y="15240"/>
                    <a:pt x="17734" y="15357"/>
                  </a:cubicBezTo>
                  <a:cubicBezTo>
                    <a:pt x="17734" y="15474"/>
                    <a:pt x="17841" y="15567"/>
                    <a:pt x="17972" y="15567"/>
                  </a:cubicBezTo>
                  <a:cubicBezTo>
                    <a:pt x="18104" y="15567"/>
                    <a:pt x="18209" y="15474"/>
                    <a:pt x="18209" y="15357"/>
                  </a:cubicBezTo>
                  <a:cubicBezTo>
                    <a:pt x="18209" y="15240"/>
                    <a:pt x="18104" y="15145"/>
                    <a:pt x="17972" y="15145"/>
                  </a:cubicBezTo>
                  <a:close/>
                  <a:moveTo>
                    <a:pt x="20657" y="15145"/>
                  </a:moveTo>
                  <a:cubicBezTo>
                    <a:pt x="20526" y="15145"/>
                    <a:pt x="20419" y="15240"/>
                    <a:pt x="20419" y="15357"/>
                  </a:cubicBezTo>
                  <a:cubicBezTo>
                    <a:pt x="20419" y="15474"/>
                    <a:pt x="20526" y="15567"/>
                    <a:pt x="20657" y="15567"/>
                  </a:cubicBezTo>
                  <a:cubicBezTo>
                    <a:pt x="20789" y="15567"/>
                    <a:pt x="20893" y="15474"/>
                    <a:pt x="20893" y="15357"/>
                  </a:cubicBezTo>
                  <a:cubicBezTo>
                    <a:pt x="20893" y="15240"/>
                    <a:pt x="20789" y="15145"/>
                    <a:pt x="20657" y="15145"/>
                  </a:cubicBezTo>
                  <a:close/>
                  <a:moveTo>
                    <a:pt x="9141" y="15711"/>
                  </a:moveTo>
                  <a:cubicBezTo>
                    <a:pt x="9010" y="15711"/>
                    <a:pt x="8902" y="15806"/>
                    <a:pt x="8902" y="15923"/>
                  </a:cubicBezTo>
                  <a:cubicBezTo>
                    <a:pt x="8902" y="16039"/>
                    <a:pt x="9010" y="16133"/>
                    <a:pt x="9141" y="16133"/>
                  </a:cubicBezTo>
                  <a:cubicBezTo>
                    <a:pt x="9272" y="16133"/>
                    <a:pt x="9377" y="16039"/>
                    <a:pt x="9377" y="15923"/>
                  </a:cubicBezTo>
                  <a:cubicBezTo>
                    <a:pt x="9377" y="15806"/>
                    <a:pt x="9272" y="15711"/>
                    <a:pt x="9141" y="15711"/>
                  </a:cubicBezTo>
                  <a:close/>
                  <a:moveTo>
                    <a:pt x="9777" y="15711"/>
                  </a:moveTo>
                  <a:cubicBezTo>
                    <a:pt x="9646" y="15711"/>
                    <a:pt x="9538" y="15806"/>
                    <a:pt x="9538" y="15923"/>
                  </a:cubicBezTo>
                  <a:cubicBezTo>
                    <a:pt x="9538" y="16039"/>
                    <a:pt x="9646" y="16133"/>
                    <a:pt x="9777" y="16133"/>
                  </a:cubicBezTo>
                  <a:cubicBezTo>
                    <a:pt x="9908" y="16133"/>
                    <a:pt x="10013" y="16039"/>
                    <a:pt x="10013" y="15923"/>
                  </a:cubicBezTo>
                  <a:cubicBezTo>
                    <a:pt x="10013" y="15806"/>
                    <a:pt x="9908" y="15711"/>
                    <a:pt x="9777" y="15711"/>
                  </a:cubicBezTo>
                  <a:close/>
                  <a:moveTo>
                    <a:pt x="10483" y="15711"/>
                  </a:moveTo>
                  <a:cubicBezTo>
                    <a:pt x="10352" y="15711"/>
                    <a:pt x="10245" y="15806"/>
                    <a:pt x="10245" y="15923"/>
                  </a:cubicBezTo>
                  <a:cubicBezTo>
                    <a:pt x="10245" y="16039"/>
                    <a:pt x="10352" y="16133"/>
                    <a:pt x="10483" y="16133"/>
                  </a:cubicBezTo>
                  <a:cubicBezTo>
                    <a:pt x="10614" y="16133"/>
                    <a:pt x="10719" y="16039"/>
                    <a:pt x="10719" y="15923"/>
                  </a:cubicBezTo>
                  <a:cubicBezTo>
                    <a:pt x="10719" y="15806"/>
                    <a:pt x="10614" y="15711"/>
                    <a:pt x="10483" y="15711"/>
                  </a:cubicBezTo>
                  <a:close/>
                  <a:moveTo>
                    <a:pt x="11190" y="15711"/>
                  </a:moveTo>
                  <a:cubicBezTo>
                    <a:pt x="11059" y="15711"/>
                    <a:pt x="10951" y="15806"/>
                    <a:pt x="10951" y="15923"/>
                  </a:cubicBezTo>
                  <a:cubicBezTo>
                    <a:pt x="10951" y="16039"/>
                    <a:pt x="11059" y="16133"/>
                    <a:pt x="11190" y="16133"/>
                  </a:cubicBezTo>
                  <a:cubicBezTo>
                    <a:pt x="11321" y="16133"/>
                    <a:pt x="11426" y="16039"/>
                    <a:pt x="11426" y="15923"/>
                  </a:cubicBezTo>
                  <a:cubicBezTo>
                    <a:pt x="11426" y="15806"/>
                    <a:pt x="11321" y="15711"/>
                    <a:pt x="11190" y="15711"/>
                  </a:cubicBezTo>
                  <a:close/>
                  <a:moveTo>
                    <a:pt x="11826" y="15711"/>
                  </a:moveTo>
                  <a:cubicBezTo>
                    <a:pt x="11694" y="15711"/>
                    <a:pt x="11587" y="15806"/>
                    <a:pt x="11587" y="15923"/>
                  </a:cubicBezTo>
                  <a:cubicBezTo>
                    <a:pt x="11587" y="16039"/>
                    <a:pt x="11694" y="16133"/>
                    <a:pt x="11826" y="16133"/>
                  </a:cubicBezTo>
                  <a:cubicBezTo>
                    <a:pt x="11957" y="16133"/>
                    <a:pt x="12062" y="16039"/>
                    <a:pt x="12062" y="15923"/>
                  </a:cubicBezTo>
                  <a:cubicBezTo>
                    <a:pt x="12062" y="15806"/>
                    <a:pt x="11957" y="15711"/>
                    <a:pt x="11826" y="15711"/>
                  </a:cubicBezTo>
                  <a:close/>
                  <a:moveTo>
                    <a:pt x="12532" y="15711"/>
                  </a:moveTo>
                  <a:cubicBezTo>
                    <a:pt x="12401" y="15711"/>
                    <a:pt x="12294" y="15806"/>
                    <a:pt x="12294" y="15923"/>
                  </a:cubicBezTo>
                  <a:cubicBezTo>
                    <a:pt x="12294" y="16039"/>
                    <a:pt x="12401" y="16133"/>
                    <a:pt x="12532" y="16133"/>
                  </a:cubicBezTo>
                  <a:cubicBezTo>
                    <a:pt x="12663" y="16133"/>
                    <a:pt x="12768" y="16039"/>
                    <a:pt x="12768" y="15923"/>
                  </a:cubicBezTo>
                  <a:cubicBezTo>
                    <a:pt x="12768" y="15806"/>
                    <a:pt x="12663" y="15711"/>
                    <a:pt x="12532" y="15711"/>
                  </a:cubicBezTo>
                  <a:close/>
                  <a:moveTo>
                    <a:pt x="13168" y="15711"/>
                  </a:moveTo>
                  <a:cubicBezTo>
                    <a:pt x="13037" y="15711"/>
                    <a:pt x="12930" y="15806"/>
                    <a:pt x="12930" y="15923"/>
                  </a:cubicBezTo>
                  <a:cubicBezTo>
                    <a:pt x="12930" y="16039"/>
                    <a:pt x="13037" y="16133"/>
                    <a:pt x="13168" y="16133"/>
                  </a:cubicBezTo>
                  <a:cubicBezTo>
                    <a:pt x="13299" y="16133"/>
                    <a:pt x="13404" y="16039"/>
                    <a:pt x="13404" y="15923"/>
                  </a:cubicBezTo>
                  <a:cubicBezTo>
                    <a:pt x="13404" y="15806"/>
                    <a:pt x="13299" y="15711"/>
                    <a:pt x="13168" y="15711"/>
                  </a:cubicBezTo>
                  <a:close/>
                  <a:moveTo>
                    <a:pt x="13875" y="15711"/>
                  </a:moveTo>
                  <a:cubicBezTo>
                    <a:pt x="13743" y="15711"/>
                    <a:pt x="13636" y="15806"/>
                    <a:pt x="13636" y="15923"/>
                  </a:cubicBezTo>
                  <a:cubicBezTo>
                    <a:pt x="13636" y="16039"/>
                    <a:pt x="13743" y="16133"/>
                    <a:pt x="13875" y="16133"/>
                  </a:cubicBezTo>
                  <a:cubicBezTo>
                    <a:pt x="14005" y="16133"/>
                    <a:pt x="14111" y="16039"/>
                    <a:pt x="14111" y="15923"/>
                  </a:cubicBezTo>
                  <a:cubicBezTo>
                    <a:pt x="14111" y="15806"/>
                    <a:pt x="14005" y="15711"/>
                    <a:pt x="13875" y="15711"/>
                  </a:cubicBezTo>
                  <a:close/>
                  <a:moveTo>
                    <a:pt x="14581" y="15711"/>
                  </a:moveTo>
                  <a:cubicBezTo>
                    <a:pt x="14450" y="15711"/>
                    <a:pt x="14343" y="15806"/>
                    <a:pt x="14343" y="15923"/>
                  </a:cubicBezTo>
                  <a:cubicBezTo>
                    <a:pt x="14343" y="16039"/>
                    <a:pt x="14450" y="16133"/>
                    <a:pt x="14581" y="16133"/>
                  </a:cubicBezTo>
                  <a:cubicBezTo>
                    <a:pt x="14712" y="16133"/>
                    <a:pt x="14817" y="16039"/>
                    <a:pt x="14817" y="15923"/>
                  </a:cubicBezTo>
                  <a:cubicBezTo>
                    <a:pt x="14817" y="15806"/>
                    <a:pt x="14712" y="15711"/>
                    <a:pt x="14581" y="15711"/>
                  </a:cubicBezTo>
                  <a:close/>
                  <a:moveTo>
                    <a:pt x="15217" y="15711"/>
                  </a:moveTo>
                  <a:cubicBezTo>
                    <a:pt x="15086" y="15711"/>
                    <a:pt x="14978" y="15806"/>
                    <a:pt x="14978" y="15923"/>
                  </a:cubicBezTo>
                  <a:cubicBezTo>
                    <a:pt x="14978" y="16039"/>
                    <a:pt x="15086" y="16133"/>
                    <a:pt x="15217" y="16133"/>
                  </a:cubicBezTo>
                  <a:cubicBezTo>
                    <a:pt x="15348" y="16133"/>
                    <a:pt x="15453" y="16039"/>
                    <a:pt x="15453" y="15923"/>
                  </a:cubicBezTo>
                  <a:cubicBezTo>
                    <a:pt x="15453" y="15806"/>
                    <a:pt x="15348" y="15711"/>
                    <a:pt x="15217" y="15711"/>
                  </a:cubicBezTo>
                  <a:close/>
                  <a:moveTo>
                    <a:pt x="15923" y="15711"/>
                  </a:moveTo>
                  <a:cubicBezTo>
                    <a:pt x="15792" y="15711"/>
                    <a:pt x="15685" y="15806"/>
                    <a:pt x="15685" y="15923"/>
                  </a:cubicBezTo>
                  <a:cubicBezTo>
                    <a:pt x="15685" y="16039"/>
                    <a:pt x="15792" y="16133"/>
                    <a:pt x="15923" y="16133"/>
                  </a:cubicBezTo>
                  <a:cubicBezTo>
                    <a:pt x="16054" y="16133"/>
                    <a:pt x="16160" y="16039"/>
                    <a:pt x="16160" y="15923"/>
                  </a:cubicBezTo>
                  <a:cubicBezTo>
                    <a:pt x="16160" y="15806"/>
                    <a:pt x="16054" y="15711"/>
                    <a:pt x="15923" y="15711"/>
                  </a:cubicBezTo>
                  <a:close/>
                  <a:moveTo>
                    <a:pt x="16630" y="15711"/>
                  </a:moveTo>
                  <a:cubicBezTo>
                    <a:pt x="16499" y="15711"/>
                    <a:pt x="16392" y="15806"/>
                    <a:pt x="16392" y="15923"/>
                  </a:cubicBezTo>
                  <a:cubicBezTo>
                    <a:pt x="16392" y="16039"/>
                    <a:pt x="16499" y="16133"/>
                    <a:pt x="16630" y="16133"/>
                  </a:cubicBezTo>
                  <a:cubicBezTo>
                    <a:pt x="16761" y="16133"/>
                    <a:pt x="16866" y="16039"/>
                    <a:pt x="16866" y="15923"/>
                  </a:cubicBezTo>
                  <a:cubicBezTo>
                    <a:pt x="16866" y="15806"/>
                    <a:pt x="16761" y="15711"/>
                    <a:pt x="16630" y="15711"/>
                  </a:cubicBezTo>
                  <a:close/>
                  <a:moveTo>
                    <a:pt x="17266" y="15711"/>
                  </a:moveTo>
                  <a:cubicBezTo>
                    <a:pt x="17134" y="15711"/>
                    <a:pt x="17027" y="15806"/>
                    <a:pt x="17027" y="15923"/>
                  </a:cubicBezTo>
                  <a:cubicBezTo>
                    <a:pt x="17027" y="16039"/>
                    <a:pt x="17134" y="16133"/>
                    <a:pt x="17266" y="16133"/>
                  </a:cubicBezTo>
                  <a:cubicBezTo>
                    <a:pt x="17397" y="16133"/>
                    <a:pt x="17502" y="16039"/>
                    <a:pt x="17502" y="15923"/>
                  </a:cubicBezTo>
                  <a:cubicBezTo>
                    <a:pt x="17502" y="15806"/>
                    <a:pt x="17397" y="15711"/>
                    <a:pt x="17266" y="15711"/>
                  </a:cubicBezTo>
                  <a:close/>
                  <a:moveTo>
                    <a:pt x="17972" y="15711"/>
                  </a:moveTo>
                  <a:cubicBezTo>
                    <a:pt x="17841" y="15711"/>
                    <a:pt x="17734" y="15806"/>
                    <a:pt x="17734" y="15923"/>
                  </a:cubicBezTo>
                  <a:cubicBezTo>
                    <a:pt x="17734" y="16039"/>
                    <a:pt x="17841" y="16133"/>
                    <a:pt x="17972" y="16133"/>
                  </a:cubicBezTo>
                  <a:cubicBezTo>
                    <a:pt x="18104" y="16133"/>
                    <a:pt x="18209" y="16039"/>
                    <a:pt x="18209" y="15923"/>
                  </a:cubicBezTo>
                  <a:cubicBezTo>
                    <a:pt x="18209" y="15806"/>
                    <a:pt x="18104" y="15711"/>
                    <a:pt x="17972" y="15711"/>
                  </a:cubicBezTo>
                  <a:close/>
                  <a:moveTo>
                    <a:pt x="20021" y="15711"/>
                  </a:moveTo>
                  <a:cubicBezTo>
                    <a:pt x="19890" y="15711"/>
                    <a:pt x="19783" y="15806"/>
                    <a:pt x="19783" y="15923"/>
                  </a:cubicBezTo>
                  <a:cubicBezTo>
                    <a:pt x="19783" y="16039"/>
                    <a:pt x="19890" y="16133"/>
                    <a:pt x="20021" y="16133"/>
                  </a:cubicBezTo>
                  <a:cubicBezTo>
                    <a:pt x="20152" y="16133"/>
                    <a:pt x="20258" y="16039"/>
                    <a:pt x="20258" y="15923"/>
                  </a:cubicBezTo>
                  <a:cubicBezTo>
                    <a:pt x="20258" y="15806"/>
                    <a:pt x="20152" y="15711"/>
                    <a:pt x="20021" y="15711"/>
                  </a:cubicBezTo>
                  <a:close/>
                  <a:moveTo>
                    <a:pt x="20657" y="15711"/>
                  </a:moveTo>
                  <a:cubicBezTo>
                    <a:pt x="20526" y="15711"/>
                    <a:pt x="20419" y="15806"/>
                    <a:pt x="20419" y="15923"/>
                  </a:cubicBezTo>
                  <a:cubicBezTo>
                    <a:pt x="20419" y="16039"/>
                    <a:pt x="20526" y="16133"/>
                    <a:pt x="20657" y="16133"/>
                  </a:cubicBezTo>
                  <a:cubicBezTo>
                    <a:pt x="20789" y="16133"/>
                    <a:pt x="20893" y="16039"/>
                    <a:pt x="20893" y="15923"/>
                  </a:cubicBezTo>
                  <a:cubicBezTo>
                    <a:pt x="20893" y="15806"/>
                    <a:pt x="20789" y="15711"/>
                    <a:pt x="20657" y="15711"/>
                  </a:cubicBezTo>
                  <a:close/>
                  <a:moveTo>
                    <a:pt x="9777" y="16339"/>
                  </a:moveTo>
                  <a:cubicBezTo>
                    <a:pt x="9646" y="16339"/>
                    <a:pt x="9538" y="16434"/>
                    <a:pt x="9538" y="16551"/>
                  </a:cubicBezTo>
                  <a:cubicBezTo>
                    <a:pt x="9538" y="16668"/>
                    <a:pt x="9646" y="16763"/>
                    <a:pt x="9777" y="16763"/>
                  </a:cubicBezTo>
                  <a:cubicBezTo>
                    <a:pt x="9908" y="16763"/>
                    <a:pt x="10013" y="16668"/>
                    <a:pt x="10013" y="16551"/>
                  </a:cubicBezTo>
                  <a:cubicBezTo>
                    <a:pt x="10013" y="16434"/>
                    <a:pt x="9908" y="16339"/>
                    <a:pt x="9777" y="16339"/>
                  </a:cubicBezTo>
                  <a:close/>
                  <a:moveTo>
                    <a:pt x="10483" y="16339"/>
                  </a:moveTo>
                  <a:cubicBezTo>
                    <a:pt x="10352" y="16339"/>
                    <a:pt x="10245" y="16434"/>
                    <a:pt x="10245" y="16551"/>
                  </a:cubicBezTo>
                  <a:cubicBezTo>
                    <a:pt x="10245" y="16668"/>
                    <a:pt x="10352" y="16763"/>
                    <a:pt x="10483" y="16763"/>
                  </a:cubicBezTo>
                  <a:cubicBezTo>
                    <a:pt x="10614" y="16763"/>
                    <a:pt x="10719" y="16668"/>
                    <a:pt x="10719" y="16551"/>
                  </a:cubicBezTo>
                  <a:cubicBezTo>
                    <a:pt x="10719" y="16434"/>
                    <a:pt x="10614" y="16339"/>
                    <a:pt x="10483" y="16339"/>
                  </a:cubicBezTo>
                  <a:close/>
                  <a:moveTo>
                    <a:pt x="11190" y="16339"/>
                  </a:moveTo>
                  <a:cubicBezTo>
                    <a:pt x="11059" y="16339"/>
                    <a:pt x="10951" y="16434"/>
                    <a:pt x="10951" y="16551"/>
                  </a:cubicBezTo>
                  <a:cubicBezTo>
                    <a:pt x="10951" y="16668"/>
                    <a:pt x="11059" y="16763"/>
                    <a:pt x="11190" y="16763"/>
                  </a:cubicBezTo>
                  <a:cubicBezTo>
                    <a:pt x="11321" y="16763"/>
                    <a:pt x="11426" y="16668"/>
                    <a:pt x="11426" y="16551"/>
                  </a:cubicBezTo>
                  <a:cubicBezTo>
                    <a:pt x="11426" y="16434"/>
                    <a:pt x="11321" y="16339"/>
                    <a:pt x="11190" y="16339"/>
                  </a:cubicBezTo>
                  <a:close/>
                  <a:moveTo>
                    <a:pt x="11826" y="16339"/>
                  </a:moveTo>
                  <a:cubicBezTo>
                    <a:pt x="11694" y="16339"/>
                    <a:pt x="11587" y="16434"/>
                    <a:pt x="11587" y="16551"/>
                  </a:cubicBezTo>
                  <a:cubicBezTo>
                    <a:pt x="11587" y="16668"/>
                    <a:pt x="11694" y="16763"/>
                    <a:pt x="11826" y="16763"/>
                  </a:cubicBezTo>
                  <a:cubicBezTo>
                    <a:pt x="11957" y="16763"/>
                    <a:pt x="12062" y="16668"/>
                    <a:pt x="12062" y="16551"/>
                  </a:cubicBezTo>
                  <a:cubicBezTo>
                    <a:pt x="12062" y="16434"/>
                    <a:pt x="11957" y="16339"/>
                    <a:pt x="11826" y="16339"/>
                  </a:cubicBezTo>
                  <a:close/>
                  <a:moveTo>
                    <a:pt x="12532" y="16339"/>
                  </a:moveTo>
                  <a:cubicBezTo>
                    <a:pt x="12401" y="16339"/>
                    <a:pt x="12294" y="16434"/>
                    <a:pt x="12294" y="16551"/>
                  </a:cubicBezTo>
                  <a:cubicBezTo>
                    <a:pt x="12294" y="16668"/>
                    <a:pt x="12401" y="16763"/>
                    <a:pt x="12532" y="16763"/>
                  </a:cubicBezTo>
                  <a:cubicBezTo>
                    <a:pt x="12663" y="16763"/>
                    <a:pt x="12768" y="16668"/>
                    <a:pt x="12768" y="16551"/>
                  </a:cubicBezTo>
                  <a:cubicBezTo>
                    <a:pt x="12768" y="16434"/>
                    <a:pt x="12663" y="16339"/>
                    <a:pt x="12532" y="16339"/>
                  </a:cubicBezTo>
                  <a:close/>
                  <a:moveTo>
                    <a:pt x="13168" y="16339"/>
                  </a:moveTo>
                  <a:cubicBezTo>
                    <a:pt x="13037" y="16339"/>
                    <a:pt x="12930" y="16434"/>
                    <a:pt x="12930" y="16551"/>
                  </a:cubicBezTo>
                  <a:cubicBezTo>
                    <a:pt x="12930" y="16668"/>
                    <a:pt x="13037" y="16763"/>
                    <a:pt x="13168" y="16763"/>
                  </a:cubicBezTo>
                  <a:cubicBezTo>
                    <a:pt x="13299" y="16763"/>
                    <a:pt x="13404" y="16668"/>
                    <a:pt x="13404" y="16551"/>
                  </a:cubicBezTo>
                  <a:cubicBezTo>
                    <a:pt x="13404" y="16434"/>
                    <a:pt x="13299" y="16339"/>
                    <a:pt x="13168" y="16339"/>
                  </a:cubicBezTo>
                  <a:close/>
                  <a:moveTo>
                    <a:pt x="13875" y="16339"/>
                  </a:moveTo>
                  <a:cubicBezTo>
                    <a:pt x="13743" y="16339"/>
                    <a:pt x="13636" y="16434"/>
                    <a:pt x="13636" y="16551"/>
                  </a:cubicBezTo>
                  <a:cubicBezTo>
                    <a:pt x="13636" y="16668"/>
                    <a:pt x="13743" y="16763"/>
                    <a:pt x="13875" y="16763"/>
                  </a:cubicBezTo>
                  <a:cubicBezTo>
                    <a:pt x="14005" y="16763"/>
                    <a:pt x="14111" y="16668"/>
                    <a:pt x="14111" y="16551"/>
                  </a:cubicBezTo>
                  <a:cubicBezTo>
                    <a:pt x="14111" y="16434"/>
                    <a:pt x="14005" y="16339"/>
                    <a:pt x="13875" y="16339"/>
                  </a:cubicBezTo>
                  <a:close/>
                  <a:moveTo>
                    <a:pt x="14581" y="16339"/>
                  </a:moveTo>
                  <a:cubicBezTo>
                    <a:pt x="14450" y="16339"/>
                    <a:pt x="14343" y="16434"/>
                    <a:pt x="14343" y="16551"/>
                  </a:cubicBezTo>
                  <a:cubicBezTo>
                    <a:pt x="14343" y="16668"/>
                    <a:pt x="14450" y="16763"/>
                    <a:pt x="14581" y="16763"/>
                  </a:cubicBezTo>
                  <a:cubicBezTo>
                    <a:pt x="14712" y="16763"/>
                    <a:pt x="14817" y="16668"/>
                    <a:pt x="14817" y="16551"/>
                  </a:cubicBezTo>
                  <a:cubicBezTo>
                    <a:pt x="14817" y="16434"/>
                    <a:pt x="14712" y="16339"/>
                    <a:pt x="14581" y="16339"/>
                  </a:cubicBezTo>
                  <a:close/>
                  <a:moveTo>
                    <a:pt x="15217" y="16339"/>
                  </a:moveTo>
                  <a:cubicBezTo>
                    <a:pt x="15086" y="16339"/>
                    <a:pt x="14978" y="16434"/>
                    <a:pt x="14978" y="16551"/>
                  </a:cubicBezTo>
                  <a:cubicBezTo>
                    <a:pt x="14978" y="16668"/>
                    <a:pt x="15086" y="16763"/>
                    <a:pt x="15217" y="16763"/>
                  </a:cubicBezTo>
                  <a:cubicBezTo>
                    <a:pt x="15348" y="16763"/>
                    <a:pt x="15453" y="16668"/>
                    <a:pt x="15453" y="16551"/>
                  </a:cubicBezTo>
                  <a:cubicBezTo>
                    <a:pt x="15453" y="16434"/>
                    <a:pt x="15348" y="16339"/>
                    <a:pt x="15217" y="16339"/>
                  </a:cubicBezTo>
                  <a:close/>
                  <a:moveTo>
                    <a:pt x="15923" y="16339"/>
                  </a:moveTo>
                  <a:cubicBezTo>
                    <a:pt x="15792" y="16339"/>
                    <a:pt x="15685" y="16434"/>
                    <a:pt x="15685" y="16551"/>
                  </a:cubicBezTo>
                  <a:cubicBezTo>
                    <a:pt x="15685" y="16668"/>
                    <a:pt x="15792" y="16763"/>
                    <a:pt x="15923" y="16763"/>
                  </a:cubicBezTo>
                  <a:cubicBezTo>
                    <a:pt x="16054" y="16763"/>
                    <a:pt x="16160" y="16668"/>
                    <a:pt x="16160" y="16551"/>
                  </a:cubicBezTo>
                  <a:cubicBezTo>
                    <a:pt x="16160" y="16434"/>
                    <a:pt x="16054" y="16339"/>
                    <a:pt x="15923" y="16339"/>
                  </a:cubicBezTo>
                  <a:close/>
                  <a:moveTo>
                    <a:pt x="16630" y="16339"/>
                  </a:moveTo>
                  <a:cubicBezTo>
                    <a:pt x="16499" y="16339"/>
                    <a:pt x="16392" y="16434"/>
                    <a:pt x="16392" y="16551"/>
                  </a:cubicBezTo>
                  <a:cubicBezTo>
                    <a:pt x="16392" y="16668"/>
                    <a:pt x="16499" y="16763"/>
                    <a:pt x="16630" y="16763"/>
                  </a:cubicBezTo>
                  <a:cubicBezTo>
                    <a:pt x="16761" y="16763"/>
                    <a:pt x="16866" y="16668"/>
                    <a:pt x="16866" y="16551"/>
                  </a:cubicBezTo>
                  <a:cubicBezTo>
                    <a:pt x="16866" y="16434"/>
                    <a:pt x="16761" y="16339"/>
                    <a:pt x="16630" y="16339"/>
                  </a:cubicBezTo>
                  <a:close/>
                  <a:moveTo>
                    <a:pt x="19315" y="16339"/>
                  </a:moveTo>
                  <a:cubicBezTo>
                    <a:pt x="19184" y="16339"/>
                    <a:pt x="19076" y="16434"/>
                    <a:pt x="19076" y="16551"/>
                  </a:cubicBezTo>
                  <a:cubicBezTo>
                    <a:pt x="19076" y="16668"/>
                    <a:pt x="19184" y="16763"/>
                    <a:pt x="19315" y="16763"/>
                  </a:cubicBezTo>
                  <a:cubicBezTo>
                    <a:pt x="19446" y="16763"/>
                    <a:pt x="19551" y="16668"/>
                    <a:pt x="19551" y="16551"/>
                  </a:cubicBezTo>
                  <a:cubicBezTo>
                    <a:pt x="19551" y="16434"/>
                    <a:pt x="19446" y="16339"/>
                    <a:pt x="19315" y="16339"/>
                  </a:cubicBezTo>
                  <a:close/>
                  <a:moveTo>
                    <a:pt x="20021" y="16339"/>
                  </a:moveTo>
                  <a:cubicBezTo>
                    <a:pt x="19890" y="16339"/>
                    <a:pt x="19783" y="16434"/>
                    <a:pt x="19783" y="16551"/>
                  </a:cubicBezTo>
                  <a:cubicBezTo>
                    <a:pt x="19783" y="16668"/>
                    <a:pt x="19890" y="16763"/>
                    <a:pt x="20021" y="16763"/>
                  </a:cubicBezTo>
                  <a:cubicBezTo>
                    <a:pt x="20152" y="16763"/>
                    <a:pt x="20258" y="16668"/>
                    <a:pt x="20258" y="16551"/>
                  </a:cubicBezTo>
                  <a:cubicBezTo>
                    <a:pt x="20258" y="16434"/>
                    <a:pt x="20152" y="16339"/>
                    <a:pt x="20021" y="16339"/>
                  </a:cubicBezTo>
                  <a:close/>
                  <a:moveTo>
                    <a:pt x="20657" y="16339"/>
                  </a:moveTo>
                  <a:cubicBezTo>
                    <a:pt x="20526" y="16339"/>
                    <a:pt x="20419" y="16434"/>
                    <a:pt x="20419" y="16551"/>
                  </a:cubicBezTo>
                  <a:cubicBezTo>
                    <a:pt x="20419" y="16668"/>
                    <a:pt x="20526" y="16761"/>
                    <a:pt x="20657" y="16761"/>
                  </a:cubicBezTo>
                  <a:cubicBezTo>
                    <a:pt x="20789" y="16761"/>
                    <a:pt x="20893" y="16668"/>
                    <a:pt x="20893" y="16551"/>
                  </a:cubicBezTo>
                  <a:cubicBezTo>
                    <a:pt x="20893" y="16434"/>
                    <a:pt x="20789" y="16339"/>
                    <a:pt x="20657" y="16339"/>
                  </a:cubicBezTo>
                  <a:close/>
                  <a:moveTo>
                    <a:pt x="20021" y="16905"/>
                  </a:moveTo>
                  <a:cubicBezTo>
                    <a:pt x="19890" y="16905"/>
                    <a:pt x="19783" y="17000"/>
                    <a:pt x="19783" y="17117"/>
                  </a:cubicBezTo>
                  <a:cubicBezTo>
                    <a:pt x="19783" y="17234"/>
                    <a:pt x="19890" y="17327"/>
                    <a:pt x="20021" y="17327"/>
                  </a:cubicBezTo>
                  <a:cubicBezTo>
                    <a:pt x="20152" y="17327"/>
                    <a:pt x="20258" y="17234"/>
                    <a:pt x="20258" y="17117"/>
                  </a:cubicBezTo>
                  <a:cubicBezTo>
                    <a:pt x="20258" y="17000"/>
                    <a:pt x="20152" y="16905"/>
                    <a:pt x="20021" y="16905"/>
                  </a:cubicBezTo>
                  <a:close/>
                  <a:moveTo>
                    <a:pt x="9777" y="16967"/>
                  </a:moveTo>
                  <a:cubicBezTo>
                    <a:pt x="9646" y="16967"/>
                    <a:pt x="9538" y="17063"/>
                    <a:pt x="9538" y="17179"/>
                  </a:cubicBezTo>
                  <a:cubicBezTo>
                    <a:pt x="9538" y="17296"/>
                    <a:pt x="9646" y="17390"/>
                    <a:pt x="9777" y="17390"/>
                  </a:cubicBezTo>
                  <a:cubicBezTo>
                    <a:pt x="9908" y="17390"/>
                    <a:pt x="10013" y="17296"/>
                    <a:pt x="10013" y="17179"/>
                  </a:cubicBezTo>
                  <a:cubicBezTo>
                    <a:pt x="10013" y="17063"/>
                    <a:pt x="9908" y="16967"/>
                    <a:pt x="9777" y="16967"/>
                  </a:cubicBezTo>
                  <a:close/>
                  <a:moveTo>
                    <a:pt x="10483" y="16967"/>
                  </a:moveTo>
                  <a:cubicBezTo>
                    <a:pt x="10352" y="16967"/>
                    <a:pt x="10245" y="17063"/>
                    <a:pt x="10245" y="17179"/>
                  </a:cubicBezTo>
                  <a:cubicBezTo>
                    <a:pt x="10245" y="17296"/>
                    <a:pt x="10352" y="17390"/>
                    <a:pt x="10483" y="17390"/>
                  </a:cubicBezTo>
                  <a:cubicBezTo>
                    <a:pt x="10614" y="17390"/>
                    <a:pt x="10719" y="17296"/>
                    <a:pt x="10719" y="17179"/>
                  </a:cubicBezTo>
                  <a:cubicBezTo>
                    <a:pt x="10719" y="17063"/>
                    <a:pt x="10614" y="16967"/>
                    <a:pt x="10483" y="16967"/>
                  </a:cubicBezTo>
                  <a:close/>
                  <a:moveTo>
                    <a:pt x="11190" y="16967"/>
                  </a:moveTo>
                  <a:cubicBezTo>
                    <a:pt x="11059" y="16967"/>
                    <a:pt x="10951" y="17063"/>
                    <a:pt x="10951" y="17179"/>
                  </a:cubicBezTo>
                  <a:cubicBezTo>
                    <a:pt x="10951" y="17296"/>
                    <a:pt x="11059" y="17390"/>
                    <a:pt x="11190" y="17390"/>
                  </a:cubicBezTo>
                  <a:cubicBezTo>
                    <a:pt x="11321" y="17390"/>
                    <a:pt x="11426" y="17296"/>
                    <a:pt x="11426" y="17179"/>
                  </a:cubicBezTo>
                  <a:cubicBezTo>
                    <a:pt x="11426" y="17063"/>
                    <a:pt x="11321" y="16967"/>
                    <a:pt x="11190" y="16967"/>
                  </a:cubicBezTo>
                  <a:close/>
                  <a:moveTo>
                    <a:pt x="11826" y="16967"/>
                  </a:moveTo>
                  <a:cubicBezTo>
                    <a:pt x="11694" y="16967"/>
                    <a:pt x="11587" y="17063"/>
                    <a:pt x="11587" y="17179"/>
                  </a:cubicBezTo>
                  <a:cubicBezTo>
                    <a:pt x="11587" y="17296"/>
                    <a:pt x="11694" y="17390"/>
                    <a:pt x="11826" y="17390"/>
                  </a:cubicBezTo>
                  <a:cubicBezTo>
                    <a:pt x="11957" y="17390"/>
                    <a:pt x="12062" y="17296"/>
                    <a:pt x="12062" y="17179"/>
                  </a:cubicBezTo>
                  <a:cubicBezTo>
                    <a:pt x="12062" y="17063"/>
                    <a:pt x="11957" y="16967"/>
                    <a:pt x="11826" y="16967"/>
                  </a:cubicBezTo>
                  <a:close/>
                  <a:moveTo>
                    <a:pt x="12532" y="16967"/>
                  </a:moveTo>
                  <a:cubicBezTo>
                    <a:pt x="12401" y="16967"/>
                    <a:pt x="12294" y="17063"/>
                    <a:pt x="12294" y="17179"/>
                  </a:cubicBezTo>
                  <a:cubicBezTo>
                    <a:pt x="12294" y="17296"/>
                    <a:pt x="12401" y="17390"/>
                    <a:pt x="12532" y="17390"/>
                  </a:cubicBezTo>
                  <a:cubicBezTo>
                    <a:pt x="12663" y="17390"/>
                    <a:pt x="12768" y="17296"/>
                    <a:pt x="12768" y="17179"/>
                  </a:cubicBezTo>
                  <a:cubicBezTo>
                    <a:pt x="12768" y="17063"/>
                    <a:pt x="12663" y="16967"/>
                    <a:pt x="12532" y="16967"/>
                  </a:cubicBezTo>
                  <a:close/>
                  <a:moveTo>
                    <a:pt x="13168" y="16967"/>
                  </a:moveTo>
                  <a:cubicBezTo>
                    <a:pt x="13037" y="16967"/>
                    <a:pt x="12930" y="17063"/>
                    <a:pt x="12930" y="17179"/>
                  </a:cubicBezTo>
                  <a:cubicBezTo>
                    <a:pt x="12930" y="17296"/>
                    <a:pt x="13037" y="17390"/>
                    <a:pt x="13168" y="17390"/>
                  </a:cubicBezTo>
                  <a:cubicBezTo>
                    <a:pt x="13299" y="17390"/>
                    <a:pt x="13404" y="17296"/>
                    <a:pt x="13404" y="17179"/>
                  </a:cubicBezTo>
                  <a:cubicBezTo>
                    <a:pt x="13404" y="17063"/>
                    <a:pt x="13299" y="16967"/>
                    <a:pt x="13168" y="16967"/>
                  </a:cubicBezTo>
                  <a:close/>
                  <a:moveTo>
                    <a:pt x="13875" y="16967"/>
                  </a:moveTo>
                  <a:cubicBezTo>
                    <a:pt x="13743" y="16967"/>
                    <a:pt x="13636" y="17063"/>
                    <a:pt x="13636" y="17179"/>
                  </a:cubicBezTo>
                  <a:cubicBezTo>
                    <a:pt x="13636" y="17296"/>
                    <a:pt x="13743" y="17390"/>
                    <a:pt x="13875" y="17390"/>
                  </a:cubicBezTo>
                  <a:cubicBezTo>
                    <a:pt x="14005" y="17390"/>
                    <a:pt x="14111" y="17296"/>
                    <a:pt x="14111" y="17179"/>
                  </a:cubicBezTo>
                  <a:cubicBezTo>
                    <a:pt x="14111" y="17063"/>
                    <a:pt x="14005" y="16967"/>
                    <a:pt x="13875" y="16967"/>
                  </a:cubicBezTo>
                  <a:close/>
                  <a:moveTo>
                    <a:pt x="14581" y="16967"/>
                  </a:moveTo>
                  <a:cubicBezTo>
                    <a:pt x="14450" y="16967"/>
                    <a:pt x="14343" y="17063"/>
                    <a:pt x="14343" y="17179"/>
                  </a:cubicBezTo>
                  <a:cubicBezTo>
                    <a:pt x="14343" y="17296"/>
                    <a:pt x="14450" y="17390"/>
                    <a:pt x="14581" y="17390"/>
                  </a:cubicBezTo>
                  <a:cubicBezTo>
                    <a:pt x="14712" y="17390"/>
                    <a:pt x="14817" y="17296"/>
                    <a:pt x="14817" y="17179"/>
                  </a:cubicBezTo>
                  <a:cubicBezTo>
                    <a:pt x="14817" y="17063"/>
                    <a:pt x="14712" y="16967"/>
                    <a:pt x="14581" y="16967"/>
                  </a:cubicBezTo>
                  <a:close/>
                  <a:moveTo>
                    <a:pt x="15217" y="16967"/>
                  </a:moveTo>
                  <a:cubicBezTo>
                    <a:pt x="15086" y="16967"/>
                    <a:pt x="14978" y="17063"/>
                    <a:pt x="14978" y="17179"/>
                  </a:cubicBezTo>
                  <a:cubicBezTo>
                    <a:pt x="14978" y="17296"/>
                    <a:pt x="15086" y="17390"/>
                    <a:pt x="15217" y="17390"/>
                  </a:cubicBezTo>
                  <a:cubicBezTo>
                    <a:pt x="15348" y="17390"/>
                    <a:pt x="15453" y="17296"/>
                    <a:pt x="15453" y="17179"/>
                  </a:cubicBezTo>
                  <a:cubicBezTo>
                    <a:pt x="15453" y="17063"/>
                    <a:pt x="15348" y="16967"/>
                    <a:pt x="15217" y="16967"/>
                  </a:cubicBezTo>
                  <a:close/>
                  <a:moveTo>
                    <a:pt x="15923" y="16967"/>
                  </a:moveTo>
                  <a:cubicBezTo>
                    <a:pt x="15792" y="16967"/>
                    <a:pt x="15685" y="17063"/>
                    <a:pt x="15685" y="17179"/>
                  </a:cubicBezTo>
                  <a:cubicBezTo>
                    <a:pt x="15685" y="17296"/>
                    <a:pt x="15792" y="17390"/>
                    <a:pt x="15923" y="17390"/>
                  </a:cubicBezTo>
                  <a:cubicBezTo>
                    <a:pt x="16054" y="17390"/>
                    <a:pt x="16160" y="17296"/>
                    <a:pt x="16160" y="17179"/>
                  </a:cubicBezTo>
                  <a:cubicBezTo>
                    <a:pt x="16160" y="17063"/>
                    <a:pt x="16054" y="16967"/>
                    <a:pt x="15923" y="16967"/>
                  </a:cubicBezTo>
                  <a:close/>
                  <a:moveTo>
                    <a:pt x="19315" y="16967"/>
                  </a:moveTo>
                  <a:cubicBezTo>
                    <a:pt x="19184" y="16967"/>
                    <a:pt x="19076" y="17063"/>
                    <a:pt x="19076" y="17179"/>
                  </a:cubicBezTo>
                  <a:cubicBezTo>
                    <a:pt x="19076" y="17296"/>
                    <a:pt x="19184" y="17390"/>
                    <a:pt x="19315" y="17390"/>
                  </a:cubicBezTo>
                  <a:cubicBezTo>
                    <a:pt x="19446" y="17390"/>
                    <a:pt x="19551" y="17296"/>
                    <a:pt x="19551" y="17179"/>
                  </a:cubicBezTo>
                  <a:cubicBezTo>
                    <a:pt x="19551" y="17063"/>
                    <a:pt x="19446" y="16967"/>
                    <a:pt x="19315" y="16967"/>
                  </a:cubicBezTo>
                  <a:close/>
                  <a:moveTo>
                    <a:pt x="20021" y="17533"/>
                  </a:moveTo>
                  <a:cubicBezTo>
                    <a:pt x="19890" y="17533"/>
                    <a:pt x="19783" y="17628"/>
                    <a:pt x="19783" y="17745"/>
                  </a:cubicBezTo>
                  <a:cubicBezTo>
                    <a:pt x="19783" y="17862"/>
                    <a:pt x="19890" y="17955"/>
                    <a:pt x="20021" y="17955"/>
                  </a:cubicBezTo>
                  <a:cubicBezTo>
                    <a:pt x="20152" y="17955"/>
                    <a:pt x="20258" y="17862"/>
                    <a:pt x="20258" y="17745"/>
                  </a:cubicBezTo>
                  <a:cubicBezTo>
                    <a:pt x="20258" y="17628"/>
                    <a:pt x="20152" y="17533"/>
                    <a:pt x="20021" y="17533"/>
                  </a:cubicBezTo>
                  <a:close/>
                  <a:moveTo>
                    <a:pt x="10483" y="17596"/>
                  </a:moveTo>
                  <a:cubicBezTo>
                    <a:pt x="10352" y="17596"/>
                    <a:pt x="10245" y="17691"/>
                    <a:pt x="10245" y="17808"/>
                  </a:cubicBezTo>
                  <a:cubicBezTo>
                    <a:pt x="10245" y="17925"/>
                    <a:pt x="10352" y="18018"/>
                    <a:pt x="10483" y="18018"/>
                  </a:cubicBezTo>
                  <a:cubicBezTo>
                    <a:pt x="10614" y="18018"/>
                    <a:pt x="10719" y="17925"/>
                    <a:pt x="10719" y="17808"/>
                  </a:cubicBezTo>
                  <a:cubicBezTo>
                    <a:pt x="10719" y="17691"/>
                    <a:pt x="10614" y="17596"/>
                    <a:pt x="10483" y="17596"/>
                  </a:cubicBezTo>
                  <a:close/>
                  <a:moveTo>
                    <a:pt x="11190" y="17596"/>
                  </a:moveTo>
                  <a:cubicBezTo>
                    <a:pt x="11059" y="17596"/>
                    <a:pt x="10951" y="17691"/>
                    <a:pt x="10951" y="17808"/>
                  </a:cubicBezTo>
                  <a:cubicBezTo>
                    <a:pt x="10951" y="17925"/>
                    <a:pt x="11059" y="18018"/>
                    <a:pt x="11190" y="18018"/>
                  </a:cubicBezTo>
                  <a:cubicBezTo>
                    <a:pt x="11321" y="18018"/>
                    <a:pt x="11426" y="17925"/>
                    <a:pt x="11426" y="17808"/>
                  </a:cubicBezTo>
                  <a:cubicBezTo>
                    <a:pt x="11426" y="17691"/>
                    <a:pt x="11321" y="17596"/>
                    <a:pt x="11190" y="17596"/>
                  </a:cubicBezTo>
                  <a:close/>
                  <a:moveTo>
                    <a:pt x="11826" y="17596"/>
                  </a:moveTo>
                  <a:cubicBezTo>
                    <a:pt x="11694" y="17596"/>
                    <a:pt x="11587" y="17691"/>
                    <a:pt x="11587" y="17808"/>
                  </a:cubicBezTo>
                  <a:cubicBezTo>
                    <a:pt x="11587" y="17925"/>
                    <a:pt x="11694" y="18018"/>
                    <a:pt x="11826" y="18018"/>
                  </a:cubicBezTo>
                  <a:cubicBezTo>
                    <a:pt x="11957" y="18018"/>
                    <a:pt x="12062" y="17925"/>
                    <a:pt x="12062" y="17808"/>
                  </a:cubicBezTo>
                  <a:cubicBezTo>
                    <a:pt x="12062" y="17691"/>
                    <a:pt x="11957" y="17596"/>
                    <a:pt x="11826" y="17596"/>
                  </a:cubicBezTo>
                  <a:close/>
                  <a:moveTo>
                    <a:pt x="12532" y="17596"/>
                  </a:moveTo>
                  <a:cubicBezTo>
                    <a:pt x="12401" y="17596"/>
                    <a:pt x="12294" y="17691"/>
                    <a:pt x="12294" y="17808"/>
                  </a:cubicBezTo>
                  <a:cubicBezTo>
                    <a:pt x="12294" y="17925"/>
                    <a:pt x="12401" y="18018"/>
                    <a:pt x="12532" y="18018"/>
                  </a:cubicBezTo>
                  <a:cubicBezTo>
                    <a:pt x="12663" y="18018"/>
                    <a:pt x="12768" y="17925"/>
                    <a:pt x="12768" y="17808"/>
                  </a:cubicBezTo>
                  <a:cubicBezTo>
                    <a:pt x="12768" y="17691"/>
                    <a:pt x="12663" y="17596"/>
                    <a:pt x="12532" y="17596"/>
                  </a:cubicBezTo>
                  <a:close/>
                  <a:moveTo>
                    <a:pt x="13168" y="17596"/>
                  </a:moveTo>
                  <a:cubicBezTo>
                    <a:pt x="13037" y="17596"/>
                    <a:pt x="12930" y="17691"/>
                    <a:pt x="12930" y="17808"/>
                  </a:cubicBezTo>
                  <a:cubicBezTo>
                    <a:pt x="12930" y="17925"/>
                    <a:pt x="13037" y="18018"/>
                    <a:pt x="13168" y="18018"/>
                  </a:cubicBezTo>
                  <a:cubicBezTo>
                    <a:pt x="13299" y="18018"/>
                    <a:pt x="13404" y="17925"/>
                    <a:pt x="13404" y="17808"/>
                  </a:cubicBezTo>
                  <a:cubicBezTo>
                    <a:pt x="13404" y="17691"/>
                    <a:pt x="13299" y="17596"/>
                    <a:pt x="13168" y="17596"/>
                  </a:cubicBezTo>
                  <a:close/>
                  <a:moveTo>
                    <a:pt x="13875" y="17596"/>
                  </a:moveTo>
                  <a:cubicBezTo>
                    <a:pt x="13743" y="17596"/>
                    <a:pt x="13636" y="17691"/>
                    <a:pt x="13636" y="17808"/>
                  </a:cubicBezTo>
                  <a:cubicBezTo>
                    <a:pt x="13636" y="17925"/>
                    <a:pt x="13743" y="18018"/>
                    <a:pt x="13875" y="18018"/>
                  </a:cubicBezTo>
                  <a:cubicBezTo>
                    <a:pt x="14005" y="18018"/>
                    <a:pt x="14111" y="17925"/>
                    <a:pt x="14111" y="17808"/>
                  </a:cubicBezTo>
                  <a:cubicBezTo>
                    <a:pt x="14111" y="17691"/>
                    <a:pt x="14005" y="17596"/>
                    <a:pt x="13875" y="17596"/>
                  </a:cubicBezTo>
                  <a:close/>
                  <a:moveTo>
                    <a:pt x="14581" y="17596"/>
                  </a:moveTo>
                  <a:cubicBezTo>
                    <a:pt x="14450" y="17596"/>
                    <a:pt x="14343" y="17691"/>
                    <a:pt x="14343" y="17808"/>
                  </a:cubicBezTo>
                  <a:cubicBezTo>
                    <a:pt x="14343" y="17925"/>
                    <a:pt x="14450" y="18018"/>
                    <a:pt x="14581" y="18018"/>
                  </a:cubicBezTo>
                  <a:cubicBezTo>
                    <a:pt x="14712" y="18018"/>
                    <a:pt x="14817" y="17925"/>
                    <a:pt x="14817" y="17808"/>
                  </a:cubicBezTo>
                  <a:cubicBezTo>
                    <a:pt x="14817" y="17691"/>
                    <a:pt x="14712" y="17596"/>
                    <a:pt x="14581" y="17596"/>
                  </a:cubicBezTo>
                  <a:close/>
                  <a:moveTo>
                    <a:pt x="15217" y="17596"/>
                  </a:moveTo>
                  <a:cubicBezTo>
                    <a:pt x="15086" y="17596"/>
                    <a:pt x="14978" y="17691"/>
                    <a:pt x="14978" y="17808"/>
                  </a:cubicBezTo>
                  <a:cubicBezTo>
                    <a:pt x="14978" y="17925"/>
                    <a:pt x="15086" y="18018"/>
                    <a:pt x="15217" y="18018"/>
                  </a:cubicBezTo>
                  <a:cubicBezTo>
                    <a:pt x="15348" y="18018"/>
                    <a:pt x="15453" y="17925"/>
                    <a:pt x="15453" y="17808"/>
                  </a:cubicBezTo>
                  <a:cubicBezTo>
                    <a:pt x="15453" y="17691"/>
                    <a:pt x="15348" y="17596"/>
                    <a:pt x="15217" y="17596"/>
                  </a:cubicBezTo>
                  <a:close/>
                  <a:moveTo>
                    <a:pt x="15923" y="17596"/>
                  </a:moveTo>
                  <a:cubicBezTo>
                    <a:pt x="15792" y="17596"/>
                    <a:pt x="15685" y="17691"/>
                    <a:pt x="15685" y="17808"/>
                  </a:cubicBezTo>
                  <a:cubicBezTo>
                    <a:pt x="15685" y="17925"/>
                    <a:pt x="15792" y="18018"/>
                    <a:pt x="15923" y="18018"/>
                  </a:cubicBezTo>
                  <a:cubicBezTo>
                    <a:pt x="16054" y="18018"/>
                    <a:pt x="16160" y="17925"/>
                    <a:pt x="16160" y="17808"/>
                  </a:cubicBezTo>
                  <a:cubicBezTo>
                    <a:pt x="16160" y="17691"/>
                    <a:pt x="16054" y="17596"/>
                    <a:pt x="15923" y="17596"/>
                  </a:cubicBezTo>
                  <a:close/>
                  <a:moveTo>
                    <a:pt x="19315" y="17596"/>
                  </a:moveTo>
                  <a:cubicBezTo>
                    <a:pt x="19184" y="17596"/>
                    <a:pt x="19076" y="17691"/>
                    <a:pt x="19076" y="17808"/>
                  </a:cubicBezTo>
                  <a:cubicBezTo>
                    <a:pt x="19076" y="17925"/>
                    <a:pt x="19184" y="18018"/>
                    <a:pt x="19315" y="18018"/>
                  </a:cubicBezTo>
                  <a:cubicBezTo>
                    <a:pt x="19446" y="18018"/>
                    <a:pt x="19551" y="17925"/>
                    <a:pt x="19551" y="17808"/>
                  </a:cubicBezTo>
                  <a:cubicBezTo>
                    <a:pt x="19551" y="17691"/>
                    <a:pt x="19446" y="17596"/>
                    <a:pt x="19315" y="17596"/>
                  </a:cubicBezTo>
                  <a:close/>
                  <a:moveTo>
                    <a:pt x="10483" y="18161"/>
                  </a:moveTo>
                  <a:cubicBezTo>
                    <a:pt x="10352" y="18161"/>
                    <a:pt x="10245" y="18256"/>
                    <a:pt x="10245" y="18373"/>
                  </a:cubicBezTo>
                  <a:cubicBezTo>
                    <a:pt x="10245" y="18490"/>
                    <a:pt x="10352" y="18584"/>
                    <a:pt x="10483" y="18584"/>
                  </a:cubicBezTo>
                  <a:cubicBezTo>
                    <a:pt x="10614" y="18584"/>
                    <a:pt x="10719" y="18490"/>
                    <a:pt x="10719" y="18373"/>
                  </a:cubicBezTo>
                  <a:cubicBezTo>
                    <a:pt x="10719" y="18256"/>
                    <a:pt x="10614" y="18161"/>
                    <a:pt x="10483" y="18161"/>
                  </a:cubicBezTo>
                  <a:close/>
                  <a:moveTo>
                    <a:pt x="11190" y="18161"/>
                  </a:moveTo>
                  <a:cubicBezTo>
                    <a:pt x="11059" y="18161"/>
                    <a:pt x="10951" y="18256"/>
                    <a:pt x="10951" y="18373"/>
                  </a:cubicBezTo>
                  <a:cubicBezTo>
                    <a:pt x="10951" y="18490"/>
                    <a:pt x="11059" y="18584"/>
                    <a:pt x="11190" y="18584"/>
                  </a:cubicBezTo>
                  <a:cubicBezTo>
                    <a:pt x="11321" y="18584"/>
                    <a:pt x="11426" y="18490"/>
                    <a:pt x="11426" y="18373"/>
                  </a:cubicBezTo>
                  <a:cubicBezTo>
                    <a:pt x="11426" y="18256"/>
                    <a:pt x="11321" y="18161"/>
                    <a:pt x="11190" y="18161"/>
                  </a:cubicBezTo>
                  <a:close/>
                  <a:moveTo>
                    <a:pt x="11826" y="18161"/>
                  </a:moveTo>
                  <a:cubicBezTo>
                    <a:pt x="11694" y="18161"/>
                    <a:pt x="11587" y="18256"/>
                    <a:pt x="11587" y="18373"/>
                  </a:cubicBezTo>
                  <a:cubicBezTo>
                    <a:pt x="11587" y="18490"/>
                    <a:pt x="11694" y="18584"/>
                    <a:pt x="11826" y="18584"/>
                  </a:cubicBezTo>
                  <a:cubicBezTo>
                    <a:pt x="11957" y="18584"/>
                    <a:pt x="12062" y="18490"/>
                    <a:pt x="12062" y="18373"/>
                  </a:cubicBezTo>
                  <a:cubicBezTo>
                    <a:pt x="12062" y="18256"/>
                    <a:pt x="11957" y="18161"/>
                    <a:pt x="11826" y="18161"/>
                  </a:cubicBezTo>
                  <a:close/>
                  <a:moveTo>
                    <a:pt x="12532" y="18161"/>
                  </a:moveTo>
                  <a:cubicBezTo>
                    <a:pt x="12401" y="18161"/>
                    <a:pt x="12294" y="18256"/>
                    <a:pt x="12294" y="18373"/>
                  </a:cubicBezTo>
                  <a:cubicBezTo>
                    <a:pt x="12294" y="18490"/>
                    <a:pt x="12401" y="18584"/>
                    <a:pt x="12532" y="18584"/>
                  </a:cubicBezTo>
                  <a:cubicBezTo>
                    <a:pt x="12663" y="18584"/>
                    <a:pt x="12768" y="18490"/>
                    <a:pt x="12768" y="18373"/>
                  </a:cubicBezTo>
                  <a:cubicBezTo>
                    <a:pt x="12768" y="18256"/>
                    <a:pt x="12663" y="18161"/>
                    <a:pt x="12532" y="18161"/>
                  </a:cubicBezTo>
                  <a:close/>
                  <a:moveTo>
                    <a:pt x="13168" y="18161"/>
                  </a:moveTo>
                  <a:cubicBezTo>
                    <a:pt x="13037" y="18161"/>
                    <a:pt x="12930" y="18256"/>
                    <a:pt x="12930" y="18373"/>
                  </a:cubicBezTo>
                  <a:cubicBezTo>
                    <a:pt x="12930" y="18490"/>
                    <a:pt x="13037" y="18584"/>
                    <a:pt x="13168" y="18584"/>
                  </a:cubicBezTo>
                  <a:cubicBezTo>
                    <a:pt x="13299" y="18584"/>
                    <a:pt x="13404" y="18490"/>
                    <a:pt x="13404" y="18373"/>
                  </a:cubicBezTo>
                  <a:cubicBezTo>
                    <a:pt x="13404" y="18256"/>
                    <a:pt x="13299" y="18161"/>
                    <a:pt x="13168" y="18161"/>
                  </a:cubicBezTo>
                  <a:close/>
                  <a:moveTo>
                    <a:pt x="13875" y="18161"/>
                  </a:moveTo>
                  <a:cubicBezTo>
                    <a:pt x="13743" y="18161"/>
                    <a:pt x="13636" y="18256"/>
                    <a:pt x="13636" y="18373"/>
                  </a:cubicBezTo>
                  <a:cubicBezTo>
                    <a:pt x="13636" y="18490"/>
                    <a:pt x="13743" y="18584"/>
                    <a:pt x="13875" y="18584"/>
                  </a:cubicBezTo>
                  <a:cubicBezTo>
                    <a:pt x="14005" y="18584"/>
                    <a:pt x="14111" y="18490"/>
                    <a:pt x="14111" y="18373"/>
                  </a:cubicBezTo>
                  <a:cubicBezTo>
                    <a:pt x="14111" y="18256"/>
                    <a:pt x="14005" y="18161"/>
                    <a:pt x="13875" y="18161"/>
                  </a:cubicBezTo>
                  <a:close/>
                  <a:moveTo>
                    <a:pt x="14581" y="18161"/>
                  </a:moveTo>
                  <a:cubicBezTo>
                    <a:pt x="14450" y="18161"/>
                    <a:pt x="14343" y="18256"/>
                    <a:pt x="14343" y="18373"/>
                  </a:cubicBezTo>
                  <a:cubicBezTo>
                    <a:pt x="14343" y="18490"/>
                    <a:pt x="14450" y="18584"/>
                    <a:pt x="14581" y="18584"/>
                  </a:cubicBezTo>
                  <a:cubicBezTo>
                    <a:pt x="14712" y="18584"/>
                    <a:pt x="14817" y="18490"/>
                    <a:pt x="14817" y="18373"/>
                  </a:cubicBezTo>
                  <a:cubicBezTo>
                    <a:pt x="14817" y="18256"/>
                    <a:pt x="14712" y="18161"/>
                    <a:pt x="14581" y="18161"/>
                  </a:cubicBezTo>
                  <a:close/>
                  <a:moveTo>
                    <a:pt x="15217" y="18161"/>
                  </a:moveTo>
                  <a:cubicBezTo>
                    <a:pt x="15086" y="18161"/>
                    <a:pt x="14978" y="18256"/>
                    <a:pt x="14978" y="18373"/>
                  </a:cubicBezTo>
                  <a:cubicBezTo>
                    <a:pt x="14978" y="18490"/>
                    <a:pt x="15086" y="18584"/>
                    <a:pt x="15217" y="18584"/>
                  </a:cubicBezTo>
                  <a:cubicBezTo>
                    <a:pt x="15348" y="18584"/>
                    <a:pt x="15453" y="18490"/>
                    <a:pt x="15453" y="18373"/>
                  </a:cubicBezTo>
                  <a:cubicBezTo>
                    <a:pt x="15453" y="18256"/>
                    <a:pt x="15348" y="18161"/>
                    <a:pt x="15217" y="18161"/>
                  </a:cubicBezTo>
                  <a:close/>
                  <a:moveTo>
                    <a:pt x="15923" y="18161"/>
                  </a:moveTo>
                  <a:cubicBezTo>
                    <a:pt x="15792" y="18161"/>
                    <a:pt x="15685" y="18256"/>
                    <a:pt x="15685" y="18373"/>
                  </a:cubicBezTo>
                  <a:cubicBezTo>
                    <a:pt x="15685" y="18490"/>
                    <a:pt x="15792" y="18584"/>
                    <a:pt x="15923" y="18584"/>
                  </a:cubicBezTo>
                  <a:cubicBezTo>
                    <a:pt x="16054" y="18584"/>
                    <a:pt x="16160" y="18490"/>
                    <a:pt x="16160" y="18373"/>
                  </a:cubicBezTo>
                  <a:cubicBezTo>
                    <a:pt x="16160" y="18256"/>
                    <a:pt x="16054" y="18161"/>
                    <a:pt x="15923" y="18161"/>
                  </a:cubicBezTo>
                  <a:close/>
                  <a:moveTo>
                    <a:pt x="19315" y="18161"/>
                  </a:moveTo>
                  <a:cubicBezTo>
                    <a:pt x="19184" y="18161"/>
                    <a:pt x="19076" y="18256"/>
                    <a:pt x="19076" y="18373"/>
                  </a:cubicBezTo>
                  <a:cubicBezTo>
                    <a:pt x="19076" y="18490"/>
                    <a:pt x="19184" y="18584"/>
                    <a:pt x="19315" y="18584"/>
                  </a:cubicBezTo>
                  <a:cubicBezTo>
                    <a:pt x="19446" y="18584"/>
                    <a:pt x="19551" y="18490"/>
                    <a:pt x="19551" y="18373"/>
                  </a:cubicBezTo>
                  <a:cubicBezTo>
                    <a:pt x="19551" y="18256"/>
                    <a:pt x="19446" y="18161"/>
                    <a:pt x="19315" y="18161"/>
                  </a:cubicBezTo>
                  <a:close/>
                  <a:moveTo>
                    <a:pt x="20021" y="18161"/>
                  </a:moveTo>
                  <a:cubicBezTo>
                    <a:pt x="19890" y="18161"/>
                    <a:pt x="19783" y="18257"/>
                    <a:pt x="19783" y="18373"/>
                  </a:cubicBezTo>
                  <a:cubicBezTo>
                    <a:pt x="19783" y="18490"/>
                    <a:pt x="19890" y="18586"/>
                    <a:pt x="20021" y="18586"/>
                  </a:cubicBezTo>
                  <a:cubicBezTo>
                    <a:pt x="20152" y="18586"/>
                    <a:pt x="20258" y="18490"/>
                    <a:pt x="20258" y="18373"/>
                  </a:cubicBezTo>
                  <a:cubicBezTo>
                    <a:pt x="20258" y="18257"/>
                    <a:pt x="20152" y="18161"/>
                    <a:pt x="20021" y="18161"/>
                  </a:cubicBezTo>
                  <a:close/>
                  <a:moveTo>
                    <a:pt x="10483" y="18790"/>
                  </a:moveTo>
                  <a:cubicBezTo>
                    <a:pt x="10352" y="18790"/>
                    <a:pt x="10245" y="18885"/>
                    <a:pt x="10245" y="19002"/>
                  </a:cubicBezTo>
                  <a:cubicBezTo>
                    <a:pt x="10245" y="19119"/>
                    <a:pt x="10352" y="19212"/>
                    <a:pt x="10483" y="19212"/>
                  </a:cubicBezTo>
                  <a:cubicBezTo>
                    <a:pt x="10614" y="19212"/>
                    <a:pt x="10719" y="19119"/>
                    <a:pt x="10719" y="19002"/>
                  </a:cubicBezTo>
                  <a:cubicBezTo>
                    <a:pt x="10719" y="18885"/>
                    <a:pt x="10614" y="18790"/>
                    <a:pt x="10483" y="18790"/>
                  </a:cubicBezTo>
                  <a:close/>
                  <a:moveTo>
                    <a:pt x="11190" y="18790"/>
                  </a:moveTo>
                  <a:cubicBezTo>
                    <a:pt x="11059" y="18790"/>
                    <a:pt x="10951" y="18885"/>
                    <a:pt x="10951" y="19002"/>
                  </a:cubicBezTo>
                  <a:cubicBezTo>
                    <a:pt x="10951" y="19119"/>
                    <a:pt x="11059" y="19212"/>
                    <a:pt x="11190" y="19212"/>
                  </a:cubicBezTo>
                  <a:cubicBezTo>
                    <a:pt x="11321" y="19212"/>
                    <a:pt x="11426" y="19119"/>
                    <a:pt x="11426" y="19002"/>
                  </a:cubicBezTo>
                  <a:cubicBezTo>
                    <a:pt x="11426" y="18885"/>
                    <a:pt x="11321" y="18790"/>
                    <a:pt x="11190" y="18790"/>
                  </a:cubicBezTo>
                  <a:close/>
                  <a:moveTo>
                    <a:pt x="11826" y="18790"/>
                  </a:moveTo>
                  <a:cubicBezTo>
                    <a:pt x="11694" y="18790"/>
                    <a:pt x="11587" y="18885"/>
                    <a:pt x="11587" y="19002"/>
                  </a:cubicBezTo>
                  <a:cubicBezTo>
                    <a:pt x="11587" y="19119"/>
                    <a:pt x="11694" y="19212"/>
                    <a:pt x="11826" y="19212"/>
                  </a:cubicBezTo>
                  <a:cubicBezTo>
                    <a:pt x="11957" y="19212"/>
                    <a:pt x="12062" y="19119"/>
                    <a:pt x="12062" y="19002"/>
                  </a:cubicBezTo>
                  <a:cubicBezTo>
                    <a:pt x="12062" y="18885"/>
                    <a:pt x="11957" y="18790"/>
                    <a:pt x="11826" y="18790"/>
                  </a:cubicBezTo>
                  <a:close/>
                  <a:moveTo>
                    <a:pt x="12532" y="18790"/>
                  </a:moveTo>
                  <a:cubicBezTo>
                    <a:pt x="12401" y="18790"/>
                    <a:pt x="12294" y="18885"/>
                    <a:pt x="12294" y="19002"/>
                  </a:cubicBezTo>
                  <a:cubicBezTo>
                    <a:pt x="12294" y="19119"/>
                    <a:pt x="12401" y="19212"/>
                    <a:pt x="12532" y="19212"/>
                  </a:cubicBezTo>
                  <a:cubicBezTo>
                    <a:pt x="12663" y="19212"/>
                    <a:pt x="12768" y="19119"/>
                    <a:pt x="12768" y="19002"/>
                  </a:cubicBezTo>
                  <a:cubicBezTo>
                    <a:pt x="12768" y="18885"/>
                    <a:pt x="12663" y="18790"/>
                    <a:pt x="12532" y="18790"/>
                  </a:cubicBezTo>
                  <a:close/>
                  <a:moveTo>
                    <a:pt x="13168" y="18790"/>
                  </a:moveTo>
                  <a:cubicBezTo>
                    <a:pt x="13037" y="18790"/>
                    <a:pt x="12930" y="18885"/>
                    <a:pt x="12930" y="19002"/>
                  </a:cubicBezTo>
                  <a:cubicBezTo>
                    <a:pt x="12930" y="19119"/>
                    <a:pt x="13037" y="19212"/>
                    <a:pt x="13168" y="19212"/>
                  </a:cubicBezTo>
                  <a:cubicBezTo>
                    <a:pt x="13299" y="19212"/>
                    <a:pt x="13404" y="19119"/>
                    <a:pt x="13404" y="19002"/>
                  </a:cubicBezTo>
                  <a:cubicBezTo>
                    <a:pt x="13404" y="18885"/>
                    <a:pt x="13299" y="18790"/>
                    <a:pt x="13168" y="18790"/>
                  </a:cubicBezTo>
                  <a:close/>
                  <a:moveTo>
                    <a:pt x="13875" y="18790"/>
                  </a:moveTo>
                  <a:cubicBezTo>
                    <a:pt x="13743" y="18790"/>
                    <a:pt x="13636" y="18885"/>
                    <a:pt x="13636" y="19002"/>
                  </a:cubicBezTo>
                  <a:cubicBezTo>
                    <a:pt x="13636" y="19119"/>
                    <a:pt x="13743" y="19212"/>
                    <a:pt x="13875" y="19212"/>
                  </a:cubicBezTo>
                  <a:cubicBezTo>
                    <a:pt x="14005" y="19212"/>
                    <a:pt x="14111" y="19119"/>
                    <a:pt x="14111" y="19002"/>
                  </a:cubicBezTo>
                  <a:cubicBezTo>
                    <a:pt x="14111" y="18885"/>
                    <a:pt x="14005" y="18790"/>
                    <a:pt x="13875" y="18790"/>
                  </a:cubicBezTo>
                  <a:close/>
                  <a:moveTo>
                    <a:pt x="14581" y="18790"/>
                  </a:moveTo>
                  <a:cubicBezTo>
                    <a:pt x="14450" y="18790"/>
                    <a:pt x="14343" y="18885"/>
                    <a:pt x="14343" y="19002"/>
                  </a:cubicBezTo>
                  <a:cubicBezTo>
                    <a:pt x="14343" y="19119"/>
                    <a:pt x="14450" y="19212"/>
                    <a:pt x="14581" y="19212"/>
                  </a:cubicBezTo>
                  <a:cubicBezTo>
                    <a:pt x="14712" y="19212"/>
                    <a:pt x="14817" y="19119"/>
                    <a:pt x="14817" y="19002"/>
                  </a:cubicBezTo>
                  <a:cubicBezTo>
                    <a:pt x="14817" y="18885"/>
                    <a:pt x="14712" y="18790"/>
                    <a:pt x="14581" y="18790"/>
                  </a:cubicBezTo>
                  <a:close/>
                  <a:moveTo>
                    <a:pt x="15217" y="18790"/>
                  </a:moveTo>
                  <a:cubicBezTo>
                    <a:pt x="15086" y="18790"/>
                    <a:pt x="14978" y="18885"/>
                    <a:pt x="14978" y="19002"/>
                  </a:cubicBezTo>
                  <a:cubicBezTo>
                    <a:pt x="14978" y="19119"/>
                    <a:pt x="15086" y="19212"/>
                    <a:pt x="15217" y="19212"/>
                  </a:cubicBezTo>
                  <a:cubicBezTo>
                    <a:pt x="15348" y="19212"/>
                    <a:pt x="15453" y="19119"/>
                    <a:pt x="15453" y="19002"/>
                  </a:cubicBezTo>
                  <a:cubicBezTo>
                    <a:pt x="15453" y="18885"/>
                    <a:pt x="15348" y="18790"/>
                    <a:pt x="15217" y="18790"/>
                  </a:cubicBezTo>
                  <a:close/>
                  <a:moveTo>
                    <a:pt x="10483" y="19418"/>
                  </a:moveTo>
                  <a:cubicBezTo>
                    <a:pt x="10352" y="19418"/>
                    <a:pt x="10245" y="19513"/>
                    <a:pt x="10245" y="19630"/>
                  </a:cubicBezTo>
                  <a:cubicBezTo>
                    <a:pt x="10245" y="19747"/>
                    <a:pt x="10352" y="19842"/>
                    <a:pt x="10483" y="19842"/>
                  </a:cubicBezTo>
                  <a:cubicBezTo>
                    <a:pt x="10614" y="19842"/>
                    <a:pt x="10719" y="19747"/>
                    <a:pt x="10719" y="19630"/>
                  </a:cubicBezTo>
                  <a:cubicBezTo>
                    <a:pt x="10719" y="19513"/>
                    <a:pt x="10614" y="19418"/>
                    <a:pt x="10483" y="19418"/>
                  </a:cubicBezTo>
                  <a:close/>
                  <a:moveTo>
                    <a:pt x="11190" y="19418"/>
                  </a:moveTo>
                  <a:cubicBezTo>
                    <a:pt x="11059" y="19418"/>
                    <a:pt x="10951" y="19513"/>
                    <a:pt x="10951" y="19630"/>
                  </a:cubicBezTo>
                  <a:cubicBezTo>
                    <a:pt x="10951" y="19747"/>
                    <a:pt x="11059" y="19842"/>
                    <a:pt x="11190" y="19842"/>
                  </a:cubicBezTo>
                  <a:cubicBezTo>
                    <a:pt x="11321" y="19842"/>
                    <a:pt x="11426" y="19747"/>
                    <a:pt x="11426" y="19630"/>
                  </a:cubicBezTo>
                  <a:cubicBezTo>
                    <a:pt x="11426" y="19513"/>
                    <a:pt x="11321" y="19418"/>
                    <a:pt x="11190" y="19418"/>
                  </a:cubicBezTo>
                  <a:close/>
                  <a:moveTo>
                    <a:pt x="11826" y="19418"/>
                  </a:moveTo>
                  <a:cubicBezTo>
                    <a:pt x="11694" y="19418"/>
                    <a:pt x="11587" y="19513"/>
                    <a:pt x="11587" y="19630"/>
                  </a:cubicBezTo>
                  <a:cubicBezTo>
                    <a:pt x="11587" y="19747"/>
                    <a:pt x="11694" y="19842"/>
                    <a:pt x="11826" y="19842"/>
                  </a:cubicBezTo>
                  <a:cubicBezTo>
                    <a:pt x="11957" y="19842"/>
                    <a:pt x="12062" y="19747"/>
                    <a:pt x="12062" y="19630"/>
                  </a:cubicBezTo>
                  <a:cubicBezTo>
                    <a:pt x="12062" y="19513"/>
                    <a:pt x="11957" y="19418"/>
                    <a:pt x="11826" y="19418"/>
                  </a:cubicBezTo>
                  <a:close/>
                  <a:moveTo>
                    <a:pt x="12532" y="19418"/>
                  </a:moveTo>
                  <a:cubicBezTo>
                    <a:pt x="12401" y="19418"/>
                    <a:pt x="12294" y="19513"/>
                    <a:pt x="12294" y="19630"/>
                  </a:cubicBezTo>
                  <a:cubicBezTo>
                    <a:pt x="12294" y="19747"/>
                    <a:pt x="12401" y="19842"/>
                    <a:pt x="12532" y="19842"/>
                  </a:cubicBezTo>
                  <a:cubicBezTo>
                    <a:pt x="12663" y="19842"/>
                    <a:pt x="12768" y="19747"/>
                    <a:pt x="12768" y="19630"/>
                  </a:cubicBezTo>
                  <a:cubicBezTo>
                    <a:pt x="12768" y="19513"/>
                    <a:pt x="12663" y="19418"/>
                    <a:pt x="12532" y="19418"/>
                  </a:cubicBezTo>
                  <a:close/>
                  <a:moveTo>
                    <a:pt x="13168" y="19418"/>
                  </a:moveTo>
                  <a:cubicBezTo>
                    <a:pt x="13037" y="19418"/>
                    <a:pt x="12930" y="19513"/>
                    <a:pt x="12930" y="19630"/>
                  </a:cubicBezTo>
                  <a:cubicBezTo>
                    <a:pt x="12930" y="19747"/>
                    <a:pt x="13037" y="19842"/>
                    <a:pt x="13168" y="19842"/>
                  </a:cubicBezTo>
                  <a:cubicBezTo>
                    <a:pt x="13299" y="19842"/>
                    <a:pt x="13404" y="19747"/>
                    <a:pt x="13404" y="19630"/>
                  </a:cubicBezTo>
                  <a:cubicBezTo>
                    <a:pt x="13404" y="19513"/>
                    <a:pt x="13299" y="19418"/>
                    <a:pt x="13168" y="19418"/>
                  </a:cubicBezTo>
                  <a:close/>
                  <a:moveTo>
                    <a:pt x="13875" y="19418"/>
                  </a:moveTo>
                  <a:cubicBezTo>
                    <a:pt x="13743" y="19418"/>
                    <a:pt x="13636" y="19513"/>
                    <a:pt x="13636" y="19630"/>
                  </a:cubicBezTo>
                  <a:cubicBezTo>
                    <a:pt x="13636" y="19747"/>
                    <a:pt x="13743" y="19842"/>
                    <a:pt x="13875" y="19842"/>
                  </a:cubicBezTo>
                  <a:cubicBezTo>
                    <a:pt x="14005" y="19842"/>
                    <a:pt x="14111" y="19747"/>
                    <a:pt x="14111" y="19630"/>
                  </a:cubicBezTo>
                  <a:cubicBezTo>
                    <a:pt x="14111" y="19513"/>
                    <a:pt x="14005" y="19418"/>
                    <a:pt x="13875" y="19418"/>
                  </a:cubicBezTo>
                  <a:close/>
                  <a:moveTo>
                    <a:pt x="14581" y="19418"/>
                  </a:moveTo>
                  <a:cubicBezTo>
                    <a:pt x="14450" y="19418"/>
                    <a:pt x="14343" y="19513"/>
                    <a:pt x="14343" y="19630"/>
                  </a:cubicBezTo>
                  <a:cubicBezTo>
                    <a:pt x="14343" y="19747"/>
                    <a:pt x="14450" y="19842"/>
                    <a:pt x="14581" y="19842"/>
                  </a:cubicBezTo>
                  <a:cubicBezTo>
                    <a:pt x="14712" y="19842"/>
                    <a:pt x="14817" y="19747"/>
                    <a:pt x="14817" y="19630"/>
                  </a:cubicBezTo>
                  <a:cubicBezTo>
                    <a:pt x="14817" y="19513"/>
                    <a:pt x="14712" y="19418"/>
                    <a:pt x="14581" y="19418"/>
                  </a:cubicBezTo>
                  <a:close/>
                  <a:moveTo>
                    <a:pt x="15217" y="19418"/>
                  </a:moveTo>
                  <a:cubicBezTo>
                    <a:pt x="15086" y="19418"/>
                    <a:pt x="14978" y="19513"/>
                    <a:pt x="14978" y="19630"/>
                  </a:cubicBezTo>
                  <a:cubicBezTo>
                    <a:pt x="14978" y="19747"/>
                    <a:pt x="15086" y="19842"/>
                    <a:pt x="15217" y="19842"/>
                  </a:cubicBezTo>
                  <a:cubicBezTo>
                    <a:pt x="15348" y="19842"/>
                    <a:pt x="15453" y="19747"/>
                    <a:pt x="15453" y="19630"/>
                  </a:cubicBezTo>
                  <a:cubicBezTo>
                    <a:pt x="15453" y="19513"/>
                    <a:pt x="15348" y="19418"/>
                    <a:pt x="15217" y="19418"/>
                  </a:cubicBezTo>
                  <a:close/>
                  <a:moveTo>
                    <a:pt x="11190" y="19984"/>
                  </a:moveTo>
                  <a:cubicBezTo>
                    <a:pt x="11059" y="19984"/>
                    <a:pt x="10951" y="20079"/>
                    <a:pt x="10951" y="20196"/>
                  </a:cubicBezTo>
                  <a:cubicBezTo>
                    <a:pt x="10951" y="20313"/>
                    <a:pt x="11059" y="20406"/>
                    <a:pt x="11190" y="20406"/>
                  </a:cubicBezTo>
                  <a:cubicBezTo>
                    <a:pt x="11321" y="20406"/>
                    <a:pt x="11426" y="20313"/>
                    <a:pt x="11426" y="20196"/>
                  </a:cubicBezTo>
                  <a:cubicBezTo>
                    <a:pt x="11426" y="20079"/>
                    <a:pt x="11321" y="19984"/>
                    <a:pt x="11190" y="19984"/>
                  </a:cubicBezTo>
                  <a:close/>
                  <a:moveTo>
                    <a:pt x="11826" y="19984"/>
                  </a:moveTo>
                  <a:cubicBezTo>
                    <a:pt x="11694" y="19984"/>
                    <a:pt x="11587" y="20079"/>
                    <a:pt x="11587" y="20196"/>
                  </a:cubicBezTo>
                  <a:cubicBezTo>
                    <a:pt x="11587" y="20313"/>
                    <a:pt x="11694" y="20406"/>
                    <a:pt x="11826" y="20406"/>
                  </a:cubicBezTo>
                  <a:cubicBezTo>
                    <a:pt x="11957" y="20406"/>
                    <a:pt x="12062" y="20313"/>
                    <a:pt x="12062" y="20196"/>
                  </a:cubicBezTo>
                  <a:cubicBezTo>
                    <a:pt x="12062" y="20079"/>
                    <a:pt x="11957" y="19984"/>
                    <a:pt x="11826" y="19984"/>
                  </a:cubicBezTo>
                  <a:close/>
                  <a:moveTo>
                    <a:pt x="12532" y="19984"/>
                  </a:moveTo>
                  <a:cubicBezTo>
                    <a:pt x="12401" y="19984"/>
                    <a:pt x="12294" y="20079"/>
                    <a:pt x="12294" y="20196"/>
                  </a:cubicBezTo>
                  <a:cubicBezTo>
                    <a:pt x="12294" y="20313"/>
                    <a:pt x="12401" y="20406"/>
                    <a:pt x="12532" y="20406"/>
                  </a:cubicBezTo>
                  <a:cubicBezTo>
                    <a:pt x="12663" y="20406"/>
                    <a:pt x="12768" y="20313"/>
                    <a:pt x="12768" y="20196"/>
                  </a:cubicBezTo>
                  <a:cubicBezTo>
                    <a:pt x="12768" y="20079"/>
                    <a:pt x="12663" y="19984"/>
                    <a:pt x="12532" y="19984"/>
                  </a:cubicBezTo>
                  <a:close/>
                  <a:moveTo>
                    <a:pt x="13168" y="19984"/>
                  </a:moveTo>
                  <a:cubicBezTo>
                    <a:pt x="13037" y="19984"/>
                    <a:pt x="12930" y="20079"/>
                    <a:pt x="12930" y="20196"/>
                  </a:cubicBezTo>
                  <a:cubicBezTo>
                    <a:pt x="12930" y="20313"/>
                    <a:pt x="13037" y="20406"/>
                    <a:pt x="13168" y="20406"/>
                  </a:cubicBezTo>
                  <a:cubicBezTo>
                    <a:pt x="13299" y="20406"/>
                    <a:pt x="13404" y="20313"/>
                    <a:pt x="13404" y="20196"/>
                  </a:cubicBezTo>
                  <a:cubicBezTo>
                    <a:pt x="13404" y="20079"/>
                    <a:pt x="13299" y="19984"/>
                    <a:pt x="13168" y="19984"/>
                  </a:cubicBezTo>
                  <a:close/>
                  <a:moveTo>
                    <a:pt x="13875" y="19984"/>
                  </a:moveTo>
                  <a:cubicBezTo>
                    <a:pt x="13743" y="19984"/>
                    <a:pt x="13636" y="20079"/>
                    <a:pt x="13636" y="20196"/>
                  </a:cubicBezTo>
                  <a:cubicBezTo>
                    <a:pt x="13636" y="20313"/>
                    <a:pt x="13743" y="20406"/>
                    <a:pt x="13875" y="20406"/>
                  </a:cubicBezTo>
                  <a:cubicBezTo>
                    <a:pt x="14005" y="20406"/>
                    <a:pt x="14111" y="20313"/>
                    <a:pt x="14111" y="20196"/>
                  </a:cubicBezTo>
                  <a:cubicBezTo>
                    <a:pt x="14111" y="20079"/>
                    <a:pt x="14005" y="19984"/>
                    <a:pt x="13875" y="19984"/>
                  </a:cubicBezTo>
                  <a:close/>
                  <a:moveTo>
                    <a:pt x="14581" y="19984"/>
                  </a:moveTo>
                  <a:cubicBezTo>
                    <a:pt x="14450" y="19984"/>
                    <a:pt x="14343" y="20079"/>
                    <a:pt x="14343" y="20196"/>
                  </a:cubicBezTo>
                  <a:cubicBezTo>
                    <a:pt x="14343" y="20313"/>
                    <a:pt x="14450" y="20406"/>
                    <a:pt x="14581" y="20406"/>
                  </a:cubicBezTo>
                  <a:cubicBezTo>
                    <a:pt x="14712" y="20406"/>
                    <a:pt x="14817" y="20313"/>
                    <a:pt x="14817" y="20196"/>
                  </a:cubicBezTo>
                  <a:cubicBezTo>
                    <a:pt x="14817" y="20079"/>
                    <a:pt x="14712" y="19984"/>
                    <a:pt x="14581" y="19984"/>
                  </a:cubicBezTo>
                  <a:close/>
                  <a:moveTo>
                    <a:pt x="11190" y="20549"/>
                  </a:moveTo>
                  <a:cubicBezTo>
                    <a:pt x="11059" y="20549"/>
                    <a:pt x="10951" y="20645"/>
                    <a:pt x="10951" y="20761"/>
                  </a:cubicBezTo>
                  <a:cubicBezTo>
                    <a:pt x="10951" y="20878"/>
                    <a:pt x="11059" y="20972"/>
                    <a:pt x="11190" y="20972"/>
                  </a:cubicBezTo>
                  <a:cubicBezTo>
                    <a:pt x="11321" y="20972"/>
                    <a:pt x="11426" y="20878"/>
                    <a:pt x="11426" y="20761"/>
                  </a:cubicBezTo>
                  <a:cubicBezTo>
                    <a:pt x="11426" y="20645"/>
                    <a:pt x="11321" y="20549"/>
                    <a:pt x="11190" y="20549"/>
                  </a:cubicBezTo>
                  <a:close/>
                  <a:moveTo>
                    <a:pt x="11826" y="20549"/>
                  </a:moveTo>
                  <a:cubicBezTo>
                    <a:pt x="11694" y="20549"/>
                    <a:pt x="11587" y="20645"/>
                    <a:pt x="11587" y="20761"/>
                  </a:cubicBezTo>
                  <a:cubicBezTo>
                    <a:pt x="11587" y="20878"/>
                    <a:pt x="11694" y="20972"/>
                    <a:pt x="11826" y="20972"/>
                  </a:cubicBezTo>
                  <a:cubicBezTo>
                    <a:pt x="11957" y="20972"/>
                    <a:pt x="12062" y="20878"/>
                    <a:pt x="12062" y="20761"/>
                  </a:cubicBezTo>
                  <a:cubicBezTo>
                    <a:pt x="12062" y="20645"/>
                    <a:pt x="11957" y="20549"/>
                    <a:pt x="11826" y="20549"/>
                  </a:cubicBezTo>
                  <a:close/>
                  <a:moveTo>
                    <a:pt x="12532" y="20549"/>
                  </a:moveTo>
                  <a:cubicBezTo>
                    <a:pt x="12401" y="20549"/>
                    <a:pt x="12294" y="20645"/>
                    <a:pt x="12294" y="20761"/>
                  </a:cubicBezTo>
                  <a:cubicBezTo>
                    <a:pt x="12294" y="20878"/>
                    <a:pt x="12401" y="20972"/>
                    <a:pt x="12532" y="20972"/>
                  </a:cubicBezTo>
                  <a:cubicBezTo>
                    <a:pt x="12663" y="20972"/>
                    <a:pt x="12768" y="20878"/>
                    <a:pt x="12768" y="20761"/>
                  </a:cubicBezTo>
                  <a:cubicBezTo>
                    <a:pt x="12768" y="20645"/>
                    <a:pt x="12663" y="20549"/>
                    <a:pt x="12532" y="20549"/>
                  </a:cubicBezTo>
                  <a:close/>
                  <a:moveTo>
                    <a:pt x="13168" y="20549"/>
                  </a:moveTo>
                  <a:cubicBezTo>
                    <a:pt x="13037" y="20549"/>
                    <a:pt x="12930" y="20645"/>
                    <a:pt x="12930" y="20761"/>
                  </a:cubicBezTo>
                  <a:cubicBezTo>
                    <a:pt x="12930" y="20878"/>
                    <a:pt x="13037" y="20972"/>
                    <a:pt x="13168" y="20972"/>
                  </a:cubicBezTo>
                  <a:cubicBezTo>
                    <a:pt x="13299" y="20972"/>
                    <a:pt x="13404" y="20878"/>
                    <a:pt x="13404" y="20761"/>
                  </a:cubicBezTo>
                  <a:cubicBezTo>
                    <a:pt x="13404" y="20645"/>
                    <a:pt x="13299" y="20549"/>
                    <a:pt x="13168" y="20549"/>
                  </a:cubicBezTo>
                  <a:close/>
                  <a:moveTo>
                    <a:pt x="13875" y="20549"/>
                  </a:moveTo>
                  <a:cubicBezTo>
                    <a:pt x="13743" y="20549"/>
                    <a:pt x="13636" y="20645"/>
                    <a:pt x="13636" y="20761"/>
                  </a:cubicBezTo>
                  <a:cubicBezTo>
                    <a:pt x="13636" y="20878"/>
                    <a:pt x="13743" y="20972"/>
                    <a:pt x="13875" y="20972"/>
                  </a:cubicBezTo>
                  <a:cubicBezTo>
                    <a:pt x="14005" y="20972"/>
                    <a:pt x="14111" y="20878"/>
                    <a:pt x="14111" y="20761"/>
                  </a:cubicBezTo>
                  <a:cubicBezTo>
                    <a:pt x="14111" y="20645"/>
                    <a:pt x="14005" y="20549"/>
                    <a:pt x="13875" y="20549"/>
                  </a:cubicBezTo>
                  <a:close/>
                  <a:moveTo>
                    <a:pt x="11190" y="21178"/>
                  </a:moveTo>
                  <a:cubicBezTo>
                    <a:pt x="11059" y="21178"/>
                    <a:pt x="10951" y="21273"/>
                    <a:pt x="10951" y="21390"/>
                  </a:cubicBezTo>
                  <a:cubicBezTo>
                    <a:pt x="10951" y="21506"/>
                    <a:pt x="11059" y="21600"/>
                    <a:pt x="11190" y="21600"/>
                  </a:cubicBezTo>
                  <a:cubicBezTo>
                    <a:pt x="11321" y="21600"/>
                    <a:pt x="11426" y="21506"/>
                    <a:pt x="11426" y="21390"/>
                  </a:cubicBezTo>
                  <a:cubicBezTo>
                    <a:pt x="11426" y="21273"/>
                    <a:pt x="11321" y="21178"/>
                    <a:pt x="11190" y="21178"/>
                  </a:cubicBezTo>
                  <a:close/>
                  <a:moveTo>
                    <a:pt x="11826" y="21178"/>
                  </a:moveTo>
                  <a:cubicBezTo>
                    <a:pt x="11694" y="21178"/>
                    <a:pt x="11587" y="21273"/>
                    <a:pt x="11587" y="21390"/>
                  </a:cubicBezTo>
                  <a:cubicBezTo>
                    <a:pt x="11587" y="21506"/>
                    <a:pt x="11694" y="21600"/>
                    <a:pt x="11826" y="21600"/>
                  </a:cubicBezTo>
                  <a:cubicBezTo>
                    <a:pt x="11957" y="21600"/>
                    <a:pt x="12062" y="21506"/>
                    <a:pt x="12062" y="21390"/>
                  </a:cubicBezTo>
                  <a:cubicBezTo>
                    <a:pt x="12062" y="21273"/>
                    <a:pt x="11957" y="21178"/>
                    <a:pt x="11826" y="21178"/>
                  </a:cubicBezTo>
                  <a:close/>
                  <a:moveTo>
                    <a:pt x="12532" y="21178"/>
                  </a:moveTo>
                  <a:cubicBezTo>
                    <a:pt x="12401" y="21178"/>
                    <a:pt x="12294" y="21273"/>
                    <a:pt x="12294" y="21390"/>
                  </a:cubicBezTo>
                  <a:cubicBezTo>
                    <a:pt x="12294" y="21506"/>
                    <a:pt x="12401" y="21600"/>
                    <a:pt x="12532" y="21600"/>
                  </a:cubicBezTo>
                  <a:cubicBezTo>
                    <a:pt x="12663" y="21600"/>
                    <a:pt x="12768" y="21506"/>
                    <a:pt x="12768" y="21390"/>
                  </a:cubicBezTo>
                  <a:cubicBezTo>
                    <a:pt x="12768" y="21273"/>
                    <a:pt x="12663" y="21178"/>
                    <a:pt x="12532" y="21178"/>
                  </a:cubicBezTo>
                  <a:close/>
                  <a:moveTo>
                    <a:pt x="13168" y="21178"/>
                  </a:moveTo>
                  <a:cubicBezTo>
                    <a:pt x="13037" y="21178"/>
                    <a:pt x="12930" y="21273"/>
                    <a:pt x="12930" y="21390"/>
                  </a:cubicBezTo>
                  <a:cubicBezTo>
                    <a:pt x="12930" y="21506"/>
                    <a:pt x="13037" y="21600"/>
                    <a:pt x="13168" y="21600"/>
                  </a:cubicBezTo>
                  <a:cubicBezTo>
                    <a:pt x="13299" y="21600"/>
                    <a:pt x="13404" y="21506"/>
                    <a:pt x="13404" y="21390"/>
                  </a:cubicBezTo>
                  <a:cubicBezTo>
                    <a:pt x="13404" y="21273"/>
                    <a:pt x="13299" y="21178"/>
                    <a:pt x="13168" y="21178"/>
                  </a:cubicBezTo>
                  <a:close/>
                </a:path>
              </a:pathLst>
            </a:custGeom>
            <a:grpFill/>
            <a:ln w="12700" cap="flat">
              <a:noFill/>
              <a:miter lim="400000"/>
            </a:ln>
            <a:effectLst/>
          </p:spPr>
          <p:txBody>
            <a:bodyPr wrap="square" lIns="19050" tIns="19050" rIns="19050" bIns="19050" numCol="1" anchor="ctr">
              <a:noAutofit/>
            </a:bodyP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10" name="Shape 18634"/>
            <p:cNvSpPr/>
            <p:nvPr/>
          </p:nvSpPr>
          <p:spPr>
            <a:xfrm>
              <a:off x="0" y="0"/>
              <a:ext cx="6676629" cy="4238625"/>
            </a:xfrm>
            <a:custGeom>
              <a:avLst/>
              <a:gdLst/>
              <a:ahLst/>
              <a:cxnLst>
                <a:cxn ang="0">
                  <a:pos x="wd2" y="hd2"/>
                </a:cxn>
                <a:cxn ang="5400000">
                  <a:pos x="wd2" y="hd2"/>
                </a:cxn>
                <a:cxn ang="10800000">
                  <a:pos x="wd2" y="hd2"/>
                </a:cxn>
                <a:cxn ang="16200000">
                  <a:pos x="wd2" y="hd2"/>
                </a:cxn>
              </a:cxnLst>
              <a:rect l="0" t="0" r="r" b="b"/>
              <a:pathLst>
                <a:path w="21600" h="21600" extrusionOk="0">
                  <a:moveTo>
                    <a:pt x="15135" y="0"/>
                  </a:moveTo>
                  <a:cubicBezTo>
                    <a:pt x="15059" y="0"/>
                    <a:pt x="14997" y="98"/>
                    <a:pt x="14997" y="218"/>
                  </a:cubicBezTo>
                  <a:cubicBezTo>
                    <a:pt x="14997" y="339"/>
                    <a:pt x="15059" y="435"/>
                    <a:pt x="15135" y="435"/>
                  </a:cubicBezTo>
                  <a:cubicBezTo>
                    <a:pt x="15212" y="435"/>
                    <a:pt x="15273" y="339"/>
                    <a:pt x="15273" y="218"/>
                  </a:cubicBezTo>
                  <a:cubicBezTo>
                    <a:pt x="15273" y="98"/>
                    <a:pt x="15212" y="0"/>
                    <a:pt x="15135" y="0"/>
                  </a:cubicBezTo>
                  <a:close/>
                  <a:moveTo>
                    <a:pt x="15505" y="0"/>
                  </a:moveTo>
                  <a:cubicBezTo>
                    <a:pt x="15429" y="0"/>
                    <a:pt x="15366" y="98"/>
                    <a:pt x="15366" y="218"/>
                  </a:cubicBezTo>
                  <a:cubicBezTo>
                    <a:pt x="15366" y="339"/>
                    <a:pt x="15429" y="435"/>
                    <a:pt x="15505" y="435"/>
                  </a:cubicBezTo>
                  <a:cubicBezTo>
                    <a:pt x="15581" y="435"/>
                    <a:pt x="15642" y="339"/>
                    <a:pt x="15642" y="218"/>
                  </a:cubicBezTo>
                  <a:cubicBezTo>
                    <a:pt x="15642" y="98"/>
                    <a:pt x="15581" y="0"/>
                    <a:pt x="15505" y="0"/>
                  </a:cubicBezTo>
                  <a:close/>
                  <a:moveTo>
                    <a:pt x="15916" y="0"/>
                  </a:moveTo>
                  <a:cubicBezTo>
                    <a:pt x="15840" y="0"/>
                    <a:pt x="15777" y="98"/>
                    <a:pt x="15777" y="218"/>
                  </a:cubicBezTo>
                  <a:cubicBezTo>
                    <a:pt x="15777" y="339"/>
                    <a:pt x="15840" y="435"/>
                    <a:pt x="15916" y="435"/>
                  </a:cubicBezTo>
                  <a:cubicBezTo>
                    <a:pt x="15992" y="435"/>
                    <a:pt x="16053" y="339"/>
                    <a:pt x="16053" y="218"/>
                  </a:cubicBezTo>
                  <a:cubicBezTo>
                    <a:pt x="16053" y="98"/>
                    <a:pt x="15992" y="0"/>
                    <a:pt x="15916" y="0"/>
                  </a:cubicBezTo>
                  <a:close/>
                  <a:moveTo>
                    <a:pt x="16286" y="0"/>
                  </a:moveTo>
                  <a:cubicBezTo>
                    <a:pt x="16209" y="0"/>
                    <a:pt x="16147" y="98"/>
                    <a:pt x="16147" y="218"/>
                  </a:cubicBezTo>
                  <a:cubicBezTo>
                    <a:pt x="16147" y="339"/>
                    <a:pt x="16209" y="435"/>
                    <a:pt x="16286" y="435"/>
                  </a:cubicBezTo>
                  <a:cubicBezTo>
                    <a:pt x="16362" y="435"/>
                    <a:pt x="16423" y="339"/>
                    <a:pt x="16423" y="218"/>
                  </a:cubicBezTo>
                  <a:cubicBezTo>
                    <a:pt x="16423" y="98"/>
                    <a:pt x="16362" y="0"/>
                    <a:pt x="16286" y="0"/>
                  </a:cubicBezTo>
                  <a:close/>
                  <a:moveTo>
                    <a:pt x="16697" y="0"/>
                  </a:moveTo>
                  <a:cubicBezTo>
                    <a:pt x="16620" y="0"/>
                    <a:pt x="16558" y="98"/>
                    <a:pt x="16558" y="218"/>
                  </a:cubicBezTo>
                  <a:cubicBezTo>
                    <a:pt x="16558" y="339"/>
                    <a:pt x="16620" y="435"/>
                    <a:pt x="16697" y="435"/>
                  </a:cubicBezTo>
                  <a:cubicBezTo>
                    <a:pt x="16773" y="435"/>
                    <a:pt x="16834" y="339"/>
                    <a:pt x="16834" y="218"/>
                  </a:cubicBezTo>
                  <a:cubicBezTo>
                    <a:pt x="16834" y="98"/>
                    <a:pt x="16773" y="0"/>
                    <a:pt x="16697" y="0"/>
                  </a:cubicBezTo>
                  <a:close/>
                  <a:moveTo>
                    <a:pt x="19449" y="0"/>
                  </a:moveTo>
                  <a:cubicBezTo>
                    <a:pt x="19373" y="0"/>
                    <a:pt x="19311" y="98"/>
                    <a:pt x="19311" y="218"/>
                  </a:cubicBezTo>
                  <a:cubicBezTo>
                    <a:pt x="19311" y="339"/>
                    <a:pt x="19373" y="435"/>
                    <a:pt x="19449" y="435"/>
                  </a:cubicBezTo>
                  <a:cubicBezTo>
                    <a:pt x="19526" y="435"/>
                    <a:pt x="19587" y="339"/>
                    <a:pt x="19587" y="218"/>
                  </a:cubicBezTo>
                  <a:cubicBezTo>
                    <a:pt x="19587" y="98"/>
                    <a:pt x="19526" y="0"/>
                    <a:pt x="19449" y="0"/>
                  </a:cubicBezTo>
                  <a:close/>
                  <a:moveTo>
                    <a:pt x="19860" y="0"/>
                  </a:moveTo>
                  <a:cubicBezTo>
                    <a:pt x="19784" y="0"/>
                    <a:pt x="19722" y="98"/>
                    <a:pt x="19722" y="218"/>
                  </a:cubicBezTo>
                  <a:cubicBezTo>
                    <a:pt x="19722" y="339"/>
                    <a:pt x="19784" y="435"/>
                    <a:pt x="19860" y="435"/>
                  </a:cubicBezTo>
                  <a:cubicBezTo>
                    <a:pt x="19937" y="435"/>
                    <a:pt x="19998" y="339"/>
                    <a:pt x="19998" y="218"/>
                  </a:cubicBezTo>
                  <a:cubicBezTo>
                    <a:pt x="19998" y="98"/>
                    <a:pt x="19937" y="0"/>
                    <a:pt x="19860" y="0"/>
                  </a:cubicBezTo>
                  <a:close/>
                  <a:moveTo>
                    <a:pt x="20271" y="0"/>
                  </a:moveTo>
                  <a:cubicBezTo>
                    <a:pt x="20195" y="0"/>
                    <a:pt x="20132" y="98"/>
                    <a:pt x="20132" y="218"/>
                  </a:cubicBezTo>
                  <a:cubicBezTo>
                    <a:pt x="20132" y="339"/>
                    <a:pt x="20195" y="435"/>
                    <a:pt x="20271" y="435"/>
                  </a:cubicBezTo>
                  <a:cubicBezTo>
                    <a:pt x="20347" y="435"/>
                    <a:pt x="20408" y="339"/>
                    <a:pt x="20408" y="218"/>
                  </a:cubicBezTo>
                  <a:cubicBezTo>
                    <a:pt x="20408" y="98"/>
                    <a:pt x="20347" y="0"/>
                    <a:pt x="20271" y="0"/>
                  </a:cubicBezTo>
                  <a:close/>
                  <a:moveTo>
                    <a:pt x="20641" y="0"/>
                  </a:moveTo>
                  <a:cubicBezTo>
                    <a:pt x="20565" y="0"/>
                    <a:pt x="20502" y="98"/>
                    <a:pt x="20502" y="218"/>
                  </a:cubicBezTo>
                  <a:cubicBezTo>
                    <a:pt x="20502" y="339"/>
                    <a:pt x="20565" y="435"/>
                    <a:pt x="20641" y="435"/>
                  </a:cubicBezTo>
                  <a:cubicBezTo>
                    <a:pt x="20717" y="435"/>
                    <a:pt x="20778" y="339"/>
                    <a:pt x="20778" y="218"/>
                  </a:cubicBezTo>
                  <a:cubicBezTo>
                    <a:pt x="20778" y="98"/>
                    <a:pt x="20717" y="0"/>
                    <a:pt x="20641" y="0"/>
                  </a:cubicBezTo>
                  <a:close/>
                  <a:moveTo>
                    <a:pt x="21052" y="0"/>
                  </a:moveTo>
                  <a:cubicBezTo>
                    <a:pt x="20975" y="0"/>
                    <a:pt x="20913" y="98"/>
                    <a:pt x="20913" y="218"/>
                  </a:cubicBezTo>
                  <a:cubicBezTo>
                    <a:pt x="20913" y="339"/>
                    <a:pt x="20975" y="435"/>
                    <a:pt x="21052" y="435"/>
                  </a:cubicBezTo>
                  <a:cubicBezTo>
                    <a:pt x="21128" y="435"/>
                    <a:pt x="21189" y="339"/>
                    <a:pt x="21189" y="218"/>
                  </a:cubicBezTo>
                  <a:cubicBezTo>
                    <a:pt x="21189" y="98"/>
                    <a:pt x="21128" y="0"/>
                    <a:pt x="21052" y="0"/>
                  </a:cubicBezTo>
                  <a:close/>
                  <a:moveTo>
                    <a:pt x="21463" y="0"/>
                  </a:moveTo>
                  <a:cubicBezTo>
                    <a:pt x="21386" y="0"/>
                    <a:pt x="21324" y="98"/>
                    <a:pt x="21324" y="218"/>
                  </a:cubicBezTo>
                  <a:cubicBezTo>
                    <a:pt x="21324" y="339"/>
                    <a:pt x="21386" y="435"/>
                    <a:pt x="21463" y="435"/>
                  </a:cubicBezTo>
                  <a:cubicBezTo>
                    <a:pt x="21539" y="435"/>
                    <a:pt x="21600" y="339"/>
                    <a:pt x="21600" y="218"/>
                  </a:cubicBezTo>
                  <a:cubicBezTo>
                    <a:pt x="21600" y="98"/>
                    <a:pt x="21539" y="0"/>
                    <a:pt x="21463" y="0"/>
                  </a:cubicBezTo>
                  <a:close/>
                  <a:moveTo>
                    <a:pt x="14355" y="582"/>
                  </a:moveTo>
                  <a:cubicBezTo>
                    <a:pt x="14278" y="582"/>
                    <a:pt x="14216" y="681"/>
                    <a:pt x="14216" y="801"/>
                  </a:cubicBezTo>
                  <a:cubicBezTo>
                    <a:pt x="14216" y="921"/>
                    <a:pt x="14278" y="1017"/>
                    <a:pt x="14355" y="1017"/>
                  </a:cubicBezTo>
                  <a:cubicBezTo>
                    <a:pt x="14431" y="1017"/>
                    <a:pt x="14492" y="921"/>
                    <a:pt x="14492" y="801"/>
                  </a:cubicBezTo>
                  <a:cubicBezTo>
                    <a:pt x="14492" y="681"/>
                    <a:pt x="14431" y="582"/>
                    <a:pt x="14355" y="582"/>
                  </a:cubicBezTo>
                  <a:close/>
                  <a:moveTo>
                    <a:pt x="14765" y="582"/>
                  </a:moveTo>
                  <a:cubicBezTo>
                    <a:pt x="14689" y="582"/>
                    <a:pt x="14627" y="681"/>
                    <a:pt x="14627" y="801"/>
                  </a:cubicBezTo>
                  <a:cubicBezTo>
                    <a:pt x="14627" y="921"/>
                    <a:pt x="14689" y="1017"/>
                    <a:pt x="14765" y="1017"/>
                  </a:cubicBezTo>
                  <a:cubicBezTo>
                    <a:pt x="14842" y="1017"/>
                    <a:pt x="14903" y="921"/>
                    <a:pt x="14903" y="801"/>
                  </a:cubicBezTo>
                  <a:cubicBezTo>
                    <a:pt x="14903" y="681"/>
                    <a:pt x="14842" y="582"/>
                    <a:pt x="14765" y="582"/>
                  </a:cubicBezTo>
                  <a:close/>
                  <a:moveTo>
                    <a:pt x="15135" y="582"/>
                  </a:moveTo>
                  <a:cubicBezTo>
                    <a:pt x="15059" y="582"/>
                    <a:pt x="14997" y="681"/>
                    <a:pt x="14997" y="801"/>
                  </a:cubicBezTo>
                  <a:cubicBezTo>
                    <a:pt x="14997" y="921"/>
                    <a:pt x="15059" y="1017"/>
                    <a:pt x="15135" y="1017"/>
                  </a:cubicBezTo>
                  <a:cubicBezTo>
                    <a:pt x="15212" y="1017"/>
                    <a:pt x="15273" y="921"/>
                    <a:pt x="15273" y="801"/>
                  </a:cubicBezTo>
                  <a:cubicBezTo>
                    <a:pt x="15273" y="681"/>
                    <a:pt x="15212" y="582"/>
                    <a:pt x="15135" y="582"/>
                  </a:cubicBezTo>
                  <a:close/>
                  <a:moveTo>
                    <a:pt x="15546" y="582"/>
                  </a:moveTo>
                  <a:cubicBezTo>
                    <a:pt x="15470" y="582"/>
                    <a:pt x="15407" y="681"/>
                    <a:pt x="15407" y="801"/>
                  </a:cubicBezTo>
                  <a:cubicBezTo>
                    <a:pt x="15407" y="921"/>
                    <a:pt x="15470" y="1017"/>
                    <a:pt x="15546" y="1017"/>
                  </a:cubicBezTo>
                  <a:cubicBezTo>
                    <a:pt x="15622" y="1017"/>
                    <a:pt x="15684" y="921"/>
                    <a:pt x="15684" y="801"/>
                  </a:cubicBezTo>
                  <a:cubicBezTo>
                    <a:pt x="15684" y="681"/>
                    <a:pt x="15622" y="582"/>
                    <a:pt x="15546" y="582"/>
                  </a:cubicBezTo>
                  <a:close/>
                  <a:moveTo>
                    <a:pt x="16286" y="582"/>
                  </a:moveTo>
                  <a:cubicBezTo>
                    <a:pt x="16209" y="582"/>
                    <a:pt x="16147" y="681"/>
                    <a:pt x="16147" y="801"/>
                  </a:cubicBezTo>
                  <a:cubicBezTo>
                    <a:pt x="16147" y="921"/>
                    <a:pt x="16209" y="1017"/>
                    <a:pt x="16286" y="1017"/>
                  </a:cubicBezTo>
                  <a:cubicBezTo>
                    <a:pt x="16362" y="1017"/>
                    <a:pt x="16423" y="921"/>
                    <a:pt x="16423" y="801"/>
                  </a:cubicBezTo>
                  <a:cubicBezTo>
                    <a:pt x="16423" y="681"/>
                    <a:pt x="16362" y="582"/>
                    <a:pt x="16286" y="582"/>
                  </a:cubicBezTo>
                  <a:close/>
                  <a:moveTo>
                    <a:pt x="16697" y="582"/>
                  </a:moveTo>
                  <a:cubicBezTo>
                    <a:pt x="16620" y="582"/>
                    <a:pt x="16558" y="681"/>
                    <a:pt x="16558" y="801"/>
                  </a:cubicBezTo>
                  <a:cubicBezTo>
                    <a:pt x="16558" y="921"/>
                    <a:pt x="16620" y="1017"/>
                    <a:pt x="16697" y="1017"/>
                  </a:cubicBezTo>
                  <a:cubicBezTo>
                    <a:pt x="16773" y="1017"/>
                    <a:pt x="16834" y="921"/>
                    <a:pt x="16834" y="801"/>
                  </a:cubicBezTo>
                  <a:cubicBezTo>
                    <a:pt x="16834" y="681"/>
                    <a:pt x="16773" y="582"/>
                    <a:pt x="16697" y="582"/>
                  </a:cubicBezTo>
                  <a:close/>
                  <a:moveTo>
                    <a:pt x="17107" y="582"/>
                  </a:moveTo>
                  <a:cubicBezTo>
                    <a:pt x="17031" y="582"/>
                    <a:pt x="16969" y="681"/>
                    <a:pt x="16969" y="801"/>
                  </a:cubicBezTo>
                  <a:cubicBezTo>
                    <a:pt x="16969" y="921"/>
                    <a:pt x="17031" y="1017"/>
                    <a:pt x="17107" y="1017"/>
                  </a:cubicBezTo>
                  <a:cubicBezTo>
                    <a:pt x="17184" y="1017"/>
                    <a:pt x="17245" y="921"/>
                    <a:pt x="17245" y="801"/>
                  </a:cubicBezTo>
                  <a:cubicBezTo>
                    <a:pt x="17245" y="681"/>
                    <a:pt x="17184" y="582"/>
                    <a:pt x="17107" y="582"/>
                  </a:cubicBezTo>
                  <a:close/>
                  <a:moveTo>
                    <a:pt x="17477" y="582"/>
                  </a:moveTo>
                  <a:cubicBezTo>
                    <a:pt x="17401" y="582"/>
                    <a:pt x="17339" y="681"/>
                    <a:pt x="17339" y="801"/>
                  </a:cubicBezTo>
                  <a:cubicBezTo>
                    <a:pt x="17339" y="921"/>
                    <a:pt x="17401" y="1017"/>
                    <a:pt x="17477" y="1017"/>
                  </a:cubicBezTo>
                  <a:cubicBezTo>
                    <a:pt x="17553" y="1017"/>
                    <a:pt x="17615" y="921"/>
                    <a:pt x="17615" y="801"/>
                  </a:cubicBezTo>
                  <a:cubicBezTo>
                    <a:pt x="17615" y="681"/>
                    <a:pt x="17553" y="582"/>
                    <a:pt x="17477" y="582"/>
                  </a:cubicBezTo>
                  <a:close/>
                  <a:moveTo>
                    <a:pt x="17888" y="582"/>
                  </a:moveTo>
                  <a:cubicBezTo>
                    <a:pt x="17812" y="582"/>
                    <a:pt x="17749" y="681"/>
                    <a:pt x="17749" y="801"/>
                  </a:cubicBezTo>
                  <a:cubicBezTo>
                    <a:pt x="17749" y="921"/>
                    <a:pt x="17812" y="1017"/>
                    <a:pt x="17888" y="1017"/>
                  </a:cubicBezTo>
                  <a:cubicBezTo>
                    <a:pt x="17964" y="1017"/>
                    <a:pt x="18025" y="921"/>
                    <a:pt x="18025" y="801"/>
                  </a:cubicBezTo>
                  <a:cubicBezTo>
                    <a:pt x="18025" y="681"/>
                    <a:pt x="17964" y="582"/>
                    <a:pt x="17888" y="582"/>
                  </a:cubicBezTo>
                  <a:close/>
                  <a:moveTo>
                    <a:pt x="18258" y="582"/>
                  </a:moveTo>
                  <a:cubicBezTo>
                    <a:pt x="18182" y="582"/>
                    <a:pt x="18119" y="681"/>
                    <a:pt x="18119" y="801"/>
                  </a:cubicBezTo>
                  <a:cubicBezTo>
                    <a:pt x="18119" y="921"/>
                    <a:pt x="18182" y="1017"/>
                    <a:pt x="18258" y="1017"/>
                  </a:cubicBezTo>
                  <a:cubicBezTo>
                    <a:pt x="18334" y="1017"/>
                    <a:pt x="18395" y="921"/>
                    <a:pt x="18395" y="801"/>
                  </a:cubicBezTo>
                  <a:cubicBezTo>
                    <a:pt x="18395" y="681"/>
                    <a:pt x="18334" y="582"/>
                    <a:pt x="18258" y="582"/>
                  </a:cubicBezTo>
                  <a:close/>
                  <a:moveTo>
                    <a:pt x="18669" y="582"/>
                  </a:moveTo>
                  <a:cubicBezTo>
                    <a:pt x="18592" y="582"/>
                    <a:pt x="18530" y="681"/>
                    <a:pt x="18530" y="801"/>
                  </a:cubicBezTo>
                  <a:cubicBezTo>
                    <a:pt x="18530" y="921"/>
                    <a:pt x="18592" y="1017"/>
                    <a:pt x="18669" y="1017"/>
                  </a:cubicBezTo>
                  <a:cubicBezTo>
                    <a:pt x="18745" y="1017"/>
                    <a:pt x="18806" y="921"/>
                    <a:pt x="18806" y="801"/>
                  </a:cubicBezTo>
                  <a:cubicBezTo>
                    <a:pt x="18806" y="681"/>
                    <a:pt x="18745" y="582"/>
                    <a:pt x="18669" y="582"/>
                  </a:cubicBezTo>
                  <a:close/>
                  <a:moveTo>
                    <a:pt x="19080" y="582"/>
                  </a:moveTo>
                  <a:cubicBezTo>
                    <a:pt x="19003" y="582"/>
                    <a:pt x="18941" y="681"/>
                    <a:pt x="18941" y="801"/>
                  </a:cubicBezTo>
                  <a:cubicBezTo>
                    <a:pt x="18941" y="921"/>
                    <a:pt x="19003" y="1017"/>
                    <a:pt x="19080" y="1017"/>
                  </a:cubicBezTo>
                  <a:cubicBezTo>
                    <a:pt x="19156" y="1017"/>
                    <a:pt x="19217" y="921"/>
                    <a:pt x="19217" y="801"/>
                  </a:cubicBezTo>
                  <a:cubicBezTo>
                    <a:pt x="19217" y="681"/>
                    <a:pt x="19156" y="582"/>
                    <a:pt x="19080" y="582"/>
                  </a:cubicBezTo>
                  <a:close/>
                  <a:moveTo>
                    <a:pt x="19449" y="582"/>
                  </a:moveTo>
                  <a:cubicBezTo>
                    <a:pt x="19373" y="582"/>
                    <a:pt x="19311" y="681"/>
                    <a:pt x="19311" y="801"/>
                  </a:cubicBezTo>
                  <a:cubicBezTo>
                    <a:pt x="19311" y="921"/>
                    <a:pt x="19373" y="1017"/>
                    <a:pt x="19449" y="1017"/>
                  </a:cubicBezTo>
                  <a:cubicBezTo>
                    <a:pt x="19526" y="1017"/>
                    <a:pt x="19587" y="921"/>
                    <a:pt x="19587" y="801"/>
                  </a:cubicBezTo>
                  <a:cubicBezTo>
                    <a:pt x="19587" y="681"/>
                    <a:pt x="19526" y="582"/>
                    <a:pt x="19449" y="582"/>
                  </a:cubicBezTo>
                  <a:close/>
                  <a:moveTo>
                    <a:pt x="19860" y="582"/>
                  </a:moveTo>
                  <a:cubicBezTo>
                    <a:pt x="19784" y="582"/>
                    <a:pt x="19722" y="681"/>
                    <a:pt x="19722" y="801"/>
                  </a:cubicBezTo>
                  <a:cubicBezTo>
                    <a:pt x="19722" y="921"/>
                    <a:pt x="19784" y="1017"/>
                    <a:pt x="19860" y="1017"/>
                  </a:cubicBezTo>
                  <a:cubicBezTo>
                    <a:pt x="19937" y="1017"/>
                    <a:pt x="19998" y="921"/>
                    <a:pt x="19998" y="801"/>
                  </a:cubicBezTo>
                  <a:cubicBezTo>
                    <a:pt x="19998" y="681"/>
                    <a:pt x="19937" y="582"/>
                    <a:pt x="19860" y="582"/>
                  </a:cubicBezTo>
                  <a:close/>
                  <a:moveTo>
                    <a:pt x="20271" y="582"/>
                  </a:moveTo>
                  <a:cubicBezTo>
                    <a:pt x="20195" y="582"/>
                    <a:pt x="20132" y="681"/>
                    <a:pt x="20132" y="801"/>
                  </a:cubicBezTo>
                  <a:cubicBezTo>
                    <a:pt x="20132" y="921"/>
                    <a:pt x="20195" y="1017"/>
                    <a:pt x="20271" y="1017"/>
                  </a:cubicBezTo>
                  <a:cubicBezTo>
                    <a:pt x="20347" y="1017"/>
                    <a:pt x="20408" y="921"/>
                    <a:pt x="20408" y="801"/>
                  </a:cubicBezTo>
                  <a:cubicBezTo>
                    <a:pt x="20408" y="681"/>
                    <a:pt x="20347" y="582"/>
                    <a:pt x="20271" y="582"/>
                  </a:cubicBezTo>
                  <a:close/>
                  <a:moveTo>
                    <a:pt x="20641" y="582"/>
                  </a:moveTo>
                  <a:cubicBezTo>
                    <a:pt x="20565" y="582"/>
                    <a:pt x="20502" y="681"/>
                    <a:pt x="20502" y="801"/>
                  </a:cubicBezTo>
                  <a:cubicBezTo>
                    <a:pt x="20502" y="921"/>
                    <a:pt x="20565" y="1017"/>
                    <a:pt x="20641" y="1017"/>
                  </a:cubicBezTo>
                  <a:cubicBezTo>
                    <a:pt x="20717" y="1017"/>
                    <a:pt x="20778" y="921"/>
                    <a:pt x="20778" y="801"/>
                  </a:cubicBezTo>
                  <a:cubicBezTo>
                    <a:pt x="20778" y="681"/>
                    <a:pt x="20717" y="582"/>
                    <a:pt x="20641" y="582"/>
                  </a:cubicBezTo>
                  <a:close/>
                  <a:moveTo>
                    <a:pt x="21052" y="582"/>
                  </a:moveTo>
                  <a:cubicBezTo>
                    <a:pt x="20975" y="582"/>
                    <a:pt x="20913" y="681"/>
                    <a:pt x="20913" y="801"/>
                  </a:cubicBezTo>
                  <a:cubicBezTo>
                    <a:pt x="20913" y="921"/>
                    <a:pt x="20975" y="1017"/>
                    <a:pt x="21052" y="1017"/>
                  </a:cubicBezTo>
                  <a:cubicBezTo>
                    <a:pt x="21128" y="1017"/>
                    <a:pt x="21189" y="921"/>
                    <a:pt x="21189" y="801"/>
                  </a:cubicBezTo>
                  <a:cubicBezTo>
                    <a:pt x="21189" y="681"/>
                    <a:pt x="21128" y="582"/>
                    <a:pt x="21052" y="582"/>
                  </a:cubicBezTo>
                  <a:close/>
                  <a:moveTo>
                    <a:pt x="21463" y="582"/>
                  </a:moveTo>
                  <a:cubicBezTo>
                    <a:pt x="21386" y="582"/>
                    <a:pt x="21324" y="681"/>
                    <a:pt x="21324" y="801"/>
                  </a:cubicBezTo>
                  <a:cubicBezTo>
                    <a:pt x="21324" y="921"/>
                    <a:pt x="21386" y="1017"/>
                    <a:pt x="21463" y="1017"/>
                  </a:cubicBezTo>
                  <a:cubicBezTo>
                    <a:pt x="21539" y="1017"/>
                    <a:pt x="21600" y="921"/>
                    <a:pt x="21600" y="801"/>
                  </a:cubicBezTo>
                  <a:cubicBezTo>
                    <a:pt x="21600" y="681"/>
                    <a:pt x="21539" y="582"/>
                    <a:pt x="21463" y="582"/>
                  </a:cubicBezTo>
                  <a:close/>
                  <a:moveTo>
                    <a:pt x="14314" y="1230"/>
                  </a:moveTo>
                  <a:cubicBezTo>
                    <a:pt x="14237" y="1230"/>
                    <a:pt x="14175" y="1328"/>
                    <a:pt x="14175" y="1448"/>
                  </a:cubicBezTo>
                  <a:cubicBezTo>
                    <a:pt x="14175" y="1568"/>
                    <a:pt x="14237" y="1667"/>
                    <a:pt x="14314" y="1667"/>
                  </a:cubicBezTo>
                  <a:cubicBezTo>
                    <a:pt x="14390" y="1667"/>
                    <a:pt x="14451" y="1568"/>
                    <a:pt x="14451" y="1448"/>
                  </a:cubicBezTo>
                  <a:cubicBezTo>
                    <a:pt x="14451" y="1328"/>
                    <a:pt x="14390" y="1230"/>
                    <a:pt x="14314" y="1230"/>
                  </a:cubicBezTo>
                  <a:close/>
                  <a:moveTo>
                    <a:pt x="15505" y="1230"/>
                  </a:moveTo>
                  <a:cubicBezTo>
                    <a:pt x="15429" y="1230"/>
                    <a:pt x="15366" y="1328"/>
                    <a:pt x="15366" y="1448"/>
                  </a:cubicBezTo>
                  <a:cubicBezTo>
                    <a:pt x="15366" y="1568"/>
                    <a:pt x="15429" y="1667"/>
                    <a:pt x="15505" y="1667"/>
                  </a:cubicBezTo>
                  <a:cubicBezTo>
                    <a:pt x="15581" y="1667"/>
                    <a:pt x="15642" y="1568"/>
                    <a:pt x="15642" y="1448"/>
                  </a:cubicBezTo>
                  <a:cubicBezTo>
                    <a:pt x="15642" y="1328"/>
                    <a:pt x="15581" y="1230"/>
                    <a:pt x="15505" y="1230"/>
                  </a:cubicBezTo>
                  <a:close/>
                  <a:moveTo>
                    <a:pt x="15916" y="1230"/>
                  </a:moveTo>
                  <a:cubicBezTo>
                    <a:pt x="15840" y="1230"/>
                    <a:pt x="15777" y="1328"/>
                    <a:pt x="15777" y="1448"/>
                  </a:cubicBezTo>
                  <a:cubicBezTo>
                    <a:pt x="15777" y="1568"/>
                    <a:pt x="15840" y="1667"/>
                    <a:pt x="15916" y="1667"/>
                  </a:cubicBezTo>
                  <a:cubicBezTo>
                    <a:pt x="15992" y="1667"/>
                    <a:pt x="16053" y="1568"/>
                    <a:pt x="16053" y="1448"/>
                  </a:cubicBezTo>
                  <a:cubicBezTo>
                    <a:pt x="16053" y="1328"/>
                    <a:pt x="15992" y="1230"/>
                    <a:pt x="15916" y="1230"/>
                  </a:cubicBezTo>
                  <a:close/>
                  <a:moveTo>
                    <a:pt x="16286" y="1230"/>
                  </a:moveTo>
                  <a:cubicBezTo>
                    <a:pt x="16209" y="1230"/>
                    <a:pt x="16147" y="1328"/>
                    <a:pt x="16147" y="1448"/>
                  </a:cubicBezTo>
                  <a:cubicBezTo>
                    <a:pt x="16147" y="1568"/>
                    <a:pt x="16209" y="1667"/>
                    <a:pt x="16286" y="1667"/>
                  </a:cubicBezTo>
                  <a:cubicBezTo>
                    <a:pt x="16362" y="1667"/>
                    <a:pt x="16423" y="1568"/>
                    <a:pt x="16423" y="1448"/>
                  </a:cubicBezTo>
                  <a:cubicBezTo>
                    <a:pt x="16423" y="1328"/>
                    <a:pt x="16362" y="1230"/>
                    <a:pt x="16286" y="1230"/>
                  </a:cubicBezTo>
                  <a:close/>
                  <a:moveTo>
                    <a:pt x="16697" y="1230"/>
                  </a:moveTo>
                  <a:cubicBezTo>
                    <a:pt x="16620" y="1230"/>
                    <a:pt x="16558" y="1328"/>
                    <a:pt x="16558" y="1448"/>
                  </a:cubicBezTo>
                  <a:cubicBezTo>
                    <a:pt x="16558" y="1568"/>
                    <a:pt x="16620" y="1667"/>
                    <a:pt x="16697" y="1667"/>
                  </a:cubicBezTo>
                  <a:cubicBezTo>
                    <a:pt x="16773" y="1667"/>
                    <a:pt x="16834" y="1568"/>
                    <a:pt x="16834" y="1448"/>
                  </a:cubicBezTo>
                  <a:cubicBezTo>
                    <a:pt x="16834" y="1328"/>
                    <a:pt x="16773" y="1230"/>
                    <a:pt x="16697" y="1230"/>
                  </a:cubicBezTo>
                  <a:close/>
                  <a:moveTo>
                    <a:pt x="17107" y="1230"/>
                  </a:moveTo>
                  <a:cubicBezTo>
                    <a:pt x="17031" y="1230"/>
                    <a:pt x="16969" y="1328"/>
                    <a:pt x="16969" y="1448"/>
                  </a:cubicBezTo>
                  <a:cubicBezTo>
                    <a:pt x="16969" y="1568"/>
                    <a:pt x="17031" y="1667"/>
                    <a:pt x="17107" y="1667"/>
                  </a:cubicBezTo>
                  <a:cubicBezTo>
                    <a:pt x="17184" y="1667"/>
                    <a:pt x="17245" y="1568"/>
                    <a:pt x="17245" y="1448"/>
                  </a:cubicBezTo>
                  <a:cubicBezTo>
                    <a:pt x="17245" y="1328"/>
                    <a:pt x="17184" y="1230"/>
                    <a:pt x="17107" y="1230"/>
                  </a:cubicBezTo>
                  <a:close/>
                  <a:moveTo>
                    <a:pt x="17477" y="1230"/>
                  </a:moveTo>
                  <a:cubicBezTo>
                    <a:pt x="17401" y="1230"/>
                    <a:pt x="17339" y="1328"/>
                    <a:pt x="17339" y="1448"/>
                  </a:cubicBezTo>
                  <a:cubicBezTo>
                    <a:pt x="17339" y="1568"/>
                    <a:pt x="17401" y="1667"/>
                    <a:pt x="17477" y="1667"/>
                  </a:cubicBezTo>
                  <a:cubicBezTo>
                    <a:pt x="17553" y="1667"/>
                    <a:pt x="17615" y="1568"/>
                    <a:pt x="17615" y="1448"/>
                  </a:cubicBezTo>
                  <a:cubicBezTo>
                    <a:pt x="17615" y="1328"/>
                    <a:pt x="17553" y="1230"/>
                    <a:pt x="17477" y="1230"/>
                  </a:cubicBezTo>
                  <a:close/>
                  <a:moveTo>
                    <a:pt x="17888" y="1230"/>
                  </a:moveTo>
                  <a:cubicBezTo>
                    <a:pt x="17812" y="1230"/>
                    <a:pt x="17749" y="1328"/>
                    <a:pt x="17749" y="1448"/>
                  </a:cubicBezTo>
                  <a:cubicBezTo>
                    <a:pt x="17749" y="1568"/>
                    <a:pt x="17812" y="1667"/>
                    <a:pt x="17888" y="1667"/>
                  </a:cubicBezTo>
                  <a:cubicBezTo>
                    <a:pt x="17964" y="1667"/>
                    <a:pt x="18025" y="1568"/>
                    <a:pt x="18025" y="1448"/>
                  </a:cubicBezTo>
                  <a:cubicBezTo>
                    <a:pt x="18025" y="1328"/>
                    <a:pt x="17964" y="1230"/>
                    <a:pt x="17888" y="1230"/>
                  </a:cubicBezTo>
                  <a:close/>
                  <a:moveTo>
                    <a:pt x="18258" y="1230"/>
                  </a:moveTo>
                  <a:cubicBezTo>
                    <a:pt x="18182" y="1230"/>
                    <a:pt x="18119" y="1328"/>
                    <a:pt x="18119" y="1448"/>
                  </a:cubicBezTo>
                  <a:cubicBezTo>
                    <a:pt x="18119" y="1568"/>
                    <a:pt x="18182" y="1667"/>
                    <a:pt x="18258" y="1667"/>
                  </a:cubicBezTo>
                  <a:cubicBezTo>
                    <a:pt x="18334" y="1667"/>
                    <a:pt x="18395" y="1568"/>
                    <a:pt x="18395" y="1448"/>
                  </a:cubicBezTo>
                  <a:cubicBezTo>
                    <a:pt x="18395" y="1328"/>
                    <a:pt x="18334" y="1230"/>
                    <a:pt x="18258" y="1230"/>
                  </a:cubicBezTo>
                  <a:close/>
                  <a:moveTo>
                    <a:pt x="18669" y="1230"/>
                  </a:moveTo>
                  <a:cubicBezTo>
                    <a:pt x="18592" y="1230"/>
                    <a:pt x="18530" y="1328"/>
                    <a:pt x="18530" y="1448"/>
                  </a:cubicBezTo>
                  <a:cubicBezTo>
                    <a:pt x="18530" y="1568"/>
                    <a:pt x="18592" y="1667"/>
                    <a:pt x="18669" y="1667"/>
                  </a:cubicBezTo>
                  <a:cubicBezTo>
                    <a:pt x="18745" y="1667"/>
                    <a:pt x="18806" y="1568"/>
                    <a:pt x="18806" y="1448"/>
                  </a:cubicBezTo>
                  <a:cubicBezTo>
                    <a:pt x="18806" y="1328"/>
                    <a:pt x="18745" y="1230"/>
                    <a:pt x="18669" y="1230"/>
                  </a:cubicBezTo>
                  <a:close/>
                  <a:moveTo>
                    <a:pt x="19080" y="1230"/>
                  </a:moveTo>
                  <a:cubicBezTo>
                    <a:pt x="19003" y="1230"/>
                    <a:pt x="18941" y="1328"/>
                    <a:pt x="18941" y="1448"/>
                  </a:cubicBezTo>
                  <a:cubicBezTo>
                    <a:pt x="18941" y="1568"/>
                    <a:pt x="19003" y="1667"/>
                    <a:pt x="19080" y="1667"/>
                  </a:cubicBezTo>
                  <a:cubicBezTo>
                    <a:pt x="19156" y="1667"/>
                    <a:pt x="19217" y="1568"/>
                    <a:pt x="19217" y="1448"/>
                  </a:cubicBezTo>
                  <a:cubicBezTo>
                    <a:pt x="19217" y="1328"/>
                    <a:pt x="19156" y="1230"/>
                    <a:pt x="19080" y="1230"/>
                  </a:cubicBezTo>
                  <a:close/>
                  <a:moveTo>
                    <a:pt x="19449" y="1230"/>
                  </a:moveTo>
                  <a:cubicBezTo>
                    <a:pt x="19373" y="1230"/>
                    <a:pt x="19311" y="1328"/>
                    <a:pt x="19311" y="1448"/>
                  </a:cubicBezTo>
                  <a:cubicBezTo>
                    <a:pt x="19311" y="1568"/>
                    <a:pt x="19373" y="1667"/>
                    <a:pt x="19449" y="1667"/>
                  </a:cubicBezTo>
                  <a:cubicBezTo>
                    <a:pt x="19526" y="1667"/>
                    <a:pt x="19587" y="1568"/>
                    <a:pt x="19587" y="1448"/>
                  </a:cubicBezTo>
                  <a:cubicBezTo>
                    <a:pt x="19587" y="1328"/>
                    <a:pt x="19526" y="1230"/>
                    <a:pt x="19449" y="1230"/>
                  </a:cubicBezTo>
                  <a:close/>
                  <a:moveTo>
                    <a:pt x="19860" y="1230"/>
                  </a:moveTo>
                  <a:cubicBezTo>
                    <a:pt x="19784" y="1230"/>
                    <a:pt x="19722" y="1328"/>
                    <a:pt x="19722" y="1448"/>
                  </a:cubicBezTo>
                  <a:cubicBezTo>
                    <a:pt x="19722" y="1568"/>
                    <a:pt x="19784" y="1667"/>
                    <a:pt x="19860" y="1667"/>
                  </a:cubicBezTo>
                  <a:cubicBezTo>
                    <a:pt x="19937" y="1667"/>
                    <a:pt x="19998" y="1568"/>
                    <a:pt x="19998" y="1448"/>
                  </a:cubicBezTo>
                  <a:cubicBezTo>
                    <a:pt x="19998" y="1328"/>
                    <a:pt x="19937" y="1230"/>
                    <a:pt x="19860" y="1230"/>
                  </a:cubicBezTo>
                  <a:close/>
                  <a:moveTo>
                    <a:pt x="20271" y="1230"/>
                  </a:moveTo>
                  <a:cubicBezTo>
                    <a:pt x="20195" y="1230"/>
                    <a:pt x="20132" y="1328"/>
                    <a:pt x="20132" y="1448"/>
                  </a:cubicBezTo>
                  <a:cubicBezTo>
                    <a:pt x="20132" y="1568"/>
                    <a:pt x="20195" y="1667"/>
                    <a:pt x="20271" y="1667"/>
                  </a:cubicBezTo>
                  <a:cubicBezTo>
                    <a:pt x="20347" y="1667"/>
                    <a:pt x="20408" y="1568"/>
                    <a:pt x="20408" y="1448"/>
                  </a:cubicBezTo>
                  <a:cubicBezTo>
                    <a:pt x="20408" y="1328"/>
                    <a:pt x="20347" y="1230"/>
                    <a:pt x="20271" y="1230"/>
                  </a:cubicBezTo>
                  <a:close/>
                  <a:moveTo>
                    <a:pt x="20641" y="1230"/>
                  </a:moveTo>
                  <a:cubicBezTo>
                    <a:pt x="20565" y="1230"/>
                    <a:pt x="20502" y="1328"/>
                    <a:pt x="20502" y="1448"/>
                  </a:cubicBezTo>
                  <a:cubicBezTo>
                    <a:pt x="20502" y="1568"/>
                    <a:pt x="20565" y="1667"/>
                    <a:pt x="20641" y="1667"/>
                  </a:cubicBezTo>
                  <a:cubicBezTo>
                    <a:pt x="20717" y="1667"/>
                    <a:pt x="20778" y="1568"/>
                    <a:pt x="20778" y="1448"/>
                  </a:cubicBezTo>
                  <a:cubicBezTo>
                    <a:pt x="20778" y="1328"/>
                    <a:pt x="20717" y="1230"/>
                    <a:pt x="20641" y="1230"/>
                  </a:cubicBezTo>
                  <a:close/>
                  <a:moveTo>
                    <a:pt x="21052" y="1230"/>
                  </a:moveTo>
                  <a:cubicBezTo>
                    <a:pt x="20975" y="1230"/>
                    <a:pt x="20913" y="1328"/>
                    <a:pt x="20913" y="1448"/>
                  </a:cubicBezTo>
                  <a:cubicBezTo>
                    <a:pt x="20913" y="1568"/>
                    <a:pt x="20975" y="1667"/>
                    <a:pt x="21052" y="1667"/>
                  </a:cubicBezTo>
                  <a:cubicBezTo>
                    <a:pt x="21128" y="1667"/>
                    <a:pt x="21189" y="1568"/>
                    <a:pt x="21189" y="1448"/>
                  </a:cubicBezTo>
                  <a:cubicBezTo>
                    <a:pt x="21189" y="1328"/>
                    <a:pt x="21128" y="1230"/>
                    <a:pt x="21052" y="1230"/>
                  </a:cubicBezTo>
                  <a:close/>
                  <a:moveTo>
                    <a:pt x="21463" y="1230"/>
                  </a:moveTo>
                  <a:cubicBezTo>
                    <a:pt x="21386" y="1230"/>
                    <a:pt x="21324" y="1328"/>
                    <a:pt x="21324" y="1448"/>
                  </a:cubicBezTo>
                  <a:cubicBezTo>
                    <a:pt x="21324" y="1568"/>
                    <a:pt x="21386" y="1667"/>
                    <a:pt x="21463" y="1667"/>
                  </a:cubicBezTo>
                  <a:cubicBezTo>
                    <a:pt x="21539" y="1667"/>
                    <a:pt x="21600" y="1568"/>
                    <a:pt x="21600" y="1448"/>
                  </a:cubicBezTo>
                  <a:cubicBezTo>
                    <a:pt x="21600" y="1328"/>
                    <a:pt x="21539" y="1230"/>
                    <a:pt x="21463" y="1230"/>
                  </a:cubicBezTo>
                  <a:close/>
                  <a:moveTo>
                    <a:pt x="17107" y="1877"/>
                  </a:moveTo>
                  <a:cubicBezTo>
                    <a:pt x="17031" y="1877"/>
                    <a:pt x="16969" y="1975"/>
                    <a:pt x="16969" y="2095"/>
                  </a:cubicBezTo>
                  <a:cubicBezTo>
                    <a:pt x="16969" y="2215"/>
                    <a:pt x="17031" y="2312"/>
                    <a:pt x="17107" y="2312"/>
                  </a:cubicBezTo>
                  <a:cubicBezTo>
                    <a:pt x="17184" y="2312"/>
                    <a:pt x="17245" y="2215"/>
                    <a:pt x="17245" y="2095"/>
                  </a:cubicBezTo>
                  <a:cubicBezTo>
                    <a:pt x="17245" y="1975"/>
                    <a:pt x="17184" y="1877"/>
                    <a:pt x="17107" y="1877"/>
                  </a:cubicBezTo>
                  <a:close/>
                  <a:moveTo>
                    <a:pt x="17477" y="1877"/>
                  </a:moveTo>
                  <a:cubicBezTo>
                    <a:pt x="17401" y="1877"/>
                    <a:pt x="17339" y="1975"/>
                    <a:pt x="17339" y="2095"/>
                  </a:cubicBezTo>
                  <a:cubicBezTo>
                    <a:pt x="17339" y="2215"/>
                    <a:pt x="17401" y="2312"/>
                    <a:pt x="17477" y="2312"/>
                  </a:cubicBezTo>
                  <a:cubicBezTo>
                    <a:pt x="17553" y="2312"/>
                    <a:pt x="17615" y="2215"/>
                    <a:pt x="17615" y="2095"/>
                  </a:cubicBezTo>
                  <a:cubicBezTo>
                    <a:pt x="17615" y="1975"/>
                    <a:pt x="17553" y="1877"/>
                    <a:pt x="17477" y="1877"/>
                  </a:cubicBezTo>
                  <a:close/>
                  <a:moveTo>
                    <a:pt x="17888" y="1877"/>
                  </a:moveTo>
                  <a:cubicBezTo>
                    <a:pt x="17812" y="1877"/>
                    <a:pt x="17749" y="1975"/>
                    <a:pt x="17749" y="2095"/>
                  </a:cubicBezTo>
                  <a:cubicBezTo>
                    <a:pt x="17749" y="2215"/>
                    <a:pt x="17812" y="2312"/>
                    <a:pt x="17888" y="2312"/>
                  </a:cubicBezTo>
                  <a:cubicBezTo>
                    <a:pt x="17964" y="2312"/>
                    <a:pt x="18025" y="2215"/>
                    <a:pt x="18025" y="2095"/>
                  </a:cubicBezTo>
                  <a:cubicBezTo>
                    <a:pt x="18025" y="1975"/>
                    <a:pt x="17964" y="1877"/>
                    <a:pt x="17888" y="1877"/>
                  </a:cubicBezTo>
                  <a:close/>
                  <a:moveTo>
                    <a:pt x="18258" y="1877"/>
                  </a:moveTo>
                  <a:cubicBezTo>
                    <a:pt x="18182" y="1877"/>
                    <a:pt x="18119" y="1975"/>
                    <a:pt x="18119" y="2095"/>
                  </a:cubicBezTo>
                  <a:cubicBezTo>
                    <a:pt x="18119" y="2215"/>
                    <a:pt x="18182" y="2312"/>
                    <a:pt x="18258" y="2312"/>
                  </a:cubicBezTo>
                  <a:cubicBezTo>
                    <a:pt x="18334" y="2312"/>
                    <a:pt x="18395" y="2215"/>
                    <a:pt x="18395" y="2095"/>
                  </a:cubicBezTo>
                  <a:cubicBezTo>
                    <a:pt x="18395" y="1975"/>
                    <a:pt x="18334" y="1877"/>
                    <a:pt x="18258" y="1877"/>
                  </a:cubicBezTo>
                  <a:close/>
                  <a:moveTo>
                    <a:pt x="18669" y="1877"/>
                  </a:moveTo>
                  <a:cubicBezTo>
                    <a:pt x="18592" y="1877"/>
                    <a:pt x="18530" y="1975"/>
                    <a:pt x="18530" y="2095"/>
                  </a:cubicBezTo>
                  <a:cubicBezTo>
                    <a:pt x="18530" y="2215"/>
                    <a:pt x="18592" y="2312"/>
                    <a:pt x="18669" y="2312"/>
                  </a:cubicBezTo>
                  <a:cubicBezTo>
                    <a:pt x="18745" y="2312"/>
                    <a:pt x="18806" y="2215"/>
                    <a:pt x="18806" y="2095"/>
                  </a:cubicBezTo>
                  <a:cubicBezTo>
                    <a:pt x="18806" y="1975"/>
                    <a:pt x="18745" y="1877"/>
                    <a:pt x="18669" y="1877"/>
                  </a:cubicBezTo>
                  <a:close/>
                  <a:moveTo>
                    <a:pt x="19080" y="1877"/>
                  </a:moveTo>
                  <a:cubicBezTo>
                    <a:pt x="19003" y="1877"/>
                    <a:pt x="18941" y="1975"/>
                    <a:pt x="18941" y="2095"/>
                  </a:cubicBezTo>
                  <a:cubicBezTo>
                    <a:pt x="18941" y="2215"/>
                    <a:pt x="19003" y="2312"/>
                    <a:pt x="19080" y="2312"/>
                  </a:cubicBezTo>
                  <a:cubicBezTo>
                    <a:pt x="19156" y="2312"/>
                    <a:pt x="19217" y="2215"/>
                    <a:pt x="19217" y="2095"/>
                  </a:cubicBezTo>
                  <a:cubicBezTo>
                    <a:pt x="19217" y="1975"/>
                    <a:pt x="19156" y="1877"/>
                    <a:pt x="19080" y="1877"/>
                  </a:cubicBezTo>
                  <a:close/>
                  <a:moveTo>
                    <a:pt x="19449" y="1877"/>
                  </a:moveTo>
                  <a:cubicBezTo>
                    <a:pt x="19373" y="1877"/>
                    <a:pt x="19311" y="1975"/>
                    <a:pt x="19311" y="2095"/>
                  </a:cubicBezTo>
                  <a:cubicBezTo>
                    <a:pt x="19311" y="2215"/>
                    <a:pt x="19373" y="2312"/>
                    <a:pt x="19449" y="2312"/>
                  </a:cubicBezTo>
                  <a:cubicBezTo>
                    <a:pt x="19526" y="2312"/>
                    <a:pt x="19587" y="2215"/>
                    <a:pt x="19587" y="2095"/>
                  </a:cubicBezTo>
                  <a:cubicBezTo>
                    <a:pt x="19587" y="1975"/>
                    <a:pt x="19526" y="1877"/>
                    <a:pt x="19449" y="1877"/>
                  </a:cubicBezTo>
                  <a:close/>
                  <a:moveTo>
                    <a:pt x="19860" y="1877"/>
                  </a:moveTo>
                  <a:cubicBezTo>
                    <a:pt x="19784" y="1877"/>
                    <a:pt x="19722" y="1975"/>
                    <a:pt x="19722" y="2095"/>
                  </a:cubicBezTo>
                  <a:cubicBezTo>
                    <a:pt x="19722" y="2215"/>
                    <a:pt x="19784" y="2312"/>
                    <a:pt x="19860" y="2312"/>
                  </a:cubicBezTo>
                  <a:cubicBezTo>
                    <a:pt x="19937" y="2312"/>
                    <a:pt x="19998" y="2215"/>
                    <a:pt x="19998" y="2095"/>
                  </a:cubicBezTo>
                  <a:cubicBezTo>
                    <a:pt x="19998" y="1975"/>
                    <a:pt x="19937" y="1877"/>
                    <a:pt x="19860" y="1877"/>
                  </a:cubicBezTo>
                  <a:close/>
                  <a:moveTo>
                    <a:pt x="20271" y="1877"/>
                  </a:moveTo>
                  <a:cubicBezTo>
                    <a:pt x="20195" y="1877"/>
                    <a:pt x="20132" y="1975"/>
                    <a:pt x="20132" y="2095"/>
                  </a:cubicBezTo>
                  <a:cubicBezTo>
                    <a:pt x="20132" y="2215"/>
                    <a:pt x="20195" y="2312"/>
                    <a:pt x="20271" y="2312"/>
                  </a:cubicBezTo>
                  <a:cubicBezTo>
                    <a:pt x="20347" y="2312"/>
                    <a:pt x="20408" y="2215"/>
                    <a:pt x="20408" y="2095"/>
                  </a:cubicBezTo>
                  <a:cubicBezTo>
                    <a:pt x="20408" y="1975"/>
                    <a:pt x="20347" y="1877"/>
                    <a:pt x="20271" y="1877"/>
                  </a:cubicBezTo>
                  <a:close/>
                  <a:moveTo>
                    <a:pt x="20641" y="1877"/>
                  </a:moveTo>
                  <a:cubicBezTo>
                    <a:pt x="20565" y="1877"/>
                    <a:pt x="20502" y="1975"/>
                    <a:pt x="20502" y="2095"/>
                  </a:cubicBezTo>
                  <a:cubicBezTo>
                    <a:pt x="20502" y="2215"/>
                    <a:pt x="20565" y="2312"/>
                    <a:pt x="20641" y="2312"/>
                  </a:cubicBezTo>
                  <a:cubicBezTo>
                    <a:pt x="20717" y="2312"/>
                    <a:pt x="20778" y="2215"/>
                    <a:pt x="20778" y="2095"/>
                  </a:cubicBezTo>
                  <a:cubicBezTo>
                    <a:pt x="20778" y="1975"/>
                    <a:pt x="20717" y="1877"/>
                    <a:pt x="20641" y="1877"/>
                  </a:cubicBezTo>
                  <a:close/>
                  <a:moveTo>
                    <a:pt x="21052" y="1877"/>
                  </a:moveTo>
                  <a:cubicBezTo>
                    <a:pt x="20975" y="1877"/>
                    <a:pt x="20913" y="1975"/>
                    <a:pt x="20913" y="2095"/>
                  </a:cubicBezTo>
                  <a:cubicBezTo>
                    <a:pt x="20913" y="2215"/>
                    <a:pt x="20975" y="2312"/>
                    <a:pt x="21052" y="2312"/>
                  </a:cubicBezTo>
                  <a:cubicBezTo>
                    <a:pt x="21128" y="2312"/>
                    <a:pt x="21189" y="2215"/>
                    <a:pt x="21189" y="2095"/>
                  </a:cubicBezTo>
                  <a:cubicBezTo>
                    <a:pt x="21189" y="1975"/>
                    <a:pt x="21128" y="1877"/>
                    <a:pt x="21052" y="1877"/>
                  </a:cubicBezTo>
                  <a:close/>
                  <a:moveTo>
                    <a:pt x="9219" y="2524"/>
                  </a:moveTo>
                  <a:cubicBezTo>
                    <a:pt x="9142" y="2524"/>
                    <a:pt x="9080" y="2622"/>
                    <a:pt x="9080" y="2742"/>
                  </a:cubicBezTo>
                  <a:cubicBezTo>
                    <a:pt x="9080" y="2863"/>
                    <a:pt x="9142" y="2959"/>
                    <a:pt x="9219" y="2959"/>
                  </a:cubicBezTo>
                  <a:cubicBezTo>
                    <a:pt x="9295" y="2959"/>
                    <a:pt x="9356" y="2863"/>
                    <a:pt x="9356" y="2742"/>
                  </a:cubicBezTo>
                  <a:cubicBezTo>
                    <a:pt x="9356" y="2622"/>
                    <a:pt x="9295" y="2524"/>
                    <a:pt x="9219" y="2524"/>
                  </a:cubicBezTo>
                  <a:close/>
                  <a:moveTo>
                    <a:pt x="9589" y="2524"/>
                  </a:moveTo>
                  <a:cubicBezTo>
                    <a:pt x="9512" y="2524"/>
                    <a:pt x="9450" y="2622"/>
                    <a:pt x="9450" y="2742"/>
                  </a:cubicBezTo>
                  <a:cubicBezTo>
                    <a:pt x="9450" y="2863"/>
                    <a:pt x="9512" y="2959"/>
                    <a:pt x="9589" y="2959"/>
                  </a:cubicBezTo>
                  <a:cubicBezTo>
                    <a:pt x="9665" y="2959"/>
                    <a:pt x="9726" y="2863"/>
                    <a:pt x="9726" y="2742"/>
                  </a:cubicBezTo>
                  <a:cubicBezTo>
                    <a:pt x="9726" y="2622"/>
                    <a:pt x="9665" y="2524"/>
                    <a:pt x="9589" y="2524"/>
                  </a:cubicBezTo>
                  <a:close/>
                  <a:moveTo>
                    <a:pt x="13163" y="2524"/>
                  </a:moveTo>
                  <a:cubicBezTo>
                    <a:pt x="13087" y="2524"/>
                    <a:pt x="13024" y="2622"/>
                    <a:pt x="13024" y="2742"/>
                  </a:cubicBezTo>
                  <a:cubicBezTo>
                    <a:pt x="13024" y="2862"/>
                    <a:pt x="13087" y="2959"/>
                    <a:pt x="13163" y="2959"/>
                  </a:cubicBezTo>
                  <a:cubicBezTo>
                    <a:pt x="13239" y="2959"/>
                    <a:pt x="13301" y="2862"/>
                    <a:pt x="13301" y="2742"/>
                  </a:cubicBezTo>
                  <a:cubicBezTo>
                    <a:pt x="13301" y="2622"/>
                    <a:pt x="13239" y="2524"/>
                    <a:pt x="13163" y="2524"/>
                  </a:cubicBezTo>
                  <a:close/>
                  <a:moveTo>
                    <a:pt x="13574" y="2524"/>
                  </a:moveTo>
                  <a:cubicBezTo>
                    <a:pt x="13498" y="2524"/>
                    <a:pt x="13435" y="2622"/>
                    <a:pt x="13435" y="2742"/>
                  </a:cubicBezTo>
                  <a:cubicBezTo>
                    <a:pt x="13435" y="2862"/>
                    <a:pt x="13498" y="2959"/>
                    <a:pt x="13574" y="2959"/>
                  </a:cubicBezTo>
                  <a:cubicBezTo>
                    <a:pt x="13650" y="2959"/>
                    <a:pt x="13711" y="2862"/>
                    <a:pt x="13711" y="2742"/>
                  </a:cubicBezTo>
                  <a:cubicBezTo>
                    <a:pt x="13711" y="2622"/>
                    <a:pt x="13650" y="2524"/>
                    <a:pt x="13574" y="2524"/>
                  </a:cubicBezTo>
                  <a:close/>
                  <a:moveTo>
                    <a:pt x="13985" y="2524"/>
                  </a:moveTo>
                  <a:cubicBezTo>
                    <a:pt x="13908" y="2524"/>
                    <a:pt x="13846" y="2622"/>
                    <a:pt x="13846" y="2742"/>
                  </a:cubicBezTo>
                  <a:cubicBezTo>
                    <a:pt x="13846" y="2862"/>
                    <a:pt x="13908" y="2959"/>
                    <a:pt x="13985" y="2959"/>
                  </a:cubicBezTo>
                  <a:cubicBezTo>
                    <a:pt x="14061" y="2959"/>
                    <a:pt x="14122" y="2862"/>
                    <a:pt x="14122" y="2742"/>
                  </a:cubicBezTo>
                  <a:cubicBezTo>
                    <a:pt x="14122" y="2622"/>
                    <a:pt x="14061" y="2524"/>
                    <a:pt x="13985" y="2524"/>
                  </a:cubicBezTo>
                  <a:close/>
                  <a:moveTo>
                    <a:pt x="17107" y="2524"/>
                  </a:moveTo>
                  <a:cubicBezTo>
                    <a:pt x="17031" y="2524"/>
                    <a:pt x="16969" y="2623"/>
                    <a:pt x="16969" y="2742"/>
                  </a:cubicBezTo>
                  <a:cubicBezTo>
                    <a:pt x="16969" y="2863"/>
                    <a:pt x="17031" y="2959"/>
                    <a:pt x="17107" y="2959"/>
                  </a:cubicBezTo>
                  <a:cubicBezTo>
                    <a:pt x="17184" y="2959"/>
                    <a:pt x="17245" y="2863"/>
                    <a:pt x="17245" y="2742"/>
                  </a:cubicBezTo>
                  <a:cubicBezTo>
                    <a:pt x="17245" y="2623"/>
                    <a:pt x="17184" y="2524"/>
                    <a:pt x="17107" y="2524"/>
                  </a:cubicBezTo>
                  <a:close/>
                  <a:moveTo>
                    <a:pt x="17477" y="2524"/>
                  </a:moveTo>
                  <a:cubicBezTo>
                    <a:pt x="17401" y="2524"/>
                    <a:pt x="17339" y="2623"/>
                    <a:pt x="17339" y="2742"/>
                  </a:cubicBezTo>
                  <a:cubicBezTo>
                    <a:pt x="17339" y="2863"/>
                    <a:pt x="17401" y="2959"/>
                    <a:pt x="17477" y="2959"/>
                  </a:cubicBezTo>
                  <a:cubicBezTo>
                    <a:pt x="17553" y="2959"/>
                    <a:pt x="17615" y="2863"/>
                    <a:pt x="17615" y="2742"/>
                  </a:cubicBezTo>
                  <a:cubicBezTo>
                    <a:pt x="17615" y="2623"/>
                    <a:pt x="17553" y="2524"/>
                    <a:pt x="17477" y="2524"/>
                  </a:cubicBezTo>
                  <a:close/>
                  <a:moveTo>
                    <a:pt x="17888" y="2524"/>
                  </a:moveTo>
                  <a:cubicBezTo>
                    <a:pt x="17812" y="2524"/>
                    <a:pt x="17749" y="2623"/>
                    <a:pt x="17749" y="2742"/>
                  </a:cubicBezTo>
                  <a:cubicBezTo>
                    <a:pt x="17749" y="2863"/>
                    <a:pt x="17812" y="2959"/>
                    <a:pt x="17888" y="2959"/>
                  </a:cubicBezTo>
                  <a:cubicBezTo>
                    <a:pt x="17964" y="2959"/>
                    <a:pt x="18025" y="2863"/>
                    <a:pt x="18025" y="2742"/>
                  </a:cubicBezTo>
                  <a:cubicBezTo>
                    <a:pt x="18025" y="2623"/>
                    <a:pt x="17964" y="2524"/>
                    <a:pt x="17888" y="2524"/>
                  </a:cubicBezTo>
                  <a:close/>
                  <a:moveTo>
                    <a:pt x="18258" y="2524"/>
                  </a:moveTo>
                  <a:cubicBezTo>
                    <a:pt x="18182" y="2524"/>
                    <a:pt x="18119" y="2623"/>
                    <a:pt x="18119" y="2742"/>
                  </a:cubicBezTo>
                  <a:cubicBezTo>
                    <a:pt x="18119" y="2863"/>
                    <a:pt x="18182" y="2959"/>
                    <a:pt x="18258" y="2959"/>
                  </a:cubicBezTo>
                  <a:cubicBezTo>
                    <a:pt x="18334" y="2959"/>
                    <a:pt x="18395" y="2863"/>
                    <a:pt x="18395" y="2742"/>
                  </a:cubicBezTo>
                  <a:cubicBezTo>
                    <a:pt x="18395" y="2623"/>
                    <a:pt x="18334" y="2524"/>
                    <a:pt x="18258" y="2524"/>
                  </a:cubicBezTo>
                  <a:close/>
                  <a:moveTo>
                    <a:pt x="18669" y="2524"/>
                  </a:moveTo>
                  <a:cubicBezTo>
                    <a:pt x="18592" y="2524"/>
                    <a:pt x="18530" y="2623"/>
                    <a:pt x="18530" y="2742"/>
                  </a:cubicBezTo>
                  <a:cubicBezTo>
                    <a:pt x="18530" y="2863"/>
                    <a:pt x="18592" y="2959"/>
                    <a:pt x="18669" y="2959"/>
                  </a:cubicBezTo>
                  <a:cubicBezTo>
                    <a:pt x="18745" y="2959"/>
                    <a:pt x="18806" y="2863"/>
                    <a:pt x="18806" y="2742"/>
                  </a:cubicBezTo>
                  <a:cubicBezTo>
                    <a:pt x="18806" y="2623"/>
                    <a:pt x="18745" y="2524"/>
                    <a:pt x="18669" y="2524"/>
                  </a:cubicBezTo>
                  <a:close/>
                  <a:moveTo>
                    <a:pt x="19080" y="2524"/>
                  </a:moveTo>
                  <a:cubicBezTo>
                    <a:pt x="19003" y="2524"/>
                    <a:pt x="18941" y="2623"/>
                    <a:pt x="18941" y="2742"/>
                  </a:cubicBezTo>
                  <a:cubicBezTo>
                    <a:pt x="18941" y="2863"/>
                    <a:pt x="19003" y="2959"/>
                    <a:pt x="19080" y="2959"/>
                  </a:cubicBezTo>
                  <a:cubicBezTo>
                    <a:pt x="19156" y="2959"/>
                    <a:pt x="19217" y="2863"/>
                    <a:pt x="19217" y="2742"/>
                  </a:cubicBezTo>
                  <a:cubicBezTo>
                    <a:pt x="19217" y="2623"/>
                    <a:pt x="19156" y="2524"/>
                    <a:pt x="19080" y="2524"/>
                  </a:cubicBezTo>
                  <a:close/>
                  <a:moveTo>
                    <a:pt x="19449" y="2524"/>
                  </a:moveTo>
                  <a:cubicBezTo>
                    <a:pt x="19373" y="2524"/>
                    <a:pt x="19311" y="2623"/>
                    <a:pt x="19311" y="2742"/>
                  </a:cubicBezTo>
                  <a:cubicBezTo>
                    <a:pt x="19311" y="2863"/>
                    <a:pt x="19373" y="2959"/>
                    <a:pt x="19449" y="2959"/>
                  </a:cubicBezTo>
                  <a:cubicBezTo>
                    <a:pt x="19526" y="2959"/>
                    <a:pt x="19587" y="2863"/>
                    <a:pt x="19587" y="2742"/>
                  </a:cubicBezTo>
                  <a:cubicBezTo>
                    <a:pt x="19587" y="2623"/>
                    <a:pt x="19526" y="2524"/>
                    <a:pt x="19449" y="2524"/>
                  </a:cubicBezTo>
                  <a:close/>
                  <a:moveTo>
                    <a:pt x="19860" y="2524"/>
                  </a:moveTo>
                  <a:cubicBezTo>
                    <a:pt x="19784" y="2524"/>
                    <a:pt x="19722" y="2623"/>
                    <a:pt x="19722" y="2742"/>
                  </a:cubicBezTo>
                  <a:cubicBezTo>
                    <a:pt x="19722" y="2863"/>
                    <a:pt x="19784" y="2959"/>
                    <a:pt x="19860" y="2959"/>
                  </a:cubicBezTo>
                  <a:cubicBezTo>
                    <a:pt x="19937" y="2959"/>
                    <a:pt x="19998" y="2863"/>
                    <a:pt x="19998" y="2742"/>
                  </a:cubicBezTo>
                  <a:cubicBezTo>
                    <a:pt x="19998" y="2623"/>
                    <a:pt x="19937" y="2524"/>
                    <a:pt x="19860" y="2524"/>
                  </a:cubicBezTo>
                  <a:close/>
                  <a:moveTo>
                    <a:pt x="20271" y="2524"/>
                  </a:moveTo>
                  <a:cubicBezTo>
                    <a:pt x="20195" y="2524"/>
                    <a:pt x="20132" y="2623"/>
                    <a:pt x="20132" y="2742"/>
                  </a:cubicBezTo>
                  <a:cubicBezTo>
                    <a:pt x="20132" y="2863"/>
                    <a:pt x="20195" y="2959"/>
                    <a:pt x="20271" y="2959"/>
                  </a:cubicBezTo>
                  <a:cubicBezTo>
                    <a:pt x="20347" y="2959"/>
                    <a:pt x="20408" y="2863"/>
                    <a:pt x="20408" y="2742"/>
                  </a:cubicBezTo>
                  <a:cubicBezTo>
                    <a:pt x="20408" y="2623"/>
                    <a:pt x="20347" y="2524"/>
                    <a:pt x="20271" y="2524"/>
                  </a:cubicBezTo>
                  <a:close/>
                  <a:moveTo>
                    <a:pt x="20641" y="2524"/>
                  </a:moveTo>
                  <a:cubicBezTo>
                    <a:pt x="20565" y="2524"/>
                    <a:pt x="20502" y="2623"/>
                    <a:pt x="20502" y="2742"/>
                  </a:cubicBezTo>
                  <a:cubicBezTo>
                    <a:pt x="20502" y="2863"/>
                    <a:pt x="20565" y="2959"/>
                    <a:pt x="20641" y="2959"/>
                  </a:cubicBezTo>
                  <a:cubicBezTo>
                    <a:pt x="20717" y="2959"/>
                    <a:pt x="20778" y="2863"/>
                    <a:pt x="20778" y="2742"/>
                  </a:cubicBezTo>
                  <a:cubicBezTo>
                    <a:pt x="20778" y="2623"/>
                    <a:pt x="20717" y="2524"/>
                    <a:pt x="20641" y="2524"/>
                  </a:cubicBezTo>
                  <a:close/>
                  <a:moveTo>
                    <a:pt x="2070" y="3107"/>
                  </a:moveTo>
                  <a:cubicBezTo>
                    <a:pt x="1994" y="3107"/>
                    <a:pt x="1931" y="3205"/>
                    <a:pt x="1931" y="3325"/>
                  </a:cubicBezTo>
                  <a:cubicBezTo>
                    <a:pt x="1931" y="3445"/>
                    <a:pt x="1994" y="3541"/>
                    <a:pt x="2070" y="3541"/>
                  </a:cubicBezTo>
                  <a:cubicBezTo>
                    <a:pt x="2146" y="3541"/>
                    <a:pt x="2207" y="3445"/>
                    <a:pt x="2207" y="3325"/>
                  </a:cubicBezTo>
                  <a:cubicBezTo>
                    <a:pt x="2207" y="3205"/>
                    <a:pt x="2146" y="3107"/>
                    <a:pt x="2070" y="3107"/>
                  </a:cubicBezTo>
                  <a:close/>
                  <a:moveTo>
                    <a:pt x="2481" y="3107"/>
                  </a:moveTo>
                  <a:cubicBezTo>
                    <a:pt x="2404" y="3107"/>
                    <a:pt x="2342" y="3205"/>
                    <a:pt x="2342" y="3325"/>
                  </a:cubicBezTo>
                  <a:cubicBezTo>
                    <a:pt x="2342" y="3445"/>
                    <a:pt x="2404" y="3541"/>
                    <a:pt x="2481" y="3541"/>
                  </a:cubicBezTo>
                  <a:cubicBezTo>
                    <a:pt x="2557" y="3541"/>
                    <a:pt x="2618" y="3445"/>
                    <a:pt x="2618" y="3325"/>
                  </a:cubicBezTo>
                  <a:cubicBezTo>
                    <a:pt x="2618" y="3205"/>
                    <a:pt x="2557" y="3107"/>
                    <a:pt x="2481" y="3107"/>
                  </a:cubicBezTo>
                  <a:close/>
                  <a:moveTo>
                    <a:pt x="2891" y="3107"/>
                  </a:moveTo>
                  <a:cubicBezTo>
                    <a:pt x="2815" y="3107"/>
                    <a:pt x="2753" y="3205"/>
                    <a:pt x="2753" y="3325"/>
                  </a:cubicBezTo>
                  <a:cubicBezTo>
                    <a:pt x="2753" y="3445"/>
                    <a:pt x="2815" y="3541"/>
                    <a:pt x="2891" y="3541"/>
                  </a:cubicBezTo>
                  <a:cubicBezTo>
                    <a:pt x="2968" y="3541"/>
                    <a:pt x="3029" y="3445"/>
                    <a:pt x="3029" y="3325"/>
                  </a:cubicBezTo>
                  <a:cubicBezTo>
                    <a:pt x="3029" y="3205"/>
                    <a:pt x="2968" y="3107"/>
                    <a:pt x="2891" y="3107"/>
                  </a:cubicBezTo>
                  <a:close/>
                  <a:moveTo>
                    <a:pt x="3302" y="3107"/>
                  </a:moveTo>
                  <a:cubicBezTo>
                    <a:pt x="3226" y="3107"/>
                    <a:pt x="3164" y="3205"/>
                    <a:pt x="3164" y="3325"/>
                  </a:cubicBezTo>
                  <a:cubicBezTo>
                    <a:pt x="3164" y="3445"/>
                    <a:pt x="3226" y="3541"/>
                    <a:pt x="3302" y="3541"/>
                  </a:cubicBezTo>
                  <a:cubicBezTo>
                    <a:pt x="3379" y="3541"/>
                    <a:pt x="3440" y="3445"/>
                    <a:pt x="3440" y="3325"/>
                  </a:cubicBezTo>
                  <a:cubicBezTo>
                    <a:pt x="3440" y="3205"/>
                    <a:pt x="3379" y="3107"/>
                    <a:pt x="3302" y="3107"/>
                  </a:cubicBezTo>
                  <a:close/>
                  <a:moveTo>
                    <a:pt x="3713" y="3107"/>
                  </a:moveTo>
                  <a:cubicBezTo>
                    <a:pt x="3637" y="3107"/>
                    <a:pt x="3575" y="3205"/>
                    <a:pt x="3575" y="3325"/>
                  </a:cubicBezTo>
                  <a:cubicBezTo>
                    <a:pt x="3575" y="3445"/>
                    <a:pt x="3637" y="3541"/>
                    <a:pt x="3713" y="3541"/>
                  </a:cubicBezTo>
                  <a:cubicBezTo>
                    <a:pt x="3790" y="3541"/>
                    <a:pt x="3851" y="3445"/>
                    <a:pt x="3851" y="3325"/>
                  </a:cubicBezTo>
                  <a:cubicBezTo>
                    <a:pt x="3851" y="3205"/>
                    <a:pt x="3790" y="3107"/>
                    <a:pt x="3713" y="3107"/>
                  </a:cubicBezTo>
                  <a:close/>
                  <a:moveTo>
                    <a:pt x="4083" y="3107"/>
                  </a:moveTo>
                  <a:cubicBezTo>
                    <a:pt x="4007" y="3107"/>
                    <a:pt x="3944" y="3205"/>
                    <a:pt x="3944" y="3325"/>
                  </a:cubicBezTo>
                  <a:cubicBezTo>
                    <a:pt x="3944" y="3445"/>
                    <a:pt x="4007" y="3541"/>
                    <a:pt x="4083" y="3541"/>
                  </a:cubicBezTo>
                  <a:cubicBezTo>
                    <a:pt x="4159" y="3541"/>
                    <a:pt x="4220" y="3445"/>
                    <a:pt x="4220" y="3325"/>
                  </a:cubicBezTo>
                  <a:cubicBezTo>
                    <a:pt x="4220" y="3205"/>
                    <a:pt x="4159" y="3107"/>
                    <a:pt x="4083" y="3107"/>
                  </a:cubicBezTo>
                  <a:close/>
                  <a:moveTo>
                    <a:pt x="4494" y="3107"/>
                  </a:moveTo>
                  <a:cubicBezTo>
                    <a:pt x="4418" y="3107"/>
                    <a:pt x="4355" y="3205"/>
                    <a:pt x="4355" y="3325"/>
                  </a:cubicBezTo>
                  <a:cubicBezTo>
                    <a:pt x="4355" y="3445"/>
                    <a:pt x="4418" y="3541"/>
                    <a:pt x="4494" y="3541"/>
                  </a:cubicBezTo>
                  <a:cubicBezTo>
                    <a:pt x="4570" y="3541"/>
                    <a:pt x="4631" y="3445"/>
                    <a:pt x="4631" y="3325"/>
                  </a:cubicBezTo>
                  <a:cubicBezTo>
                    <a:pt x="4631" y="3205"/>
                    <a:pt x="4570" y="3107"/>
                    <a:pt x="4494" y="3107"/>
                  </a:cubicBezTo>
                  <a:close/>
                  <a:moveTo>
                    <a:pt x="4864" y="3107"/>
                  </a:moveTo>
                  <a:cubicBezTo>
                    <a:pt x="4787" y="3107"/>
                    <a:pt x="4725" y="3205"/>
                    <a:pt x="4725" y="3325"/>
                  </a:cubicBezTo>
                  <a:cubicBezTo>
                    <a:pt x="4725" y="3445"/>
                    <a:pt x="4787" y="3541"/>
                    <a:pt x="4864" y="3541"/>
                  </a:cubicBezTo>
                  <a:cubicBezTo>
                    <a:pt x="4940" y="3541"/>
                    <a:pt x="5001" y="3445"/>
                    <a:pt x="5001" y="3325"/>
                  </a:cubicBezTo>
                  <a:cubicBezTo>
                    <a:pt x="5001" y="3205"/>
                    <a:pt x="4940" y="3107"/>
                    <a:pt x="4864" y="3107"/>
                  </a:cubicBezTo>
                  <a:close/>
                  <a:moveTo>
                    <a:pt x="5274" y="3107"/>
                  </a:moveTo>
                  <a:cubicBezTo>
                    <a:pt x="5198" y="3107"/>
                    <a:pt x="5136" y="3205"/>
                    <a:pt x="5136" y="3325"/>
                  </a:cubicBezTo>
                  <a:cubicBezTo>
                    <a:pt x="5136" y="3445"/>
                    <a:pt x="5198" y="3541"/>
                    <a:pt x="5274" y="3541"/>
                  </a:cubicBezTo>
                  <a:cubicBezTo>
                    <a:pt x="5351" y="3541"/>
                    <a:pt x="5412" y="3445"/>
                    <a:pt x="5412" y="3325"/>
                  </a:cubicBezTo>
                  <a:cubicBezTo>
                    <a:pt x="5412" y="3205"/>
                    <a:pt x="5351" y="3107"/>
                    <a:pt x="5274" y="3107"/>
                  </a:cubicBezTo>
                  <a:close/>
                  <a:moveTo>
                    <a:pt x="17107" y="3107"/>
                  </a:moveTo>
                  <a:cubicBezTo>
                    <a:pt x="17031" y="3107"/>
                    <a:pt x="16969" y="3205"/>
                    <a:pt x="16969" y="3325"/>
                  </a:cubicBezTo>
                  <a:cubicBezTo>
                    <a:pt x="16969" y="3445"/>
                    <a:pt x="17031" y="3541"/>
                    <a:pt x="17107" y="3541"/>
                  </a:cubicBezTo>
                  <a:cubicBezTo>
                    <a:pt x="17184" y="3541"/>
                    <a:pt x="17245" y="3445"/>
                    <a:pt x="17245" y="3325"/>
                  </a:cubicBezTo>
                  <a:cubicBezTo>
                    <a:pt x="17245" y="3205"/>
                    <a:pt x="17184" y="3107"/>
                    <a:pt x="17107" y="3107"/>
                  </a:cubicBezTo>
                  <a:close/>
                  <a:moveTo>
                    <a:pt x="17477" y="3107"/>
                  </a:moveTo>
                  <a:cubicBezTo>
                    <a:pt x="17401" y="3107"/>
                    <a:pt x="17339" y="3205"/>
                    <a:pt x="17339" y="3325"/>
                  </a:cubicBezTo>
                  <a:cubicBezTo>
                    <a:pt x="17339" y="3445"/>
                    <a:pt x="17401" y="3541"/>
                    <a:pt x="17477" y="3541"/>
                  </a:cubicBezTo>
                  <a:cubicBezTo>
                    <a:pt x="17553" y="3541"/>
                    <a:pt x="17615" y="3445"/>
                    <a:pt x="17615" y="3325"/>
                  </a:cubicBezTo>
                  <a:cubicBezTo>
                    <a:pt x="17615" y="3205"/>
                    <a:pt x="17553" y="3107"/>
                    <a:pt x="17477" y="3107"/>
                  </a:cubicBezTo>
                  <a:close/>
                  <a:moveTo>
                    <a:pt x="17888" y="3107"/>
                  </a:moveTo>
                  <a:cubicBezTo>
                    <a:pt x="17812" y="3107"/>
                    <a:pt x="17749" y="3205"/>
                    <a:pt x="17749" y="3325"/>
                  </a:cubicBezTo>
                  <a:cubicBezTo>
                    <a:pt x="17749" y="3445"/>
                    <a:pt x="17812" y="3541"/>
                    <a:pt x="17888" y="3541"/>
                  </a:cubicBezTo>
                  <a:cubicBezTo>
                    <a:pt x="17964" y="3541"/>
                    <a:pt x="18025" y="3445"/>
                    <a:pt x="18025" y="3325"/>
                  </a:cubicBezTo>
                  <a:cubicBezTo>
                    <a:pt x="18025" y="3205"/>
                    <a:pt x="17964" y="3107"/>
                    <a:pt x="17888" y="3107"/>
                  </a:cubicBezTo>
                  <a:close/>
                  <a:moveTo>
                    <a:pt x="18258" y="3107"/>
                  </a:moveTo>
                  <a:cubicBezTo>
                    <a:pt x="18182" y="3107"/>
                    <a:pt x="18119" y="3205"/>
                    <a:pt x="18119" y="3325"/>
                  </a:cubicBezTo>
                  <a:cubicBezTo>
                    <a:pt x="18119" y="3445"/>
                    <a:pt x="18182" y="3541"/>
                    <a:pt x="18258" y="3541"/>
                  </a:cubicBezTo>
                  <a:cubicBezTo>
                    <a:pt x="18334" y="3541"/>
                    <a:pt x="18395" y="3445"/>
                    <a:pt x="18395" y="3325"/>
                  </a:cubicBezTo>
                  <a:cubicBezTo>
                    <a:pt x="18395" y="3205"/>
                    <a:pt x="18334" y="3107"/>
                    <a:pt x="18258" y="3107"/>
                  </a:cubicBezTo>
                  <a:close/>
                  <a:moveTo>
                    <a:pt x="18669" y="3107"/>
                  </a:moveTo>
                  <a:cubicBezTo>
                    <a:pt x="18592" y="3107"/>
                    <a:pt x="18530" y="3205"/>
                    <a:pt x="18530" y="3325"/>
                  </a:cubicBezTo>
                  <a:cubicBezTo>
                    <a:pt x="18530" y="3445"/>
                    <a:pt x="18592" y="3541"/>
                    <a:pt x="18669" y="3541"/>
                  </a:cubicBezTo>
                  <a:cubicBezTo>
                    <a:pt x="18745" y="3541"/>
                    <a:pt x="18806" y="3445"/>
                    <a:pt x="18806" y="3325"/>
                  </a:cubicBezTo>
                  <a:cubicBezTo>
                    <a:pt x="18806" y="3205"/>
                    <a:pt x="18745" y="3107"/>
                    <a:pt x="18669" y="3107"/>
                  </a:cubicBezTo>
                  <a:close/>
                  <a:moveTo>
                    <a:pt x="19080" y="3107"/>
                  </a:moveTo>
                  <a:cubicBezTo>
                    <a:pt x="19003" y="3107"/>
                    <a:pt x="18941" y="3205"/>
                    <a:pt x="18941" y="3325"/>
                  </a:cubicBezTo>
                  <a:cubicBezTo>
                    <a:pt x="18941" y="3445"/>
                    <a:pt x="19003" y="3541"/>
                    <a:pt x="19080" y="3541"/>
                  </a:cubicBezTo>
                  <a:cubicBezTo>
                    <a:pt x="19156" y="3541"/>
                    <a:pt x="19217" y="3445"/>
                    <a:pt x="19217" y="3325"/>
                  </a:cubicBezTo>
                  <a:cubicBezTo>
                    <a:pt x="19217" y="3205"/>
                    <a:pt x="19156" y="3107"/>
                    <a:pt x="19080" y="3107"/>
                  </a:cubicBezTo>
                  <a:close/>
                  <a:moveTo>
                    <a:pt x="19449" y="3107"/>
                  </a:moveTo>
                  <a:cubicBezTo>
                    <a:pt x="19373" y="3107"/>
                    <a:pt x="19311" y="3205"/>
                    <a:pt x="19311" y="3325"/>
                  </a:cubicBezTo>
                  <a:cubicBezTo>
                    <a:pt x="19311" y="3445"/>
                    <a:pt x="19373" y="3541"/>
                    <a:pt x="19449" y="3541"/>
                  </a:cubicBezTo>
                  <a:cubicBezTo>
                    <a:pt x="19526" y="3541"/>
                    <a:pt x="19587" y="3445"/>
                    <a:pt x="19587" y="3325"/>
                  </a:cubicBezTo>
                  <a:cubicBezTo>
                    <a:pt x="19587" y="3205"/>
                    <a:pt x="19526" y="3107"/>
                    <a:pt x="19449" y="3107"/>
                  </a:cubicBezTo>
                  <a:close/>
                  <a:moveTo>
                    <a:pt x="19860" y="3107"/>
                  </a:moveTo>
                  <a:cubicBezTo>
                    <a:pt x="19784" y="3107"/>
                    <a:pt x="19722" y="3205"/>
                    <a:pt x="19722" y="3325"/>
                  </a:cubicBezTo>
                  <a:cubicBezTo>
                    <a:pt x="19722" y="3445"/>
                    <a:pt x="19784" y="3541"/>
                    <a:pt x="19860" y="3541"/>
                  </a:cubicBezTo>
                  <a:cubicBezTo>
                    <a:pt x="19937" y="3541"/>
                    <a:pt x="19998" y="3445"/>
                    <a:pt x="19998" y="3325"/>
                  </a:cubicBezTo>
                  <a:cubicBezTo>
                    <a:pt x="19998" y="3205"/>
                    <a:pt x="19937" y="3107"/>
                    <a:pt x="19860" y="3107"/>
                  </a:cubicBezTo>
                  <a:close/>
                  <a:moveTo>
                    <a:pt x="20271" y="3107"/>
                  </a:moveTo>
                  <a:cubicBezTo>
                    <a:pt x="20195" y="3107"/>
                    <a:pt x="20132" y="3205"/>
                    <a:pt x="20132" y="3325"/>
                  </a:cubicBezTo>
                  <a:cubicBezTo>
                    <a:pt x="20132" y="3445"/>
                    <a:pt x="20195" y="3541"/>
                    <a:pt x="20271" y="3541"/>
                  </a:cubicBezTo>
                  <a:cubicBezTo>
                    <a:pt x="20347" y="3541"/>
                    <a:pt x="20408" y="3445"/>
                    <a:pt x="20408" y="3325"/>
                  </a:cubicBezTo>
                  <a:cubicBezTo>
                    <a:pt x="20408" y="3205"/>
                    <a:pt x="20347" y="3107"/>
                    <a:pt x="20271" y="3107"/>
                  </a:cubicBezTo>
                  <a:close/>
                  <a:moveTo>
                    <a:pt x="6055" y="3171"/>
                  </a:moveTo>
                  <a:cubicBezTo>
                    <a:pt x="5979" y="3171"/>
                    <a:pt x="5916" y="3269"/>
                    <a:pt x="5916" y="3390"/>
                  </a:cubicBezTo>
                  <a:cubicBezTo>
                    <a:pt x="5916" y="3510"/>
                    <a:pt x="5979" y="3608"/>
                    <a:pt x="6055" y="3608"/>
                  </a:cubicBezTo>
                  <a:cubicBezTo>
                    <a:pt x="6131" y="3608"/>
                    <a:pt x="6193" y="3510"/>
                    <a:pt x="6193" y="3390"/>
                  </a:cubicBezTo>
                  <a:cubicBezTo>
                    <a:pt x="6193" y="3269"/>
                    <a:pt x="6131" y="3171"/>
                    <a:pt x="6055" y="3171"/>
                  </a:cubicBezTo>
                  <a:close/>
                  <a:moveTo>
                    <a:pt x="6466" y="3171"/>
                  </a:moveTo>
                  <a:cubicBezTo>
                    <a:pt x="6390" y="3171"/>
                    <a:pt x="6327" y="3269"/>
                    <a:pt x="6327" y="3390"/>
                  </a:cubicBezTo>
                  <a:cubicBezTo>
                    <a:pt x="6327" y="3510"/>
                    <a:pt x="6390" y="3608"/>
                    <a:pt x="6466" y="3608"/>
                  </a:cubicBezTo>
                  <a:cubicBezTo>
                    <a:pt x="6542" y="3608"/>
                    <a:pt x="6603" y="3510"/>
                    <a:pt x="6603" y="3390"/>
                  </a:cubicBezTo>
                  <a:cubicBezTo>
                    <a:pt x="6603" y="3269"/>
                    <a:pt x="6542" y="3171"/>
                    <a:pt x="6466" y="3171"/>
                  </a:cubicBezTo>
                  <a:close/>
                  <a:moveTo>
                    <a:pt x="6877" y="3171"/>
                  </a:moveTo>
                  <a:cubicBezTo>
                    <a:pt x="6801" y="3171"/>
                    <a:pt x="6738" y="3269"/>
                    <a:pt x="6738" y="3390"/>
                  </a:cubicBezTo>
                  <a:cubicBezTo>
                    <a:pt x="6738" y="3510"/>
                    <a:pt x="6801" y="3608"/>
                    <a:pt x="6877" y="3608"/>
                  </a:cubicBezTo>
                  <a:cubicBezTo>
                    <a:pt x="6953" y="3608"/>
                    <a:pt x="7014" y="3510"/>
                    <a:pt x="7014" y="3390"/>
                  </a:cubicBezTo>
                  <a:cubicBezTo>
                    <a:pt x="7014" y="3269"/>
                    <a:pt x="6953" y="3171"/>
                    <a:pt x="6877" y="3171"/>
                  </a:cubicBezTo>
                  <a:close/>
                  <a:moveTo>
                    <a:pt x="7247" y="3171"/>
                  </a:moveTo>
                  <a:cubicBezTo>
                    <a:pt x="7170" y="3171"/>
                    <a:pt x="7108" y="3269"/>
                    <a:pt x="7108" y="3390"/>
                  </a:cubicBezTo>
                  <a:cubicBezTo>
                    <a:pt x="7108" y="3510"/>
                    <a:pt x="7170" y="3608"/>
                    <a:pt x="7247" y="3608"/>
                  </a:cubicBezTo>
                  <a:cubicBezTo>
                    <a:pt x="7323" y="3608"/>
                    <a:pt x="7384" y="3510"/>
                    <a:pt x="7384" y="3390"/>
                  </a:cubicBezTo>
                  <a:cubicBezTo>
                    <a:pt x="7384" y="3269"/>
                    <a:pt x="7323" y="3171"/>
                    <a:pt x="7247" y="3171"/>
                  </a:cubicBezTo>
                  <a:close/>
                  <a:moveTo>
                    <a:pt x="7658" y="3171"/>
                  </a:moveTo>
                  <a:cubicBezTo>
                    <a:pt x="7581" y="3171"/>
                    <a:pt x="7519" y="3269"/>
                    <a:pt x="7519" y="3390"/>
                  </a:cubicBezTo>
                  <a:cubicBezTo>
                    <a:pt x="7519" y="3510"/>
                    <a:pt x="7581" y="3608"/>
                    <a:pt x="7658" y="3608"/>
                  </a:cubicBezTo>
                  <a:cubicBezTo>
                    <a:pt x="7734" y="3608"/>
                    <a:pt x="7795" y="3510"/>
                    <a:pt x="7795" y="3390"/>
                  </a:cubicBezTo>
                  <a:cubicBezTo>
                    <a:pt x="7795" y="3269"/>
                    <a:pt x="7734" y="3171"/>
                    <a:pt x="7658" y="3171"/>
                  </a:cubicBezTo>
                  <a:close/>
                  <a:moveTo>
                    <a:pt x="8849" y="3171"/>
                  </a:moveTo>
                  <a:cubicBezTo>
                    <a:pt x="8773" y="3171"/>
                    <a:pt x="8710" y="3269"/>
                    <a:pt x="8710" y="3390"/>
                  </a:cubicBezTo>
                  <a:cubicBezTo>
                    <a:pt x="8710" y="3510"/>
                    <a:pt x="8773" y="3608"/>
                    <a:pt x="8849" y="3608"/>
                  </a:cubicBezTo>
                  <a:cubicBezTo>
                    <a:pt x="8925" y="3608"/>
                    <a:pt x="8986" y="3510"/>
                    <a:pt x="8986" y="3390"/>
                  </a:cubicBezTo>
                  <a:cubicBezTo>
                    <a:pt x="8986" y="3269"/>
                    <a:pt x="8925" y="3171"/>
                    <a:pt x="8849" y="3171"/>
                  </a:cubicBezTo>
                  <a:close/>
                  <a:moveTo>
                    <a:pt x="9219" y="3171"/>
                  </a:moveTo>
                  <a:cubicBezTo>
                    <a:pt x="9142" y="3171"/>
                    <a:pt x="9080" y="3269"/>
                    <a:pt x="9080" y="3390"/>
                  </a:cubicBezTo>
                  <a:cubicBezTo>
                    <a:pt x="9080" y="3510"/>
                    <a:pt x="9142" y="3608"/>
                    <a:pt x="9219" y="3608"/>
                  </a:cubicBezTo>
                  <a:cubicBezTo>
                    <a:pt x="9295" y="3608"/>
                    <a:pt x="9356" y="3510"/>
                    <a:pt x="9356" y="3390"/>
                  </a:cubicBezTo>
                  <a:cubicBezTo>
                    <a:pt x="9356" y="3269"/>
                    <a:pt x="9295" y="3171"/>
                    <a:pt x="9219" y="3171"/>
                  </a:cubicBezTo>
                  <a:close/>
                  <a:moveTo>
                    <a:pt x="9999" y="3171"/>
                  </a:moveTo>
                  <a:cubicBezTo>
                    <a:pt x="9923" y="3171"/>
                    <a:pt x="9861" y="3269"/>
                    <a:pt x="9861" y="3390"/>
                  </a:cubicBezTo>
                  <a:cubicBezTo>
                    <a:pt x="9861" y="3510"/>
                    <a:pt x="9923" y="3608"/>
                    <a:pt x="9999" y="3608"/>
                  </a:cubicBezTo>
                  <a:cubicBezTo>
                    <a:pt x="10076" y="3608"/>
                    <a:pt x="10137" y="3510"/>
                    <a:pt x="10137" y="3390"/>
                  </a:cubicBezTo>
                  <a:cubicBezTo>
                    <a:pt x="10137" y="3269"/>
                    <a:pt x="10076" y="3171"/>
                    <a:pt x="9999" y="3171"/>
                  </a:cubicBezTo>
                  <a:close/>
                  <a:moveTo>
                    <a:pt x="11561" y="3171"/>
                  </a:moveTo>
                  <a:cubicBezTo>
                    <a:pt x="11484" y="3171"/>
                    <a:pt x="11422" y="3269"/>
                    <a:pt x="11422" y="3390"/>
                  </a:cubicBezTo>
                  <a:cubicBezTo>
                    <a:pt x="11422" y="3510"/>
                    <a:pt x="11484" y="3608"/>
                    <a:pt x="11561" y="3608"/>
                  </a:cubicBezTo>
                  <a:cubicBezTo>
                    <a:pt x="11637" y="3608"/>
                    <a:pt x="11698" y="3510"/>
                    <a:pt x="11698" y="3390"/>
                  </a:cubicBezTo>
                  <a:cubicBezTo>
                    <a:pt x="11698" y="3269"/>
                    <a:pt x="11637" y="3171"/>
                    <a:pt x="11561" y="3171"/>
                  </a:cubicBezTo>
                  <a:close/>
                  <a:moveTo>
                    <a:pt x="13944" y="3171"/>
                  </a:moveTo>
                  <a:cubicBezTo>
                    <a:pt x="13868" y="3171"/>
                    <a:pt x="13805" y="3269"/>
                    <a:pt x="13805" y="3390"/>
                  </a:cubicBezTo>
                  <a:cubicBezTo>
                    <a:pt x="13805" y="3510"/>
                    <a:pt x="13868" y="3606"/>
                    <a:pt x="13944" y="3606"/>
                  </a:cubicBezTo>
                  <a:cubicBezTo>
                    <a:pt x="14020" y="3606"/>
                    <a:pt x="14081" y="3510"/>
                    <a:pt x="14081" y="3390"/>
                  </a:cubicBezTo>
                  <a:cubicBezTo>
                    <a:pt x="14081" y="3269"/>
                    <a:pt x="14020" y="3171"/>
                    <a:pt x="13944" y="3171"/>
                  </a:cubicBezTo>
                  <a:close/>
                  <a:moveTo>
                    <a:pt x="14355" y="3171"/>
                  </a:moveTo>
                  <a:cubicBezTo>
                    <a:pt x="14278" y="3171"/>
                    <a:pt x="14216" y="3269"/>
                    <a:pt x="14216" y="3390"/>
                  </a:cubicBezTo>
                  <a:cubicBezTo>
                    <a:pt x="14216" y="3510"/>
                    <a:pt x="14278" y="3606"/>
                    <a:pt x="14355" y="3606"/>
                  </a:cubicBezTo>
                  <a:cubicBezTo>
                    <a:pt x="14431" y="3606"/>
                    <a:pt x="14492" y="3510"/>
                    <a:pt x="14492" y="3390"/>
                  </a:cubicBezTo>
                  <a:cubicBezTo>
                    <a:pt x="14492" y="3269"/>
                    <a:pt x="14431" y="3171"/>
                    <a:pt x="14355" y="3171"/>
                  </a:cubicBezTo>
                  <a:close/>
                  <a:moveTo>
                    <a:pt x="14765" y="3171"/>
                  </a:moveTo>
                  <a:cubicBezTo>
                    <a:pt x="14689" y="3171"/>
                    <a:pt x="14627" y="3269"/>
                    <a:pt x="14627" y="3390"/>
                  </a:cubicBezTo>
                  <a:cubicBezTo>
                    <a:pt x="14627" y="3510"/>
                    <a:pt x="14689" y="3606"/>
                    <a:pt x="14765" y="3606"/>
                  </a:cubicBezTo>
                  <a:cubicBezTo>
                    <a:pt x="14842" y="3606"/>
                    <a:pt x="14903" y="3510"/>
                    <a:pt x="14903" y="3390"/>
                  </a:cubicBezTo>
                  <a:cubicBezTo>
                    <a:pt x="14903" y="3269"/>
                    <a:pt x="14842" y="3171"/>
                    <a:pt x="14765" y="3171"/>
                  </a:cubicBezTo>
                  <a:close/>
                  <a:moveTo>
                    <a:pt x="1700" y="3754"/>
                  </a:moveTo>
                  <a:cubicBezTo>
                    <a:pt x="1624" y="3754"/>
                    <a:pt x="1561" y="3852"/>
                    <a:pt x="1561" y="3972"/>
                  </a:cubicBezTo>
                  <a:cubicBezTo>
                    <a:pt x="1561" y="4092"/>
                    <a:pt x="1624" y="4189"/>
                    <a:pt x="1700" y="4189"/>
                  </a:cubicBezTo>
                  <a:cubicBezTo>
                    <a:pt x="1776" y="4189"/>
                    <a:pt x="1837" y="4092"/>
                    <a:pt x="1837" y="3972"/>
                  </a:cubicBezTo>
                  <a:cubicBezTo>
                    <a:pt x="1837" y="3852"/>
                    <a:pt x="1776" y="3754"/>
                    <a:pt x="1700" y="3754"/>
                  </a:cubicBezTo>
                  <a:close/>
                  <a:moveTo>
                    <a:pt x="2070" y="3754"/>
                  </a:moveTo>
                  <a:cubicBezTo>
                    <a:pt x="1994" y="3754"/>
                    <a:pt x="1931" y="3852"/>
                    <a:pt x="1931" y="3972"/>
                  </a:cubicBezTo>
                  <a:cubicBezTo>
                    <a:pt x="1931" y="4092"/>
                    <a:pt x="1994" y="4189"/>
                    <a:pt x="2070" y="4189"/>
                  </a:cubicBezTo>
                  <a:cubicBezTo>
                    <a:pt x="2146" y="4189"/>
                    <a:pt x="2207" y="4092"/>
                    <a:pt x="2207" y="3972"/>
                  </a:cubicBezTo>
                  <a:cubicBezTo>
                    <a:pt x="2207" y="3852"/>
                    <a:pt x="2146" y="3754"/>
                    <a:pt x="2070" y="3754"/>
                  </a:cubicBezTo>
                  <a:close/>
                  <a:moveTo>
                    <a:pt x="2481" y="3754"/>
                  </a:moveTo>
                  <a:cubicBezTo>
                    <a:pt x="2404" y="3754"/>
                    <a:pt x="2342" y="3852"/>
                    <a:pt x="2342" y="3972"/>
                  </a:cubicBezTo>
                  <a:cubicBezTo>
                    <a:pt x="2342" y="4092"/>
                    <a:pt x="2404" y="4189"/>
                    <a:pt x="2481" y="4189"/>
                  </a:cubicBezTo>
                  <a:cubicBezTo>
                    <a:pt x="2557" y="4189"/>
                    <a:pt x="2618" y="4092"/>
                    <a:pt x="2618" y="3972"/>
                  </a:cubicBezTo>
                  <a:cubicBezTo>
                    <a:pt x="2618" y="3852"/>
                    <a:pt x="2557" y="3754"/>
                    <a:pt x="2481" y="3754"/>
                  </a:cubicBezTo>
                  <a:close/>
                  <a:moveTo>
                    <a:pt x="2891" y="3754"/>
                  </a:moveTo>
                  <a:cubicBezTo>
                    <a:pt x="2815" y="3754"/>
                    <a:pt x="2753" y="3852"/>
                    <a:pt x="2753" y="3972"/>
                  </a:cubicBezTo>
                  <a:cubicBezTo>
                    <a:pt x="2753" y="4092"/>
                    <a:pt x="2815" y="4189"/>
                    <a:pt x="2891" y="4189"/>
                  </a:cubicBezTo>
                  <a:cubicBezTo>
                    <a:pt x="2968" y="4189"/>
                    <a:pt x="3029" y="4092"/>
                    <a:pt x="3029" y="3972"/>
                  </a:cubicBezTo>
                  <a:cubicBezTo>
                    <a:pt x="3029" y="3852"/>
                    <a:pt x="2968" y="3754"/>
                    <a:pt x="2891" y="3754"/>
                  </a:cubicBezTo>
                  <a:close/>
                  <a:moveTo>
                    <a:pt x="3302" y="3754"/>
                  </a:moveTo>
                  <a:cubicBezTo>
                    <a:pt x="3226" y="3754"/>
                    <a:pt x="3164" y="3852"/>
                    <a:pt x="3164" y="3972"/>
                  </a:cubicBezTo>
                  <a:cubicBezTo>
                    <a:pt x="3164" y="4092"/>
                    <a:pt x="3226" y="4189"/>
                    <a:pt x="3302" y="4189"/>
                  </a:cubicBezTo>
                  <a:cubicBezTo>
                    <a:pt x="3379" y="4189"/>
                    <a:pt x="3440" y="4092"/>
                    <a:pt x="3440" y="3972"/>
                  </a:cubicBezTo>
                  <a:cubicBezTo>
                    <a:pt x="3440" y="3852"/>
                    <a:pt x="3379" y="3754"/>
                    <a:pt x="3302" y="3754"/>
                  </a:cubicBezTo>
                  <a:close/>
                  <a:moveTo>
                    <a:pt x="3713" y="3754"/>
                  </a:moveTo>
                  <a:cubicBezTo>
                    <a:pt x="3637" y="3754"/>
                    <a:pt x="3575" y="3852"/>
                    <a:pt x="3575" y="3972"/>
                  </a:cubicBezTo>
                  <a:cubicBezTo>
                    <a:pt x="3575" y="4092"/>
                    <a:pt x="3637" y="4189"/>
                    <a:pt x="3713" y="4189"/>
                  </a:cubicBezTo>
                  <a:cubicBezTo>
                    <a:pt x="3790" y="4189"/>
                    <a:pt x="3851" y="4092"/>
                    <a:pt x="3851" y="3972"/>
                  </a:cubicBezTo>
                  <a:cubicBezTo>
                    <a:pt x="3851" y="3852"/>
                    <a:pt x="3790" y="3754"/>
                    <a:pt x="3713" y="3754"/>
                  </a:cubicBezTo>
                  <a:close/>
                  <a:moveTo>
                    <a:pt x="4083" y="3754"/>
                  </a:moveTo>
                  <a:cubicBezTo>
                    <a:pt x="4007" y="3754"/>
                    <a:pt x="3944" y="3852"/>
                    <a:pt x="3944" y="3972"/>
                  </a:cubicBezTo>
                  <a:cubicBezTo>
                    <a:pt x="3944" y="4092"/>
                    <a:pt x="4007" y="4189"/>
                    <a:pt x="4083" y="4189"/>
                  </a:cubicBezTo>
                  <a:cubicBezTo>
                    <a:pt x="4159" y="4189"/>
                    <a:pt x="4220" y="4092"/>
                    <a:pt x="4220" y="3972"/>
                  </a:cubicBezTo>
                  <a:cubicBezTo>
                    <a:pt x="4220" y="3852"/>
                    <a:pt x="4159" y="3754"/>
                    <a:pt x="4083" y="3754"/>
                  </a:cubicBezTo>
                  <a:close/>
                  <a:moveTo>
                    <a:pt x="4494" y="3754"/>
                  </a:moveTo>
                  <a:cubicBezTo>
                    <a:pt x="4418" y="3754"/>
                    <a:pt x="4355" y="3852"/>
                    <a:pt x="4355" y="3972"/>
                  </a:cubicBezTo>
                  <a:cubicBezTo>
                    <a:pt x="4355" y="4092"/>
                    <a:pt x="4418" y="4189"/>
                    <a:pt x="4494" y="4189"/>
                  </a:cubicBezTo>
                  <a:cubicBezTo>
                    <a:pt x="4570" y="4189"/>
                    <a:pt x="4631" y="4092"/>
                    <a:pt x="4631" y="3972"/>
                  </a:cubicBezTo>
                  <a:cubicBezTo>
                    <a:pt x="4631" y="3852"/>
                    <a:pt x="4570" y="3754"/>
                    <a:pt x="4494" y="3754"/>
                  </a:cubicBezTo>
                  <a:close/>
                  <a:moveTo>
                    <a:pt x="4864" y="3754"/>
                  </a:moveTo>
                  <a:cubicBezTo>
                    <a:pt x="4787" y="3754"/>
                    <a:pt x="4725" y="3852"/>
                    <a:pt x="4725" y="3972"/>
                  </a:cubicBezTo>
                  <a:cubicBezTo>
                    <a:pt x="4725" y="4092"/>
                    <a:pt x="4787" y="4189"/>
                    <a:pt x="4864" y="4189"/>
                  </a:cubicBezTo>
                  <a:cubicBezTo>
                    <a:pt x="4940" y="4189"/>
                    <a:pt x="5001" y="4092"/>
                    <a:pt x="5001" y="3972"/>
                  </a:cubicBezTo>
                  <a:cubicBezTo>
                    <a:pt x="5001" y="3852"/>
                    <a:pt x="4940" y="3754"/>
                    <a:pt x="4864" y="3754"/>
                  </a:cubicBezTo>
                  <a:close/>
                  <a:moveTo>
                    <a:pt x="5274" y="3754"/>
                  </a:moveTo>
                  <a:cubicBezTo>
                    <a:pt x="5198" y="3754"/>
                    <a:pt x="5136" y="3852"/>
                    <a:pt x="5136" y="3972"/>
                  </a:cubicBezTo>
                  <a:cubicBezTo>
                    <a:pt x="5136" y="4092"/>
                    <a:pt x="5198" y="4189"/>
                    <a:pt x="5274" y="4189"/>
                  </a:cubicBezTo>
                  <a:cubicBezTo>
                    <a:pt x="5351" y="4189"/>
                    <a:pt x="5412" y="4092"/>
                    <a:pt x="5412" y="3972"/>
                  </a:cubicBezTo>
                  <a:cubicBezTo>
                    <a:pt x="5412" y="3852"/>
                    <a:pt x="5351" y="3754"/>
                    <a:pt x="5274" y="3754"/>
                  </a:cubicBezTo>
                  <a:close/>
                  <a:moveTo>
                    <a:pt x="5685" y="3754"/>
                  </a:moveTo>
                  <a:cubicBezTo>
                    <a:pt x="5609" y="3754"/>
                    <a:pt x="5547" y="3852"/>
                    <a:pt x="5547" y="3972"/>
                  </a:cubicBezTo>
                  <a:cubicBezTo>
                    <a:pt x="5547" y="4092"/>
                    <a:pt x="5609" y="4189"/>
                    <a:pt x="5685" y="4189"/>
                  </a:cubicBezTo>
                  <a:cubicBezTo>
                    <a:pt x="5762" y="4189"/>
                    <a:pt x="5823" y="4092"/>
                    <a:pt x="5823" y="3972"/>
                  </a:cubicBezTo>
                  <a:cubicBezTo>
                    <a:pt x="5823" y="3852"/>
                    <a:pt x="5762" y="3754"/>
                    <a:pt x="5685" y="3754"/>
                  </a:cubicBezTo>
                  <a:close/>
                  <a:moveTo>
                    <a:pt x="6055" y="3754"/>
                  </a:moveTo>
                  <a:cubicBezTo>
                    <a:pt x="5979" y="3754"/>
                    <a:pt x="5916" y="3852"/>
                    <a:pt x="5916" y="3972"/>
                  </a:cubicBezTo>
                  <a:cubicBezTo>
                    <a:pt x="5916" y="4092"/>
                    <a:pt x="5979" y="4189"/>
                    <a:pt x="6055" y="4189"/>
                  </a:cubicBezTo>
                  <a:cubicBezTo>
                    <a:pt x="6131" y="4189"/>
                    <a:pt x="6193" y="4092"/>
                    <a:pt x="6193" y="3972"/>
                  </a:cubicBezTo>
                  <a:cubicBezTo>
                    <a:pt x="6193" y="3852"/>
                    <a:pt x="6131" y="3754"/>
                    <a:pt x="6055" y="3754"/>
                  </a:cubicBezTo>
                  <a:close/>
                  <a:moveTo>
                    <a:pt x="6466" y="3754"/>
                  </a:moveTo>
                  <a:cubicBezTo>
                    <a:pt x="6390" y="3754"/>
                    <a:pt x="6327" y="3852"/>
                    <a:pt x="6327" y="3972"/>
                  </a:cubicBezTo>
                  <a:cubicBezTo>
                    <a:pt x="6327" y="4092"/>
                    <a:pt x="6390" y="4189"/>
                    <a:pt x="6466" y="4189"/>
                  </a:cubicBezTo>
                  <a:cubicBezTo>
                    <a:pt x="6542" y="4189"/>
                    <a:pt x="6603" y="4092"/>
                    <a:pt x="6603" y="3972"/>
                  </a:cubicBezTo>
                  <a:cubicBezTo>
                    <a:pt x="6603" y="3852"/>
                    <a:pt x="6542" y="3754"/>
                    <a:pt x="6466" y="3754"/>
                  </a:cubicBezTo>
                  <a:close/>
                  <a:moveTo>
                    <a:pt x="6877" y="3754"/>
                  </a:moveTo>
                  <a:cubicBezTo>
                    <a:pt x="6801" y="3754"/>
                    <a:pt x="6738" y="3852"/>
                    <a:pt x="6738" y="3972"/>
                  </a:cubicBezTo>
                  <a:cubicBezTo>
                    <a:pt x="6738" y="4092"/>
                    <a:pt x="6801" y="4189"/>
                    <a:pt x="6877" y="4189"/>
                  </a:cubicBezTo>
                  <a:cubicBezTo>
                    <a:pt x="6953" y="4189"/>
                    <a:pt x="7014" y="4092"/>
                    <a:pt x="7014" y="3972"/>
                  </a:cubicBezTo>
                  <a:cubicBezTo>
                    <a:pt x="7014" y="3852"/>
                    <a:pt x="6953" y="3754"/>
                    <a:pt x="6877" y="3754"/>
                  </a:cubicBezTo>
                  <a:close/>
                  <a:moveTo>
                    <a:pt x="7247" y="3754"/>
                  </a:moveTo>
                  <a:cubicBezTo>
                    <a:pt x="7170" y="3754"/>
                    <a:pt x="7108" y="3852"/>
                    <a:pt x="7108" y="3972"/>
                  </a:cubicBezTo>
                  <a:cubicBezTo>
                    <a:pt x="7108" y="4092"/>
                    <a:pt x="7170" y="4189"/>
                    <a:pt x="7247" y="4189"/>
                  </a:cubicBezTo>
                  <a:cubicBezTo>
                    <a:pt x="7323" y="4189"/>
                    <a:pt x="7384" y="4092"/>
                    <a:pt x="7384" y="3972"/>
                  </a:cubicBezTo>
                  <a:cubicBezTo>
                    <a:pt x="7384" y="3852"/>
                    <a:pt x="7323" y="3754"/>
                    <a:pt x="7247" y="3754"/>
                  </a:cubicBezTo>
                  <a:close/>
                  <a:moveTo>
                    <a:pt x="7658" y="3754"/>
                  </a:moveTo>
                  <a:cubicBezTo>
                    <a:pt x="7581" y="3754"/>
                    <a:pt x="7519" y="3852"/>
                    <a:pt x="7519" y="3972"/>
                  </a:cubicBezTo>
                  <a:cubicBezTo>
                    <a:pt x="7519" y="4092"/>
                    <a:pt x="7581" y="4189"/>
                    <a:pt x="7658" y="4189"/>
                  </a:cubicBezTo>
                  <a:cubicBezTo>
                    <a:pt x="7734" y="4189"/>
                    <a:pt x="7795" y="4092"/>
                    <a:pt x="7795" y="3972"/>
                  </a:cubicBezTo>
                  <a:cubicBezTo>
                    <a:pt x="7795" y="3852"/>
                    <a:pt x="7734" y="3754"/>
                    <a:pt x="7658" y="3754"/>
                  </a:cubicBezTo>
                  <a:close/>
                  <a:moveTo>
                    <a:pt x="8027" y="3754"/>
                  </a:moveTo>
                  <a:cubicBezTo>
                    <a:pt x="7951" y="3754"/>
                    <a:pt x="7889" y="3852"/>
                    <a:pt x="7889" y="3972"/>
                  </a:cubicBezTo>
                  <a:cubicBezTo>
                    <a:pt x="7889" y="4092"/>
                    <a:pt x="7951" y="4189"/>
                    <a:pt x="8027" y="4189"/>
                  </a:cubicBezTo>
                  <a:cubicBezTo>
                    <a:pt x="8103" y="4189"/>
                    <a:pt x="8165" y="4092"/>
                    <a:pt x="8165" y="3972"/>
                  </a:cubicBezTo>
                  <a:cubicBezTo>
                    <a:pt x="8165" y="3852"/>
                    <a:pt x="8103" y="3754"/>
                    <a:pt x="8027" y="3754"/>
                  </a:cubicBezTo>
                  <a:close/>
                  <a:moveTo>
                    <a:pt x="8438" y="3754"/>
                  </a:moveTo>
                  <a:cubicBezTo>
                    <a:pt x="8362" y="3754"/>
                    <a:pt x="8299" y="3852"/>
                    <a:pt x="8299" y="3972"/>
                  </a:cubicBezTo>
                  <a:cubicBezTo>
                    <a:pt x="8299" y="4092"/>
                    <a:pt x="8362" y="4189"/>
                    <a:pt x="8438" y="4189"/>
                  </a:cubicBezTo>
                  <a:cubicBezTo>
                    <a:pt x="8515" y="4189"/>
                    <a:pt x="8576" y="4092"/>
                    <a:pt x="8576" y="3972"/>
                  </a:cubicBezTo>
                  <a:cubicBezTo>
                    <a:pt x="8576" y="3852"/>
                    <a:pt x="8515" y="3754"/>
                    <a:pt x="8438" y="3754"/>
                  </a:cubicBezTo>
                  <a:close/>
                  <a:moveTo>
                    <a:pt x="8849" y="3754"/>
                  </a:moveTo>
                  <a:cubicBezTo>
                    <a:pt x="8773" y="3754"/>
                    <a:pt x="8710" y="3852"/>
                    <a:pt x="8710" y="3972"/>
                  </a:cubicBezTo>
                  <a:cubicBezTo>
                    <a:pt x="8710" y="4092"/>
                    <a:pt x="8773" y="4189"/>
                    <a:pt x="8849" y="4189"/>
                  </a:cubicBezTo>
                  <a:cubicBezTo>
                    <a:pt x="8925" y="4189"/>
                    <a:pt x="8986" y="4092"/>
                    <a:pt x="8986" y="3972"/>
                  </a:cubicBezTo>
                  <a:cubicBezTo>
                    <a:pt x="8986" y="3852"/>
                    <a:pt x="8925" y="3754"/>
                    <a:pt x="8849" y="3754"/>
                  </a:cubicBezTo>
                  <a:close/>
                  <a:moveTo>
                    <a:pt x="9219" y="3754"/>
                  </a:moveTo>
                  <a:cubicBezTo>
                    <a:pt x="9142" y="3754"/>
                    <a:pt x="9080" y="3852"/>
                    <a:pt x="9080" y="3972"/>
                  </a:cubicBezTo>
                  <a:cubicBezTo>
                    <a:pt x="9080" y="4092"/>
                    <a:pt x="9142" y="4189"/>
                    <a:pt x="9219" y="4189"/>
                  </a:cubicBezTo>
                  <a:cubicBezTo>
                    <a:pt x="9295" y="4189"/>
                    <a:pt x="9356" y="4092"/>
                    <a:pt x="9356" y="3972"/>
                  </a:cubicBezTo>
                  <a:cubicBezTo>
                    <a:pt x="9356" y="3852"/>
                    <a:pt x="9295" y="3754"/>
                    <a:pt x="9219" y="3754"/>
                  </a:cubicBezTo>
                  <a:close/>
                  <a:moveTo>
                    <a:pt x="9589" y="3754"/>
                  </a:moveTo>
                  <a:cubicBezTo>
                    <a:pt x="9512" y="3754"/>
                    <a:pt x="9450" y="3852"/>
                    <a:pt x="9450" y="3972"/>
                  </a:cubicBezTo>
                  <a:cubicBezTo>
                    <a:pt x="9450" y="4092"/>
                    <a:pt x="9512" y="4189"/>
                    <a:pt x="9589" y="4189"/>
                  </a:cubicBezTo>
                  <a:cubicBezTo>
                    <a:pt x="9665" y="4189"/>
                    <a:pt x="9726" y="4092"/>
                    <a:pt x="9726" y="3972"/>
                  </a:cubicBezTo>
                  <a:cubicBezTo>
                    <a:pt x="9726" y="3852"/>
                    <a:pt x="9665" y="3754"/>
                    <a:pt x="9589" y="3754"/>
                  </a:cubicBezTo>
                  <a:close/>
                  <a:moveTo>
                    <a:pt x="9999" y="3754"/>
                  </a:moveTo>
                  <a:cubicBezTo>
                    <a:pt x="9923" y="3754"/>
                    <a:pt x="9861" y="3852"/>
                    <a:pt x="9861" y="3972"/>
                  </a:cubicBezTo>
                  <a:cubicBezTo>
                    <a:pt x="9861" y="4092"/>
                    <a:pt x="9923" y="4189"/>
                    <a:pt x="9999" y="4189"/>
                  </a:cubicBezTo>
                  <a:cubicBezTo>
                    <a:pt x="10076" y="4189"/>
                    <a:pt x="10137" y="4092"/>
                    <a:pt x="10137" y="3972"/>
                  </a:cubicBezTo>
                  <a:cubicBezTo>
                    <a:pt x="10137" y="3852"/>
                    <a:pt x="10076" y="3754"/>
                    <a:pt x="9999" y="3754"/>
                  </a:cubicBezTo>
                  <a:close/>
                  <a:moveTo>
                    <a:pt x="10410" y="3754"/>
                  </a:moveTo>
                  <a:cubicBezTo>
                    <a:pt x="10334" y="3754"/>
                    <a:pt x="10272" y="3852"/>
                    <a:pt x="10272" y="3972"/>
                  </a:cubicBezTo>
                  <a:cubicBezTo>
                    <a:pt x="10272" y="4092"/>
                    <a:pt x="10334" y="4189"/>
                    <a:pt x="10410" y="4189"/>
                  </a:cubicBezTo>
                  <a:cubicBezTo>
                    <a:pt x="10487" y="4189"/>
                    <a:pt x="10548" y="4092"/>
                    <a:pt x="10548" y="3972"/>
                  </a:cubicBezTo>
                  <a:cubicBezTo>
                    <a:pt x="10548" y="3852"/>
                    <a:pt x="10487" y="3754"/>
                    <a:pt x="10410" y="3754"/>
                  </a:cubicBezTo>
                  <a:close/>
                  <a:moveTo>
                    <a:pt x="10780" y="3754"/>
                  </a:moveTo>
                  <a:cubicBezTo>
                    <a:pt x="10704" y="3754"/>
                    <a:pt x="10641" y="3852"/>
                    <a:pt x="10641" y="3972"/>
                  </a:cubicBezTo>
                  <a:cubicBezTo>
                    <a:pt x="10641" y="4092"/>
                    <a:pt x="10704" y="4189"/>
                    <a:pt x="10780" y="4189"/>
                  </a:cubicBezTo>
                  <a:cubicBezTo>
                    <a:pt x="10856" y="4189"/>
                    <a:pt x="10917" y="4092"/>
                    <a:pt x="10917" y="3972"/>
                  </a:cubicBezTo>
                  <a:cubicBezTo>
                    <a:pt x="10917" y="3852"/>
                    <a:pt x="10856" y="3754"/>
                    <a:pt x="10780" y="3754"/>
                  </a:cubicBezTo>
                  <a:close/>
                  <a:moveTo>
                    <a:pt x="11191" y="3754"/>
                  </a:moveTo>
                  <a:cubicBezTo>
                    <a:pt x="11115" y="3754"/>
                    <a:pt x="11052" y="3852"/>
                    <a:pt x="11052" y="3972"/>
                  </a:cubicBezTo>
                  <a:cubicBezTo>
                    <a:pt x="11052" y="4092"/>
                    <a:pt x="11115" y="4189"/>
                    <a:pt x="11191" y="4189"/>
                  </a:cubicBezTo>
                  <a:cubicBezTo>
                    <a:pt x="11267" y="4189"/>
                    <a:pt x="11328" y="4092"/>
                    <a:pt x="11328" y="3972"/>
                  </a:cubicBezTo>
                  <a:cubicBezTo>
                    <a:pt x="11328" y="3852"/>
                    <a:pt x="11267" y="3754"/>
                    <a:pt x="11191" y="3754"/>
                  </a:cubicBezTo>
                  <a:close/>
                  <a:moveTo>
                    <a:pt x="11561" y="3754"/>
                  </a:moveTo>
                  <a:cubicBezTo>
                    <a:pt x="11484" y="3754"/>
                    <a:pt x="11422" y="3852"/>
                    <a:pt x="11422" y="3972"/>
                  </a:cubicBezTo>
                  <a:cubicBezTo>
                    <a:pt x="11422" y="4092"/>
                    <a:pt x="11484" y="4189"/>
                    <a:pt x="11561" y="4189"/>
                  </a:cubicBezTo>
                  <a:cubicBezTo>
                    <a:pt x="11637" y="4189"/>
                    <a:pt x="11698" y="4092"/>
                    <a:pt x="11698" y="3972"/>
                  </a:cubicBezTo>
                  <a:cubicBezTo>
                    <a:pt x="11698" y="3852"/>
                    <a:pt x="11637" y="3754"/>
                    <a:pt x="11561" y="3754"/>
                  </a:cubicBezTo>
                  <a:close/>
                  <a:moveTo>
                    <a:pt x="12382" y="3754"/>
                  </a:moveTo>
                  <a:cubicBezTo>
                    <a:pt x="12306" y="3754"/>
                    <a:pt x="12244" y="3852"/>
                    <a:pt x="12244" y="3972"/>
                  </a:cubicBezTo>
                  <a:cubicBezTo>
                    <a:pt x="12244" y="4092"/>
                    <a:pt x="12306" y="4189"/>
                    <a:pt x="12382" y="4189"/>
                  </a:cubicBezTo>
                  <a:cubicBezTo>
                    <a:pt x="12459" y="4189"/>
                    <a:pt x="12520" y="4092"/>
                    <a:pt x="12520" y="3972"/>
                  </a:cubicBezTo>
                  <a:cubicBezTo>
                    <a:pt x="12520" y="3852"/>
                    <a:pt x="12459" y="3754"/>
                    <a:pt x="12382" y="3754"/>
                  </a:cubicBezTo>
                  <a:close/>
                  <a:moveTo>
                    <a:pt x="16738" y="3754"/>
                  </a:moveTo>
                  <a:cubicBezTo>
                    <a:pt x="16661" y="3754"/>
                    <a:pt x="16599" y="3852"/>
                    <a:pt x="16599" y="3972"/>
                  </a:cubicBezTo>
                  <a:cubicBezTo>
                    <a:pt x="16599" y="4092"/>
                    <a:pt x="16661" y="4189"/>
                    <a:pt x="16738" y="4189"/>
                  </a:cubicBezTo>
                  <a:cubicBezTo>
                    <a:pt x="16814" y="4189"/>
                    <a:pt x="16875" y="4092"/>
                    <a:pt x="16875" y="3972"/>
                  </a:cubicBezTo>
                  <a:cubicBezTo>
                    <a:pt x="16875" y="3852"/>
                    <a:pt x="16814" y="3754"/>
                    <a:pt x="16738" y="3754"/>
                  </a:cubicBezTo>
                  <a:close/>
                  <a:moveTo>
                    <a:pt x="17107" y="3754"/>
                  </a:moveTo>
                  <a:cubicBezTo>
                    <a:pt x="17031" y="3754"/>
                    <a:pt x="16969" y="3852"/>
                    <a:pt x="16969" y="3972"/>
                  </a:cubicBezTo>
                  <a:cubicBezTo>
                    <a:pt x="16969" y="4092"/>
                    <a:pt x="17031" y="4189"/>
                    <a:pt x="17107" y="4189"/>
                  </a:cubicBezTo>
                  <a:cubicBezTo>
                    <a:pt x="17184" y="4189"/>
                    <a:pt x="17245" y="4092"/>
                    <a:pt x="17245" y="3972"/>
                  </a:cubicBezTo>
                  <a:cubicBezTo>
                    <a:pt x="17245" y="3852"/>
                    <a:pt x="17184" y="3754"/>
                    <a:pt x="17107" y="3754"/>
                  </a:cubicBezTo>
                  <a:close/>
                  <a:moveTo>
                    <a:pt x="17518" y="3754"/>
                  </a:moveTo>
                  <a:cubicBezTo>
                    <a:pt x="17442" y="3754"/>
                    <a:pt x="17380" y="3852"/>
                    <a:pt x="17380" y="3972"/>
                  </a:cubicBezTo>
                  <a:cubicBezTo>
                    <a:pt x="17380" y="4092"/>
                    <a:pt x="17442" y="4189"/>
                    <a:pt x="17518" y="4189"/>
                  </a:cubicBezTo>
                  <a:cubicBezTo>
                    <a:pt x="17595" y="4189"/>
                    <a:pt x="17656" y="4092"/>
                    <a:pt x="17656" y="3972"/>
                  </a:cubicBezTo>
                  <a:cubicBezTo>
                    <a:pt x="17656" y="3852"/>
                    <a:pt x="17595" y="3754"/>
                    <a:pt x="17518" y="3754"/>
                  </a:cubicBezTo>
                  <a:close/>
                  <a:moveTo>
                    <a:pt x="17888" y="3754"/>
                  </a:moveTo>
                  <a:cubicBezTo>
                    <a:pt x="17812" y="3754"/>
                    <a:pt x="17749" y="3852"/>
                    <a:pt x="17749" y="3972"/>
                  </a:cubicBezTo>
                  <a:cubicBezTo>
                    <a:pt x="17749" y="4092"/>
                    <a:pt x="17812" y="4189"/>
                    <a:pt x="17888" y="4189"/>
                  </a:cubicBezTo>
                  <a:cubicBezTo>
                    <a:pt x="17964" y="4189"/>
                    <a:pt x="18025" y="4092"/>
                    <a:pt x="18025" y="3972"/>
                  </a:cubicBezTo>
                  <a:cubicBezTo>
                    <a:pt x="18025" y="3852"/>
                    <a:pt x="17964" y="3754"/>
                    <a:pt x="17888" y="3754"/>
                  </a:cubicBezTo>
                  <a:close/>
                  <a:moveTo>
                    <a:pt x="18299" y="3754"/>
                  </a:moveTo>
                  <a:cubicBezTo>
                    <a:pt x="18223" y="3754"/>
                    <a:pt x="18160" y="3852"/>
                    <a:pt x="18160" y="3972"/>
                  </a:cubicBezTo>
                  <a:cubicBezTo>
                    <a:pt x="18160" y="4092"/>
                    <a:pt x="18223" y="4189"/>
                    <a:pt x="18299" y="4189"/>
                  </a:cubicBezTo>
                  <a:cubicBezTo>
                    <a:pt x="18375" y="4189"/>
                    <a:pt x="18436" y="4092"/>
                    <a:pt x="18436" y="3972"/>
                  </a:cubicBezTo>
                  <a:cubicBezTo>
                    <a:pt x="18436" y="3852"/>
                    <a:pt x="18375" y="3754"/>
                    <a:pt x="18299" y="3754"/>
                  </a:cubicBezTo>
                  <a:close/>
                  <a:moveTo>
                    <a:pt x="18710" y="3754"/>
                  </a:moveTo>
                  <a:cubicBezTo>
                    <a:pt x="18633" y="3754"/>
                    <a:pt x="18571" y="3852"/>
                    <a:pt x="18571" y="3972"/>
                  </a:cubicBezTo>
                  <a:cubicBezTo>
                    <a:pt x="18571" y="4092"/>
                    <a:pt x="18633" y="4189"/>
                    <a:pt x="18710" y="4189"/>
                  </a:cubicBezTo>
                  <a:cubicBezTo>
                    <a:pt x="18786" y="4189"/>
                    <a:pt x="18847" y="4092"/>
                    <a:pt x="18847" y="3972"/>
                  </a:cubicBezTo>
                  <a:cubicBezTo>
                    <a:pt x="18847" y="3852"/>
                    <a:pt x="18786" y="3754"/>
                    <a:pt x="18710" y="3754"/>
                  </a:cubicBezTo>
                  <a:close/>
                  <a:moveTo>
                    <a:pt x="19121" y="3754"/>
                  </a:moveTo>
                  <a:cubicBezTo>
                    <a:pt x="19044" y="3754"/>
                    <a:pt x="18982" y="3852"/>
                    <a:pt x="18982" y="3972"/>
                  </a:cubicBezTo>
                  <a:cubicBezTo>
                    <a:pt x="18982" y="4092"/>
                    <a:pt x="19044" y="4189"/>
                    <a:pt x="19121" y="4189"/>
                  </a:cubicBezTo>
                  <a:cubicBezTo>
                    <a:pt x="19197" y="4189"/>
                    <a:pt x="19258" y="4092"/>
                    <a:pt x="19258" y="3972"/>
                  </a:cubicBezTo>
                  <a:cubicBezTo>
                    <a:pt x="19258" y="3852"/>
                    <a:pt x="19197" y="3754"/>
                    <a:pt x="19121" y="3754"/>
                  </a:cubicBezTo>
                  <a:close/>
                  <a:moveTo>
                    <a:pt x="14355" y="3818"/>
                  </a:moveTo>
                  <a:cubicBezTo>
                    <a:pt x="14278" y="3818"/>
                    <a:pt x="14216" y="3917"/>
                    <a:pt x="14216" y="4037"/>
                  </a:cubicBezTo>
                  <a:cubicBezTo>
                    <a:pt x="14216" y="4157"/>
                    <a:pt x="14278" y="4253"/>
                    <a:pt x="14355" y="4253"/>
                  </a:cubicBezTo>
                  <a:cubicBezTo>
                    <a:pt x="14431" y="4253"/>
                    <a:pt x="14492" y="4157"/>
                    <a:pt x="14492" y="4037"/>
                  </a:cubicBezTo>
                  <a:cubicBezTo>
                    <a:pt x="14492" y="3917"/>
                    <a:pt x="14431" y="3818"/>
                    <a:pt x="14355" y="3818"/>
                  </a:cubicBezTo>
                  <a:close/>
                  <a:moveTo>
                    <a:pt x="14765" y="3818"/>
                  </a:moveTo>
                  <a:cubicBezTo>
                    <a:pt x="14689" y="3818"/>
                    <a:pt x="14627" y="3917"/>
                    <a:pt x="14627" y="4037"/>
                  </a:cubicBezTo>
                  <a:cubicBezTo>
                    <a:pt x="14627" y="4157"/>
                    <a:pt x="14689" y="4253"/>
                    <a:pt x="14765" y="4253"/>
                  </a:cubicBezTo>
                  <a:cubicBezTo>
                    <a:pt x="14842" y="4253"/>
                    <a:pt x="14903" y="4157"/>
                    <a:pt x="14903" y="4037"/>
                  </a:cubicBezTo>
                  <a:cubicBezTo>
                    <a:pt x="14903" y="3917"/>
                    <a:pt x="14842" y="3818"/>
                    <a:pt x="14765" y="3818"/>
                  </a:cubicBezTo>
                  <a:close/>
                  <a:moveTo>
                    <a:pt x="919" y="4336"/>
                  </a:moveTo>
                  <a:cubicBezTo>
                    <a:pt x="843" y="4336"/>
                    <a:pt x="781" y="4434"/>
                    <a:pt x="781" y="4555"/>
                  </a:cubicBezTo>
                  <a:cubicBezTo>
                    <a:pt x="781" y="4675"/>
                    <a:pt x="843" y="4773"/>
                    <a:pt x="919" y="4773"/>
                  </a:cubicBezTo>
                  <a:cubicBezTo>
                    <a:pt x="996" y="4773"/>
                    <a:pt x="1057" y="4675"/>
                    <a:pt x="1057" y="4555"/>
                  </a:cubicBezTo>
                  <a:cubicBezTo>
                    <a:pt x="1057" y="4434"/>
                    <a:pt x="996" y="4336"/>
                    <a:pt x="919" y="4336"/>
                  </a:cubicBezTo>
                  <a:close/>
                  <a:moveTo>
                    <a:pt x="1289" y="4336"/>
                  </a:moveTo>
                  <a:cubicBezTo>
                    <a:pt x="1213" y="4336"/>
                    <a:pt x="1150" y="4434"/>
                    <a:pt x="1150" y="4555"/>
                  </a:cubicBezTo>
                  <a:cubicBezTo>
                    <a:pt x="1150" y="4675"/>
                    <a:pt x="1213" y="4773"/>
                    <a:pt x="1289" y="4773"/>
                  </a:cubicBezTo>
                  <a:cubicBezTo>
                    <a:pt x="1365" y="4773"/>
                    <a:pt x="1426" y="4675"/>
                    <a:pt x="1426" y="4555"/>
                  </a:cubicBezTo>
                  <a:cubicBezTo>
                    <a:pt x="1426" y="4434"/>
                    <a:pt x="1365" y="4336"/>
                    <a:pt x="1289" y="4336"/>
                  </a:cubicBezTo>
                  <a:close/>
                  <a:moveTo>
                    <a:pt x="1700" y="4336"/>
                  </a:moveTo>
                  <a:cubicBezTo>
                    <a:pt x="1624" y="4336"/>
                    <a:pt x="1561" y="4434"/>
                    <a:pt x="1561" y="4555"/>
                  </a:cubicBezTo>
                  <a:cubicBezTo>
                    <a:pt x="1561" y="4675"/>
                    <a:pt x="1624" y="4773"/>
                    <a:pt x="1700" y="4773"/>
                  </a:cubicBezTo>
                  <a:cubicBezTo>
                    <a:pt x="1776" y="4773"/>
                    <a:pt x="1837" y="4675"/>
                    <a:pt x="1837" y="4555"/>
                  </a:cubicBezTo>
                  <a:cubicBezTo>
                    <a:pt x="1837" y="4434"/>
                    <a:pt x="1776" y="4336"/>
                    <a:pt x="1700" y="4336"/>
                  </a:cubicBezTo>
                  <a:close/>
                  <a:moveTo>
                    <a:pt x="2070" y="4336"/>
                  </a:moveTo>
                  <a:cubicBezTo>
                    <a:pt x="1994" y="4336"/>
                    <a:pt x="1931" y="4434"/>
                    <a:pt x="1931" y="4555"/>
                  </a:cubicBezTo>
                  <a:cubicBezTo>
                    <a:pt x="1931" y="4675"/>
                    <a:pt x="1994" y="4773"/>
                    <a:pt x="2070" y="4773"/>
                  </a:cubicBezTo>
                  <a:cubicBezTo>
                    <a:pt x="2146" y="4773"/>
                    <a:pt x="2207" y="4675"/>
                    <a:pt x="2207" y="4555"/>
                  </a:cubicBezTo>
                  <a:cubicBezTo>
                    <a:pt x="2207" y="4434"/>
                    <a:pt x="2146" y="4336"/>
                    <a:pt x="2070" y="4336"/>
                  </a:cubicBezTo>
                  <a:close/>
                  <a:moveTo>
                    <a:pt x="2481" y="4336"/>
                  </a:moveTo>
                  <a:cubicBezTo>
                    <a:pt x="2404" y="4336"/>
                    <a:pt x="2342" y="4434"/>
                    <a:pt x="2342" y="4555"/>
                  </a:cubicBezTo>
                  <a:cubicBezTo>
                    <a:pt x="2342" y="4675"/>
                    <a:pt x="2404" y="4773"/>
                    <a:pt x="2481" y="4773"/>
                  </a:cubicBezTo>
                  <a:cubicBezTo>
                    <a:pt x="2557" y="4773"/>
                    <a:pt x="2618" y="4675"/>
                    <a:pt x="2618" y="4555"/>
                  </a:cubicBezTo>
                  <a:cubicBezTo>
                    <a:pt x="2618" y="4434"/>
                    <a:pt x="2557" y="4336"/>
                    <a:pt x="2481" y="4336"/>
                  </a:cubicBezTo>
                  <a:close/>
                  <a:moveTo>
                    <a:pt x="2891" y="4336"/>
                  </a:moveTo>
                  <a:cubicBezTo>
                    <a:pt x="2815" y="4336"/>
                    <a:pt x="2753" y="4434"/>
                    <a:pt x="2753" y="4555"/>
                  </a:cubicBezTo>
                  <a:cubicBezTo>
                    <a:pt x="2753" y="4675"/>
                    <a:pt x="2815" y="4773"/>
                    <a:pt x="2891" y="4773"/>
                  </a:cubicBezTo>
                  <a:cubicBezTo>
                    <a:pt x="2968" y="4773"/>
                    <a:pt x="3029" y="4675"/>
                    <a:pt x="3029" y="4555"/>
                  </a:cubicBezTo>
                  <a:cubicBezTo>
                    <a:pt x="3029" y="4434"/>
                    <a:pt x="2968" y="4336"/>
                    <a:pt x="2891" y="4336"/>
                  </a:cubicBezTo>
                  <a:close/>
                  <a:moveTo>
                    <a:pt x="3302" y="4336"/>
                  </a:moveTo>
                  <a:cubicBezTo>
                    <a:pt x="3226" y="4336"/>
                    <a:pt x="3164" y="4434"/>
                    <a:pt x="3164" y="4555"/>
                  </a:cubicBezTo>
                  <a:cubicBezTo>
                    <a:pt x="3164" y="4675"/>
                    <a:pt x="3226" y="4773"/>
                    <a:pt x="3302" y="4773"/>
                  </a:cubicBezTo>
                  <a:cubicBezTo>
                    <a:pt x="3379" y="4773"/>
                    <a:pt x="3440" y="4675"/>
                    <a:pt x="3440" y="4555"/>
                  </a:cubicBezTo>
                  <a:cubicBezTo>
                    <a:pt x="3440" y="4434"/>
                    <a:pt x="3379" y="4336"/>
                    <a:pt x="3302" y="4336"/>
                  </a:cubicBezTo>
                  <a:close/>
                  <a:moveTo>
                    <a:pt x="3713" y="4336"/>
                  </a:moveTo>
                  <a:cubicBezTo>
                    <a:pt x="3637" y="4336"/>
                    <a:pt x="3575" y="4434"/>
                    <a:pt x="3575" y="4555"/>
                  </a:cubicBezTo>
                  <a:cubicBezTo>
                    <a:pt x="3575" y="4675"/>
                    <a:pt x="3637" y="4773"/>
                    <a:pt x="3713" y="4773"/>
                  </a:cubicBezTo>
                  <a:cubicBezTo>
                    <a:pt x="3790" y="4773"/>
                    <a:pt x="3851" y="4675"/>
                    <a:pt x="3851" y="4555"/>
                  </a:cubicBezTo>
                  <a:cubicBezTo>
                    <a:pt x="3851" y="4434"/>
                    <a:pt x="3790" y="4336"/>
                    <a:pt x="3713" y="4336"/>
                  </a:cubicBezTo>
                  <a:close/>
                  <a:moveTo>
                    <a:pt x="4083" y="4336"/>
                  </a:moveTo>
                  <a:cubicBezTo>
                    <a:pt x="4007" y="4336"/>
                    <a:pt x="3944" y="4434"/>
                    <a:pt x="3944" y="4555"/>
                  </a:cubicBezTo>
                  <a:cubicBezTo>
                    <a:pt x="3944" y="4675"/>
                    <a:pt x="4007" y="4773"/>
                    <a:pt x="4083" y="4773"/>
                  </a:cubicBezTo>
                  <a:cubicBezTo>
                    <a:pt x="4159" y="4773"/>
                    <a:pt x="4220" y="4675"/>
                    <a:pt x="4220" y="4555"/>
                  </a:cubicBezTo>
                  <a:cubicBezTo>
                    <a:pt x="4220" y="4434"/>
                    <a:pt x="4159" y="4336"/>
                    <a:pt x="4083" y="4336"/>
                  </a:cubicBezTo>
                  <a:close/>
                  <a:moveTo>
                    <a:pt x="4494" y="4336"/>
                  </a:moveTo>
                  <a:cubicBezTo>
                    <a:pt x="4418" y="4336"/>
                    <a:pt x="4355" y="4434"/>
                    <a:pt x="4355" y="4555"/>
                  </a:cubicBezTo>
                  <a:cubicBezTo>
                    <a:pt x="4355" y="4675"/>
                    <a:pt x="4418" y="4773"/>
                    <a:pt x="4494" y="4773"/>
                  </a:cubicBezTo>
                  <a:cubicBezTo>
                    <a:pt x="4570" y="4773"/>
                    <a:pt x="4631" y="4675"/>
                    <a:pt x="4631" y="4555"/>
                  </a:cubicBezTo>
                  <a:cubicBezTo>
                    <a:pt x="4631" y="4434"/>
                    <a:pt x="4570" y="4336"/>
                    <a:pt x="4494" y="4336"/>
                  </a:cubicBezTo>
                  <a:close/>
                  <a:moveTo>
                    <a:pt x="4864" y="4336"/>
                  </a:moveTo>
                  <a:cubicBezTo>
                    <a:pt x="4787" y="4336"/>
                    <a:pt x="4725" y="4434"/>
                    <a:pt x="4725" y="4555"/>
                  </a:cubicBezTo>
                  <a:cubicBezTo>
                    <a:pt x="4725" y="4675"/>
                    <a:pt x="4787" y="4773"/>
                    <a:pt x="4864" y="4773"/>
                  </a:cubicBezTo>
                  <a:cubicBezTo>
                    <a:pt x="4940" y="4773"/>
                    <a:pt x="5001" y="4675"/>
                    <a:pt x="5001" y="4555"/>
                  </a:cubicBezTo>
                  <a:cubicBezTo>
                    <a:pt x="5001" y="4434"/>
                    <a:pt x="4940" y="4336"/>
                    <a:pt x="4864" y="4336"/>
                  </a:cubicBezTo>
                  <a:close/>
                  <a:moveTo>
                    <a:pt x="5274" y="4336"/>
                  </a:moveTo>
                  <a:cubicBezTo>
                    <a:pt x="5198" y="4336"/>
                    <a:pt x="5136" y="4434"/>
                    <a:pt x="5136" y="4555"/>
                  </a:cubicBezTo>
                  <a:cubicBezTo>
                    <a:pt x="5136" y="4675"/>
                    <a:pt x="5198" y="4773"/>
                    <a:pt x="5274" y="4773"/>
                  </a:cubicBezTo>
                  <a:cubicBezTo>
                    <a:pt x="5351" y="4773"/>
                    <a:pt x="5412" y="4675"/>
                    <a:pt x="5412" y="4555"/>
                  </a:cubicBezTo>
                  <a:cubicBezTo>
                    <a:pt x="5412" y="4434"/>
                    <a:pt x="5351" y="4336"/>
                    <a:pt x="5274" y="4336"/>
                  </a:cubicBezTo>
                  <a:close/>
                  <a:moveTo>
                    <a:pt x="5685" y="4336"/>
                  </a:moveTo>
                  <a:cubicBezTo>
                    <a:pt x="5609" y="4336"/>
                    <a:pt x="5547" y="4434"/>
                    <a:pt x="5547" y="4555"/>
                  </a:cubicBezTo>
                  <a:cubicBezTo>
                    <a:pt x="5547" y="4675"/>
                    <a:pt x="5609" y="4773"/>
                    <a:pt x="5685" y="4773"/>
                  </a:cubicBezTo>
                  <a:cubicBezTo>
                    <a:pt x="5762" y="4773"/>
                    <a:pt x="5823" y="4675"/>
                    <a:pt x="5823" y="4555"/>
                  </a:cubicBezTo>
                  <a:cubicBezTo>
                    <a:pt x="5823" y="4434"/>
                    <a:pt x="5762" y="4336"/>
                    <a:pt x="5685" y="4336"/>
                  </a:cubicBezTo>
                  <a:close/>
                  <a:moveTo>
                    <a:pt x="6055" y="4336"/>
                  </a:moveTo>
                  <a:cubicBezTo>
                    <a:pt x="5979" y="4336"/>
                    <a:pt x="5916" y="4434"/>
                    <a:pt x="5916" y="4555"/>
                  </a:cubicBezTo>
                  <a:cubicBezTo>
                    <a:pt x="5916" y="4675"/>
                    <a:pt x="5979" y="4773"/>
                    <a:pt x="6055" y="4773"/>
                  </a:cubicBezTo>
                  <a:cubicBezTo>
                    <a:pt x="6131" y="4773"/>
                    <a:pt x="6193" y="4675"/>
                    <a:pt x="6193" y="4555"/>
                  </a:cubicBezTo>
                  <a:cubicBezTo>
                    <a:pt x="6193" y="4434"/>
                    <a:pt x="6131" y="4336"/>
                    <a:pt x="6055" y="4336"/>
                  </a:cubicBezTo>
                  <a:close/>
                  <a:moveTo>
                    <a:pt x="6466" y="4336"/>
                  </a:moveTo>
                  <a:cubicBezTo>
                    <a:pt x="6390" y="4336"/>
                    <a:pt x="6327" y="4434"/>
                    <a:pt x="6327" y="4555"/>
                  </a:cubicBezTo>
                  <a:cubicBezTo>
                    <a:pt x="6327" y="4675"/>
                    <a:pt x="6390" y="4773"/>
                    <a:pt x="6466" y="4773"/>
                  </a:cubicBezTo>
                  <a:cubicBezTo>
                    <a:pt x="6542" y="4773"/>
                    <a:pt x="6603" y="4675"/>
                    <a:pt x="6603" y="4555"/>
                  </a:cubicBezTo>
                  <a:cubicBezTo>
                    <a:pt x="6603" y="4434"/>
                    <a:pt x="6542" y="4336"/>
                    <a:pt x="6466" y="4336"/>
                  </a:cubicBezTo>
                  <a:close/>
                  <a:moveTo>
                    <a:pt x="6877" y="4336"/>
                  </a:moveTo>
                  <a:cubicBezTo>
                    <a:pt x="6801" y="4336"/>
                    <a:pt x="6738" y="4434"/>
                    <a:pt x="6738" y="4555"/>
                  </a:cubicBezTo>
                  <a:cubicBezTo>
                    <a:pt x="6738" y="4675"/>
                    <a:pt x="6801" y="4773"/>
                    <a:pt x="6877" y="4773"/>
                  </a:cubicBezTo>
                  <a:cubicBezTo>
                    <a:pt x="6953" y="4773"/>
                    <a:pt x="7014" y="4675"/>
                    <a:pt x="7014" y="4555"/>
                  </a:cubicBezTo>
                  <a:cubicBezTo>
                    <a:pt x="7014" y="4434"/>
                    <a:pt x="6953" y="4336"/>
                    <a:pt x="6877" y="4336"/>
                  </a:cubicBezTo>
                  <a:close/>
                  <a:moveTo>
                    <a:pt x="7247" y="4336"/>
                  </a:moveTo>
                  <a:cubicBezTo>
                    <a:pt x="7170" y="4336"/>
                    <a:pt x="7108" y="4434"/>
                    <a:pt x="7108" y="4555"/>
                  </a:cubicBezTo>
                  <a:cubicBezTo>
                    <a:pt x="7108" y="4675"/>
                    <a:pt x="7170" y="4773"/>
                    <a:pt x="7247" y="4773"/>
                  </a:cubicBezTo>
                  <a:cubicBezTo>
                    <a:pt x="7323" y="4773"/>
                    <a:pt x="7384" y="4675"/>
                    <a:pt x="7384" y="4555"/>
                  </a:cubicBezTo>
                  <a:cubicBezTo>
                    <a:pt x="7384" y="4434"/>
                    <a:pt x="7323" y="4336"/>
                    <a:pt x="7247" y="4336"/>
                  </a:cubicBezTo>
                  <a:close/>
                  <a:moveTo>
                    <a:pt x="7658" y="4336"/>
                  </a:moveTo>
                  <a:cubicBezTo>
                    <a:pt x="7581" y="4336"/>
                    <a:pt x="7519" y="4434"/>
                    <a:pt x="7519" y="4555"/>
                  </a:cubicBezTo>
                  <a:cubicBezTo>
                    <a:pt x="7519" y="4675"/>
                    <a:pt x="7581" y="4773"/>
                    <a:pt x="7658" y="4773"/>
                  </a:cubicBezTo>
                  <a:cubicBezTo>
                    <a:pt x="7734" y="4773"/>
                    <a:pt x="7795" y="4675"/>
                    <a:pt x="7795" y="4555"/>
                  </a:cubicBezTo>
                  <a:cubicBezTo>
                    <a:pt x="7795" y="4434"/>
                    <a:pt x="7734" y="4336"/>
                    <a:pt x="7658" y="4336"/>
                  </a:cubicBezTo>
                  <a:close/>
                  <a:moveTo>
                    <a:pt x="8027" y="4336"/>
                  </a:moveTo>
                  <a:cubicBezTo>
                    <a:pt x="7951" y="4336"/>
                    <a:pt x="7889" y="4434"/>
                    <a:pt x="7889" y="4555"/>
                  </a:cubicBezTo>
                  <a:cubicBezTo>
                    <a:pt x="7889" y="4675"/>
                    <a:pt x="7951" y="4773"/>
                    <a:pt x="8027" y="4773"/>
                  </a:cubicBezTo>
                  <a:cubicBezTo>
                    <a:pt x="8103" y="4773"/>
                    <a:pt x="8165" y="4675"/>
                    <a:pt x="8165" y="4555"/>
                  </a:cubicBezTo>
                  <a:cubicBezTo>
                    <a:pt x="8165" y="4434"/>
                    <a:pt x="8103" y="4336"/>
                    <a:pt x="8027" y="4336"/>
                  </a:cubicBezTo>
                  <a:close/>
                  <a:moveTo>
                    <a:pt x="8438" y="4336"/>
                  </a:moveTo>
                  <a:cubicBezTo>
                    <a:pt x="8362" y="4336"/>
                    <a:pt x="8299" y="4434"/>
                    <a:pt x="8299" y="4555"/>
                  </a:cubicBezTo>
                  <a:cubicBezTo>
                    <a:pt x="8299" y="4675"/>
                    <a:pt x="8362" y="4773"/>
                    <a:pt x="8438" y="4773"/>
                  </a:cubicBezTo>
                  <a:cubicBezTo>
                    <a:pt x="8515" y="4773"/>
                    <a:pt x="8576" y="4675"/>
                    <a:pt x="8576" y="4555"/>
                  </a:cubicBezTo>
                  <a:cubicBezTo>
                    <a:pt x="8576" y="4434"/>
                    <a:pt x="8515" y="4336"/>
                    <a:pt x="8438" y="4336"/>
                  </a:cubicBezTo>
                  <a:close/>
                  <a:moveTo>
                    <a:pt x="8849" y="4336"/>
                  </a:moveTo>
                  <a:cubicBezTo>
                    <a:pt x="8773" y="4336"/>
                    <a:pt x="8710" y="4434"/>
                    <a:pt x="8710" y="4555"/>
                  </a:cubicBezTo>
                  <a:cubicBezTo>
                    <a:pt x="8710" y="4675"/>
                    <a:pt x="8773" y="4773"/>
                    <a:pt x="8849" y="4773"/>
                  </a:cubicBezTo>
                  <a:cubicBezTo>
                    <a:pt x="8925" y="4773"/>
                    <a:pt x="8986" y="4675"/>
                    <a:pt x="8986" y="4555"/>
                  </a:cubicBezTo>
                  <a:cubicBezTo>
                    <a:pt x="8986" y="4434"/>
                    <a:pt x="8925" y="4336"/>
                    <a:pt x="8849" y="4336"/>
                  </a:cubicBezTo>
                  <a:close/>
                  <a:moveTo>
                    <a:pt x="9219" y="4336"/>
                  </a:moveTo>
                  <a:cubicBezTo>
                    <a:pt x="9142" y="4336"/>
                    <a:pt x="9080" y="4434"/>
                    <a:pt x="9080" y="4555"/>
                  </a:cubicBezTo>
                  <a:cubicBezTo>
                    <a:pt x="9080" y="4675"/>
                    <a:pt x="9142" y="4773"/>
                    <a:pt x="9219" y="4773"/>
                  </a:cubicBezTo>
                  <a:cubicBezTo>
                    <a:pt x="9295" y="4773"/>
                    <a:pt x="9356" y="4675"/>
                    <a:pt x="9356" y="4555"/>
                  </a:cubicBezTo>
                  <a:cubicBezTo>
                    <a:pt x="9356" y="4434"/>
                    <a:pt x="9295" y="4336"/>
                    <a:pt x="9219" y="4336"/>
                  </a:cubicBezTo>
                  <a:close/>
                  <a:moveTo>
                    <a:pt x="9589" y="4336"/>
                  </a:moveTo>
                  <a:cubicBezTo>
                    <a:pt x="9512" y="4336"/>
                    <a:pt x="9450" y="4434"/>
                    <a:pt x="9450" y="4555"/>
                  </a:cubicBezTo>
                  <a:cubicBezTo>
                    <a:pt x="9450" y="4675"/>
                    <a:pt x="9512" y="4773"/>
                    <a:pt x="9589" y="4773"/>
                  </a:cubicBezTo>
                  <a:cubicBezTo>
                    <a:pt x="9665" y="4773"/>
                    <a:pt x="9726" y="4675"/>
                    <a:pt x="9726" y="4555"/>
                  </a:cubicBezTo>
                  <a:cubicBezTo>
                    <a:pt x="9726" y="4434"/>
                    <a:pt x="9665" y="4336"/>
                    <a:pt x="9589" y="4336"/>
                  </a:cubicBezTo>
                  <a:close/>
                  <a:moveTo>
                    <a:pt x="9999" y="4336"/>
                  </a:moveTo>
                  <a:cubicBezTo>
                    <a:pt x="9923" y="4336"/>
                    <a:pt x="9861" y="4434"/>
                    <a:pt x="9861" y="4555"/>
                  </a:cubicBezTo>
                  <a:cubicBezTo>
                    <a:pt x="9861" y="4675"/>
                    <a:pt x="9923" y="4773"/>
                    <a:pt x="9999" y="4773"/>
                  </a:cubicBezTo>
                  <a:cubicBezTo>
                    <a:pt x="10076" y="4773"/>
                    <a:pt x="10137" y="4675"/>
                    <a:pt x="10137" y="4555"/>
                  </a:cubicBezTo>
                  <a:cubicBezTo>
                    <a:pt x="10137" y="4434"/>
                    <a:pt x="10076" y="4336"/>
                    <a:pt x="9999" y="4336"/>
                  </a:cubicBezTo>
                  <a:close/>
                  <a:moveTo>
                    <a:pt x="10410" y="4336"/>
                  </a:moveTo>
                  <a:cubicBezTo>
                    <a:pt x="10334" y="4336"/>
                    <a:pt x="10272" y="4434"/>
                    <a:pt x="10272" y="4555"/>
                  </a:cubicBezTo>
                  <a:cubicBezTo>
                    <a:pt x="10272" y="4675"/>
                    <a:pt x="10334" y="4773"/>
                    <a:pt x="10410" y="4773"/>
                  </a:cubicBezTo>
                  <a:cubicBezTo>
                    <a:pt x="10487" y="4773"/>
                    <a:pt x="10548" y="4675"/>
                    <a:pt x="10548" y="4555"/>
                  </a:cubicBezTo>
                  <a:cubicBezTo>
                    <a:pt x="10548" y="4434"/>
                    <a:pt x="10487" y="4336"/>
                    <a:pt x="10410" y="4336"/>
                  </a:cubicBezTo>
                  <a:close/>
                  <a:moveTo>
                    <a:pt x="10780" y="4336"/>
                  </a:moveTo>
                  <a:cubicBezTo>
                    <a:pt x="10704" y="4336"/>
                    <a:pt x="10641" y="4434"/>
                    <a:pt x="10641" y="4555"/>
                  </a:cubicBezTo>
                  <a:cubicBezTo>
                    <a:pt x="10641" y="4675"/>
                    <a:pt x="10704" y="4773"/>
                    <a:pt x="10780" y="4773"/>
                  </a:cubicBezTo>
                  <a:cubicBezTo>
                    <a:pt x="10856" y="4773"/>
                    <a:pt x="10917" y="4675"/>
                    <a:pt x="10917" y="4555"/>
                  </a:cubicBezTo>
                  <a:cubicBezTo>
                    <a:pt x="10917" y="4434"/>
                    <a:pt x="10856" y="4336"/>
                    <a:pt x="10780" y="4336"/>
                  </a:cubicBezTo>
                  <a:close/>
                  <a:moveTo>
                    <a:pt x="11191" y="4336"/>
                  </a:moveTo>
                  <a:cubicBezTo>
                    <a:pt x="11115" y="4336"/>
                    <a:pt x="11052" y="4434"/>
                    <a:pt x="11052" y="4555"/>
                  </a:cubicBezTo>
                  <a:cubicBezTo>
                    <a:pt x="11052" y="4675"/>
                    <a:pt x="11115" y="4773"/>
                    <a:pt x="11191" y="4773"/>
                  </a:cubicBezTo>
                  <a:cubicBezTo>
                    <a:pt x="11267" y="4773"/>
                    <a:pt x="11328" y="4675"/>
                    <a:pt x="11328" y="4555"/>
                  </a:cubicBezTo>
                  <a:cubicBezTo>
                    <a:pt x="11328" y="4434"/>
                    <a:pt x="11267" y="4336"/>
                    <a:pt x="11191" y="4336"/>
                  </a:cubicBezTo>
                  <a:close/>
                  <a:moveTo>
                    <a:pt x="13533" y="4401"/>
                  </a:moveTo>
                  <a:cubicBezTo>
                    <a:pt x="13457" y="4401"/>
                    <a:pt x="13394" y="4499"/>
                    <a:pt x="13394" y="4619"/>
                  </a:cubicBezTo>
                  <a:cubicBezTo>
                    <a:pt x="13394" y="4739"/>
                    <a:pt x="13457" y="4836"/>
                    <a:pt x="13533" y="4836"/>
                  </a:cubicBezTo>
                  <a:cubicBezTo>
                    <a:pt x="13609" y="4836"/>
                    <a:pt x="13670" y="4739"/>
                    <a:pt x="13670" y="4619"/>
                  </a:cubicBezTo>
                  <a:cubicBezTo>
                    <a:pt x="13670" y="4499"/>
                    <a:pt x="13609" y="4401"/>
                    <a:pt x="13533" y="4401"/>
                  </a:cubicBezTo>
                  <a:close/>
                  <a:moveTo>
                    <a:pt x="13944" y="4401"/>
                  </a:moveTo>
                  <a:cubicBezTo>
                    <a:pt x="13868" y="4401"/>
                    <a:pt x="13805" y="4499"/>
                    <a:pt x="13805" y="4619"/>
                  </a:cubicBezTo>
                  <a:cubicBezTo>
                    <a:pt x="13805" y="4739"/>
                    <a:pt x="13868" y="4836"/>
                    <a:pt x="13944" y="4836"/>
                  </a:cubicBezTo>
                  <a:cubicBezTo>
                    <a:pt x="14020" y="4836"/>
                    <a:pt x="14081" y="4739"/>
                    <a:pt x="14081" y="4619"/>
                  </a:cubicBezTo>
                  <a:cubicBezTo>
                    <a:pt x="14081" y="4499"/>
                    <a:pt x="14020" y="4401"/>
                    <a:pt x="13944" y="4401"/>
                  </a:cubicBezTo>
                  <a:close/>
                  <a:moveTo>
                    <a:pt x="14355" y="4401"/>
                  </a:moveTo>
                  <a:cubicBezTo>
                    <a:pt x="14278" y="4401"/>
                    <a:pt x="14216" y="4499"/>
                    <a:pt x="14216" y="4619"/>
                  </a:cubicBezTo>
                  <a:cubicBezTo>
                    <a:pt x="14216" y="4739"/>
                    <a:pt x="14278" y="4836"/>
                    <a:pt x="14355" y="4836"/>
                  </a:cubicBezTo>
                  <a:cubicBezTo>
                    <a:pt x="14431" y="4836"/>
                    <a:pt x="14492" y="4739"/>
                    <a:pt x="14492" y="4619"/>
                  </a:cubicBezTo>
                  <a:cubicBezTo>
                    <a:pt x="14492" y="4499"/>
                    <a:pt x="14431" y="4401"/>
                    <a:pt x="14355" y="4401"/>
                  </a:cubicBezTo>
                  <a:close/>
                  <a:moveTo>
                    <a:pt x="16738" y="4401"/>
                  </a:moveTo>
                  <a:cubicBezTo>
                    <a:pt x="16661" y="4401"/>
                    <a:pt x="16599" y="4499"/>
                    <a:pt x="16599" y="4619"/>
                  </a:cubicBezTo>
                  <a:cubicBezTo>
                    <a:pt x="16599" y="4740"/>
                    <a:pt x="16661" y="4836"/>
                    <a:pt x="16738" y="4836"/>
                  </a:cubicBezTo>
                  <a:cubicBezTo>
                    <a:pt x="16814" y="4836"/>
                    <a:pt x="16875" y="4740"/>
                    <a:pt x="16875" y="4619"/>
                  </a:cubicBezTo>
                  <a:cubicBezTo>
                    <a:pt x="16875" y="4499"/>
                    <a:pt x="16814" y="4401"/>
                    <a:pt x="16738" y="4401"/>
                  </a:cubicBezTo>
                  <a:close/>
                  <a:moveTo>
                    <a:pt x="17107" y="4401"/>
                  </a:moveTo>
                  <a:cubicBezTo>
                    <a:pt x="17031" y="4401"/>
                    <a:pt x="16969" y="4499"/>
                    <a:pt x="16969" y="4619"/>
                  </a:cubicBezTo>
                  <a:cubicBezTo>
                    <a:pt x="16969" y="4740"/>
                    <a:pt x="17031" y="4836"/>
                    <a:pt x="17107" y="4836"/>
                  </a:cubicBezTo>
                  <a:cubicBezTo>
                    <a:pt x="17184" y="4836"/>
                    <a:pt x="17245" y="4740"/>
                    <a:pt x="17245" y="4619"/>
                  </a:cubicBezTo>
                  <a:cubicBezTo>
                    <a:pt x="17245" y="4499"/>
                    <a:pt x="17184" y="4401"/>
                    <a:pt x="17107" y="4401"/>
                  </a:cubicBezTo>
                  <a:close/>
                  <a:moveTo>
                    <a:pt x="17518" y="4401"/>
                  </a:moveTo>
                  <a:cubicBezTo>
                    <a:pt x="17442" y="4401"/>
                    <a:pt x="17380" y="4499"/>
                    <a:pt x="17380" y="4619"/>
                  </a:cubicBezTo>
                  <a:cubicBezTo>
                    <a:pt x="17380" y="4740"/>
                    <a:pt x="17442" y="4836"/>
                    <a:pt x="17518" y="4836"/>
                  </a:cubicBezTo>
                  <a:cubicBezTo>
                    <a:pt x="17595" y="4836"/>
                    <a:pt x="17656" y="4740"/>
                    <a:pt x="17656" y="4619"/>
                  </a:cubicBezTo>
                  <a:cubicBezTo>
                    <a:pt x="17656" y="4499"/>
                    <a:pt x="17595" y="4401"/>
                    <a:pt x="17518" y="4401"/>
                  </a:cubicBezTo>
                  <a:close/>
                  <a:moveTo>
                    <a:pt x="17888" y="4401"/>
                  </a:moveTo>
                  <a:cubicBezTo>
                    <a:pt x="17812" y="4401"/>
                    <a:pt x="17749" y="4499"/>
                    <a:pt x="17749" y="4619"/>
                  </a:cubicBezTo>
                  <a:cubicBezTo>
                    <a:pt x="17749" y="4740"/>
                    <a:pt x="17812" y="4836"/>
                    <a:pt x="17888" y="4836"/>
                  </a:cubicBezTo>
                  <a:cubicBezTo>
                    <a:pt x="17964" y="4836"/>
                    <a:pt x="18025" y="4740"/>
                    <a:pt x="18025" y="4619"/>
                  </a:cubicBezTo>
                  <a:cubicBezTo>
                    <a:pt x="18025" y="4499"/>
                    <a:pt x="17964" y="4401"/>
                    <a:pt x="17888" y="4401"/>
                  </a:cubicBezTo>
                  <a:close/>
                  <a:moveTo>
                    <a:pt x="20682" y="4401"/>
                  </a:moveTo>
                  <a:cubicBezTo>
                    <a:pt x="20606" y="4401"/>
                    <a:pt x="20543" y="4499"/>
                    <a:pt x="20543" y="4619"/>
                  </a:cubicBezTo>
                  <a:cubicBezTo>
                    <a:pt x="20543" y="4739"/>
                    <a:pt x="20606" y="4836"/>
                    <a:pt x="20682" y="4836"/>
                  </a:cubicBezTo>
                  <a:cubicBezTo>
                    <a:pt x="20758" y="4836"/>
                    <a:pt x="20819" y="4739"/>
                    <a:pt x="20819" y="4619"/>
                  </a:cubicBezTo>
                  <a:cubicBezTo>
                    <a:pt x="20819" y="4499"/>
                    <a:pt x="20758" y="4401"/>
                    <a:pt x="20682" y="4401"/>
                  </a:cubicBezTo>
                  <a:close/>
                  <a:moveTo>
                    <a:pt x="21052" y="4401"/>
                  </a:moveTo>
                  <a:cubicBezTo>
                    <a:pt x="20975" y="4401"/>
                    <a:pt x="20913" y="4499"/>
                    <a:pt x="20913" y="4619"/>
                  </a:cubicBezTo>
                  <a:cubicBezTo>
                    <a:pt x="20913" y="4739"/>
                    <a:pt x="20975" y="4836"/>
                    <a:pt x="21052" y="4836"/>
                  </a:cubicBezTo>
                  <a:cubicBezTo>
                    <a:pt x="21128" y="4836"/>
                    <a:pt x="21189" y="4739"/>
                    <a:pt x="21189" y="4619"/>
                  </a:cubicBezTo>
                  <a:cubicBezTo>
                    <a:pt x="21189" y="4499"/>
                    <a:pt x="21128" y="4401"/>
                    <a:pt x="21052" y="4401"/>
                  </a:cubicBezTo>
                  <a:close/>
                  <a:moveTo>
                    <a:pt x="21463" y="4401"/>
                  </a:moveTo>
                  <a:cubicBezTo>
                    <a:pt x="21386" y="4401"/>
                    <a:pt x="21324" y="4499"/>
                    <a:pt x="21324" y="4619"/>
                  </a:cubicBezTo>
                  <a:cubicBezTo>
                    <a:pt x="21324" y="4739"/>
                    <a:pt x="21386" y="4836"/>
                    <a:pt x="21463" y="4836"/>
                  </a:cubicBezTo>
                  <a:cubicBezTo>
                    <a:pt x="21539" y="4836"/>
                    <a:pt x="21600" y="4739"/>
                    <a:pt x="21600" y="4619"/>
                  </a:cubicBezTo>
                  <a:cubicBezTo>
                    <a:pt x="21600" y="4499"/>
                    <a:pt x="21539" y="4401"/>
                    <a:pt x="21463" y="4401"/>
                  </a:cubicBezTo>
                  <a:close/>
                  <a:moveTo>
                    <a:pt x="16738" y="4983"/>
                  </a:moveTo>
                  <a:cubicBezTo>
                    <a:pt x="16661" y="4983"/>
                    <a:pt x="16599" y="5082"/>
                    <a:pt x="16599" y="5202"/>
                  </a:cubicBezTo>
                  <a:cubicBezTo>
                    <a:pt x="16599" y="5322"/>
                    <a:pt x="16661" y="5418"/>
                    <a:pt x="16738" y="5418"/>
                  </a:cubicBezTo>
                  <a:cubicBezTo>
                    <a:pt x="16814" y="5418"/>
                    <a:pt x="16875" y="5322"/>
                    <a:pt x="16875" y="5202"/>
                  </a:cubicBezTo>
                  <a:cubicBezTo>
                    <a:pt x="16875" y="5082"/>
                    <a:pt x="16814" y="4983"/>
                    <a:pt x="16738" y="4983"/>
                  </a:cubicBezTo>
                  <a:close/>
                  <a:moveTo>
                    <a:pt x="17107" y="4983"/>
                  </a:moveTo>
                  <a:cubicBezTo>
                    <a:pt x="17031" y="4983"/>
                    <a:pt x="16969" y="5082"/>
                    <a:pt x="16969" y="5202"/>
                  </a:cubicBezTo>
                  <a:cubicBezTo>
                    <a:pt x="16969" y="5322"/>
                    <a:pt x="17031" y="5418"/>
                    <a:pt x="17107" y="5418"/>
                  </a:cubicBezTo>
                  <a:cubicBezTo>
                    <a:pt x="17184" y="5418"/>
                    <a:pt x="17245" y="5322"/>
                    <a:pt x="17245" y="5202"/>
                  </a:cubicBezTo>
                  <a:cubicBezTo>
                    <a:pt x="17245" y="5082"/>
                    <a:pt x="17184" y="4983"/>
                    <a:pt x="17107" y="4983"/>
                  </a:cubicBezTo>
                  <a:close/>
                  <a:moveTo>
                    <a:pt x="17518" y="4983"/>
                  </a:moveTo>
                  <a:cubicBezTo>
                    <a:pt x="17442" y="4983"/>
                    <a:pt x="17380" y="5082"/>
                    <a:pt x="17380" y="5202"/>
                  </a:cubicBezTo>
                  <a:cubicBezTo>
                    <a:pt x="17380" y="5322"/>
                    <a:pt x="17442" y="5418"/>
                    <a:pt x="17518" y="5418"/>
                  </a:cubicBezTo>
                  <a:cubicBezTo>
                    <a:pt x="17595" y="5418"/>
                    <a:pt x="17656" y="5322"/>
                    <a:pt x="17656" y="5202"/>
                  </a:cubicBezTo>
                  <a:cubicBezTo>
                    <a:pt x="17656" y="5082"/>
                    <a:pt x="17595" y="4983"/>
                    <a:pt x="17518" y="4983"/>
                  </a:cubicBezTo>
                  <a:close/>
                  <a:moveTo>
                    <a:pt x="139" y="5048"/>
                  </a:moveTo>
                  <a:cubicBezTo>
                    <a:pt x="62" y="5048"/>
                    <a:pt x="0" y="5146"/>
                    <a:pt x="0" y="5267"/>
                  </a:cubicBezTo>
                  <a:cubicBezTo>
                    <a:pt x="0" y="5387"/>
                    <a:pt x="62" y="5483"/>
                    <a:pt x="139" y="5483"/>
                  </a:cubicBezTo>
                  <a:cubicBezTo>
                    <a:pt x="215" y="5483"/>
                    <a:pt x="276" y="5387"/>
                    <a:pt x="276" y="5267"/>
                  </a:cubicBezTo>
                  <a:cubicBezTo>
                    <a:pt x="276" y="5146"/>
                    <a:pt x="215" y="5048"/>
                    <a:pt x="139" y="5048"/>
                  </a:cubicBezTo>
                  <a:close/>
                  <a:moveTo>
                    <a:pt x="508" y="5048"/>
                  </a:moveTo>
                  <a:cubicBezTo>
                    <a:pt x="432" y="5048"/>
                    <a:pt x="370" y="5146"/>
                    <a:pt x="370" y="5267"/>
                  </a:cubicBezTo>
                  <a:cubicBezTo>
                    <a:pt x="370" y="5387"/>
                    <a:pt x="432" y="5483"/>
                    <a:pt x="508" y="5483"/>
                  </a:cubicBezTo>
                  <a:cubicBezTo>
                    <a:pt x="585" y="5483"/>
                    <a:pt x="646" y="5387"/>
                    <a:pt x="646" y="5267"/>
                  </a:cubicBezTo>
                  <a:cubicBezTo>
                    <a:pt x="646" y="5146"/>
                    <a:pt x="585" y="5048"/>
                    <a:pt x="508" y="5048"/>
                  </a:cubicBezTo>
                  <a:close/>
                  <a:moveTo>
                    <a:pt x="919" y="5048"/>
                  </a:moveTo>
                  <a:cubicBezTo>
                    <a:pt x="843" y="5048"/>
                    <a:pt x="781" y="5146"/>
                    <a:pt x="781" y="5267"/>
                  </a:cubicBezTo>
                  <a:cubicBezTo>
                    <a:pt x="781" y="5387"/>
                    <a:pt x="843" y="5483"/>
                    <a:pt x="919" y="5483"/>
                  </a:cubicBezTo>
                  <a:cubicBezTo>
                    <a:pt x="996" y="5483"/>
                    <a:pt x="1057" y="5387"/>
                    <a:pt x="1057" y="5267"/>
                  </a:cubicBezTo>
                  <a:cubicBezTo>
                    <a:pt x="1057" y="5146"/>
                    <a:pt x="996" y="5048"/>
                    <a:pt x="919" y="5048"/>
                  </a:cubicBezTo>
                  <a:close/>
                  <a:moveTo>
                    <a:pt x="1289" y="5048"/>
                  </a:moveTo>
                  <a:cubicBezTo>
                    <a:pt x="1213" y="5048"/>
                    <a:pt x="1150" y="5146"/>
                    <a:pt x="1150" y="5267"/>
                  </a:cubicBezTo>
                  <a:cubicBezTo>
                    <a:pt x="1150" y="5387"/>
                    <a:pt x="1213" y="5483"/>
                    <a:pt x="1289" y="5483"/>
                  </a:cubicBezTo>
                  <a:cubicBezTo>
                    <a:pt x="1365" y="5483"/>
                    <a:pt x="1426" y="5387"/>
                    <a:pt x="1426" y="5267"/>
                  </a:cubicBezTo>
                  <a:cubicBezTo>
                    <a:pt x="1426" y="5146"/>
                    <a:pt x="1365" y="5048"/>
                    <a:pt x="1289" y="5048"/>
                  </a:cubicBezTo>
                  <a:close/>
                  <a:moveTo>
                    <a:pt x="1700" y="5048"/>
                  </a:moveTo>
                  <a:cubicBezTo>
                    <a:pt x="1624" y="5048"/>
                    <a:pt x="1561" y="5146"/>
                    <a:pt x="1561" y="5267"/>
                  </a:cubicBezTo>
                  <a:cubicBezTo>
                    <a:pt x="1561" y="5387"/>
                    <a:pt x="1624" y="5483"/>
                    <a:pt x="1700" y="5483"/>
                  </a:cubicBezTo>
                  <a:cubicBezTo>
                    <a:pt x="1776" y="5483"/>
                    <a:pt x="1837" y="5387"/>
                    <a:pt x="1837" y="5267"/>
                  </a:cubicBezTo>
                  <a:cubicBezTo>
                    <a:pt x="1837" y="5146"/>
                    <a:pt x="1776" y="5048"/>
                    <a:pt x="1700" y="5048"/>
                  </a:cubicBezTo>
                  <a:close/>
                  <a:moveTo>
                    <a:pt x="2070" y="5048"/>
                  </a:moveTo>
                  <a:cubicBezTo>
                    <a:pt x="1994" y="5048"/>
                    <a:pt x="1931" y="5146"/>
                    <a:pt x="1931" y="5267"/>
                  </a:cubicBezTo>
                  <a:cubicBezTo>
                    <a:pt x="1931" y="5387"/>
                    <a:pt x="1994" y="5483"/>
                    <a:pt x="2070" y="5483"/>
                  </a:cubicBezTo>
                  <a:cubicBezTo>
                    <a:pt x="2146" y="5483"/>
                    <a:pt x="2207" y="5387"/>
                    <a:pt x="2207" y="5267"/>
                  </a:cubicBezTo>
                  <a:cubicBezTo>
                    <a:pt x="2207" y="5146"/>
                    <a:pt x="2146" y="5048"/>
                    <a:pt x="2070" y="5048"/>
                  </a:cubicBezTo>
                  <a:close/>
                  <a:moveTo>
                    <a:pt x="2481" y="5048"/>
                  </a:moveTo>
                  <a:cubicBezTo>
                    <a:pt x="2404" y="5048"/>
                    <a:pt x="2342" y="5146"/>
                    <a:pt x="2342" y="5267"/>
                  </a:cubicBezTo>
                  <a:cubicBezTo>
                    <a:pt x="2342" y="5387"/>
                    <a:pt x="2404" y="5483"/>
                    <a:pt x="2481" y="5483"/>
                  </a:cubicBezTo>
                  <a:cubicBezTo>
                    <a:pt x="2557" y="5483"/>
                    <a:pt x="2618" y="5387"/>
                    <a:pt x="2618" y="5267"/>
                  </a:cubicBezTo>
                  <a:cubicBezTo>
                    <a:pt x="2618" y="5146"/>
                    <a:pt x="2557" y="5048"/>
                    <a:pt x="2481" y="5048"/>
                  </a:cubicBezTo>
                  <a:close/>
                  <a:moveTo>
                    <a:pt x="2891" y="5048"/>
                  </a:moveTo>
                  <a:cubicBezTo>
                    <a:pt x="2815" y="5048"/>
                    <a:pt x="2753" y="5146"/>
                    <a:pt x="2753" y="5267"/>
                  </a:cubicBezTo>
                  <a:cubicBezTo>
                    <a:pt x="2753" y="5387"/>
                    <a:pt x="2815" y="5483"/>
                    <a:pt x="2891" y="5483"/>
                  </a:cubicBezTo>
                  <a:cubicBezTo>
                    <a:pt x="2968" y="5483"/>
                    <a:pt x="3029" y="5387"/>
                    <a:pt x="3029" y="5267"/>
                  </a:cubicBezTo>
                  <a:cubicBezTo>
                    <a:pt x="3029" y="5146"/>
                    <a:pt x="2968" y="5048"/>
                    <a:pt x="2891" y="5048"/>
                  </a:cubicBezTo>
                  <a:close/>
                  <a:moveTo>
                    <a:pt x="3302" y="5048"/>
                  </a:moveTo>
                  <a:cubicBezTo>
                    <a:pt x="3226" y="5048"/>
                    <a:pt x="3164" y="5146"/>
                    <a:pt x="3164" y="5267"/>
                  </a:cubicBezTo>
                  <a:cubicBezTo>
                    <a:pt x="3164" y="5387"/>
                    <a:pt x="3226" y="5483"/>
                    <a:pt x="3302" y="5483"/>
                  </a:cubicBezTo>
                  <a:cubicBezTo>
                    <a:pt x="3379" y="5483"/>
                    <a:pt x="3440" y="5387"/>
                    <a:pt x="3440" y="5267"/>
                  </a:cubicBezTo>
                  <a:cubicBezTo>
                    <a:pt x="3440" y="5146"/>
                    <a:pt x="3379" y="5048"/>
                    <a:pt x="3302" y="5048"/>
                  </a:cubicBezTo>
                  <a:close/>
                  <a:moveTo>
                    <a:pt x="3713" y="5048"/>
                  </a:moveTo>
                  <a:cubicBezTo>
                    <a:pt x="3637" y="5048"/>
                    <a:pt x="3575" y="5146"/>
                    <a:pt x="3575" y="5267"/>
                  </a:cubicBezTo>
                  <a:cubicBezTo>
                    <a:pt x="3575" y="5387"/>
                    <a:pt x="3637" y="5483"/>
                    <a:pt x="3713" y="5483"/>
                  </a:cubicBezTo>
                  <a:cubicBezTo>
                    <a:pt x="3790" y="5483"/>
                    <a:pt x="3851" y="5387"/>
                    <a:pt x="3851" y="5267"/>
                  </a:cubicBezTo>
                  <a:cubicBezTo>
                    <a:pt x="3851" y="5146"/>
                    <a:pt x="3790" y="5048"/>
                    <a:pt x="3713" y="5048"/>
                  </a:cubicBezTo>
                  <a:close/>
                  <a:moveTo>
                    <a:pt x="4083" y="5048"/>
                  </a:moveTo>
                  <a:cubicBezTo>
                    <a:pt x="4007" y="5048"/>
                    <a:pt x="3944" y="5146"/>
                    <a:pt x="3944" y="5267"/>
                  </a:cubicBezTo>
                  <a:cubicBezTo>
                    <a:pt x="3944" y="5387"/>
                    <a:pt x="4007" y="5483"/>
                    <a:pt x="4083" y="5483"/>
                  </a:cubicBezTo>
                  <a:cubicBezTo>
                    <a:pt x="4159" y="5483"/>
                    <a:pt x="4220" y="5387"/>
                    <a:pt x="4220" y="5267"/>
                  </a:cubicBezTo>
                  <a:cubicBezTo>
                    <a:pt x="4220" y="5146"/>
                    <a:pt x="4159" y="5048"/>
                    <a:pt x="4083" y="5048"/>
                  </a:cubicBezTo>
                  <a:close/>
                  <a:moveTo>
                    <a:pt x="4494" y="5048"/>
                  </a:moveTo>
                  <a:cubicBezTo>
                    <a:pt x="4418" y="5048"/>
                    <a:pt x="4355" y="5146"/>
                    <a:pt x="4355" y="5267"/>
                  </a:cubicBezTo>
                  <a:cubicBezTo>
                    <a:pt x="4355" y="5387"/>
                    <a:pt x="4418" y="5483"/>
                    <a:pt x="4494" y="5483"/>
                  </a:cubicBezTo>
                  <a:cubicBezTo>
                    <a:pt x="4570" y="5483"/>
                    <a:pt x="4631" y="5387"/>
                    <a:pt x="4631" y="5267"/>
                  </a:cubicBezTo>
                  <a:cubicBezTo>
                    <a:pt x="4631" y="5146"/>
                    <a:pt x="4570" y="5048"/>
                    <a:pt x="4494" y="5048"/>
                  </a:cubicBezTo>
                  <a:close/>
                  <a:moveTo>
                    <a:pt x="4864" y="5048"/>
                  </a:moveTo>
                  <a:cubicBezTo>
                    <a:pt x="4787" y="5048"/>
                    <a:pt x="4725" y="5146"/>
                    <a:pt x="4725" y="5267"/>
                  </a:cubicBezTo>
                  <a:cubicBezTo>
                    <a:pt x="4725" y="5387"/>
                    <a:pt x="4787" y="5483"/>
                    <a:pt x="4864" y="5483"/>
                  </a:cubicBezTo>
                  <a:cubicBezTo>
                    <a:pt x="4940" y="5483"/>
                    <a:pt x="5001" y="5387"/>
                    <a:pt x="5001" y="5267"/>
                  </a:cubicBezTo>
                  <a:cubicBezTo>
                    <a:pt x="5001" y="5146"/>
                    <a:pt x="4940" y="5048"/>
                    <a:pt x="4864" y="5048"/>
                  </a:cubicBezTo>
                  <a:close/>
                  <a:moveTo>
                    <a:pt x="5274" y="5048"/>
                  </a:moveTo>
                  <a:cubicBezTo>
                    <a:pt x="5198" y="5048"/>
                    <a:pt x="5136" y="5146"/>
                    <a:pt x="5136" y="5267"/>
                  </a:cubicBezTo>
                  <a:cubicBezTo>
                    <a:pt x="5136" y="5387"/>
                    <a:pt x="5198" y="5483"/>
                    <a:pt x="5274" y="5483"/>
                  </a:cubicBezTo>
                  <a:cubicBezTo>
                    <a:pt x="5351" y="5483"/>
                    <a:pt x="5412" y="5387"/>
                    <a:pt x="5412" y="5267"/>
                  </a:cubicBezTo>
                  <a:cubicBezTo>
                    <a:pt x="5412" y="5146"/>
                    <a:pt x="5351" y="5048"/>
                    <a:pt x="5274" y="5048"/>
                  </a:cubicBezTo>
                  <a:close/>
                  <a:moveTo>
                    <a:pt x="5685" y="5048"/>
                  </a:moveTo>
                  <a:cubicBezTo>
                    <a:pt x="5609" y="5048"/>
                    <a:pt x="5547" y="5146"/>
                    <a:pt x="5547" y="5267"/>
                  </a:cubicBezTo>
                  <a:cubicBezTo>
                    <a:pt x="5547" y="5387"/>
                    <a:pt x="5609" y="5483"/>
                    <a:pt x="5685" y="5483"/>
                  </a:cubicBezTo>
                  <a:cubicBezTo>
                    <a:pt x="5762" y="5483"/>
                    <a:pt x="5823" y="5387"/>
                    <a:pt x="5823" y="5267"/>
                  </a:cubicBezTo>
                  <a:cubicBezTo>
                    <a:pt x="5823" y="5146"/>
                    <a:pt x="5762" y="5048"/>
                    <a:pt x="5685" y="5048"/>
                  </a:cubicBezTo>
                  <a:close/>
                  <a:moveTo>
                    <a:pt x="6055" y="5048"/>
                  </a:moveTo>
                  <a:cubicBezTo>
                    <a:pt x="5979" y="5048"/>
                    <a:pt x="5916" y="5146"/>
                    <a:pt x="5916" y="5267"/>
                  </a:cubicBezTo>
                  <a:cubicBezTo>
                    <a:pt x="5916" y="5387"/>
                    <a:pt x="5979" y="5483"/>
                    <a:pt x="6055" y="5483"/>
                  </a:cubicBezTo>
                  <a:cubicBezTo>
                    <a:pt x="6131" y="5483"/>
                    <a:pt x="6193" y="5387"/>
                    <a:pt x="6193" y="5267"/>
                  </a:cubicBezTo>
                  <a:cubicBezTo>
                    <a:pt x="6193" y="5146"/>
                    <a:pt x="6131" y="5048"/>
                    <a:pt x="6055" y="5048"/>
                  </a:cubicBezTo>
                  <a:close/>
                  <a:moveTo>
                    <a:pt x="6466" y="5048"/>
                  </a:moveTo>
                  <a:cubicBezTo>
                    <a:pt x="6390" y="5048"/>
                    <a:pt x="6327" y="5146"/>
                    <a:pt x="6327" y="5267"/>
                  </a:cubicBezTo>
                  <a:cubicBezTo>
                    <a:pt x="6327" y="5387"/>
                    <a:pt x="6390" y="5483"/>
                    <a:pt x="6466" y="5483"/>
                  </a:cubicBezTo>
                  <a:cubicBezTo>
                    <a:pt x="6542" y="5483"/>
                    <a:pt x="6603" y="5387"/>
                    <a:pt x="6603" y="5267"/>
                  </a:cubicBezTo>
                  <a:cubicBezTo>
                    <a:pt x="6603" y="5146"/>
                    <a:pt x="6542" y="5048"/>
                    <a:pt x="6466" y="5048"/>
                  </a:cubicBezTo>
                  <a:close/>
                  <a:moveTo>
                    <a:pt x="6877" y="5048"/>
                  </a:moveTo>
                  <a:cubicBezTo>
                    <a:pt x="6801" y="5048"/>
                    <a:pt x="6738" y="5146"/>
                    <a:pt x="6738" y="5267"/>
                  </a:cubicBezTo>
                  <a:cubicBezTo>
                    <a:pt x="6738" y="5387"/>
                    <a:pt x="6801" y="5483"/>
                    <a:pt x="6877" y="5483"/>
                  </a:cubicBezTo>
                  <a:cubicBezTo>
                    <a:pt x="6953" y="5483"/>
                    <a:pt x="7014" y="5387"/>
                    <a:pt x="7014" y="5267"/>
                  </a:cubicBezTo>
                  <a:cubicBezTo>
                    <a:pt x="7014" y="5146"/>
                    <a:pt x="6953" y="5048"/>
                    <a:pt x="6877" y="5048"/>
                  </a:cubicBezTo>
                  <a:close/>
                  <a:moveTo>
                    <a:pt x="7247" y="5048"/>
                  </a:moveTo>
                  <a:cubicBezTo>
                    <a:pt x="7170" y="5048"/>
                    <a:pt x="7108" y="5146"/>
                    <a:pt x="7108" y="5267"/>
                  </a:cubicBezTo>
                  <a:cubicBezTo>
                    <a:pt x="7108" y="5387"/>
                    <a:pt x="7170" y="5483"/>
                    <a:pt x="7247" y="5483"/>
                  </a:cubicBezTo>
                  <a:cubicBezTo>
                    <a:pt x="7323" y="5483"/>
                    <a:pt x="7384" y="5387"/>
                    <a:pt x="7384" y="5267"/>
                  </a:cubicBezTo>
                  <a:cubicBezTo>
                    <a:pt x="7384" y="5146"/>
                    <a:pt x="7323" y="5048"/>
                    <a:pt x="7247" y="5048"/>
                  </a:cubicBezTo>
                  <a:close/>
                  <a:moveTo>
                    <a:pt x="7658" y="5048"/>
                  </a:moveTo>
                  <a:cubicBezTo>
                    <a:pt x="7581" y="5048"/>
                    <a:pt x="7519" y="5146"/>
                    <a:pt x="7519" y="5267"/>
                  </a:cubicBezTo>
                  <a:cubicBezTo>
                    <a:pt x="7519" y="5387"/>
                    <a:pt x="7581" y="5483"/>
                    <a:pt x="7658" y="5483"/>
                  </a:cubicBezTo>
                  <a:cubicBezTo>
                    <a:pt x="7734" y="5483"/>
                    <a:pt x="7795" y="5387"/>
                    <a:pt x="7795" y="5267"/>
                  </a:cubicBezTo>
                  <a:cubicBezTo>
                    <a:pt x="7795" y="5146"/>
                    <a:pt x="7734" y="5048"/>
                    <a:pt x="7658" y="5048"/>
                  </a:cubicBezTo>
                  <a:close/>
                  <a:moveTo>
                    <a:pt x="8027" y="5048"/>
                  </a:moveTo>
                  <a:cubicBezTo>
                    <a:pt x="7951" y="5048"/>
                    <a:pt x="7889" y="5146"/>
                    <a:pt x="7889" y="5267"/>
                  </a:cubicBezTo>
                  <a:cubicBezTo>
                    <a:pt x="7889" y="5387"/>
                    <a:pt x="7951" y="5483"/>
                    <a:pt x="8027" y="5483"/>
                  </a:cubicBezTo>
                  <a:cubicBezTo>
                    <a:pt x="8103" y="5483"/>
                    <a:pt x="8165" y="5387"/>
                    <a:pt x="8165" y="5267"/>
                  </a:cubicBezTo>
                  <a:cubicBezTo>
                    <a:pt x="8165" y="5146"/>
                    <a:pt x="8103" y="5048"/>
                    <a:pt x="8027" y="5048"/>
                  </a:cubicBezTo>
                  <a:close/>
                  <a:moveTo>
                    <a:pt x="8438" y="5048"/>
                  </a:moveTo>
                  <a:cubicBezTo>
                    <a:pt x="8362" y="5048"/>
                    <a:pt x="8299" y="5146"/>
                    <a:pt x="8299" y="5267"/>
                  </a:cubicBezTo>
                  <a:cubicBezTo>
                    <a:pt x="8299" y="5387"/>
                    <a:pt x="8362" y="5483"/>
                    <a:pt x="8438" y="5483"/>
                  </a:cubicBezTo>
                  <a:cubicBezTo>
                    <a:pt x="8515" y="5483"/>
                    <a:pt x="8576" y="5387"/>
                    <a:pt x="8576" y="5267"/>
                  </a:cubicBezTo>
                  <a:cubicBezTo>
                    <a:pt x="8576" y="5146"/>
                    <a:pt x="8515" y="5048"/>
                    <a:pt x="8438" y="5048"/>
                  </a:cubicBezTo>
                  <a:close/>
                  <a:moveTo>
                    <a:pt x="8849" y="5048"/>
                  </a:moveTo>
                  <a:cubicBezTo>
                    <a:pt x="8773" y="5048"/>
                    <a:pt x="8710" y="5146"/>
                    <a:pt x="8710" y="5267"/>
                  </a:cubicBezTo>
                  <a:cubicBezTo>
                    <a:pt x="8710" y="5387"/>
                    <a:pt x="8773" y="5483"/>
                    <a:pt x="8849" y="5483"/>
                  </a:cubicBezTo>
                  <a:cubicBezTo>
                    <a:pt x="8925" y="5483"/>
                    <a:pt x="8986" y="5387"/>
                    <a:pt x="8986" y="5267"/>
                  </a:cubicBezTo>
                  <a:cubicBezTo>
                    <a:pt x="8986" y="5146"/>
                    <a:pt x="8925" y="5048"/>
                    <a:pt x="8849" y="5048"/>
                  </a:cubicBezTo>
                  <a:close/>
                  <a:moveTo>
                    <a:pt x="9219" y="5048"/>
                  </a:moveTo>
                  <a:cubicBezTo>
                    <a:pt x="9142" y="5048"/>
                    <a:pt x="9080" y="5146"/>
                    <a:pt x="9080" y="5267"/>
                  </a:cubicBezTo>
                  <a:cubicBezTo>
                    <a:pt x="9080" y="5387"/>
                    <a:pt x="9142" y="5483"/>
                    <a:pt x="9219" y="5483"/>
                  </a:cubicBezTo>
                  <a:cubicBezTo>
                    <a:pt x="9295" y="5483"/>
                    <a:pt x="9356" y="5387"/>
                    <a:pt x="9356" y="5267"/>
                  </a:cubicBezTo>
                  <a:cubicBezTo>
                    <a:pt x="9356" y="5146"/>
                    <a:pt x="9295" y="5048"/>
                    <a:pt x="9219" y="5048"/>
                  </a:cubicBezTo>
                  <a:close/>
                  <a:moveTo>
                    <a:pt x="9589" y="5048"/>
                  </a:moveTo>
                  <a:cubicBezTo>
                    <a:pt x="9512" y="5048"/>
                    <a:pt x="9450" y="5146"/>
                    <a:pt x="9450" y="5267"/>
                  </a:cubicBezTo>
                  <a:cubicBezTo>
                    <a:pt x="9450" y="5387"/>
                    <a:pt x="9512" y="5483"/>
                    <a:pt x="9589" y="5483"/>
                  </a:cubicBezTo>
                  <a:cubicBezTo>
                    <a:pt x="9665" y="5483"/>
                    <a:pt x="9726" y="5387"/>
                    <a:pt x="9726" y="5267"/>
                  </a:cubicBezTo>
                  <a:cubicBezTo>
                    <a:pt x="9726" y="5146"/>
                    <a:pt x="9665" y="5048"/>
                    <a:pt x="9589" y="5048"/>
                  </a:cubicBezTo>
                  <a:close/>
                  <a:moveTo>
                    <a:pt x="9999" y="5048"/>
                  </a:moveTo>
                  <a:cubicBezTo>
                    <a:pt x="9923" y="5048"/>
                    <a:pt x="9861" y="5146"/>
                    <a:pt x="9861" y="5267"/>
                  </a:cubicBezTo>
                  <a:cubicBezTo>
                    <a:pt x="9861" y="5387"/>
                    <a:pt x="9923" y="5483"/>
                    <a:pt x="9999" y="5483"/>
                  </a:cubicBezTo>
                  <a:cubicBezTo>
                    <a:pt x="10076" y="5483"/>
                    <a:pt x="10137" y="5387"/>
                    <a:pt x="10137" y="5267"/>
                  </a:cubicBezTo>
                  <a:cubicBezTo>
                    <a:pt x="10137" y="5146"/>
                    <a:pt x="10076" y="5048"/>
                    <a:pt x="9999" y="5048"/>
                  </a:cubicBezTo>
                  <a:close/>
                  <a:moveTo>
                    <a:pt x="13944" y="5048"/>
                  </a:moveTo>
                  <a:cubicBezTo>
                    <a:pt x="13868" y="5048"/>
                    <a:pt x="13805" y="5146"/>
                    <a:pt x="13805" y="5267"/>
                  </a:cubicBezTo>
                  <a:cubicBezTo>
                    <a:pt x="13805" y="5387"/>
                    <a:pt x="13868" y="5483"/>
                    <a:pt x="13944" y="5483"/>
                  </a:cubicBezTo>
                  <a:cubicBezTo>
                    <a:pt x="14020" y="5483"/>
                    <a:pt x="14081" y="5387"/>
                    <a:pt x="14081" y="5267"/>
                  </a:cubicBezTo>
                  <a:cubicBezTo>
                    <a:pt x="14081" y="5146"/>
                    <a:pt x="14020" y="5048"/>
                    <a:pt x="13944" y="5048"/>
                  </a:cubicBezTo>
                  <a:close/>
                  <a:moveTo>
                    <a:pt x="139" y="5631"/>
                  </a:moveTo>
                  <a:cubicBezTo>
                    <a:pt x="62" y="5631"/>
                    <a:pt x="0" y="5729"/>
                    <a:pt x="0" y="5849"/>
                  </a:cubicBezTo>
                  <a:cubicBezTo>
                    <a:pt x="0" y="5969"/>
                    <a:pt x="62" y="6065"/>
                    <a:pt x="139" y="6065"/>
                  </a:cubicBezTo>
                  <a:cubicBezTo>
                    <a:pt x="215" y="6065"/>
                    <a:pt x="276" y="5969"/>
                    <a:pt x="276" y="5849"/>
                  </a:cubicBezTo>
                  <a:cubicBezTo>
                    <a:pt x="276" y="5729"/>
                    <a:pt x="215" y="5631"/>
                    <a:pt x="139" y="5631"/>
                  </a:cubicBezTo>
                  <a:close/>
                  <a:moveTo>
                    <a:pt x="508" y="5631"/>
                  </a:moveTo>
                  <a:cubicBezTo>
                    <a:pt x="432" y="5631"/>
                    <a:pt x="370" y="5729"/>
                    <a:pt x="370" y="5849"/>
                  </a:cubicBezTo>
                  <a:cubicBezTo>
                    <a:pt x="370" y="5969"/>
                    <a:pt x="432" y="6065"/>
                    <a:pt x="508" y="6065"/>
                  </a:cubicBezTo>
                  <a:cubicBezTo>
                    <a:pt x="585" y="6065"/>
                    <a:pt x="646" y="5969"/>
                    <a:pt x="646" y="5849"/>
                  </a:cubicBezTo>
                  <a:cubicBezTo>
                    <a:pt x="646" y="5729"/>
                    <a:pt x="585" y="5631"/>
                    <a:pt x="508" y="5631"/>
                  </a:cubicBezTo>
                  <a:close/>
                  <a:moveTo>
                    <a:pt x="919" y="5631"/>
                  </a:moveTo>
                  <a:cubicBezTo>
                    <a:pt x="843" y="5631"/>
                    <a:pt x="781" y="5729"/>
                    <a:pt x="781" y="5849"/>
                  </a:cubicBezTo>
                  <a:cubicBezTo>
                    <a:pt x="781" y="5969"/>
                    <a:pt x="843" y="6065"/>
                    <a:pt x="919" y="6065"/>
                  </a:cubicBezTo>
                  <a:cubicBezTo>
                    <a:pt x="996" y="6065"/>
                    <a:pt x="1057" y="5969"/>
                    <a:pt x="1057" y="5849"/>
                  </a:cubicBezTo>
                  <a:cubicBezTo>
                    <a:pt x="1057" y="5729"/>
                    <a:pt x="996" y="5631"/>
                    <a:pt x="919" y="5631"/>
                  </a:cubicBezTo>
                  <a:close/>
                  <a:moveTo>
                    <a:pt x="1289" y="5631"/>
                  </a:moveTo>
                  <a:cubicBezTo>
                    <a:pt x="1213" y="5631"/>
                    <a:pt x="1150" y="5729"/>
                    <a:pt x="1150" y="5849"/>
                  </a:cubicBezTo>
                  <a:cubicBezTo>
                    <a:pt x="1150" y="5969"/>
                    <a:pt x="1213" y="6065"/>
                    <a:pt x="1289" y="6065"/>
                  </a:cubicBezTo>
                  <a:cubicBezTo>
                    <a:pt x="1365" y="6065"/>
                    <a:pt x="1426" y="5969"/>
                    <a:pt x="1426" y="5849"/>
                  </a:cubicBezTo>
                  <a:cubicBezTo>
                    <a:pt x="1426" y="5729"/>
                    <a:pt x="1365" y="5631"/>
                    <a:pt x="1289" y="5631"/>
                  </a:cubicBezTo>
                  <a:close/>
                  <a:moveTo>
                    <a:pt x="1700" y="5631"/>
                  </a:moveTo>
                  <a:cubicBezTo>
                    <a:pt x="1624" y="5631"/>
                    <a:pt x="1561" y="5729"/>
                    <a:pt x="1561" y="5849"/>
                  </a:cubicBezTo>
                  <a:cubicBezTo>
                    <a:pt x="1561" y="5969"/>
                    <a:pt x="1624" y="6065"/>
                    <a:pt x="1700" y="6065"/>
                  </a:cubicBezTo>
                  <a:cubicBezTo>
                    <a:pt x="1776" y="6065"/>
                    <a:pt x="1837" y="5969"/>
                    <a:pt x="1837" y="5849"/>
                  </a:cubicBezTo>
                  <a:cubicBezTo>
                    <a:pt x="1837" y="5729"/>
                    <a:pt x="1776" y="5631"/>
                    <a:pt x="1700" y="5631"/>
                  </a:cubicBezTo>
                  <a:close/>
                  <a:moveTo>
                    <a:pt x="2891" y="5631"/>
                  </a:moveTo>
                  <a:cubicBezTo>
                    <a:pt x="2815" y="5631"/>
                    <a:pt x="2753" y="5729"/>
                    <a:pt x="2753" y="5849"/>
                  </a:cubicBezTo>
                  <a:cubicBezTo>
                    <a:pt x="2753" y="5969"/>
                    <a:pt x="2815" y="6065"/>
                    <a:pt x="2891" y="6065"/>
                  </a:cubicBezTo>
                  <a:cubicBezTo>
                    <a:pt x="2968" y="6065"/>
                    <a:pt x="3029" y="5969"/>
                    <a:pt x="3029" y="5849"/>
                  </a:cubicBezTo>
                  <a:cubicBezTo>
                    <a:pt x="3029" y="5729"/>
                    <a:pt x="2968" y="5631"/>
                    <a:pt x="2891" y="5631"/>
                  </a:cubicBezTo>
                  <a:close/>
                  <a:moveTo>
                    <a:pt x="3302" y="5631"/>
                  </a:moveTo>
                  <a:cubicBezTo>
                    <a:pt x="3226" y="5631"/>
                    <a:pt x="3164" y="5729"/>
                    <a:pt x="3164" y="5849"/>
                  </a:cubicBezTo>
                  <a:cubicBezTo>
                    <a:pt x="3164" y="5969"/>
                    <a:pt x="3226" y="6065"/>
                    <a:pt x="3302" y="6065"/>
                  </a:cubicBezTo>
                  <a:cubicBezTo>
                    <a:pt x="3379" y="6065"/>
                    <a:pt x="3440" y="5969"/>
                    <a:pt x="3440" y="5849"/>
                  </a:cubicBezTo>
                  <a:cubicBezTo>
                    <a:pt x="3440" y="5729"/>
                    <a:pt x="3379" y="5631"/>
                    <a:pt x="3302" y="5631"/>
                  </a:cubicBezTo>
                  <a:close/>
                  <a:moveTo>
                    <a:pt x="3713" y="5631"/>
                  </a:moveTo>
                  <a:cubicBezTo>
                    <a:pt x="3637" y="5631"/>
                    <a:pt x="3575" y="5729"/>
                    <a:pt x="3575" y="5849"/>
                  </a:cubicBezTo>
                  <a:cubicBezTo>
                    <a:pt x="3575" y="5969"/>
                    <a:pt x="3637" y="6065"/>
                    <a:pt x="3713" y="6065"/>
                  </a:cubicBezTo>
                  <a:cubicBezTo>
                    <a:pt x="3790" y="6065"/>
                    <a:pt x="3851" y="5969"/>
                    <a:pt x="3851" y="5849"/>
                  </a:cubicBezTo>
                  <a:cubicBezTo>
                    <a:pt x="3851" y="5729"/>
                    <a:pt x="3790" y="5631"/>
                    <a:pt x="3713" y="5631"/>
                  </a:cubicBezTo>
                  <a:close/>
                  <a:moveTo>
                    <a:pt x="4083" y="5631"/>
                  </a:moveTo>
                  <a:cubicBezTo>
                    <a:pt x="4007" y="5631"/>
                    <a:pt x="3944" y="5729"/>
                    <a:pt x="3944" y="5849"/>
                  </a:cubicBezTo>
                  <a:cubicBezTo>
                    <a:pt x="3944" y="5969"/>
                    <a:pt x="4007" y="6065"/>
                    <a:pt x="4083" y="6065"/>
                  </a:cubicBezTo>
                  <a:cubicBezTo>
                    <a:pt x="4159" y="6065"/>
                    <a:pt x="4220" y="5969"/>
                    <a:pt x="4220" y="5849"/>
                  </a:cubicBezTo>
                  <a:cubicBezTo>
                    <a:pt x="4220" y="5729"/>
                    <a:pt x="4159" y="5631"/>
                    <a:pt x="4083" y="5631"/>
                  </a:cubicBezTo>
                  <a:close/>
                  <a:moveTo>
                    <a:pt x="4494" y="5631"/>
                  </a:moveTo>
                  <a:cubicBezTo>
                    <a:pt x="4418" y="5631"/>
                    <a:pt x="4355" y="5729"/>
                    <a:pt x="4355" y="5849"/>
                  </a:cubicBezTo>
                  <a:cubicBezTo>
                    <a:pt x="4355" y="5969"/>
                    <a:pt x="4418" y="6065"/>
                    <a:pt x="4494" y="6065"/>
                  </a:cubicBezTo>
                  <a:cubicBezTo>
                    <a:pt x="4570" y="6065"/>
                    <a:pt x="4631" y="5969"/>
                    <a:pt x="4631" y="5849"/>
                  </a:cubicBezTo>
                  <a:cubicBezTo>
                    <a:pt x="4631" y="5729"/>
                    <a:pt x="4570" y="5631"/>
                    <a:pt x="4494" y="5631"/>
                  </a:cubicBezTo>
                  <a:close/>
                  <a:moveTo>
                    <a:pt x="4864" y="5631"/>
                  </a:moveTo>
                  <a:cubicBezTo>
                    <a:pt x="4787" y="5631"/>
                    <a:pt x="4725" y="5729"/>
                    <a:pt x="4725" y="5849"/>
                  </a:cubicBezTo>
                  <a:cubicBezTo>
                    <a:pt x="4725" y="5969"/>
                    <a:pt x="4787" y="6065"/>
                    <a:pt x="4864" y="6065"/>
                  </a:cubicBezTo>
                  <a:cubicBezTo>
                    <a:pt x="4940" y="6065"/>
                    <a:pt x="5001" y="5969"/>
                    <a:pt x="5001" y="5849"/>
                  </a:cubicBezTo>
                  <a:cubicBezTo>
                    <a:pt x="5001" y="5729"/>
                    <a:pt x="4940" y="5631"/>
                    <a:pt x="4864" y="5631"/>
                  </a:cubicBezTo>
                  <a:close/>
                  <a:moveTo>
                    <a:pt x="5274" y="5631"/>
                  </a:moveTo>
                  <a:cubicBezTo>
                    <a:pt x="5198" y="5631"/>
                    <a:pt x="5136" y="5729"/>
                    <a:pt x="5136" y="5849"/>
                  </a:cubicBezTo>
                  <a:cubicBezTo>
                    <a:pt x="5136" y="5969"/>
                    <a:pt x="5198" y="6065"/>
                    <a:pt x="5274" y="6065"/>
                  </a:cubicBezTo>
                  <a:cubicBezTo>
                    <a:pt x="5351" y="6065"/>
                    <a:pt x="5412" y="5969"/>
                    <a:pt x="5412" y="5849"/>
                  </a:cubicBezTo>
                  <a:cubicBezTo>
                    <a:pt x="5412" y="5729"/>
                    <a:pt x="5351" y="5631"/>
                    <a:pt x="5274" y="5631"/>
                  </a:cubicBezTo>
                  <a:close/>
                  <a:moveTo>
                    <a:pt x="5685" y="5631"/>
                  </a:moveTo>
                  <a:cubicBezTo>
                    <a:pt x="5609" y="5631"/>
                    <a:pt x="5547" y="5729"/>
                    <a:pt x="5547" y="5849"/>
                  </a:cubicBezTo>
                  <a:cubicBezTo>
                    <a:pt x="5547" y="5969"/>
                    <a:pt x="5609" y="6065"/>
                    <a:pt x="5685" y="6065"/>
                  </a:cubicBezTo>
                  <a:cubicBezTo>
                    <a:pt x="5762" y="6065"/>
                    <a:pt x="5823" y="5969"/>
                    <a:pt x="5823" y="5849"/>
                  </a:cubicBezTo>
                  <a:cubicBezTo>
                    <a:pt x="5823" y="5729"/>
                    <a:pt x="5762" y="5631"/>
                    <a:pt x="5685" y="5631"/>
                  </a:cubicBezTo>
                  <a:close/>
                  <a:moveTo>
                    <a:pt x="6055" y="5631"/>
                  </a:moveTo>
                  <a:cubicBezTo>
                    <a:pt x="5979" y="5631"/>
                    <a:pt x="5916" y="5729"/>
                    <a:pt x="5916" y="5849"/>
                  </a:cubicBezTo>
                  <a:cubicBezTo>
                    <a:pt x="5916" y="5969"/>
                    <a:pt x="5979" y="6065"/>
                    <a:pt x="6055" y="6065"/>
                  </a:cubicBezTo>
                  <a:cubicBezTo>
                    <a:pt x="6131" y="6065"/>
                    <a:pt x="6193" y="5969"/>
                    <a:pt x="6193" y="5849"/>
                  </a:cubicBezTo>
                  <a:cubicBezTo>
                    <a:pt x="6193" y="5729"/>
                    <a:pt x="6131" y="5631"/>
                    <a:pt x="6055" y="5631"/>
                  </a:cubicBezTo>
                  <a:close/>
                  <a:moveTo>
                    <a:pt x="6466" y="5631"/>
                  </a:moveTo>
                  <a:cubicBezTo>
                    <a:pt x="6390" y="5631"/>
                    <a:pt x="6327" y="5729"/>
                    <a:pt x="6327" y="5849"/>
                  </a:cubicBezTo>
                  <a:cubicBezTo>
                    <a:pt x="6327" y="5969"/>
                    <a:pt x="6390" y="6065"/>
                    <a:pt x="6466" y="6065"/>
                  </a:cubicBezTo>
                  <a:cubicBezTo>
                    <a:pt x="6542" y="6065"/>
                    <a:pt x="6603" y="5969"/>
                    <a:pt x="6603" y="5849"/>
                  </a:cubicBezTo>
                  <a:cubicBezTo>
                    <a:pt x="6603" y="5729"/>
                    <a:pt x="6542" y="5631"/>
                    <a:pt x="6466" y="5631"/>
                  </a:cubicBezTo>
                  <a:close/>
                  <a:moveTo>
                    <a:pt x="6877" y="5631"/>
                  </a:moveTo>
                  <a:cubicBezTo>
                    <a:pt x="6801" y="5631"/>
                    <a:pt x="6738" y="5729"/>
                    <a:pt x="6738" y="5849"/>
                  </a:cubicBezTo>
                  <a:cubicBezTo>
                    <a:pt x="6738" y="5969"/>
                    <a:pt x="6801" y="6065"/>
                    <a:pt x="6877" y="6065"/>
                  </a:cubicBezTo>
                  <a:cubicBezTo>
                    <a:pt x="6953" y="6065"/>
                    <a:pt x="7014" y="5969"/>
                    <a:pt x="7014" y="5849"/>
                  </a:cubicBezTo>
                  <a:cubicBezTo>
                    <a:pt x="7014" y="5729"/>
                    <a:pt x="6953" y="5631"/>
                    <a:pt x="6877" y="5631"/>
                  </a:cubicBezTo>
                  <a:close/>
                  <a:moveTo>
                    <a:pt x="7247" y="5631"/>
                  </a:moveTo>
                  <a:cubicBezTo>
                    <a:pt x="7170" y="5631"/>
                    <a:pt x="7108" y="5729"/>
                    <a:pt x="7108" y="5849"/>
                  </a:cubicBezTo>
                  <a:cubicBezTo>
                    <a:pt x="7108" y="5969"/>
                    <a:pt x="7170" y="6065"/>
                    <a:pt x="7247" y="6065"/>
                  </a:cubicBezTo>
                  <a:cubicBezTo>
                    <a:pt x="7323" y="6065"/>
                    <a:pt x="7384" y="5969"/>
                    <a:pt x="7384" y="5849"/>
                  </a:cubicBezTo>
                  <a:cubicBezTo>
                    <a:pt x="7384" y="5729"/>
                    <a:pt x="7323" y="5631"/>
                    <a:pt x="7247" y="5631"/>
                  </a:cubicBezTo>
                  <a:close/>
                  <a:moveTo>
                    <a:pt x="7658" y="5631"/>
                  </a:moveTo>
                  <a:cubicBezTo>
                    <a:pt x="7581" y="5631"/>
                    <a:pt x="7519" y="5729"/>
                    <a:pt x="7519" y="5849"/>
                  </a:cubicBezTo>
                  <a:cubicBezTo>
                    <a:pt x="7519" y="5969"/>
                    <a:pt x="7581" y="6065"/>
                    <a:pt x="7658" y="6065"/>
                  </a:cubicBezTo>
                  <a:cubicBezTo>
                    <a:pt x="7734" y="6065"/>
                    <a:pt x="7795" y="5969"/>
                    <a:pt x="7795" y="5849"/>
                  </a:cubicBezTo>
                  <a:cubicBezTo>
                    <a:pt x="7795" y="5729"/>
                    <a:pt x="7734" y="5631"/>
                    <a:pt x="7658" y="5631"/>
                  </a:cubicBezTo>
                  <a:close/>
                  <a:moveTo>
                    <a:pt x="8027" y="5631"/>
                  </a:moveTo>
                  <a:cubicBezTo>
                    <a:pt x="7951" y="5631"/>
                    <a:pt x="7889" y="5729"/>
                    <a:pt x="7889" y="5849"/>
                  </a:cubicBezTo>
                  <a:cubicBezTo>
                    <a:pt x="7889" y="5969"/>
                    <a:pt x="7951" y="6065"/>
                    <a:pt x="8027" y="6065"/>
                  </a:cubicBezTo>
                  <a:cubicBezTo>
                    <a:pt x="8103" y="6065"/>
                    <a:pt x="8165" y="5969"/>
                    <a:pt x="8165" y="5849"/>
                  </a:cubicBezTo>
                  <a:cubicBezTo>
                    <a:pt x="8165" y="5729"/>
                    <a:pt x="8103" y="5631"/>
                    <a:pt x="8027" y="5631"/>
                  </a:cubicBezTo>
                  <a:close/>
                  <a:moveTo>
                    <a:pt x="8438" y="5631"/>
                  </a:moveTo>
                  <a:cubicBezTo>
                    <a:pt x="8362" y="5631"/>
                    <a:pt x="8299" y="5729"/>
                    <a:pt x="8299" y="5849"/>
                  </a:cubicBezTo>
                  <a:cubicBezTo>
                    <a:pt x="8299" y="5969"/>
                    <a:pt x="8362" y="6065"/>
                    <a:pt x="8438" y="6065"/>
                  </a:cubicBezTo>
                  <a:cubicBezTo>
                    <a:pt x="8515" y="6065"/>
                    <a:pt x="8576" y="5969"/>
                    <a:pt x="8576" y="5849"/>
                  </a:cubicBezTo>
                  <a:cubicBezTo>
                    <a:pt x="8576" y="5729"/>
                    <a:pt x="8515" y="5631"/>
                    <a:pt x="8438" y="5631"/>
                  </a:cubicBezTo>
                  <a:close/>
                  <a:moveTo>
                    <a:pt x="8849" y="5631"/>
                  </a:moveTo>
                  <a:cubicBezTo>
                    <a:pt x="8773" y="5631"/>
                    <a:pt x="8710" y="5729"/>
                    <a:pt x="8710" y="5849"/>
                  </a:cubicBezTo>
                  <a:cubicBezTo>
                    <a:pt x="8710" y="5969"/>
                    <a:pt x="8773" y="6065"/>
                    <a:pt x="8849" y="6065"/>
                  </a:cubicBezTo>
                  <a:cubicBezTo>
                    <a:pt x="8925" y="6065"/>
                    <a:pt x="8986" y="5969"/>
                    <a:pt x="8986" y="5849"/>
                  </a:cubicBezTo>
                  <a:cubicBezTo>
                    <a:pt x="8986" y="5729"/>
                    <a:pt x="8925" y="5631"/>
                    <a:pt x="8849" y="5631"/>
                  </a:cubicBezTo>
                  <a:close/>
                  <a:moveTo>
                    <a:pt x="9219" y="5631"/>
                  </a:moveTo>
                  <a:cubicBezTo>
                    <a:pt x="9142" y="5631"/>
                    <a:pt x="9080" y="5729"/>
                    <a:pt x="9080" y="5849"/>
                  </a:cubicBezTo>
                  <a:cubicBezTo>
                    <a:pt x="9080" y="5969"/>
                    <a:pt x="9142" y="6065"/>
                    <a:pt x="9219" y="6065"/>
                  </a:cubicBezTo>
                  <a:cubicBezTo>
                    <a:pt x="9295" y="6065"/>
                    <a:pt x="9356" y="5969"/>
                    <a:pt x="9356" y="5849"/>
                  </a:cubicBezTo>
                  <a:cubicBezTo>
                    <a:pt x="9356" y="5729"/>
                    <a:pt x="9295" y="5631"/>
                    <a:pt x="9219" y="5631"/>
                  </a:cubicBezTo>
                  <a:close/>
                  <a:moveTo>
                    <a:pt x="9589" y="5631"/>
                  </a:moveTo>
                  <a:cubicBezTo>
                    <a:pt x="9512" y="5631"/>
                    <a:pt x="9450" y="5729"/>
                    <a:pt x="9450" y="5849"/>
                  </a:cubicBezTo>
                  <a:cubicBezTo>
                    <a:pt x="9450" y="5969"/>
                    <a:pt x="9512" y="6065"/>
                    <a:pt x="9589" y="6065"/>
                  </a:cubicBezTo>
                  <a:cubicBezTo>
                    <a:pt x="9665" y="6065"/>
                    <a:pt x="9726" y="5969"/>
                    <a:pt x="9726" y="5849"/>
                  </a:cubicBezTo>
                  <a:cubicBezTo>
                    <a:pt x="9726" y="5729"/>
                    <a:pt x="9665" y="5631"/>
                    <a:pt x="9589" y="5631"/>
                  </a:cubicBezTo>
                  <a:close/>
                  <a:moveTo>
                    <a:pt x="12752" y="5631"/>
                  </a:moveTo>
                  <a:cubicBezTo>
                    <a:pt x="12676" y="5631"/>
                    <a:pt x="12614" y="5729"/>
                    <a:pt x="12614" y="5849"/>
                  </a:cubicBezTo>
                  <a:cubicBezTo>
                    <a:pt x="12614" y="5969"/>
                    <a:pt x="12676" y="6065"/>
                    <a:pt x="12752" y="6065"/>
                  </a:cubicBezTo>
                  <a:cubicBezTo>
                    <a:pt x="12828" y="6065"/>
                    <a:pt x="12890" y="5969"/>
                    <a:pt x="12890" y="5849"/>
                  </a:cubicBezTo>
                  <a:cubicBezTo>
                    <a:pt x="12890" y="5729"/>
                    <a:pt x="12828" y="5631"/>
                    <a:pt x="12752" y="5631"/>
                  </a:cubicBezTo>
                  <a:close/>
                  <a:moveTo>
                    <a:pt x="13163" y="5631"/>
                  </a:moveTo>
                  <a:cubicBezTo>
                    <a:pt x="13087" y="5631"/>
                    <a:pt x="13024" y="5729"/>
                    <a:pt x="13024" y="5849"/>
                  </a:cubicBezTo>
                  <a:cubicBezTo>
                    <a:pt x="13024" y="5969"/>
                    <a:pt x="13087" y="6065"/>
                    <a:pt x="13163" y="6065"/>
                  </a:cubicBezTo>
                  <a:cubicBezTo>
                    <a:pt x="13239" y="6065"/>
                    <a:pt x="13301" y="5969"/>
                    <a:pt x="13301" y="5849"/>
                  </a:cubicBezTo>
                  <a:cubicBezTo>
                    <a:pt x="13301" y="5729"/>
                    <a:pt x="13239" y="5631"/>
                    <a:pt x="13163" y="5631"/>
                  </a:cubicBezTo>
                  <a:close/>
                  <a:moveTo>
                    <a:pt x="17107" y="5631"/>
                  </a:moveTo>
                  <a:cubicBezTo>
                    <a:pt x="17031" y="5631"/>
                    <a:pt x="16969" y="5729"/>
                    <a:pt x="16969" y="5849"/>
                  </a:cubicBezTo>
                  <a:cubicBezTo>
                    <a:pt x="16969" y="5969"/>
                    <a:pt x="17031" y="6065"/>
                    <a:pt x="17107" y="6065"/>
                  </a:cubicBezTo>
                  <a:cubicBezTo>
                    <a:pt x="17184" y="6065"/>
                    <a:pt x="17245" y="5969"/>
                    <a:pt x="17245" y="5849"/>
                  </a:cubicBezTo>
                  <a:cubicBezTo>
                    <a:pt x="17245" y="5729"/>
                    <a:pt x="17184" y="5631"/>
                    <a:pt x="17107" y="5631"/>
                  </a:cubicBezTo>
                  <a:close/>
                  <a:moveTo>
                    <a:pt x="12752" y="6213"/>
                  </a:moveTo>
                  <a:cubicBezTo>
                    <a:pt x="12676" y="6213"/>
                    <a:pt x="12614" y="6311"/>
                    <a:pt x="12614" y="6431"/>
                  </a:cubicBezTo>
                  <a:cubicBezTo>
                    <a:pt x="12614" y="6552"/>
                    <a:pt x="12676" y="6648"/>
                    <a:pt x="12752" y="6648"/>
                  </a:cubicBezTo>
                  <a:cubicBezTo>
                    <a:pt x="12828" y="6648"/>
                    <a:pt x="12890" y="6552"/>
                    <a:pt x="12890" y="6431"/>
                  </a:cubicBezTo>
                  <a:cubicBezTo>
                    <a:pt x="12890" y="6311"/>
                    <a:pt x="12828" y="6213"/>
                    <a:pt x="12752" y="6213"/>
                  </a:cubicBezTo>
                  <a:close/>
                  <a:moveTo>
                    <a:pt x="13163" y="6213"/>
                  </a:moveTo>
                  <a:cubicBezTo>
                    <a:pt x="13087" y="6213"/>
                    <a:pt x="13024" y="6311"/>
                    <a:pt x="13024" y="6431"/>
                  </a:cubicBezTo>
                  <a:cubicBezTo>
                    <a:pt x="13024" y="6552"/>
                    <a:pt x="13087" y="6648"/>
                    <a:pt x="13163" y="6648"/>
                  </a:cubicBezTo>
                  <a:cubicBezTo>
                    <a:pt x="13239" y="6648"/>
                    <a:pt x="13301" y="6552"/>
                    <a:pt x="13301" y="6431"/>
                  </a:cubicBezTo>
                  <a:cubicBezTo>
                    <a:pt x="13301" y="6311"/>
                    <a:pt x="13239" y="6213"/>
                    <a:pt x="13163" y="6213"/>
                  </a:cubicBezTo>
                  <a:close/>
                  <a:moveTo>
                    <a:pt x="13533" y="6213"/>
                  </a:moveTo>
                  <a:cubicBezTo>
                    <a:pt x="13457" y="6213"/>
                    <a:pt x="13394" y="6311"/>
                    <a:pt x="13394" y="6431"/>
                  </a:cubicBezTo>
                  <a:cubicBezTo>
                    <a:pt x="13394" y="6552"/>
                    <a:pt x="13457" y="6648"/>
                    <a:pt x="13533" y="6648"/>
                  </a:cubicBezTo>
                  <a:cubicBezTo>
                    <a:pt x="13609" y="6648"/>
                    <a:pt x="13670" y="6552"/>
                    <a:pt x="13670" y="6431"/>
                  </a:cubicBezTo>
                  <a:cubicBezTo>
                    <a:pt x="13670" y="6311"/>
                    <a:pt x="13609" y="6213"/>
                    <a:pt x="13533" y="6213"/>
                  </a:cubicBezTo>
                  <a:close/>
                  <a:moveTo>
                    <a:pt x="13944" y="6213"/>
                  </a:moveTo>
                  <a:cubicBezTo>
                    <a:pt x="13868" y="6213"/>
                    <a:pt x="13805" y="6311"/>
                    <a:pt x="13805" y="6431"/>
                  </a:cubicBezTo>
                  <a:cubicBezTo>
                    <a:pt x="13805" y="6552"/>
                    <a:pt x="13868" y="6648"/>
                    <a:pt x="13944" y="6648"/>
                  </a:cubicBezTo>
                  <a:cubicBezTo>
                    <a:pt x="14020" y="6648"/>
                    <a:pt x="14081" y="6552"/>
                    <a:pt x="14081" y="6431"/>
                  </a:cubicBezTo>
                  <a:cubicBezTo>
                    <a:pt x="14081" y="6311"/>
                    <a:pt x="14020" y="6213"/>
                    <a:pt x="13944" y="6213"/>
                  </a:cubicBezTo>
                  <a:close/>
                  <a:moveTo>
                    <a:pt x="139" y="6278"/>
                  </a:moveTo>
                  <a:cubicBezTo>
                    <a:pt x="62" y="6278"/>
                    <a:pt x="0" y="6376"/>
                    <a:pt x="0" y="6496"/>
                  </a:cubicBezTo>
                  <a:cubicBezTo>
                    <a:pt x="0" y="6616"/>
                    <a:pt x="62" y="6713"/>
                    <a:pt x="139" y="6713"/>
                  </a:cubicBezTo>
                  <a:cubicBezTo>
                    <a:pt x="215" y="6713"/>
                    <a:pt x="276" y="6616"/>
                    <a:pt x="276" y="6496"/>
                  </a:cubicBezTo>
                  <a:cubicBezTo>
                    <a:pt x="276" y="6376"/>
                    <a:pt x="215" y="6278"/>
                    <a:pt x="139" y="6278"/>
                  </a:cubicBezTo>
                  <a:close/>
                  <a:moveTo>
                    <a:pt x="508" y="6278"/>
                  </a:moveTo>
                  <a:cubicBezTo>
                    <a:pt x="432" y="6278"/>
                    <a:pt x="370" y="6376"/>
                    <a:pt x="370" y="6496"/>
                  </a:cubicBezTo>
                  <a:cubicBezTo>
                    <a:pt x="370" y="6616"/>
                    <a:pt x="432" y="6713"/>
                    <a:pt x="508" y="6713"/>
                  </a:cubicBezTo>
                  <a:cubicBezTo>
                    <a:pt x="585" y="6713"/>
                    <a:pt x="646" y="6616"/>
                    <a:pt x="646" y="6496"/>
                  </a:cubicBezTo>
                  <a:cubicBezTo>
                    <a:pt x="646" y="6376"/>
                    <a:pt x="585" y="6278"/>
                    <a:pt x="508" y="6278"/>
                  </a:cubicBezTo>
                  <a:close/>
                  <a:moveTo>
                    <a:pt x="3713" y="6278"/>
                  </a:moveTo>
                  <a:cubicBezTo>
                    <a:pt x="3637" y="6278"/>
                    <a:pt x="3575" y="6376"/>
                    <a:pt x="3575" y="6496"/>
                  </a:cubicBezTo>
                  <a:cubicBezTo>
                    <a:pt x="3575" y="6617"/>
                    <a:pt x="3637" y="6713"/>
                    <a:pt x="3713" y="6713"/>
                  </a:cubicBezTo>
                  <a:cubicBezTo>
                    <a:pt x="3789" y="6713"/>
                    <a:pt x="3851" y="6617"/>
                    <a:pt x="3851" y="6496"/>
                  </a:cubicBezTo>
                  <a:cubicBezTo>
                    <a:pt x="3851" y="6376"/>
                    <a:pt x="3789" y="6278"/>
                    <a:pt x="3713" y="6278"/>
                  </a:cubicBezTo>
                  <a:close/>
                  <a:moveTo>
                    <a:pt x="4083" y="6278"/>
                  </a:moveTo>
                  <a:cubicBezTo>
                    <a:pt x="4007" y="6278"/>
                    <a:pt x="3944" y="6376"/>
                    <a:pt x="3944" y="6496"/>
                  </a:cubicBezTo>
                  <a:cubicBezTo>
                    <a:pt x="3944" y="6617"/>
                    <a:pt x="4007" y="6713"/>
                    <a:pt x="4083" y="6713"/>
                  </a:cubicBezTo>
                  <a:cubicBezTo>
                    <a:pt x="4159" y="6713"/>
                    <a:pt x="4220" y="6617"/>
                    <a:pt x="4220" y="6496"/>
                  </a:cubicBezTo>
                  <a:cubicBezTo>
                    <a:pt x="4220" y="6376"/>
                    <a:pt x="4159" y="6278"/>
                    <a:pt x="4083" y="6278"/>
                  </a:cubicBezTo>
                  <a:close/>
                  <a:moveTo>
                    <a:pt x="4494" y="6278"/>
                  </a:moveTo>
                  <a:cubicBezTo>
                    <a:pt x="4418" y="6278"/>
                    <a:pt x="4355" y="6376"/>
                    <a:pt x="4355" y="6496"/>
                  </a:cubicBezTo>
                  <a:cubicBezTo>
                    <a:pt x="4355" y="6617"/>
                    <a:pt x="4418" y="6713"/>
                    <a:pt x="4494" y="6713"/>
                  </a:cubicBezTo>
                  <a:cubicBezTo>
                    <a:pt x="4570" y="6713"/>
                    <a:pt x="4631" y="6617"/>
                    <a:pt x="4631" y="6496"/>
                  </a:cubicBezTo>
                  <a:cubicBezTo>
                    <a:pt x="4631" y="6376"/>
                    <a:pt x="4570" y="6278"/>
                    <a:pt x="4494" y="6278"/>
                  </a:cubicBezTo>
                  <a:close/>
                  <a:moveTo>
                    <a:pt x="4864" y="6278"/>
                  </a:moveTo>
                  <a:cubicBezTo>
                    <a:pt x="4787" y="6278"/>
                    <a:pt x="4725" y="6376"/>
                    <a:pt x="4725" y="6496"/>
                  </a:cubicBezTo>
                  <a:cubicBezTo>
                    <a:pt x="4725" y="6617"/>
                    <a:pt x="4787" y="6713"/>
                    <a:pt x="4864" y="6713"/>
                  </a:cubicBezTo>
                  <a:cubicBezTo>
                    <a:pt x="4940" y="6713"/>
                    <a:pt x="5001" y="6617"/>
                    <a:pt x="5001" y="6496"/>
                  </a:cubicBezTo>
                  <a:cubicBezTo>
                    <a:pt x="5001" y="6376"/>
                    <a:pt x="4940" y="6278"/>
                    <a:pt x="4864" y="6278"/>
                  </a:cubicBezTo>
                  <a:close/>
                  <a:moveTo>
                    <a:pt x="5274" y="6278"/>
                  </a:moveTo>
                  <a:cubicBezTo>
                    <a:pt x="5198" y="6278"/>
                    <a:pt x="5136" y="6376"/>
                    <a:pt x="5136" y="6496"/>
                  </a:cubicBezTo>
                  <a:cubicBezTo>
                    <a:pt x="5136" y="6617"/>
                    <a:pt x="5198" y="6713"/>
                    <a:pt x="5274" y="6713"/>
                  </a:cubicBezTo>
                  <a:cubicBezTo>
                    <a:pt x="5351" y="6713"/>
                    <a:pt x="5412" y="6617"/>
                    <a:pt x="5412" y="6496"/>
                  </a:cubicBezTo>
                  <a:cubicBezTo>
                    <a:pt x="5412" y="6376"/>
                    <a:pt x="5351" y="6278"/>
                    <a:pt x="5274" y="6278"/>
                  </a:cubicBezTo>
                  <a:close/>
                  <a:moveTo>
                    <a:pt x="5685" y="6278"/>
                  </a:moveTo>
                  <a:cubicBezTo>
                    <a:pt x="5609" y="6278"/>
                    <a:pt x="5547" y="6376"/>
                    <a:pt x="5547" y="6496"/>
                  </a:cubicBezTo>
                  <a:cubicBezTo>
                    <a:pt x="5547" y="6617"/>
                    <a:pt x="5609" y="6713"/>
                    <a:pt x="5685" y="6713"/>
                  </a:cubicBezTo>
                  <a:cubicBezTo>
                    <a:pt x="5762" y="6713"/>
                    <a:pt x="5823" y="6617"/>
                    <a:pt x="5823" y="6496"/>
                  </a:cubicBezTo>
                  <a:cubicBezTo>
                    <a:pt x="5823" y="6376"/>
                    <a:pt x="5762" y="6278"/>
                    <a:pt x="5685" y="6278"/>
                  </a:cubicBezTo>
                  <a:close/>
                  <a:moveTo>
                    <a:pt x="6055" y="6278"/>
                  </a:moveTo>
                  <a:cubicBezTo>
                    <a:pt x="5979" y="6278"/>
                    <a:pt x="5916" y="6376"/>
                    <a:pt x="5916" y="6496"/>
                  </a:cubicBezTo>
                  <a:cubicBezTo>
                    <a:pt x="5916" y="6617"/>
                    <a:pt x="5979" y="6713"/>
                    <a:pt x="6055" y="6713"/>
                  </a:cubicBezTo>
                  <a:cubicBezTo>
                    <a:pt x="6131" y="6713"/>
                    <a:pt x="6193" y="6617"/>
                    <a:pt x="6193" y="6496"/>
                  </a:cubicBezTo>
                  <a:cubicBezTo>
                    <a:pt x="6193" y="6376"/>
                    <a:pt x="6131" y="6278"/>
                    <a:pt x="6055" y="6278"/>
                  </a:cubicBezTo>
                  <a:close/>
                  <a:moveTo>
                    <a:pt x="6466" y="6278"/>
                  </a:moveTo>
                  <a:cubicBezTo>
                    <a:pt x="6390" y="6278"/>
                    <a:pt x="6327" y="6376"/>
                    <a:pt x="6327" y="6496"/>
                  </a:cubicBezTo>
                  <a:cubicBezTo>
                    <a:pt x="6327" y="6617"/>
                    <a:pt x="6390" y="6713"/>
                    <a:pt x="6466" y="6713"/>
                  </a:cubicBezTo>
                  <a:cubicBezTo>
                    <a:pt x="6542" y="6713"/>
                    <a:pt x="6603" y="6617"/>
                    <a:pt x="6603" y="6496"/>
                  </a:cubicBezTo>
                  <a:cubicBezTo>
                    <a:pt x="6603" y="6376"/>
                    <a:pt x="6542" y="6278"/>
                    <a:pt x="6466" y="6278"/>
                  </a:cubicBezTo>
                  <a:close/>
                  <a:moveTo>
                    <a:pt x="6877" y="6278"/>
                  </a:moveTo>
                  <a:cubicBezTo>
                    <a:pt x="6801" y="6278"/>
                    <a:pt x="6738" y="6376"/>
                    <a:pt x="6738" y="6496"/>
                  </a:cubicBezTo>
                  <a:cubicBezTo>
                    <a:pt x="6738" y="6617"/>
                    <a:pt x="6801" y="6713"/>
                    <a:pt x="6877" y="6713"/>
                  </a:cubicBezTo>
                  <a:cubicBezTo>
                    <a:pt x="6953" y="6713"/>
                    <a:pt x="7014" y="6617"/>
                    <a:pt x="7014" y="6496"/>
                  </a:cubicBezTo>
                  <a:cubicBezTo>
                    <a:pt x="7014" y="6376"/>
                    <a:pt x="6953" y="6278"/>
                    <a:pt x="6877" y="6278"/>
                  </a:cubicBezTo>
                  <a:close/>
                  <a:moveTo>
                    <a:pt x="7247" y="6278"/>
                  </a:moveTo>
                  <a:cubicBezTo>
                    <a:pt x="7170" y="6278"/>
                    <a:pt x="7108" y="6376"/>
                    <a:pt x="7108" y="6496"/>
                  </a:cubicBezTo>
                  <a:cubicBezTo>
                    <a:pt x="7108" y="6617"/>
                    <a:pt x="7170" y="6713"/>
                    <a:pt x="7247" y="6713"/>
                  </a:cubicBezTo>
                  <a:cubicBezTo>
                    <a:pt x="7323" y="6713"/>
                    <a:pt x="7384" y="6617"/>
                    <a:pt x="7384" y="6496"/>
                  </a:cubicBezTo>
                  <a:cubicBezTo>
                    <a:pt x="7384" y="6376"/>
                    <a:pt x="7323" y="6278"/>
                    <a:pt x="7247" y="6278"/>
                  </a:cubicBezTo>
                  <a:close/>
                  <a:moveTo>
                    <a:pt x="7658" y="6278"/>
                  </a:moveTo>
                  <a:cubicBezTo>
                    <a:pt x="7581" y="6278"/>
                    <a:pt x="7519" y="6376"/>
                    <a:pt x="7519" y="6496"/>
                  </a:cubicBezTo>
                  <a:cubicBezTo>
                    <a:pt x="7519" y="6617"/>
                    <a:pt x="7581" y="6713"/>
                    <a:pt x="7658" y="6713"/>
                  </a:cubicBezTo>
                  <a:cubicBezTo>
                    <a:pt x="7734" y="6713"/>
                    <a:pt x="7795" y="6617"/>
                    <a:pt x="7795" y="6496"/>
                  </a:cubicBezTo>
                  <a:cubicBezTo>
                    <a:pt x="7795" y="6376"/>
                    <a:pt x="7734" y="6278"/>
                    <a:pt x="7658" y="6278"/>
                  </a:cubicBezTo>
                  <a:close/>
                  <a:moveTo>
                    <a:pt x="8027" y="6278"/>
                  </a:moveTo>
                  <a:cubicBezTo>
                    <a:pt x="7951" y="6278"/>
                    <a:pt x="7889" y="6376"/>
                    <a:pt x="7889" y="6496"/>
                  </a:cubicBezTo>
                  <a:cubicBezTo>
                    <a:pt x="7889" y="6617"/>
                    <a:pt x="7951" y="6713"/>
                    <a:pt x="8027" y="6713"/>
                  </a:cubicBezTo>
                  <a:cubicBezTo>
                    <a:pt x="8103" y="6713"/>
                    <a:pt x="8165" y="6617"/>
                    <a:pt x="8165" y="6496"/>
                  </a:cubicBezTo>
                  <a:cubicBezTo>
                    <a:pt x="8165" y="6376"/>
                    <a:pt x="8103" y="6278"/>
                    <a:pt x="8027" y="6278"/>
                  </a:cubicBezTo>
                  <a:close/>
                  <a:moveTo>
                    <a:pt x="8438" y="6278"/>
                  </a:moveTo>
                  <a:cubicBezTo>
                    <a:pt x="8362" y="6278"/>
                    <a:pt x="8299" y="6376"/>
                    <a:pt x="8299" y="6496"/>
                  </a:cubicBezTo>
                  <a:cubicBezTo>
                    <a:pt x="8299" y="6617"/>
                    <a:pt x="8362" y="6713"/>
                    <a:pt x="8438" y="6713"/>
                  </a:cubicBezTo>
                  <a:cubicBezTo>
                    <a:pt x="8515" y="6713"/>
                    <a:pt x="8576" y="6617"/>
                    <a:pt x="8576" y="6496"/>
                  </a:cubicBezTo>
                  <a:cubicBezTo>
                    <a:pt x="8576" y="6376"/>
                    <a:pt x="8515" y="6278"/>
                    <a:pt x="8438" y="6278"/>
                  </a:cubicBezTo>
                  <a:close/>
                  <a:moveTo>
                    <a:pt x="8849" y="6278"/>
                  </a:moveTo>
                  <a:cubicBezTo>
                    <a:pt x="8773" y="6278"/>
                    <a:pt x="8710" y="6376"/>
                    <a:pt x="8710" y="6496"/>
                  </a:cubicBezTo>
                  <a:cubicBezTo>
                    <a:pt x="8710" y="6617"/>
                    <a:pt x="8773" y="6713"/>
                    <a:pt x="8849" y="6713"/>
                  </a:cubicBezTo>
                  <a:cubicBezTo>
                    <a:pt x="8925" y="6713"/>
                    <a:pt x="8986" y="6617"/>
                    <a:pt x="8986" y="6496"/>
                  </a:cubicBezTo>
                  <a:cubicBezTo>
                    <a:pt x="8986" y="6376"/>
                    <a:pt x="8925" y="6278"/>
                    <a:pt x="8849" y="6278"/>
                  </a:cubicBezTo>
                  <a:close/>
                  <a:moveTo>
                    <a:pt x="9219" y="6278"/>
                  </a:moveTo>
                  <a:cubicBezTo>
                    <a:pt x="9142" y="6278"/>
                    <a:pt x="9080" y="6376"/>
                    <a:pt x="9080" y="6496"/>
                  </a:cubicBezTo>
                  <a:cubicBezTo>
                    <a:pt x="9080" y="6617"/>
                    <a:pt x="9142" y="6713"/>
                    <a:pt x="9219" y="6713"/>
                  </a:cubicBezTo>
                  <a:cubicBezTo>
                    <a:pt x="9295" y="6713"/>
                    <a:pt x="9356" y="6617"/>
                    <a:pt x="9356" y="6496"/>
                  </a:cubicBezTo>
                  <a:cubicBezTo>
                    <a:pt x="9356" y="6376"/>
                    <a:pt x="9295" y="6278"/>
                    <a:pt x="9219" y="6278"/>
                  </a:cubicBezTo>
                  <a:close/>
                  <a:moveTo>
                    <a:pt x="9589" y="6278"/>
                  </a:moveTo>
                  <a:cubicBezTo>
                    <a:pt x="9512" y="6278"/>
                    <a:pt x="9450" y="6376"/>
                    <a:pt x="9450" y="6496"/>
                  </a:cubicBezTo>
                  <a:cubicBezTo>
                    <a:pt x="9450" y="6617"/>
                    <a:pt x="9512" y="6713"/>
                    <a:pt x="9589" y="6713"/>
                  </a:cubicBezTo>
                  <a:cubicBezTo>
                    <a:pt x="9665" y="6713"/>
                    <a:pt x="9726" y="6617"/>
                    <a:pt x="9726" y="6496"/>
                  </a:cubicBezTo>
                  <a:cubicBezTo>
                    <a:pt x="9726" y="6376"/>
                    <a:pt x="9665" y="6278"/>
                    <a:pt x="9589" y="6278"/>
                  </a:cubicBezTo>
                  <a:close/>
                  <a:moveTo>
                    <a:pt x="12382" y="6278"/>
                  </a:moveTo>
                  <a:cubicBezTo>
                    <a:pt x="12306" y="6278"/>
                    <a:pt x="12244" y="6376"/>
                    <a:pt x="12244" y="6496"/>
                  </a:cubicBezTo>
                  <a:cubicBezTo>
                    <a:pt x="12244" y="6617"/>
                    <a:pt x="12306" y="6713"/>
                    <a:pt x="12382" y="6713"/>
                  </a:cubicBezTo>
                  <a:cubicBezTo>
                    <a:pt x="12459" y="6713"/>
                    <a:pt x="12520" y="6617"/>
                    <a:pt x="12520" y="6496"/>
                  </a:cubicBezTo>
                  <a:cubicBezTo>
                    <a:pt x="12520" y="6376"/>
                    <a:pt x="12459" y="6278"/>
                    <a:pt x="12382" y="6278"/>
                  </a:cubicBezTo>
                  <a:close/>
                  <a:moveTo>
                    <a:pt x="3713" y="6860"/>
                  </a:moveTo>
                  <a:cubicBezTo>
                    <a:pt x="3637" y="6860"/>
                    <a:pt x="3575" y="6958"/>
                    <a:pt x="3575" y="7079"/>
                  </a:cubicBezTo>
                  <a:cubicBezTo>
                    <a:pt x="3575" y="7199"/>
                    <a:pt x="3637" y="7295"/>
                    <a:pt x="3713" y="7295"/>
                  </a:cubicBezTo>
                  <a:cubicBezTo>
                    <a:pt x="3789" y="7295"/>
                    <a:pt x="3851" y="7199"/>
                    <a:pt x="3851" y="7079"/>
                  </a:cubicBezTo>
                  <a:cubicBezTo>
                    <a:pt x="3851" y="6958"/>
                    <a:pt x="3789" y="6860"/>
                    <a:pt x="3713" y="6860"/>
                  </a:cubicBezTo>
                  <a:close/>
                  <a:moveTo>
                    <a:pt x="4083" y="6860"/>
                  </a:moveTo>
                  <a:cubicBezTo>
                    <a:pt x="4007" y="6860"/>
                    <a:pt x="3944" y="6958"/>
                    <a:pt x="3944" y="7079"/>
                  </a:cubicBezTo>
                  <a:cubicBezTo>
                    <a:pt x="3944" y="7199"/>
                    <a:pt x="4007" y="7295"/>
                    <a:pt x="4083" y="7295"/>
                  </a:cubicBezTo>
                  <a:cubicBezTo>
                    <a:pt x="4159" y="7295"/>
                    <a:pt x="4220" y="7199"/>
                    <a:pt x="4220" y="7079"/>
                  </a:cubicBezTo>
                  <a:cubicBezTo>
                    <a:pt x="4220" y="6958"/>
                    <a:pt x="4159" y="6860"/>
                    <a:pt x="4083" y="6860"/>
                  </a:cubicBezTo>
                  <a:close/>
                  <a:moveTo>
                    <a:pt x="4494" y="6860"/>
                  </a:moveTo>
                  <a:cubicBezTo>
                    <a:pt x="4418" y="6860"/>
                    <a:pt x="4355" y="6958"/>
                    <a:pt x="4355" y="7079"/>
                  </a:cubicBezTo>
                  <a:cubicBezTo>
                    <a:pt x="4355" y="7199"/>
                    <a:pt x="4418" y="7295"/>
                    <a:pt x="4494" y="7295"/>
                  </a:cubicBezTo>
                  <a:cubicBezTo>
                    <a:pt x="4570" y="7295"/>
                    <a:pt x="4631" y="7199"/>
                    <a:pt x="4631" y="7079"/>
                  </a:cubicBezTo>
                  <a:cubicBezTo>
                    <a:pt x="4631" y="6958"/>
                    <a:pt x="4570" y="6860"/>
                    <a:pt x="4494" y="6860"/>
                  </a:cubicBezTo>
                  <a:close/>
                  <a:moveTo>
                    <a:pt x="4864" y="6860"/>
                  </a:moveTo>
                  <a:cubicBezTo>
                    <a:pt x="4787" y="6860"/>
                    <a:pt x="4725" y="6958"/>
                    <a:pt x="4725" y="7079"/>
                  </a:cubicBezTo>
                  <a:cubicBezTo>
                    <a:pt x="4725" y="7199"/>
                    <a:pt x="4787" y="7295"/>
                    <a:pt x="4864" y="7295"/>
                  </a:cubicBezTo>
                  <a:cubicBezTo>
                    <a:pt x="4940" y="7295"/>
                    <a:pt x="5001" y="7199"/>
                    <a:pt x="5001" y="7079"/>
                  </a:cubicBezTo>
                  <a:cubicBezTo>
                    <a:pt x="5001" y="6958"/>
                    <a:pt x="4940" y="6860"/>
                    <a:pt x="4864" y="6860"/>
                  </a:cubicBezTo>
                  <a:close/>
                  <a:moveTo>
                    <a:pt x="5274" y="6860"/>
                  </a:moveTo>
                  <a:cubicBezTo>
                    <a:pt x="5198" y="6860"/>
                    <a:pt x="5136" y="6958"/>
                    <a:pt x="5136" y="7079"/>
                  </a:cubicBezTo>
                  <a:cubicBezTo>
                    <a:pt x="5136" y="7199"/>
                    <a:pt x="5198" y="7295"/>
                    <a:pt x="5274" y="7295"/>
                  </a:cubicBezTo>
                  <a:cubicBezTo>
                    <a:pt x="5351" y="7295"/>
                    <a:pt x="5412" y="7199"/>
                    <a:pt x="5412" y="7079"/>
                  </a:cubicBezTo>
                  <a:cubicBezTo>
                    <a:pt x="5412" y="6958"/>
                    <a:pt x="5351" y="6860"/>
                    <a:pt x="5274" y="6860"/>
                  </a:cubicBezTo>
                  <a:close/>
                  <a:moveTo>
                    <a:pt x="5685" y="6860"/>
                  </a:moveTo>
                  <a:cubicBezTo>
                    <a:pt x="5609" y="6860"/>
                    <a:pt x="5547" y="6958"/>
                    <a:pt x="5547" y="7079"/>
                  </a:cubicBezTo>
                  <a:cubicBezTo>
                    <a:pt x="5547" y="7199"/>
                    <a:pt x="5609" y="7295"/>
                    <a:pt x="5685" y="7295"/>
                  </a:cubicBezTo>
                  <a:cubicBezTo>
                    <a:pt x="5762" y="7295"/>
                    <a:pt x="5823" y="7199"/>
                    <a:pt x="5823" y="7079"/>
                  </a:cubicBezTo>
                  <a:cubicBezTo>
                    <a:pt x="5823" y="6958"/>
                    <a:pt x="5762" y="6860"/>
                    <a:pt x="5685" y="6860"/>
                  </a:cubicBezTo>
                  <a:close/>
                  <a:moveTo>
                    <a:pt x="6055" y="6860"/>
                  </a:moveTo>
                  <a:cubicBezTo>
                    <a:pt x="5979" y="6860"/>
                    <a:pt x="5916" y="6958"/>
                    <a:pt x="5916" y="7079"/>
                  </a:cubicBezTo>
                  <a:cubicBezTo>
                    <a:pt x="5916" y="7199"/>
                    <a:pt x="5979" y="7295"/>
                    <a:pt x="6055" y="7295"/>
                  </a:cubicBezTo>
                  <a:cubicBezTo>
                    <a:pt x="6131" y="7295"/>
                    <a:pt x="6193" y="7199"/>
                    <a:pt x="6193" y="7079"/>
                  </a:cubicBezTo>
                  <a:cubicBezTo>
                    <a:pt x="6193" y="6958"/>
                    <a:pt x="6131" y="6860"/>
                    <a:pt x="6055" y="6860"/>
                  </a:cubicBezTo>
                  <a:close/>
                  <a:moveTo>
                    <a:pt x="6466" y="6860"/>
                  </a:moveTo>
                  <a:cubicBezTo>
                    <a:pt x="6390" y="6860"/>
                    <a:pt x="6327" y="6958"/>
                    <a:pt x="6327" y="7079"/>
                  </a:cubicBezTo>
                  <a:cubicBezTo>
                    <a:pt x="6327" y="7199"/>
                    <a:pt x="6390" y="7295"/>
                    <a:pt x="6466" y="7295"/>
                  </a:cubicBezTo>
                  <a:cubicBezTo>
                    <a:pt x="6542" y="7295"/>
                    <a:pt x="6603" y="7199"/>
                    <a:pt x="6603" y="7079"/>
                  </a:cubicBezTo>
                  <a:cubicBezTo>
                    <a:pt x="6603" y="6958"/>
                    <a:pt x="6542" y="6860"/>
                    <a:pt x="6466" y="6860"/>
                  </a:cubicBezTo>
                  <a:close/>
                  <a:moveTo>
                    <a:pt x="6877" y="6860"/>
                  </a:moveTo>
                  <a:cubicBezTo>
                    <a:pt x="6801" y="6860"/>
                    <a:pt x="6738" y="6958"/>
                    <a:pt x="6738" y="7079"/>
                  </a:cubicBezTo>
                  <a:cubicBezTo>
                    <a:pt x="6738" y="7199"/>
                    <a:pt x="6801" y="7295"/>
                    <a:pt x="6877" y="7295"/>
                  </a:cubicBezTo>
                  <a:cubicBezTo>
                    <a:pt x="6953" y="7295"/>
                    <a:pt x="7014" y="7199"/>
                    <a:pt x="7014" y="7079"/>
                  </a:cubicBezTo>
                  <a:cubicBezTo>
                    <a:pt x="7014" y="6958"/>
                    <a:pt x="6953" y="6860"/>
                    <a:pt x="6877" y="6860"/>
                  </a:cubicBezTo>
                  <a:close/>
                  <a:moveTo>
                    <a:pt x="7247" y="6860"/>
                  </a:moveTo>
                  <a:cubicBezTo>
                    <a:pt x="7170" y="6860"/>
                    <a:pt x="7108" y="6958"/>
                    <a:pt x="7108" y="7079"/>
                  </a:cubicBezTo>
                  <a:cubicBezTo>
                    <a:pt x="7108" y="7199"/>
                    <a:pt x="7170" y="7295"/>
                    <a:pt x="7247" y="7295"/>
                  </a:cubicBezTo>
                  <a:cubicBezTo>
                    <a:pt x="7323" y="7295"/>
                    <a:pt x="7384" y="7199"/>
                    <a:pt x="7384" y="7079"/>
                  </a:cubicBezTo>
                  <a:cubicBezTo>
                    <a:pt x="7384" y="6958"/>
                    <a:pt x="7323" y="6860"/>
                    <a:pt x="7247" y="6860"/>
                  </a:cubicBezTo>
                  <a:close/>
                  <a:moveTo>
                    <a:pt x="7658" y="6860"/>
                  </a:moveTo>
                  <a:cubicBezTo>
                    <a:pt x="7581" y="6860"/>
                    <a:pt x="7519" y="6958"/>
                    <a:pt x="7519" y="7079"/>
                  </a:cubicBezTo>
                  <a:cubicBezTo>
                    <a:pt x="7519" y="7199"/>
                    <a:pt x="7581" y="7295"/>
                    <a:pt x="7658" y="7295"/>
                  </a:cubicBezTo>
                  <a:cubicBezTo>
                    <a:pt x="7734" y="7295"/>
                    <a:pt x="7795" y="7199"/>
                    <a:pt x="7795" y="7079"/>
                  </a:cubicBezTo>
                  <a:cubicBezTo>
                    <a:pt x="7795" y="6958"/>
                    <a:pt x="7734" y="6860"/>
                    <a:pt x="7658" y="6860"/>
                  </a:cubicBezTo>
                  <a:close/>
                  <a:moveTo>
                    <a:pt x="8027" y="6860"/>
                  </a:moveTo>
                  <a:cubicBezTo>
                    <a:pt x="7951" y="6860"/>
                    <a:pt x="7889" y="6958"/>
                    <a:pt x="7889" y="7079"/>
                  </a:cubicBezTo>
                  <a:cubicBezTo>
                    <a:pt x="7889" y="7199"/>
                    <a:pt x="7951" y="7295"/>
                    <a:pt x="8027" y="7295"/>
                  </a:cubicBezTo>
                  <a:cubicBezTo>
                    <a:pt x="8103" y="7295"/>
                    <a:pt x="8165" y="7199"/>
                    <a:pt x="8165" y="7079"/>
                  </a:cubicBezTo>
                  <a:cubicBezTo>
                    <a:pt x="8165" y="6958"/>
                    <a:pt x="8103" y="6860"/>
                    <a:pt x="8027" y="6860"/>
                  </a:cubicBezTo>
                  <a:close/>
                  <a:moveTo>
                    <a:pt x="8438" y="6860"/>
                  </a:moveTo>
                  <a:cubicBezTo>
                    <a:pt x="8362" y="6860"/>
                    <a:pt x="8299" y="6958"/>
                    <a:pt x="8299" y="7079"/>
                  </a:cubicBezTo>
                  <a:cubicBezTo>
                    <a:pt x="8299" y="7199"/>
                    <a:pt x="8362" y="7295"/>
                    <a:pt x="8438" y="7295"/>
                  </a:cubicBezTo>
                  <a:cubicBezTo>
                    <a:pt x="8515" y="7295"/>
                    <a:pt x="8576" y="7199"/>
                    <a:pt x="8576" y="7079"/>
                  </a:cubicBezTo>
                  <a:cubicBezTo>
                    <a:pt x="8576" y="6958"/>
                    <a:pt x="8515" y="6860"/>
                    <a:pt x="8438" y="6860"/>
                  </a:cubicBezTo>
                  <a:close/>
                  <a:moveTo>
                    <a:pt x="8849" y="6860"/>
                  </a:moveTo>
                  <a:cubicBezTo>
                    <a:pt x="8773" y="6860"/>
                    <a:pt x="8710" y="6958"/>
                    <a:pt x="8710" y="7079"/>
                  </a:cubicBezTo>
                  <a:cubicBezTo>
                    <a:pt x="8710" y="7199"/>
                    <a:pt x="8773" y="7295"/>
                    <a:pt x="8849" y="7295"/>
                  </a:cubicBezTo>
                  <a:cubicBezTo>
                    <a:pt x="8925" y="7295"/>
                    <a:pt x="8986" y="7199"/>
                    <a:pt x="8986" y="7079"/>
                  </a:cubicBezTo>
                  <a:cubicBezTo>
                    <a:pt x="8986" y="6958"/>
                    <a:pt x="8925" y="6860"/>
                    <a:pt x="8849" y="6860"/>
                  </a:cubicBezTo>
                  <a:close/>
                  <a:moveTo>
                    <a:pt x="9219" y="6860"/>
                  </a:moveTo>
                  <a:cubicBezTo>
                    <a:pt x="9142" y="6860"/>
                    <a:pt x="9080" y="6958"/>
                    <a:pt x="9080" y="7079"/>
                  </a:cubicBezTo>
                  <a:cubicBezTo>
                    <a:pt x="9080" y="7199"/>
                    <a:pt x="9142" y="7295"/>
                    <a:pt x="9219" y="7295"/>
                  </a:cubicBezTo>
                  <a:cubicBezTo>
                    <a:pt x="9295" y="7295"/>
                    <a:pt x="9356" y="7199"/>
                    <a:pt x="9356" y="7079"/>
                  </a:cubicBezTo>
                  <a:cubicBezTo>
                    <a:pt x="9356" y="6958"/>
                    <a:pt x="9295" y="6860"/>
                    <a:pt x="9219" y="6860"/>
                  </a:cubicBezTo>
                  <a:close/>
                  <a:moveTo>
                    <a:pt x="9589" y="6860"/>
                  </a:moveTo>
                  <a:cubicBezTo>
                    <a:pt x="9512" y="6860"/>
                    <a:pt x="9450" y="6958"/>
                    <a:pt x="9450" y="7079"/>
                  </a:cubicBezTo>
                  <a:cubicBezTo>
                    <a:pt x="9450" y="7199"/>
                    <a:pt x="9512" y="7295"/>
                    <a:pt x="9589" y="7295"/>
                  </a:cubicBezTo>
                  <a:cubicBezTo>
                    <a:pt x="9665" y="7295"/>
                    <a:pt x="9726" y="7199"/>
                    <a:pt x="9726" y="7079"/>
                  </a:cubicBezTo>
                  <a:cubicBezTo>
                    <a:pt x="9726" y="6958"/>
                    <a:pt x="9665" y="6860"/>
                    <a:pt x="9589" y="6860"/>
                  </a:cubicBezTo>
                  <a:close/>
                  <a:moveTo>
                    <a:pt x="9999" y="6860"/>
                  </a:moveTo>
                  <a:cubicBezTo>
                    <a:pt x="9923" y="6860"/>
                    <a:pt x="9861" y="6958"/>
                    <a:pt x="9861" y="7079"/>
                  </a:cubicBezTo>
                  <a:cubicBezTo>
                    <a:pt x="9861" y="7199"/>
                    <a:pt x="9923" y="7295"/>
                    <a:pt x="9999" y="7295"/>
                  </a:cubicBezTo>
                  <a:cubicBezTo>
                    <a:pt x="10076" y="7295"/>
                    <a:pt x="10137" y="7199"/>
                    <a:pt x="10137" y="7079"/>
                  </a:cubicBezTo>
                  <a:cubicBezTo>
                    <a:pt x="10137" y="6958"/>
                    <a:pt x="10076" y="6860"/>
                    <a:pt x="9999" y="6860"/>
                  </a:cubicBezTo>
                  <a:close/>
                  <a:moveTo>
                    <a:pt x="12382" y="6860"/>
                  </a:moveTo>
                  <a:cubicBezTo>
                    <a:pt x="12306" y="6860"/>
                    <a:pt x="12244" y="6958"/>
                    <a:pt x="12244" y="7079"/>
                  </a:cubicBezTo>
                  <a:cubicBezTo>
                    <a:pt x="12244" y="7199"/>
                    <a:pt x="12306" y="7295"/>
                    <a:pt x="12382" y="7295"/>
                  </a:cubicBezTo>
                  <a:cubicBezTo>
                    <a:pt x="12459" y="7295"/>
                    <a:pt x="12520" y="7199"/>
                    <a:pt x="12520" y="7079"/>
                  </a:cubicBezTo>
                  <a:cubicBezTo>
                    <a:pt x="12520" y="6958"/>
                    <a:pt x="12459" y="6860"/>
                    <a:pt x="12382" y="6860"/>
                  </a:cubicBezTo>
                  <a:close/>
                  <a:moveTo>
                    <a:pt x="12752" y="6860"/>
                  </a:moveTo>
                  <a:cubicBezTo>
                    <a:pt x="12676" y="6860"/>
                    <a:pt x="12614" y="6958"/>
                    <a:pt x="12614" y="7079"/>
                  </a:cubicBezTo>
                  <a:cubicBezTo>
                    <a:pt x="12614" y="7199"/>
                    <a:pt x="12676" y="7295"/>
                    <a:pt x="12752" y="7295"/>
                  </a:cubicBezTo>
                  <a:cubicBezTo>
                    <a:pt x="12828" y="7295"/>
                    <a:pt x="12890" y="7199"/>
                    <a:pt x="12890" y="7079"/>
                  </a:cubicBezTo>
                  <a:cubicBezTo>
                    <a:pt x="12890" y="6959"/>
                    <a:pt x="12828" y="6860"/>
                    <a:pt x="12752" y="6860"/>
                  </a:cubicBezTo>
                  <a:close/>
                  <a:moveTo>
                    <a:pt x="13163" y="6860"/>
                  </a:moveTo>
                  <a:cubicBezTo>
                    <a:pt x="13087" y="6860"/>
                    <a:pt x="13024" y="6958"/>
                    <a:pt x="13024" y="7079"/>
                  </a:cubicBezTo>
                  <a:cubicBezTo>
                    <a:pt x="13024" y="7199"/>
                    <a:pt x="13087" y="7295"/>
                    <a:pt x="13163" y="7295"/>
                  </a:cubicBezTo>
                  <a:cubicBezTo>
                    <a:pt x="13239" y="7295"/>
                    <a:pt x="13301" y="7199"/>
                    <a:pt x="13301" y="7079"/>
                  </a:cubicBezTo>
                  <a:cubicBezTo>
                    <a:pt x="13301" y="6959"/>
                    <a:pt x="13239" y="6860"/>
                    <a:pt x="13163" y="6860"/>
                  </a:cubicBezTo>
                  <a:close/>
                  <a:moveTo>
                    <a:pt x="13533" y="6860"/>
                  </a:moveTo>
                  <a:cubicBezTo>
                    <a:pt x="13457" y="6860"/>
                    <a:pt x="13394" y="6958"/>
                    <a:pt x="13394" y="7079"/>
                  </a:cubicBezTo>
                  <a:cubicBezTo>
                    <a:pt x="13394" y="7199"/>
                    <a:pt x="13457" y="7295"/>
                    <a:pt x="13533" y="7295"/>
                  </a:cubicBezTo>
                  <a:cubicBezTo>
                    <a:pt x="13609" y="7295"/>
                    <a:pt x="13670" y="7199"/>
                    <a:pt x="13670" y="7079"/>
                  </a:cubicBezTo>
                  <a:cubicBezTo>
                    <a:pt x="13670" y="6959"/>
                    <a:pt x="13609" y="6860"/>
                    <a:pt x="13533" y="6860"/>
                  </a:cubicBezTo>
                  <a:close/>
                  <a:moveTo>
                    <a:pt x="13944" y="6860"/>
                  </a:moveTo>
                  <a:cubicBezTo>
                    <a:pt x="13868" y="6860"/>
                    <a:pt x="13805" y="6958"/>
                    <a:pt x="13805" y="7079"/>
                  </a:cubicBezTo>
                  <a:cubicBezTo>
                    <a:pt x="13805" y="7199"/>
                    <a:pt x="13868" y="7295"/>
                    <a:pt x="13944" y="7295"/>
                  </a:cubicBezTo>
                  <a:cubicBezTo>
                    <a:pt x="14020" y="7295"/>
                    <a:pt x="14081" y="7199"/>
                    <a:pt x="14081" y="7079"/>
                  </a:cubicBezTo>
                  <a:cubicBezTo>
                    <a:pt x="14081" y="6959"/>
                    <a:pt x="14020" y="6860"/>
                    <a:pt x="13944" y="6860"/>
                  </a:cubicBezTo>
                  <a:close/>
                  <a:moveTo>
                    <a:pt x="3713" y="7443"/>
                  </a:moveTo>
                  <a:cubicBezTo>
                    <a:pt x="3637" y="7443"/>
                    <a:pt x="3575" y="7541"/>
                    <a:pt x="3575" y="7661"/>
                  </a:cubicBezTo>
                  <a:cubicBezTo>
                    <a:pt x="3575" y="7781"/>
                    <a:pt x="3637" y="7878"/>
                    <a:pt x="3713" y="7878"/>
                  </a:cubicBezTo>
                  <a:cubicBezTo>
                    <a:pt x="3790" y="7878"/>
                    <a:pt x="3851" y="7781"/>
                    <a:pt x="3851" y="7661"/>
                  </a:cubicBezTo>
                  <a:cubicBezTo>
                    <a:pt x="3851" y="7541"/>
                    <a:pt x="3790" y="7443"/>
                    <a:pt x="3713" y="7443"/>
                  </a:cubicBezTo>
                  <a:close/>
                  <a:moveTo>
                    <a:pt x="4083" y="7443"/>
                  </a:moveTo>
                  <a:cubicBezTo>
                    <a:pt x="4007" y="7443"/>
                    <a:pt x="3944" y="7541"/>
                    <a:pt x="3944" y="7661"/>
                  </a:cubicBezTo>
                  <a:cubicBezTo>
                    <a:pt x="3944" y="7781"/>
                    <a:pt x="4007" y="7878"/>
                    <a:pt x="4083" y="7878"/>
                  </a:cubicBezTo>
                  <a:cubicBezTo>
                    <a:pt x="4159" y="7878"/>
                    <a:pt x="4220" y="7781"/>
                    <a:pt x="4220" y="7661"/>
                  </a:cubicBezTo>
                  <a:cubicBezTo>
                    <a:pt x="4220" y="7541"/>
                    <a:pt x="4159" y="7443"/>
                    <a:pt x="4083" y="7443"/>
                  </a:cubicBezTo>
                  <a:close/>
                  <a:moveTo>
                    <a:pt x="4494" y="7443"/>
                  </a:moveTo>
                  <a:cubicBezTo>
                    <a:pt x="4418" y="7443"/>
                    <a:pt x="4355" y="7541"/>
                    <a:pt x="4355" y="7661"/>
                  </a:cubicBezTo>
                  <a:cubicBezTo>
                    <a:pt x="4355" y="7781"/>
                    <a:pt x="4418" y="7878"/>
                    <a:pt x="4494" y="7878"/>
                  </a:cubicBezTo>
                  <a:cubicBezTo>
                    <a:pt x="4570" y="7878"/>
                    <a:pt x="4631" y="7781"/>
                    <a:pt x="4631" y="7661"/>
                  </a:cubicBezTo>
                  <a:cubicBezTo>
                    <a:pt x="4631" y="7541"/>
                    <a:pt x="4570" y="7443"/>
                    <a:pt x="4494" y="7443"/>
                  </a:cubicBezTo>
                  <a:close/>
                  <a:moveTo>
                    <a:pt x="4864" y="7443"/>
                  </a:moveTo>
                  <a:cubicBezTo>
                    <a:pt x="4787" y="7443"/>
                    <a:pt x="4725" y="7541"/>
                    <a:pt x="4725" y="7661"/>
                  </a:cubicBezTo>
                  <a:cubicBezTo>
                    <a:pt x="4725" y="7781"/>
                    <a:pt x="4787" y="7878"/>
                    <a:pt x="4864" y="7878"/>
                  </a:cubicBezTo>
                  <a:cubicBezTo>
                    <a:pt x="4940" y="7878"/>
                    <a:pt x="5001" y="7781"/>
                    <a:pt x="5001" y="7661"/>
                  </a:cubicBezTo>
                  <a:cubicBezTo>
                    <a:pt x="5001" y="7541"/>
                    <a:pt x="4940" y="7443"/>
                    <a:pt x="4864" y="7443"/>
                  </a:cubicBezTo>
                  <a:close/>
                  <a:moveTo>
                    <a:pt x="5274" y="7443"/>
                  </a:moveTo>
                  <a:cubicBezTo>
                    <a:pt x="5198" y="7443"/>
                    <a:pt x="5136" y="7541"/>
                    <a:pt x="5136" y="7661"/>
                  </a:cubicBezTo>
                  <a:cubicBezTo>
                    <a:pt x="5136" y="7781"/>
                    <a:pt x="5198" y="7878"/>
                    <a:pt x="5274" y="7878"/>
                  </a:cubicBezTo>
                  <a:cubicBezTo>
                    <a:pt x="5351" y="7878"/>
                    <a:pt x="5412" y="7781"/>
                    <a:pt x="5412" y="7661"/>
                  </a:cubicBezTo>
                  <a:cubicBezTo>
                    <a:pt x="5412" y="7541"/>
                    <a:pt x="5351" y="7443"/>
                    <a:pt x="5274" y="7443"/>
                  </a:cubicBezTo>
                  <a:close/>
                  <a:moveTo>
                    <a:pt x="5685" y="7443"/>
                  </a:moveTo>
                  <a:cubicBezTo>
                    <a:pt x="5609" y="7443"/>
                    <a:pt x="5547" y="7541"/>
                    <a:pt x="5547" y="7661"/>
                  </a:cubicBezTo>
                  <a:cubicBezTo>
                    <a:pt x="5547" y="7781"/>
                    <a:pt x="5609" y="7878"/>
                    <a:pt x="5685" y="7878"/>
                  </a:cubicBezTo>
                  <a:cubicBezTo>
                    <a:pt x="5762" y="7878"/>
                    <a:pt x="5823" y="7781"/>
                    <a:pt x="5823" y="7661"/>
                  </a:cubicBezTo>
                  <a:cubicBezTo>
                    <a:pt x="5823" y="7541"/>
                    <a:pt x="5762" y="7443"/>
                    <a:pt x="5685" y="7443"/>
                  </a:cubicBezTo>
                  <a:close/>
                  <a:moveTo>
                    <a:pt x="6055" y="7443"/>
                  </a:moveTo>
                  <a:cubicBezTo>
                    <a:pt x="5979" y="7443"/>
                    <a:pt x="5916" y="7541"/>
                    <a:pt x="5916" y="7661"/>
                  </a:cubicBezTo>
                  <a:cubicBezTo>
                    <a:pt x="5916" y="7781"/>
                    <a:pt x="5979" y="7878"/>
                    <a:pt x="6055" y="7878"/>
                  </a:cubicBezTo>
                  <a:cubicBezTo>
                    <a:pt x="6131" y="7878"/>
                    <a:pt x="6193" y="7781"/>
                    <a:pt x="6193" y="7661"/>
                  </a:cubicBezTo>
                  <a:cubicBezTo>
                    <a:pt x="6193" y="7541"/>
                    <a:pt x="6131" y="7443"/>
                    <a:pt x="6055" y="7443"/>
                  </a:cubicBezTo>
                  <a:close/>
                  <a:moveTo>
                    <a:pt x="6466" y="7443"/>
                  </a:moveTo>
                  <a:cubicBezTo>
                    <a:pt x="6390" y="7443"/>
                    <a:pt x="6327" y="7541"/>
                    <a:pt x="6327" y="7661"/>
                  </a:cubicBezTo>
                  <a:cubicBezTo>
                    <a:pt x="6327" y="7781"/>
                    <a:pt x="6390" y="7878"/>
                    <a:pt x="6466" y="7878"/>
                  </a:cubicBezTo>
                  <a:cubicBezTo>
                    <a:pt x="6542" y="7878"/>
                    <a:pt x="6603" y="7781"/>
                    <a:pt x="6603" y="7661"/>
                  </a:cubicBezTo>
                  <a:cubicBezTo>
                    <a:pt x="6603" y="7541"/>
                    <a:pt x="6542" y="7443"/>
                    <a:pt x="6466" y="7443"/>
                  </a:cubicBezTo>
                  <a:close/>
                  <a:moveTo>
                    <a:pt x="6877" y="7443"/>
                  </a:moveTo>
                  <a:cubicBezTo>
                    <a:pt x="6801" y="7443"/>
                    <a:pt x="6738" y="7541"/>
                    <a:pt x="6738" y="7661"/>
                  </a:cubicBezTo>
                  <a:cubicBezTo>
                    <a:pt x="6738" y="7781"/>
                    <a:pt x="6801" y="7878"/>
                    <a:pt x="6877" y="7878"/>
                  </a:cubicBezTo>
                  <a:cubicBezTo>
                    <a:pt x="6953" y="7878"/>
                    <a:pt x="7014" y="7781"/>
                    <a:pt x="7014" y="7661"/>
                  </a:cubicBezTo>
                  <a:cubicBezTo>
                    <a:pt x="7014" y="7541"/>
                    <a:pt x="6953" y="7443"/>
                    <a:pt x="6877" y="7443"/>
                  </a:cubicBezTo>
                  <a:close/>
                  <a:moveTo>
                    <a:pt x="7247" y="7443"/>
                  </a:moveTo>
                  <a:cubicBezTo>
                    <a:pt x="7170" y="7443"/>
                    <a:pt x="7108" y="7541"/>
                    <a:pt x="7108" y="7661"/>
                  </a:cubicBezTo>
                  <a:cubicBezTo>
                    <a:pt x="7108" y="7781"/>
                    <a:pt x="7170" y="7878"/>
                    <a:pt x="7247" y="7878"/>
                  </a:cubicBezTo>
                  <a:cubicBezTo>
                    <a:pt x="7323" y="7878"/>
                    <a:pt x="7384" y="7781"/>
                    <a:pt x="7384" y="7661"/>
                  </a:cubicBezTo>
                  <a:cubicBezTo>
                    <a:pt x="7384" y="7541"/>
                    <a:pt x="7323" y="7443"/>
                    <a:pt x="7247" y="7443"/>
                  </a:cubicBezTo>
                  <a:close/>
                  <a:moveTo>
                    <a:pt x="7658" y="7443"/>
                  </a:moveTo>
                  <a:cubicBezTo>
                    <a:pt x="7581" y="7443"/>
                    <a:pt x="7519" y="7541"/>
                    <a:pt x="7519" y="7661"/>
                  </a:cubicBezTo>
                  <a:cubicBezTo>
                    <a:pt x="7519" y="7781"/>
                    <a:pt x="7581" y="7878"/>
                    <a:pt x="7658" y="7878"/>
                  </a:cubicBezTo>
                  <a:cubicBezTo>
                    <a:pt x="7734" y="7878"/>
                    <a:pt x="7795" y="7781"/>
                    <a:pt x="7795" y="7661"/>
                  </a:cubicBezTo>
                  <a:cubicBezTo>
                    <a:pt x="7795" y="7541"/>
                    <a:pt x="7734" y="7443"/>
                    <a:pt x="7658" y="7443"/>
                  </a:cubicBezTo>
                  <a:close/>
                  <a:moveTo>
                    <a:pt x="8027" y="7443"/>
                  </a:moveTo>
                  <a:cubicBezTo>
                    <a:pt x="7951" y="7443"/>
                    <a:pt x="7889" y="7541"/>
                    <a:pt x="7889" y="7661"/>
                  </a:cubicBezTo>
                  <a:cubicBezTo>
                    <a:pt x="7889" y="7781"/>
                    <a:pt x="7951" y="7878"/>
                    <a:pt x="8027" y="7878"/>
                  </a:cubicBezTo>
                  <a:cubicBezTo>
                    <a:pt x="8103" y="7878"/>
                    <a:pt x="8165" y="7781"/>
                    <a:pt x="8165" y="7661"/>
                  </a:cubicBezTo>
                  <a:cubicBezTo>
                    <a:pt x="8165" y="7541"/>
                    <a:pt x="8103" y="7443"/>
                    <a:pt x="8027" y="7443"/>
                  </a:cubicBezTo>
                  <a:close/>
                  <a:moveTo>
                    <a:pt x="8438" y="7443"/>
                  </a:moveTo>
                  <a:cubicBezTo>
                    <a:pt x="8362" y="7443"/>
                    <a:pt x="8299" y="7541"/>
                    <a:pt x="8299" y="7661"/>
                  </a:cubicBezTo>
                  <a:cubicBezTo>
                    <a:pt x="8299" y="7781"/>
                    <a:pt x="8362" y="7878"/>
                    <a:pt x="8438" y="7878"/>
                  </a:cubicBezTo>
                  <a:cubicBezTo>
                    <a:pt x="8515" y="7878"/>
                    <a:pt x="8576" y="7781"/>
                    <a:pt x="8576" y="7661"/>
                  </a:cubicBezTo>
                  <a:cubicBezTo>
                    <a:pt x="8576" y="7541"/>
                    <a:pt x="8515" y="7443"/>
                    <a:pt x="8438" y="7443"/>
                  </a:cubicBezTo>
                  <a:close/>
                  <a:moveTo>
                    <a:pt x="8849" y="7443"/>
                  </a:moveTo>
                  <a:cubicBezTo>
                    <a:pt x="8773" y="7443"/>
                    <a:pt x="8710" y="7541"/>
                    <a:pt x="8710" y="7661"/>
                  </a:cubicBezTo>
                  <a:cubicBezTo>
                    <a:pt x="8710" y="7781"/>
                    <a:pt x="8773" y="7878"/>
                    <a:pt x="8849" y="7878"/>
                  </a:cubicBezTo>
                  <a:cubicBezTo>
                    <a:pt x="8925" y="7878"/>
                    <a:pt x="8986" y="7781"/>
                    <a:pt x="8986" y="7661"/>
                  </a:cubicBezTo>
                  <a:cubicBezTo>
                    <a:pt x="8986" y="7541"/>
                    <a:pt x="8925" y="7443"/>
                    <a:pt x="8849" y="7443"/>
                  </a:cubicBezTo>
                  <a:close/>
                  <a:moveTo>
                    <a:pt x="9219" y="7443"/>
                  </a:moveTo>
                  <a:cubicBezTo>
                    <a:pt x="9142" y="7443"/>
                    <a:pt x="9080" y="7541"/>
                    <a:pt x="9080" y="7661"/>
                  </a:cubicBezTo>
                  <a:cubicBezTo>
                    <a:pt x="9080" y="7781"/>
                    <a:pt x="9142" y="7878"/>
                    <a:pt x="9219" y="7878"/>
                  </a:cubicBezTo>
                  <a:cubicBezTo>
                    <a:pt x="9295" y="7878"/>
                    <a:pt x="9356" y="7781"/>
                    <a:pt x="9356" y="7661"/>
                  </a:cubicBezTo>
                  <a:cubicBezTo>
                    <a:pt x="9356" y="7541"/>
                    <a:pt x="9295" y="7443"/>
                    <a:pt x="9219" y="7443"/>
                  </a:cubicBezTo>
                  <a:close/>
                  <a:moveTo>
                    <a:pt x="9589" y="7443"/>
                  </a:moveTo>
                  <a:cubicBezTo>
                    <a:pt x="9512" y="7443"/>
                    <a:pt x="9450" y="7541"/>
                    <a:pt x="9450" y="7661"/>
                  </a:cubicBezTo>
                  <a:cubicBezTo>
                    <a:pt x="9450" y="7781"/>
                    <a:pt x="9512" y="7878"/>
                    <a:pt x="9589" y="7878"/>
                  </a:cubicBezTo>
                  <a:cubicBezTo>
                    <a:pt x="9665" y="7878"/>
                    <a:pt x="9726" y="7781"/>
                    <a:pt x="9726" y="7661"/>
                  </a:cubicBezTo>
                  <a:cubicBezTo>
                    <a:pt x="9726" y="7541"/>
                    <a:pt x="9665" y="7443"/>
                    <a:pt x="9589" y="7443"/>
                  </a:cubicBezTo>
                  <a:close/>
                  <a:moveTo>
                    <a:pt x="9999" y="7443"/>
                  </a:moveTo>
                  <a:cubicBezTo>
                    <a:pt x="9923" y="7443"/>
                    <a:pt x="9861" y="7541"/>
                    <a:pt x="9861" y="7661"/>
                  </a:cubicBezTo>
                  <a:cubicBezTo>
                    <a:pt x="9861" y="7781"/>
                    <a:pt x="9923" y="7878"/>
                    <a:pt x="9999" y="7878"/>
                  </a:cubicBezTo>
                  <a:cubicBezTo>
                    <a:pt x="10076" y="7878"/>
                    <a:pt x="10137" y="7781"/>
                    <a:pt x="10137" y="7661"/>
                  </a:cubicBezTo>
                  <a:cubicBezTo>
                    <a:pt x="10137" y="7541"/>
                    <a:pt x="10076" y="7443"/>
                    <a:pt x="9999" y="7443"/>
                  </a:cubicBezTo>
                  <a:close/>
                  <a:moveTo>
                    <a:pt x="10410" y="7443"/>
                  </a:moveTo>
                  <a:cubicBezTo>
                    <a:pt x="10334" y="7443"/>
                    <a:pt x="10272" y="7541"/>
                    <a:pt x="10272" y="7661"/>
                  </a:cubicBezTo>
                  <a:cubicBezTo>
                    <a:pt x="10272" y="7781"/>
                    <a:pt x="10334" y="7878"/>
                    <a:pt x="10410" y="7878"/>
                  </a:cubicBezTo>
                  <a:cubicBezTo>
                    <a:pt x="10487" y="7878"/>
                    <a:pt x="10548" y="7781"/>
                    <a:pt x="10548" y="7661"/>
                  </a:cubicBezTo>
                  <a:cubicBezTo>
                    <a:pt x="10548" y="7541"/>
                    <a:pt x="10487" y="7443"/>
                    <a:pt x="10410" y="7443"/>
                  </a:cubicBezTo>
                  <a:close/>
                  <a:moveTo>
                    <a:pt x="11561" y="7443"/>
                  </a:moveTo>
                  <a:cubicBezTo>
                    <a:pt x="11484" y="7443"/>
                    <a:pt x="11422" y="7541"/>
                    <a:pt x="11422" y="7661"/>
                  </a:cubicBezTo>
                  <a:cubicBezTo>
                    <a:pt x="11422" y="7781"/>
                    <a:pt x="11484" y="7878"/>
                    <a:pt x="11561" y="7878"/>
                  </a:cubicBezTo>
                  <a:cubicBezTo>
                    <a:pt x="11637" y="7878"/>
                    <a:pt x="11698" y="7781"/>
                    <a:pt x="11698" y="7661"/>
                  </a:cubicBezTo>
                  <a:cubicBezTo>
                    <a:pt x="11698" y="7541"/>
                    <a:pt x="11637" y="7443"/>
                    <a:pt x="11561" y="7443"/>
                  </a:cubicBezTo>
                  <a:close/>
                  <a:moveTo>
                    <a:pt x="11972" y="7443"/>
                  </a:moveTo>
                  <a:cubicBezTo>
                    <a:pt x="11895" y="7443"/>
                    <a:pt x="11833" y="7541"/>
                    <a:pt x="11833" y="7661"/>
                  </a:cubicBezTo>
                  <a:cubicBezTo>
                    <a:pt x="11833" y="7781"/>
                    <a:pt x="11895" y="7878"/>
                    <a:pt x="11972" y="7878"/>
                  </a:cubicBezTo>
                  <a:cubicBezTo>
                    <a:pt x="12048" y="7878"/>
                    <a:pt x="12109" y="7781"/>
                    <a:pt x="12109" y="7661"/>
                  </a:cubicBezTo>
                  <a:cubicBezTo>
                    <a:pt x="12109" y="7541"/>
                    <a:pt x="12048" y="7443"/>
                    <a:pt x="11972" y="7443"/>
                  </a:cubicBezTo>
                  <a:close/>
                  <a:moveTo>
                    <a:pt x="12382" y="7443"/>
                  </a:moveTo>
                  <a:cubicBezTo>
                    <a:pt x="12306" y="7443"/>
                    <a:pt x="12244" y="7541"/>
                    <a:pt x="12244" y="7661"/>
                  </a:cubicBezTo>
                  <a:cubicBezTo>
                    <a:pt x="12244" y="7781"/>
                    <a:pt x="12306" y="7878"/>
                    <a:pt x="12382" y="7878"/>
                  </a:cubicBezTo>
                  <a:cubicBezTo>
                    <a:pt x="12459" y="7878"/>
                    <a:pt x="12520" y="7781"/>
                    <a:pt x="12520" y="7661"/>
                  </a:cubicBezTo>
                  <a:cubicBezTo>
                    <a:pt x="12520" y="7541"/>
                    <a:pt x="12459" y="7443"/>
                    <a:pt x="12382" y="7443"/>
                  </a:cubicBezTo>
                  <a:close/>
                  <a:moveTo>
                    <a:pt x="12752" y="7443"/>
                  </a:moveTo>
                  <a:cubicBezTo>
                    <a:pt x="12676" y="7443"/>
                    <a:pt x="12614" y="7541"/>
                    <a:pt x="12614" y="7661"/>
                  </a:cubicBezTo>
                  <a:cubicBezTo>
                    <a:pt x="12614" y="7781"/>
                    <a:pt x="12676" y="7878"/>
                    <a:pt x="12752" y="7878"/>
                  </a:cubicBezTo>
                  <a:cubicBezTo>
                    <a:pt x="12828" y="7878"/>
                    <a:pt x="12890" y="7781"/>
                    <a:pt x="12890" y="7661"/>
                  </a:cubicBezTo>
                  <a:cubicBezTo>
                    <a:pt x="12890" y="7541"/>
                    <a:pt x="12828" y="7443"/>
                    <a:pt x="12752" y="7443"/>
                  </a:cubicBezTo>
                  <a:close/>
                  <a:moveTo>
                    <a:pt x="13163" y="7443"/>
                  </a:moveTo>
                  <a:cubicBezTo>
                    <a:pt x="13087" y="7443"/>
                    <a:pt x="13024" y="7541"/>
                    <a:pt x="13024" y="7661"/>
                  </a:cubicBezTo>
                  <a:cubicBezTo>
                    <a:pt x="13024" y="7781"/>
                    <a:pt x="13087" y="7878"/>
                    <a:pt x="13163" y="7878"/>
                  </a:cubicBezTo>
                  <a:cubicBezTo>
                    <a:pt x="13239" y="7878"/>
                    <a:pt x="13301" y="7781"/>
                    <a:pt x="13301" y="7661"/>
                  </a:cubicBezTo>
                  <a:cubicBezTo>
                    <a:pt x="13301" y="7541"/>
                    <a:pt x="13239" y="7443"/>
                    <a:pt x="13163" y="7443"/>
                  </a:cubicBezTo>
                  <a:close/>
                  <a:moveTo>
                    <a:pt x="13533" y="7443"/>
                  </a:moveTo>
                  <a:cubicBezTo>
                    <a:pt x="13457" y="7443"/>
                    <a:pt x="13394" y="7541"/>
                    <a:pt x="13394" y="7661"/>
                  </a:cubicBezTo>
                  <a:cubicBezTo>
                    <a:pt x="13394" y="7781"/>
                    <a:pt x="13457" y="7878"/>
                    <a:pt x="13533" y="7878"/>
                  </a:cubicBezTo>
                  <a:cubicBezTo>
                    <a:pt x="13609" y="7878"/>
                    <a:pt x="13670" y="7781"/>
                    <a:pt x="13670" y="7661"/>
                  </a:cubicBezTo>
                  <a:cubicBezTo>
                    <a:pt x="13670" y="7541"/>
                    <a:pt x="13609" y="7443"/>
                    <a:pt x="13533" y="7443"/>
                  </a:cubicBezTo>
                  <a:close/>
                  <a:moveTo>
                    <a:pt x="13944" y="7443"/>
                  </a:moveTo>
                  <a:cubicBezTo>
                    <a:pt x="13868" y="7443"/>
                    <a:pt x="13805" y="7541"/>
                    <a:pt x="13805" y="7661"/>
                  </a:cubicBezTo>
                  <a:cubicBezTo>
                    <a:pt x="13805" y="7781"/>
                    <a:pt x="13868" y="7878"/>
                    <a:pt x="13944" y="7878"/>
                  </a:cubicBezTo>
                  <a:cubicBezTo>
                    <a:pt x="14020" y="7878"/>
                    <a:pt x="14081" y="7781"/>
                    <a:pt x="14081" y="7661"/>
                  </a:cubicBezTo>
                  <a:cubicBezTo>
                    <a:pt x="14081" y="7541"/>
                    <a:pt x="14020" y="7443"/>
                    <a:pt x="13944" y="7443"/>
                  </a:cubicBezTo>
                  <a:close/>
                  <a:moveTo>
                    <a:pt x="14355" y="7443"/>
                  </a:moveTo>
                  <a:cubicBezTo>
                    <a:pt x="14278" y="7443"/>
                    <a:pt x="14216" y="7541"/>
                    <a:pt x="14216" y="7661"/>
                  </a:cubicBezTo>
                  <a:cubicBezTo>
                    <a:pt x="14216" y="7781"/>
                    <a:pt x="14278" y="7878"/>
                    <a:pt x="14355" y="7878"/>
                  </a:cubicBezTo>
                  <a:cubicBezTo>
                    <a:pt x="14431" y="7878"/>
                    <a:pt x="14492" y="7781"/>
                    <a:pt x="14492" y="7661"/>
                  </a:cubicBezTo>
                  <a:cubicBezTo>
                    <a:pt x="14492" y="7541"/>
                    <a:pt x="14431" y="7443"/>
                    <a:pt x="14355" y="7443"/>
                  </a:cubicBezTo>
                  <a:close/>
                  <a:moveTo>
                    <a:pt x="14765" y="7443"/>
                  </a:moveTo>
                  <a:cubicBezTo>
                    <a:pt x="14689" y="7443"/>
                    <a:pt x="14627" y="7541"/>
                    <a:pt x="14627" y="7661"/>
                  </a:cubicBezTo>
                  <a:cubicBezTo>
                    <a:pt x="14627" y="7781"/>
                    <a:pt x="14689" y="7878"/>
                    <a:pt x="14765" y="7878"/>
                  </a:cubicBezTo>
                  <a:cubicBezTo>
                    <a:pt x="14842" y="7878"/>
                    <a:pt x="14903" y="7781"/>
                    <a:pt x="14903" y="7661"/>
                  </a:cubicBezTo>
                  <a:cubicBezTo>
                    <a:pt x="14903" y="7541"/>
                    <a:pt x="14842" y="7443"/>
                    <a:pt x="14765" y="7443"/>
                  </a:cubicBezTo>
                  <a:close/>
                  <a:moveTo>
                    <a:pt x="3713" y="8090"/>
                  </a:moveTo>
                  <a:cubicBezTo>
                    <a:pt x="3637" y="8090"/>
                    <a:pt x="3575" y="8188"/>
                    <a:pt x="3575" y="8308"/>
                  </a:cubicBezTo>
                  <a:cubicBezTo>
                    <a:pt x="3575" y="8429"/>
                    <a:pt x="3637" y="8525"/>
                    <a:pt x="3713" y="8525"/>
                  </a:cubicBezTo>
                  <a:cubicBezTo>
                    <a:pt x="3790" y="8525"/>
                    <a:pt x="3851" y="8429"/>
                    <a:pt x="3851" y="8308"/>
                  </a:cubicBezTo>
                  <a:cubicBezTo>
                    <a:pt x="3851" y="8188"/>
                    <a:pt x="3790" y="8090"/>
                    <a:pt x="3713" y="8090"/>
                  </a:cubicBezTo>
                  <a:close/>
                  <a:moveTo>
                    <a:pt x="4083" y="8090"/>
                  </a:moveTo>
                  <a:cubicBezTo>
                    <a:pt x="4007" y="8090"/>
                    <a:pt x="3944" y="8188"/>
                    <a:pt x="3944" y="8308"/>
                  </a:cubicBezTo>
                  <a:cubicBezTo>
                    <a:pt x="3944" y="8429"/>
                    <a:pt x="4007" y="8525"/>
                    <a:pt x="4083" y="8525"/>
                  </a:cubicBezTo>
                  <a:cubicBezTo>
                    <a:pt x="4159" y="8525"/>
                    <a:pt x="4220" y="8429"/>
                    <a:pt x="4220" y="8308"/>
                  </a:cubicBezTo>
                  <a:cubicBezTo>
                    <a:pt x="4220" y="8188"/>
                    <a:pt x="4159" y="8090"/>
                    <a:pt x="4083" y="8090"/>
                  </a:cubicBezTo>
                  <a:close/>
                  <a:moveTo>
                    <a:pt x="4494" y="8090"/>
                  </a:moveTo>
                  <a:cubicBezTo>
                    <a:pt x="4418" y="8090"/>
                    <a:pt x="4355" y="8188"/>
                    <a:pt x="4355" y="8308"/>
                  </a:cubicBezTo>
                  <a:cubicBezTo>
                    <a:pt x="4355" y="8429"/>
                    <a:pt x="4418" y="8525"/>
                    <a:pt x="4494" y="8525"/>
                  </a:cubicBezTo>
                  <a:cubicBezTo>
                    <a:pt x="4570" y="8525"/>
                    <a:pt x="4631" y="8429"/>
                    <a:pt x="4631" y="8308"/>
                  </a:cubicBezTo>
                  <a:cubicBezTo>
                    <a:pt x="4631" y="8188"/>
                    <a:pt x="4570" y="8090"/>
                    <a:pt x="4494" y="8090"/>
                  </a:cubicBezTo>
                  <a:close/>
                  <a:moveTo>
                    <a:pt x="4864" y="8090"/>
                  </a:moveTo>
                  <a:cubicBezTo>
                    <a:pt x="4787" y="8090"/>
                    <a:pt x="4725" y="8188"/>
                    <a:pt x="4725" y="8308"/>
                  </a:cubicBezTo>
                  <a:cubicBezTo>
                    <a:pt x="4725" y="8429"/>
                    <a:pt x="4787" y="8525"/>
                    <a:pt x="4864" y="8525"/>
                  </a:cubicBezTo>
                  <a:cubicBezTo>
                    <a:pt x="4940" y="8525"/>
                    <a:pt x="5001" y="8429"/>
                    <a:pt x="5001" y="8308"/>
                  </a:cubicBezTo>
                  <a:cubicBezTo>
                    <a:pt x="5001" y="8188"/>
                    <a:pt x="4940" y="8090"/>
                    <a:pt x="4864" y="8090"/>
                  </a:cubicBezTo>
                  <a:close/>
                  <a:moveTo>
                    <a:pt x="5274" y="8090"/>
                  </a:moveTo>
                  <a:cubicBezTo>
                    <a:pt x="5198" y="8090"/>
                    <a:pt x="5136" y="8188"/>
                    <a:pt x="5136" y="8308"/>
                  </a:cubicBezTo>
                  <a:cubicBezTo>
                    <a:pt x="5136" y="8429"/>
                    <a:pt x="5198" y="8525"/>
                    <a:pt x="5274" y="8525"/>
                  </a:cubicBezTo>
                  <a:cubicBezTo>
                    <a:pt x="5351" y="8525"/>
                    <a:pt x="5412" y="8429"/>
                    <a:pt x="5412" y="8308"/>
                  </a:cubicBezTo>
                  <a:cubicBezTo>
                    <a:pt x="5412" y="8188"/>
                    <a:pt x="5351" y="8090"/>
                    <a:pt x="5274" y="8090"/>
                  </a:cubicBezTo>
                  <a:close/>
                  <a:moveTo>
                    <a:pt x="5685" y="8090"/>
                  </a:moveTo>
                  <a:cubicBezTo>
                    <a:pt x="5609" y="8090"/>
                    <a:pt x="5547" y="8188"/>
                    <a:pt x="5547" y="8308"/>
                  </a:cubicBezTo>
                  <a:cubicBezTo>
                    <a:pt x="5547" y="8429"/>
                    <a:pt x="5609" y="8525"/>
                    <a:pt x="5685" y="8525"/>
                  </a:cubicBezTo>
                  <a:cubicBezTo>
                    <a:pt x="5762" y="8525"/>
                    <a:pt x="5823" y="8429"/>
                    <a:pt x="5823" y="8308"/>
                  </a:cubicBezTo>
                  <a:cubicBezTo>
                    <a:pt x="5823" y="8188"/>
                    <a:pt x="5762" y="8090"/>
                    <a:pt x="5685" y="8090"/>
                  </a:cubicBezTo>
                  <a:close/>
                  <a:moveTo>
                    <a:pt x="6055" y="8090"/>
                  </a:moveTo>
                  <a:cubicBezTo>
                    <a:pt x="5979" y="8090"/>
                    <a:pt x="5916" y="8188"/>
                    <a:pt x="5916" y="8308"/>
                  </a:cubicBezTo>
                  <a:cubicBezTo>
                    <a:pt x="5916" y="8429"/>
                    <a:pt x="5979" y="8525"/>
                    <a:pt x="6055" y="8525"/>
                  </a:cubicBezTo>
                  <a:cubicBezTo>
                    <a:pt x="6131" y="8525"/>
                    <a:pt x="6193" y="8429"/>
                    <a:pt x="6193" y="8308"/>
                  </a:cubicBezTo>
                  <a:cubicBezTo>
                    <a:pt x="6193" y="8188"/>
                    <a:pt x="6131" y="8090"/>
                    <a:pt x="6055" y="8090"/>
                  </a:cubicBezTo>
                  <a:close/>
                  <a:moveTo>
                    <a:pt x="6466" y="8090"/>
                  </a:moveTo>
                  <a:cubicBezTo>
                    <a:pt x="6390" y="8090"/>
                    <a:pt x="6327" y="8188"/>
                    <a:pt x="6327" y="8308"/>
                  </a:cubicBezTo>
                  <a:cubicBezTo>
                    <a:pt x="6327" y="8429"/>
                    <a:pt x="6390" y="8525"/>
                    <a:pt x="6466" y="8525"/>
                  </a:cubicBezTo>
                  <a:cubicBezTo>
                    <a:pt x="6542" y="8525"/>
                    <a:pt x="6603" y="8429"/>
                    <a:pt x="6603" y="8308"/>
                  </a:cubicBezTo>
                  <a:cubicBezTo>
                    <a:pt x="6603" y="8188"/>
                    <a:pt x="6542" y="8090"/>
                    <a:pt x="6466" y="8090"/>
                  </a:cubicBezTo>
                  <a:close/>
                  <a:moveTo>
                    <a:pt x="6877" y="8090"/>
                  </a:moveTo>
                  <a:cubicBezTo>
                    <a:pt x="6801" y="8090"/>
                    <a:pt x="6738" y="8188"/>
                    <a:pt x="6738" y="8308"/>
                  </a:cubicBezTo>
                  <a:cubicBezTo>
                    <a:pt x="6738" y="8429"/>
                    <a:pt x="6801" y="8525"/>
                    <a:pt x="6877" y="8525"/>
                  </a:cubicBezTo>
                  <a:cubicBezTo>
                    <a:pt x="6953" y="8525"/>
                    <a:pt x="7014" y="8429"/>
                    <a:pt x="7014" y="8308"/>
                  </a:cubicBezTo>
                  <a:cubicBezTo>
                    <a:pt x="7014" y="8188"/>
                    <a:pt x="6953" y="8090"/>
                    <a:pt x="6877" y="8090"/>
                  </a:cubicBezTo>
                  <a:close/>
                  <a:moveTo>
                    <a:pt x="7247" y="8090"/>
                  </a:moveTo>
                  <a:cubicBezTo>
                    <a:pt x="7170" y="8090"/>
                    <a:pt x="7108" y="8188"/>
                    <a:pt x="7108" y="8308"/>
                  </a:cubicBezTo>
                  <a:cubicBezTo>
                    <a:pt x="7108" y="8429"/>
                    <a:pt x="7170" y="8525"/>
                    <a:pt x="7247" y="8525"/>
                  </a:cubicBezTo>
                  <a:cubicBezTo>
                    <a:pt x="7323" y="8525"/>
                    <a:pt x="7384" y="8429"/>
                    <a:pt x="7384" y="8308"/>
                  </a:cubicBezTo>
                  <a:cubicBezTo>
                    <a:pt x="7384" y="8188"/>
                    <a:pt x="7323" y="8090"/>
                    <a:pt x="7247" y="8090"/>
                  </a:cubicBezTo>
                  <a:close/>
                  <a:moveTo>
                    <a:pt x="7658" y="8090"/>
                  </a:moveTo>
                  <a:cubicBezTo>
                    <a:pt x="7581" y="8090"/>
                    <a:pt x="7519" y="8188"/>
                    <a:pt x="7519" y="8308"/>
                  </a:cubicBezTo>
                  <a:cubicBezTo>
                    <a:pt x="7519" y="8429"/>
                    <a:pt x="7581" y="8525"/>
                    <a:pt x="7658" y="8525"/>
                  </a:cubicBezTo>
                  <a:cubicBezTo>
                    <a:pt x="7734" y="8525"/>
                    <a:pt x="7795" y="8429"/>
                    <a:pt x="7795" y="8308"/>
                  </a:cubicBezTo>
                  <a:cubicBezTo>
                    <a:pt x="7795" y="8188"/>
                    <a:pt x="7734" y="8090"/>
                    <a:pt x="7658" y="8090"/>
                  </a:cubicBezTo>
                  <a:close/>
                  <a:moveTo>
                    <a:pt x="8027" y="8090"/>
                  </a:moveTo>
                  <a:cubicBezTo>
                    <a:pt x="7951" y="8090"/>
                    <a:pt x="7889" y="8188"/>
                    <a:pt x="7889" y="8308"/>
                  </a:cubicBezTo>
                  <a:cubicBezTo>
                    <a:pt x="7889" y="8429"/>
                    <a:pt x="7951" y="8525"/>
                    <a:pt x="8027" y="8525"/>
                  </a:cubicBezTo>
                  <a:cubicBezTo>
                    <a:pt x="8103" y="8525"/>
                    <a:pt x="8165" y="8429"/>
                    <a:pt x="8165" y="8308"/>
                  </a:cubicBezTo>
                  <a:cubicBezTo>
                    <a:pt x="8165" y="8188"/>
                    <a:pt x="8103" y="8090"/>
                    <a:pt x="8027" y="8090"/>
                  </a:cubicBezTo>
                  <a:close/>
                  <a:moveTo>
                    <a:pt x="8438" y="8090"/>
                  </a:moveTo>
                  <a:cubicBezTo>
                    <a:pt x="8362" y="8090"/>
                    <a:pt x="8299" y="8188"/>
                    <a:pt x="8299" y="8308"/>
                  </a:cubicBezTo>
                  <a:cubicBezTo>
                    <a:pt x="8299" y="8429"/>
                    <a:pt x="8362" y="8525"/>
                    <a:pt x="8438" y="8525"/>
                  </a:cubicBezTo>
                  <a:cubicBezTo>
                    <a:pt x="8515" y="8525"/>
                    <a:pt x="8576" y="8429"/>
                    <a:pt x="8576" y="8308"/>
                  </a:cubicBezTo>
                  <a:cubicBezTo>
                    <a:pt x="8576" y="8188"/>
                    <a:pt x="8515" y="8090"/>
                    <a:pt x="8438" y="8090"/>
                  </a:cubicBezTo>
                  <a:close/>
                  <a:moveTo>
                    <a:pt x="8849" y="8090"/>
                  </a:moveTo>
                  <a:cubicBezTo>
                    <a:pt x="8773" y="8090"/>
                    <a:pt x="8710" y="8188"/>
                    <a:pt x="8710" y="8308"/>
                  </a:cubicBezTo>
                  <a:cubicBezTo>
                    <a:pt x="8710" y="8429"/>
                    <a:pt x="8773" y="8525"/>
                    <a:pt x="8849" y="8525"/>
                  </a:cubicBezTo>
                  <a:cubicBezTo>
                    <a:pt x="8925" y="8525"/>
                    <a:pt x="8986" y="8429"/>
                    <a:pt x="8986" y="8308"/>
                  </a:cubicBezTo>
                  <a:cubicBezTo>
                    <a:pt x="8986" y="8188"/>
                    <a:pt x="8925" y="8090"/>
                    <a:pt x="8849" y="8090"/>
                  </a:cubicBezTo>
                  <a:close/>
                  <a:moveTo>
                    <a:pt x="9219" y="8090"/>
                  </a:moveTo>
                  <a:cubicBezTo>
                    <a:pt x="9142" y="8090"/>
                    <a:pt x="9080" y="8188"/>
                    <a:pt x="9080" y="8308"/>
                  </a:cubicBezTo>
                  <a:cubicBezTo>
                    <a:pt x="9080" y="8429"/>
                    <a:pt x="9142" y="8525"/>
                    <a:pt x="9219" y="8525"/>
                  </a:cubicBezTo>
                  <a:cubicBezTo>
                    <a:pt x="9295" y="8525"/>
                    <a:pt x="9356" y="8429"/>
                    <a:pt x="9356" y="8308"/>
                  </a:cubicBezTo>
                  <a:cubicBezTo>
                    <a:pt x="9356" y="8188"/>
                    <a:pt x="9295" y="8090"/>
                    <a:pt x="9219" y="8090"/>
                  </a:cubicBezTo>
                  <a:close/>
                  <a:moveTo>
                    <a:pt x="9589" y="8090"/>
                  </a:moveTo>
                  <a:cubicBezTo>
                    <a:pt x="9512" y="8090"/>
                    <a:pt x="9450" y="8188"/>
                    <a:pt x="9450" y="8308"/>
                  </a:cubicBezTo>
                  <a:cubicBezTo>
                    <a:pt x="9450" y="8429"/>
                    <a:pt x="9512" y="8525"/>
                    <a:pt x="9589" y="8525"/>
                  </a:cubicBezTo>
                  <a:cubicBezTo>
                    <a:pt x="9665" y="8525"/>
                    <a:pt x="9726" y="8429"/>
                    <a:pt x="9726" y="8308"/>
                  </a:cubicBezTo>
                  <a:cubicBezTo>
                    <a:pt x="9726" y="8188"/>
                    <a:pt x="9665" y="8090"/>
                    <a:pt x="9589" y="8090"/>
                  </a:cubicBezTo>
                  <a:close/>
                  <a:moveTo>
                    <a:pt x="9999" y="8090"/>
                  </a:moveTo>
                  <a:cubicBezTo>
                    <a:pt x="9923" y="8090"/>
                    <a:pt x="9861" y="8188"/>
                    <a:pt x="9861" y="8308"/>
                  </a:cubicBezTo>
                  <a:cubicBezTo>
                    <a:pt x="9861" y="8429"/>
                    <a:pt x="9923" y="8525"/>
                    <a:pt x="9999" y="8525"/>
                  </a:cubicBezTo>
                  <a:cubicBezTo>
                    <a:pt x="10076" y="8525"/>
                    <a:pt x="10137" y="8429"/>
                    <a:pt x="10137" y="8308"/>
                  </a:cubicBezTo>
                  <a:cubicBezTo>
                    <a:pt x="10137" y="8188"/>
                    <a:pt x="10076" y="8090"/>
                    <a:pt x="9999" y="8090"/>
                  </a:cubicBezTo>
                  <a:close/>
                  <a:moveTo>
                    <a:pt x="10410" y="8090"/>
                  </a:moveTo>
                  <a:cubicBezTo>
                    <a:pt x="10334" y="8090"/>
                    <a:pt x="10272" y="8188"/>
                    <a:pt x="10272" y="8308"/>
                  </a:cubicBezTo>
                  <a:cubicBezTo>
                    <a:pt x="10272" y="8429"/>
                    <a:pt x="10334" y="8525"/>
                    <a:pt x="10410" y="8525"/>
                  </a:cubicBezTo>
                  <a:cubicBezTo>
                    <a:pt x="10487" y="8525"/>
                    <a:pt x="10548" y="8429"/>
                    <a:pt x="10548" y="8308"/>
                  </a:cubicBezTo>
                  <a:cubicBezTo>
                    <a:pt x="10548" y="8188"/>
                    <a:pt x="10487" y="8090"/>
                    <a:pt x="10410" y="8090"/>
                  </a:cubicBezTo>
                  <a:close/>
                  <a:moveTo>
                    <a:pt x="11561" y="8090"/>
                  </a:moveTo>
                  <a:cubicBezTo>
                    <a:pt x="11484" y="8090"/>
                    <a:pt x="11422" y="8188"/>
                    <a:pt x="11422" y="8308"/>
                  </a:cubicBezTo>
                  <a:cubicBezTo>
                    <a:pt x="11422" y="8429"/>
                    <a:pt x="11484" y="8525"/>
                    <a:pt x="11561" y="8525"/>
                  </a:cubicBezTo>
                  <a:cubicBezTo>
                    <a:pt x="11637" y="8525"/>
                    <a:pt x="11698" y="8429"/>
                    <a:pt x="11698" y="8308"/>
                  </a:cubicBezTo>
                  <a:cubicBezTo>
                    <a:pt x="11698" y="8188"/>
                    <a:pt x="11637" y="8090"/>
                    <a:pt x="11561" y="8090"/>
                  </a:cubicBezTo>
                  <a:close/>
                  <a:moveTo>
                    <a:pt x="11972" y="8090"/>
                  </a:moveTo>
                  <a:cubicBezTo>
                    <a:pt x="11895" y="8090"/>
                    <a:pt x="11833" y="8188"/>
                    <a:pt x="11833" y="8308"/>
                  </a:cubicBezTo>
                  <a:cubicBezTo>
                    <a:pt x="11833" y="8429"/>
                    <a:pt x="11895" y="8525"/>
                    <a:pt x="11972" y="8525"/>
                  </a:cubicBezTo>
                  <a:cubicBezTo>
                    <a:pt x="12048" y="8525"/>
                    <a:pt x="12109" y="8429"/>
                    <a:pt x="12109" y="8308"/>
                  </a:cubicBezTo>
                  <a:cubicBezTo>
                    <a:pt x="12109" y="8188"/>
                    <a:pt x="12048" y="8090"/>
                    <a:pt x="11972" y="8090"/>
                  </a:cubicBezTo>
                  <a:close/>
                  <a:moveTo>
                    <a:pt x="12382" y="8090"/>
                  </a:moveTo>
                  <a:cubicBezTo>
                    <a:pt x="12306" y="8090"/>
                    <a:pt x="12244" y="8188"/>
                    <a:pt x="12244" y="8308"/>
                  </a:cubicBezTo>
                  <a:cubicBezTo>
                    <a:pt x="12244" y="8429"/>
                    <a:pt x="12306" y="8525"/>
                    <a:pt x="12382" y="8525"/>
                  </a:cubicBezTo>
                  <a:cubicBezTo>
                    <a:pt x="12459" y="8525"/>
                    <a:pt x="12520" y="8429"/>
                    <a:pt x="12520" y="8308"/>
                  </a:cubicBezTo>
                  <a:cubicBezTo>
                    <a:pt x="12520" y="8188"/>
                    <a:pt x="12459" y="8090"/>
                    <a:pt x="12382" y="8090"/>
                  </a:cubicBezTo>
                  <a:close/>
                  <a:moveTo>
                    <a:pt x="12752" y="8090"/>
                  </a:moveTo>
                  <a:cubicBezTo>
                    <a:pt x="12676" y="8090"/>
                    <a:pt x="12614" y="8188"/>
                    <a:pt x="12614" y="8308"/>
                  </a:cubicBezTo>
                  <a:cubicBezTo>
                    <a:pt x="12614" y="8429"/>
                    <a:pt x="12676" y="8525"/>
                    <a:pt x="12752" y="8525"/>
                  </a:cubicBezTo>
                  <a:cubicBezTo>
                    <a:pt x="12828" y="8525"/>
                    <a:pt x="12890" y="8429"/>
                    <a:pt x="12890" y="8308"/>
                  </a:cubicBezTo>
                  <a:cubicBezTo>
                    <a:pt x="12890" y="8188"/>
                    <a:pt x="12828" y="8090"/>
                    <a:pt x="12752" y="8090"/>
                  </a:cubicBezTo>
                  <a:close/>
                  <a:moveTo>
                    <a:pt x="13163" y="8090"/>
                  </a:moveTo>
                  <a:cubicBezTo>
                    <a:pt x="13087" y="8090"/>
                    <a:pt x="13024" y="8188"/>
                    <a:pt x="13024" y="8308"/>
                  </a:cubicBezTo>
                  <a:cubicBezTo>
                    <a:pt x="13024" y="8429"/>
                    <a:pt x="13087" y="8525"/>
                    <a:pt x="13163" y="8525"/>
                  </a:cubicBezTo>
                  <a:cubicBezTo>
                    <a:pt x="13239" y="8525"/>
                    <a:pt x="13301" y="8429"/>
                    <a:pt x="13301" y="8308"/>
                  </a:cubicBezTo>
                  <a:cubicBezTo>
                    <a:pt x="13301" y="8188"/>
                    <a:pt x="13239" y="8090"/>
                    <a:pt x="13163" y="8090"/>
                  </a:cubicBezTo>
                  <a:close/>
                  <a:moveTo>
                    <a:pt x="13533" y="8090"/>
                  </a:moveTo>
                  <a:cubicBezTo>
                    <a:pt x="13457" y="8090"/>
                    <a:pt x="13394" y="8188"/>
                    <a:pt x="13394" y="8308"/>
                  </a:cubicBezTo>
                  <a:cubicBezTo>
                    <a:pt x="13394" y="8429"/>
                    <a:pt x="13457" y="8525"/>
                    <a:pt x="13533" y="8525"/>
                  </a:cubicBezTo>
                  <a:cubicBezTo>
                    <a:pt x="13609" y="8525"/>
                    <a:pt x="13670" y="8429"/>
                    <a:pt x="13670" y="8308"/>
                  </a:cubicBezTo>
                  <a:cubicBezTo>
                    <a:pt x="13670" y="8188"/>
                    <a:pt x="13609" y="8090"/>
                    <a:pt x="13533" y="8090"/>
                  </a:cubicBezTo>
                  <a:close/>
                  <a:moveTo>
                    <a:pt x="13944" y="8090"/>
                  </a:moveTo>
                  <a:cubicBezTo>
                    <a:pt x="13868" y="8090"/>
                    <a:pt x="13805" y="8188"/>
                    <a:pt x="13805" y="8308"/>
                  </a:cubicBezTo>
                  <a:cubicBezTo>
                    <a:pt x="13805" y="8429"/>
                    <a:pt x="13868" y="8525"/>
                    <a:pt x="13944" y="8525"/>
                  </a:cubicBezTo>
                  <a:cubicBezTo>
                    <a:pt x="14020" y="8525"/>
                    <a:pt x="14081" y="8429"/>
                    <a:pt x="14081" y="8308"/>
                  </a:cubicBezTo>
                  <a:cubicBezTo>
                    <a:pt x="14081" y="8188"/>
                    <a:pt x="14020" y="8090"/>
                    <a:pt x="13944" y="8090"/>
                  </a:cubicBezTo>
                  <a:close/>
                  <a:moveTo>
                    <a:pt x="14355" y="8090"/>
                  </a:moveTo>
                  <a:cubicBezTo>
                    <a:pt x="14278" y="8090"/>
                    <a:pt x="14216" y="8188"/>
                    <a:pt x="14216" y="8308"/>
                  </a:cubicBezTo>
                  <a:cubicBezTo>
                    <a:pt x="14216" y="8429"/>
                    <a:pt x="14278" y="8525"/>
                    <a:pt x="14355" y="8525"/>
                  </a:cubicBezTo>
                  <a:cubicBezTo>
                    <a:pt x="14431" y="8525"/>
                    <a:pt x="14492" y="8429"/>
                    <a:pt x="14492" y="8308"/>
                  </a:cubicBezTo>
                  <a:cubicBezTo>
                    <a:pt x="14492" y="8188"/>
                    <a:pt x="14431" y="8090"/>
                    <a:pt x="14355" y="8090"/>
                  </a:cubicBezTo>
                  <a:close/>
                  <a:moveTo>
                    <a:pt x="14765" y="8090"/>
                  </a:moveTo>
                  <a:cubicBezTo>
                    <a:pt x="14689" y="8090"/>
                    <a:pt x="14627" y="8188"/>
                    <a:pt x="14627" y="8308"/>
                  </a:cubicBezTo>
                  <a:cubicBezTo>
                    <a:pt x="14627" y="8429"/>
                    <a:pt x="14689" y="8525"/>
                    <a:pt x="14765" y="8525"/>
                  </a:cubicBezTo>
                  <a:cubicBezTo>
                    <a:pt x="14842" y="8525"/>
                    <a:pt x="14903" y="8429"/>
                    <a:pt x="14903" y="8308"/>
                  </a:cubicBezTo>
                  <a:cubicBezTo>
                    <a:pt x="14903" y="8188"/>
                    <a:pt x="14842" y="8090"/>
                    <a:pt x="14765" y="8090"/>
                  </a:cubicBezTo>
                  <a:close/>
                  <a:moveTo>
                    <a:pt x="3713" y="8737"/>
                  </a:moveTo>
                  <a:cubicBezTo>
                    <a:pt x="3637" y="8737"/>
                    <a:pt x="3575" y="8836"/>
                    <a:pt x="3575" y="8956"/>
                  </a:cubicBezTo>
                  <a:cubicBezTo>
                    <a:pt x="3575" y="9076"/>
                    <a:pt x="3637" y="9172"/>
                    <a:pt x="3713" y="9172"/>
                  </a:cubicBezTo>
                  <a:cubicBezTo>
                    <a:pt x="3790" y="9172"/>
                    <a:pt x="3851" y="9076"/>
                    <a:pt x="3851" y="8956"/>
                  </a:cubicBezTo>
                  <a:cubicBezTo>
                    <a:pt x="3851" y="8836"/>
                    <a:pt x="3790" y="8737"/>
                    <a:pt x="3713" y="8737"/>
                  </a:cubicBezTo>
                  <a:close/>
                  <a:moveTo>
                    <a:pt x="4083" y="8737"/>
                  </a:moveTo>
                  <a:cubicBezTo>
                    <a:pt x="4007" y="8737"/>
                    <a:pt x="3944" y="8836"/>
                    <a:pt x="3944" y="8956"/>
                  </a:cubicBezTo>
                  <a:cubicBezTo>
                    <a:pt x="3944" y="9076"/>
                    <a:pt x="4007" y="9172"/>
                    <a:pt x="4083" y="9172"/>
                  </a:cubicBezTo>
                  <a:cubicBezTo>
                    <a:pt x="4159" y="9172"/>
                    <a:pt x="4220" y="9076"/>
                    <a:pt x="4220" y="8956"/>
                  </a:cubicBezTo>
                  <a:cubicBezTo>
                    <a:pt x="4220" y="8836"/>
                    <a:pt x="4159" y="8737"/>
                    <a:pt x="4083" y="8737"/>
                  </a:cubicBezTo>
                  <a:close/>
                  <a:moveTo>
                    <a:pt x="4494" y="8737"/>
                  </a:moveTo>
                  <a:cubicBezTo>
                    <a:pt x="4418" y="8737"/>
                    <a:pt x="4355" y="8836"/>
                    <a:pt x="4355" y="8956"/>
                  </a:cubicBezTo>
                  <a:cubicBezTo>
                    <a:pt x="4355" y="9076"/>
                    <a:pt x="4418" y="9172"/>
                    <a:pt x="4494" y="9172"/>
                  </a:cubicBezTo>
                  <a:cubicBezTo>
                    <a:pt x="4570" y="9172"/>
                    <a:pt x="4631" y="9076"/>
                    <a:pt x="4631" y="8956"/>
                  </a:cubicBezTo>
                  <a:cubicBezTo>
                    <a:pt x="4631" y="8836"/>
                    <a:pt x="4570" y="8737"/>
                    <a:pt x="4494" y="8737"/>
                  </a:cubicBezTo>
                  <a:close/>
                  <a:moveTo>
                    <a:pt x="4864" y="8737"/>
                  </a:moveTo>
                  <a:cubicBezTo>
                    <a:pt x="4787" y="8737"/>
                    <a:pt x="4725" y="8836"/>
                    <a:pt x="4725" y="8956"/>
                  </a:cubicBezTo>
                  <a:cubicBezTo>
                    <a:pt x="4725" y="9076"/>
                    <a:pt x="4787" y="9172"/>
                    <a:pt x="4864" y="9172"/>
                  </a:cubicBezTo>
                  <a:cubicBezTo>
                    <a:pt x="4940" y="9172"/>
                    <a:pt x="5001" y="9076"/>
                    <a:pt x="5001" y="8956"/>
                  </a:cubicBezTo>
                  <a:cubicBezTo>
                    <a:pt x="5001" y="8836"/>
                    <a:pt x="4940" y="8737"/>
                    <a:pt x="4864" y="8737"/>
                  </a:cubicBezTo>
                  <a:close/>
                  <a:moveTo>
                    <a:pt x="5274" y="8737"/>
                  </a:moveTo>
                  <a:cubicBezTo>
                    <a:pt x="5198" y="8737"/>
                    <a:pt x="5136" y="8836"/>
                    <a:pt x="5136" y="8956"/>
                  </a:cubicBezTo>
                  <a:cubicBezTo>
                    <a:pt x="5136" y="9076"/>
                    <a:pt x="5198" y="9172"/>
                    <a:pt x="5274" y="9172"/>
                  </a:cubicBezTo>
                  <a:cubicBezTo>
                    <a:pt x="5351" y="9172"/>
                    <a:pt x="5412" y="9076"/>
                    <a:pt x="5412" y="8956"/>
                  </a:cubicBezTo>
                  <a:cubicBezTo>
                    <a:pt x="5412" y="8836"/>
                    <a:pt x="5351" y="8737"/>
                    <a:pt x="5274" y="8737"/>
                  </a:cubicBezTo>
                  <a:close/>
                  <a:moveTo>
                    <a:pt x="5685" y="8737"/>
                  </a:moveTo>
                  <a:cubicBezTo>
                    <a:pt x="5609" y="8737"/>
                    <a:pt x="5547" y="8836"/>
                    <a:pt x="5547" y="8956"/>
                  </a:cubicBezTo>
                  <a:cubicBezTo>
                    <a:pt x="5547" y="9076"/>
                    <a:pt x="5609" y="9172"/>
                    <a:pt x="5685" y="9172"/>
                  </a:cubicBezTo>
                  <a:cubicBezTo>
                    <a:pt x="5762" y="9172"/>
                    <a:pt x="5823" y="9076"/>
                    <a:pt x="5823" y="8956"/>
                  </a:cubicBezTo>
                  <a:cubicBezTo>
                    <a:pt x="5823" y="8836"/>
                    <a:pt x="5762" y="8737"/>
                    <a:pt x="5685" y="8737"/>
                  </a:cubicBezTo>
                  <a:close/>
                  <a:moveTo>
                    <a:pt x="6055" y="8737"/>
                  </a:moveTo>
                  <a:cubicBezTo>
                    <a:pt x="5979" y="8737"/>
                    <a:pt x="5916" y="8836"/>
                    <a:pt x="5916" y="8956"/>
                  </a:cubicBezTo>
                  <a:cubicBezTo>
                    <a:pt x="5916" y="9076"/>
                    <a:pt x="5979" y="9172"/>
                    <a:pt x="6055" y="9172"/>
                  </a:cubicBezTo>
                  <a:cubicBezTo>
                    <a:pt x="6131" y="9172"/>
                    <a:pt x="6193" y="9076"/>
                    <a:pt x="6193" y="8956"/>
                  </a:cubicBezTo>
                  <a:cubicBezTo>
                    <a:pt x="6193" y="8836"/>
                    <a:pt x="6131" y="8737"/>
                    <a:pt x="6055" y="8737"/>
                  </a:cubicBezTo>
                  <a:close/>
                  <a:moveTo>
                    <a:pt x="6466" y="8737"/>
                  </a:moveTo>
                  <a:cubicBezTo>
                    <a:pt x="6390" y="8737"/>
                    <a:pt x="6327" y="8836"/>
                    <a:pt x="6327" y="8956"/>
                  </a:cubicBezTo>
                  <a:cubicBezTo>
                    <a:pt x="6327" y="9076"/>
                    <a:pt x="6390" y="9172"/>
                    <a:pt x="6466" y="9172"/>
                  </a:cubicBezTo>
                  <a:cubicBezTo>
                    <a:pt x="6542" y="9172"/>
                    <a:pt x="6603" y="9076"/>
                    <a:pt x="6603" y="8956"/>
                  </a:cubicBezTo>
                  <a:cubicBezTo>
                    <a:pt x="6603" y="8836"/>
                    <a:pt x="6542" y="8737"/>
                    <a:pt x="6466" y="8737"/>
                  </a:cubicBezTo>
                  <a:close/>
                  <a:moveTo>
                    <a:pt x="6877" y="8737"/>
                  </a:moveTo>
                  <a:cubicBezTo>
                    <a:pt x="6801" y="8737"/>
                    <a:pt x="6738" y="8836"/>
                    <a:pt x="6738" y="8956"/>
                  </a:cubicBezTo>
                  <a:cubicBezTo>
                    <a:pt x="6738" y="9076"/>
                    <a:pt x="6801" y="9172"/>
                    <a:pt x="6877" y="9172"/>
                  </a:cubicBezTo>
                  <a:cubicBezTo>
                    <a:pt x="6953" y="9172"/>
                    <a:pt x="7014" y="9076"/>
                    <a:pt x="7014" y="8956"/>
                  </a:cubicBezTo>
                  <a:cubicBezTo>
                    <a:pt x="7014" y="8836"/>
                    <a:pt x="6953" y="8737"/>
                    <a:pt x="6877" y="8737"/>
                  </a:cubicBezTo>
                  <a:close/>
                  <a:moveTo>
                    <a:pt x="7247" y="8737"/>
                  </a:moveTo>
                  <a:cubicBezTo>
                    <a:pt x="7170" y="8737"/>
                    <a:pt x="7108" y="8836"/>
                    <a:pt x="7108" y="8956"/>
                  </a:cubicBezTo>
                  <a:cubicBezTo>
                    <a:pt x="7108" y="9076"/>
                    <a:pt x="7170" y="9172"/>
                    <a:pt x="7247" y="9172"/>
                  </a:cubicBezTo>
                  <a:cubicBezTo>
                    <a:pt x="7323" y="9172"/>
                    <a:pt x="7384" y="9076"/>
                    <a:pt x="7384" y="8956"/>
                  </a:cubicBezTo>
                  <a:cubicBezTo>
                    <a:pt x="7384" y="8836"/>
                    <a:pt x="7323" y="8737"/>
                    <a:pt x="7247" y="8737"/>
                  </a:cubicBezTo>
                  <a:close/>
                  <a:moveTo>
                    <a:pt x="7658" y="8737"/>
                  </a:moveTo>
                  <a:cubicBezTo>
                    <a:pt x="7581" y="8737"/>
                    <a:pt x="7519" y="8836"/>
                    <a:pt x="7519" y="8956"/>
                  </a:cubicBezTo>
                  <a:cubicBezTo>
                    <a:pt x="7519" y="9076"/>
                    <a:pt x="7581" y="9172"/>
                    <a:pt x="7658" y="9172"/>
                  </a:cubicBezTo>
                  <a:cubicBezTo>
                    <a:pt x="7734" y="9172"/>
                    <a:pt x="7795" y="9076"/>
                    <a:pt x="7795" y="8956"/>
                  </a:cubicBezTo>
                  <a:cubicBezTo>
                    <a:pt x="7795" y="8836"/>
                    <a:pt x="7734" y="8737"/>
                    <a:pt x="7658" y="8737"/>
                  </a:cubicBezTo>
                  <a:close/>
                  <a:moveTo>
                    <a:pt x="8027" y="8737"/>
                  </a:moveTo>
                  <a:cubicBezTo>
                    <a:pt x="7951" y="8737"/>
                    <a:pt x="7889" y="8836"/>
                    <a:pt x="7889" y="8956"/>
                  </a:cubicBezTo>
                  <a:cubicBezTo>
                    <a:pt x="7889" y="9076"/>
                    <a:pt x="7951" y="9172"/>
                    <a:pt x="8027" y="9172"/>
                  </a:cubicBezTo>
                  <a:cubicBezTo>
                    <a:pt x="8103" y="9172"/>
                    <a:pt x="8165" y="9076"/>
                    <a:pt x="8165" y="8956"/>
                  </a:cubicBezTo>
                  <a:cubicBezTo>
                    <a:pt x="8165" y="8836"/>
                    <a:pt x="8103" y="8737"/>
                    <a:pt x="8027" y="8737"/>
                  </a:cubicBezTo>
                  <a:close/>
                  <a:moveTo>
                    <a:pt x="8438" y="8737"/>
                  </a:moveTo>
                  <a:cubicBezTo>
                    <a:pt x="8362" y="8737"/>
                    <a:pt x="8299" y="8836"/>
                    <a:pt x="8299" y="8956"/>
                  </a:cubicBezTo>
                  <a:cubicBezTo>
                    <a:pt x="8299" y="9076"/>
                    <a:pt x="8362" y="9172"/>
                    <a:pt x="8438" y="9172"/>
                  </a:cubicBezTo>
                  <a:cubicBezTo>
                    <a:pt x="8515" y="9172"/>
                    <a:pt x="8576" y="9076"/>
                    <a:pt x="8576" y="8956"/>
                  </a:cubicBezTo>
                  <a:cubicBezTo>
                    <a:pt x="8576" y="8836"/>
                    <a:pt x="8515" y="8737"/>
                    <a:pt x="8438" y="8737"/>
                  </a:cubicBezTo>
                  <a:close/>
                  <a:moveTo>
                    <a:pt x="8849" y="8737"/>
                  </a:moveTo>
                  <a:cubicBezTo>
                    <a:pt x="8773" y="8737"/>
                    <a:pt x="8710" y="8836"/>
                    <a:pt x="8710" y="8956"/>
                  </a:cubicBezTo>
                  <a:cubicBezTo>
                    <a:pt x="8710" y="9076"/>
                    <a:pt x="8773" y="9172"/>
                    <a:pt x="8849" y="9172"/>
                  </a:cubicBezTo>
                  <a:cubicBezTo>
                    <a:pt x="8925" y="9172"/>
                    <a:pt x="8986" y="9076"/>
                    <a:pt x="8986" y="8956"/>
                  </a:cubicBezTo>
                  <a:cubicBezTo>
                    <a:pt x="8986" y="8836"/>
                    <a:pt x="8925" y="8737"/>
                    <a:pt x="8849" y="8737"/>
                  </a:cubicBezTo>
                  <a:close/>
                  <a:moveTo>
                    <a:pt x="9219" y="8737"/>
                  </a:moveTo>
                  <a:cubicBezTo>
                    <a:pt x="9142" y="8737"/>
                    <a:pt x="9080" y="8836"/>
                    <a:pt x="9080" y="8956"/>
                  </a:cubicBezTo>
                  <a:cubicBezTo>
                    <a:pt x="9080" y="9076"/>
                    <a:pt x="9142" y="9172"/>
                    <a:pt x="9219" y="9172"/>
                  </a:cubicBezTo>
                  <a:cubicBezTo>
                    <a:pt x="9295" y="9172"/>
                    <a:pt x="9356" y="9076"/>
                    <a:pt x="9356" y="8956"/>
                  </a:cubicBezTo>
                  <a:cubicBezTo>
                    <a:pt x="9356" y="8836"/>
                    <a:pt x="9295" y="8737"/>
                    <a:pt x="9219" y="8737"/>
                  </a:cubicBezTo>
                  <a:close/>
                  <a:moveTo>
                    <a:pt x="9589" y="8737"/>
                  </a:moveTo>
                  <a:cubicBezTo>
                    <a:pt x="9512" y="8737"/>
                    <a:pt x="9450" y="8836"/>
                    <a:pt x="9450" y="8956"/>
                  </a:cubicBezTo>
                  <a:cubicBezTo>
                    <a:pt x="9450" y="9076"/>
                    <a:pt x="9512" y="9172"/>
                    <a:pt x="9589" y="9172"/>
                  </a:cubicBezTo>
                  <a:cubicBezTo>
                    <a:pt x="9665" y="9172"/>
                    <a:pt x="9726" y="9076"/>
                    <a:pt x="9726" y="8956"/>
                  </a:cubicBezTo>
                  <a:cubicBezTo>
                    <a:pt x="9726" y="8836"/>
                    <a:pt x="9665" y="8737"/>
                    <a:pt x="9589" y="8737"/>
                  </a:cubicBezTo>
                  <a:close/>
                  <a:moveTo>
                    <a:pt x="9999" y="8737"/>
                  </a:moveTo>
                  <a:cubicBezTo>
                    <a:pt x="9923" y="8737"/>
                    <a:pt x="9861" y="8836"/>
                    <a:pt x="9861" y="8956"/>
                  </a:cubicBezTo>
                  <a:cubicBezTo>
                    <a:pt x="9861" y="9076"/>
                    <a:pt x="9923" y="9172"/>
                    <a:pt x="9999" y="9172"/>
                  </a:cubicBezTo>
                  <a:cubicBezTo>
                    <a:pt x="10076" y="9172"/>
                    <a:pt x="10137" y="9076"/>
                    <a:pt x="10137" y="8956"/>
                  </a:cubicBezTo>
                  <a:cubicBezTo>
                    <a:pt x="10137" y="8836"/>
                    <a:pt x="10076" y="8737"/>
                    <a:pt x="9999" y="8737"/>
                  </a:cubicBezTo>
                  <a:close/>
                  <a:moveTo>
                    <a:pt x="10410" y="8737"/>
                  </a:moveTo>
                  <a:cubicBezTo>
                    <a:pt x="10334" y="8737"/>
                    <a:pt x="10272" y="8836"/>
                    <a:pt x="10272" y="8956"/>
                  </a:cubicBezTo>
                  <a:cubicBezTo>
                    <a:pt x="10272" y="9076"/>
                    <a:pt x="10334" y="9172"/>
                    <a:pt x="10410" y="9172"/>
                  </a:cubicBezTo>
                  <a:cubicBezTo>
                    <a:pt x="10487" y="9172"/>
                    <a:pt x="10548" y="9076"/>
                    <a:pt x="10548" y="8956"/>
                  </a:cubicBezTo>
                  <a:cubicBezTo>
                    <a:pt x="10548" y="8836"/>
                    <a:pt x="10487" y="8737"/>
                    <a:pt x="10410" y="8737"/>
                  </a:cubicBezTo>
                  <a:close/>
                  <a:moveTo>
                    <a:pt x="10780" y="8737"/>
                  </a:moveTo>
                  <a:cubicBezTo>
                    <a:pt x="10704" y="8737"/>
                    <a:pt x="10641" y="8836"/>
                    <a:pt x="10641" y="8956"/>
                  </a:cubicBezTo>
                  <a:cubicBezTo>
                    <a:pt x="10641" y="9076"/>
                    <a:pt x="10704" y="9172"/>
                    <a:pt x="10780" y="9172"/>
                  </a:cubicBezTo>
                  <a:cubicBezTo>
                    <a:pt x="10856" y="9172"/>
                    <a:pt x="10917" y="9076"/>
                    <a:pt x="10917" y="8956"/>
                  </a:cubicBezTo>
                  <a:cubicBezTo>
                    <a:pt x="10917" y="8836"/>
                    <a:pt x="10856" y="8737"/>
                    <a:pt x="10780" y="8737"/>
                  </a:cubicBezTo>
                  <a:close/>
                  <a:moveTo>
                    <a:pt x="11191" y="8737"/>
                  </a:moveTo>
                  <a:cubicBezTo>
                    <a:pt x="11115" y="8737"/>
                    <a:pt x="11052" y="8836"/>
                    <a:pt x="11052" y="8956"/>
                  </a:cubicBezTo>
                  <a:cubicBezTo>
                    <a:pt x="11052" y="9076"/>
                    <a:pt x="11115" y="9172"/>
                    <a:pt x="11191" y="9172"/>
                  </a:cubicBezTo>
                  <a:cubicBezTo>
                    <a:pt x="11267" y="9172"/>
                    <a:pt x="11328" y="9076"/>
                    <a:pt x="11328" y="8956"/>
                  </a:cubicBezTo>
                  <a:cubicBezTo>
                    <a:pt x="11328" y="8836"/>
                    <a:pt x="11267" y="8737"/>
                    <a:pt x="11191" y="8737"/>
                  </a:cubicBezTo>
                  <a:close/>
                  <a:moveTo>
                    <a:pt x="11561" y="8737"/>
                  </a:moveTo>
                  <a:cubicBezTo>
                    <a:pt x="11484" y="8737"/>
                    <a:pt x="11422" y="8836"/>
                    <a:pt x="11422" y="8956"/>
                  </a:cubicBezTo>
                  <a:cubicBezTo>
                    <a:pt x="11422" y="9076"/>
                    <a:pt x="11484" y="9172"/>
                    <a:pt x="11561" y="9172"/>
                  </a:cubicBezTo>
                  <a:cubicBezTo>
                    <a:pt x="11637" y="9172"/>
                    <a:pt x="11698" y="9076"/>
                    <a:pt x="11698" y="8956"/>
                  </a:cubicBezTo>
                  <a:cubicBezTo>
                    <a:pt x="11698" y="8836"/>
                    <a:pt x="11637" y="8737"/>
                    <a:pt x="11561" y="8737"/>
                  </a:cubicBezTo>
                  <a:close/>
                  <a:moveTo>
                    <a:pt x="11972" y="8737"/>
                  </a:moveTo>
                  <a:cubicBezTo>
                    <a:pt x="11895" y="8737"/>
                    <a:pt x="11833" y="8836"/>
                    <a:pt x="11833" y="8956"/>
                  </a:cubicBezTo>
                  <a:cubicBezTo>
                    <a:pt x="11833" y="9076"/>
                    <a:pt x="11895" y="9172"/>
                    <a:pt x="11972" y="9172"/>
                  </a:cubicBezTo>
                  <a:cubicBezTo>
                    <a:pt x="12048" y="9172"/>
                    <a:pt x="12109" y="9076"/>
                    <a:pt x="12109" y="8956"/>
                  </a:cubicBezTo>
                  <a:cubicBezTo>
                    <a:pt x="12109" y="8836"/>
                    <a:pt x="12048" y="8737"/>
                    <a:pt x="11972" y="8737"/>
                  </a:cubicBezTo>
                  <a:close/>
                  <a:moveTo>
                    <a:pt x="12382" y="8737"/>
                  </a:moveTo>
                  <a:cubicBezTo>
                    <a:pt x="12306" y="8737"/>
                    <a:pt x="12244" y="8836"/>
                    <a:pt x="12244" y="8956"/>
                  </a:cubicBezTo>
                  <a:cubicBezTo>
                    <a:pt x="12244" y="9076"/>
                    <a:pt x="12306" y="9172"/>
                    <a:pt x="12382" y="9172"/>
                  </a:cubicBezTo>
                  <a:cubicBezTo>
                    <a:pt x="12459" y="9172"/>
                    <a:pt x="12520" y="9076"/>
                    <a:pt x="12520" y="8956"/>
                  </a:cubicBezTo>
                  <a:cubicBezTo>
                    <a:pt x="12520" y="8836"/>
                    <a:pt x="12459" y="8737"/>
                    <a:pt x="12382" y="8737"/>
                  </a:cubicBezTo>
                  <a:close/>
                  <a:moveTo>
                    <a:pt x="12752" y="8737"/>
                  </a:moveTo>
                  <a:cubicBezTo>
                    <a:pt x="12676" y="8737"/>
                    <a:pt x="12614" y="8836"/>
                    <a:pt x="12614" y="8956"/>
                  </a:cubicBezTo>
                  <a:cubicBezTo>
                    <a:pt x="12614" y="9076"/>
                    <a:pt x="12676" y="9172"/>
                    <a:pt x="12752" y="9172"/>
                  </a:cubicBezTo>
                  <a:cubicBezTo>
                    <a:pt x="12828" y="9172"/>
                    <a:pt x="12890" y="9076"/>
                    <a:pt x="12890" y="8956"/>
                  </a:cubicBezTo>
                  <a:cubicBezTo>
                    <a:pt x="12890" y="8836"/>
                    <a:pt x="12828" y="8737"/>
                    <a:pt x="12752" y="8737"/>
                  </a:cubicBezTo>
                  <a:close/>
                  <a:moveTo>
                    <a:pt x="14355" y="8737"/>
                  </a:moveTo>
                  <a:cubicBezTo>
                    <a:pt x="14278" y="8737"/>
                    <a:pt x="14216" y="8836"/>
                    <a:pt x="14216" y="8956"/>
                  </a:cubicBezTo>
                  <a:cubicBezTo>
                    <a:pt x="14216" y="9076"/>
                    <a:pt x="14278" y="9172"/>
                    <a:pt x="14355" y="9172"/>
                  </a:cubicBezTo>
                  <a:cubicBezTo>
                    <a:pt x="14431" y="9172"/>
                    <a:pt x="14492" y="9076"/>
                    <a:pt x="14492" y="8956"/>
                  </a:cubicBezTo>
                  <a:cubicBezTo>
                    <a:pt x="14492" y="8836"/>
                    <a:pt x="14431" y="8737"/>
                    <a:pt x="14355" y="8737"/>
                  </a:cubicBezTo>
                  <a:close/>
                  <a:moveTo>
                    <a:pt x="3713" y="9384"/>
                  </a:moveTo>
                  <a:cubicBezTo>
                    <a:pt x="3637" y="9384"/>
                    <a:pt x="3575" y="9482"/>
                    <a:pt x="3575" y="9603"/>
                  </a:cubicBezTo>
                  <a:cubicBezTo>
                    <a:pt x="3575" y="9723"/>
                    <a:pt x="3637" y="9819"/>
                    <a:pt x="3713" y="9819"/>
                  </a:cubicBezTo>
                  <a:cubicBezTo>
                    <a:pt x="3790" y="9819"/>
                    <a:pt x="3851" y="9723"/>
                    <a:pt x="3851" y="9603"/>
                  </a:cubicBezTo>
                  <a:cubicBezTo>
                    <a:pt x="3851" y="9482"/>
                    <a:pt x="3790" y="9384"/>
                    <a:pt x="3713" y="9384"/>
                  </a:cubicBezTo>
                  <a:close/>
                  <a:moveTo>
                    <a:pt x="4083" y="9384"/>
                  </a:moveTo>
                  <a:cubicBezTo>
                    <a:pt x="4007" y="9384"/>
                    <a:pt x="3944" y="9482"/>
                    <a:pt x="3944" y="9603"/>
                  </a:cubicBezTo>
                  <a:cubicBezTo>
                    <a:pt x="3944" y="9723"/>
                    <a:pt x="4007" y="9819"/>
                    <a:pt x="4083" y="9819"/>
                  </a:cubicBezTo>
                  <a:cubicBezTo>
                    <a:pt x="4159" y="9819"/>
                    <a:pt x="4220" y="9723"/>
                    <a:pt x="4220" y="9603"/>
                  </a:cubicBezTo>
                  <a:cubicBezTo>
                    <a:pt x="4220" y="9482"/>
                    <a:pt x="4159" y="9384"/>
                    <a:pt x="4083" y="9384"/>
                  </a:cubicBezTo>
                  <a:close/>
                  <a:moveTo>
                    <a:pt x="4494" y="9384"/>
                  </a:moveTo>
                  <a:cubicBezTo>
                    <a:pt x="4418" y="9384"/>
                    <a:pt x="4355" y="9482"/>
                    <a:pt x="4355" y="9603"/>
                  </a:cubicBezTo>
                  <a:cubicBezTo>
                    <a:pt x="4355" y="9723"/>
                    <a:pt x="4418" y="9819"/>
                    <a:pt x="4494" y="9819"/>
                  </a:cubicBezTo>
                  <a:cubicBezTo>
                    <a:pt x="4570" y="9819"/>
                    <a:pt x="4631" y="9723"/>
                    <a:pt x="4631" y="9603"/>
                  </a:cubicBezTo>
                  <a:cubicBezTo>
                    <a:pt x="4631" y="9482"/>
                    <a:pt x="4570" y="9384"/>
                    <a:pt x="4494" y="9384"/>
                  </a:cubicBezTo>
                  <a:close/>
                  <a:moveTo>
                    <a:pt x="4864" y="9384"/>
                  </a:moveTo>
                  <a:cubicBezTo>
                    <a:pt x="4787" y="9384"/>
                    <a:pt x="4725" y="9482"/>
                    <a:pt x="4725" y="9603"/>
                  </a:cubicBezTo>
                  <a:cubicBezTo>
                    <a:pt x="4725" y="9723"/>
                    <a:pt x="4787" y="9819"/>
                    <a:pt x="4864" y="9819"/>
                  </a:cubicBezTo>
                  <a:cubicBezTo>
                    <a:pt x="4940" y="9819"/>
                    <a:pt x="5001" y="9723"/>
                    <a:pt x="5001" y="9603"/>
                  </a:cubicBezTo>
                  <a:cubicBezTo>
                    <a:pt x="5001" y="9482"/>
                    <a:pt x="4940" y="9384"/>
                    <a:pt x="4864" y="9384"/>
                  </a:cubicBezTo>
                  <a:close/>
                  <a:moveTo>
                    <a:pt x="5274" y="9384"/>
                  </a:moveTo>
                  <a:cubicBezTo>
                    <a:pt x="5198" y="9384"/>
                    <a:pt x="5136" y="9482"/>
                    <a:pt x="5136" y="9603"/>
                  </a:cubicBezTo>
                  <a:cubicBezTo>
                    <a:pt x="5136" y="9723"/>
                    <a:pt x="5198" y="9819"/>
                    <a:pt x="5274" y="9819"/>
                  </a:cubicBezTo>
                  <a:cubicBezTo>
                    <a:pt x="5351" y="9819"/>
                    <a:pt x="5412" y="9723"/>
                    <a:pt x="5412" y="9603"/>
                  </a:cubicBezTo>
                  <a:cubicBezTo>
                    <a:pt x="5412" y="9482"/>
                    <a:pt x="5351" y="9384"/>
                    <a:pt x="5274" y="9384"/>
                  </a:cubicBezTo>
                  <a:close/>
                  <a:moveTo>
                    <a:pt x="5685" y="9384"/>
                  </a:moveTo>
                  <a:cubicBezTo>
                    <a:pt x="5609" y="9384"/>
                    <a:pt x="5547" y="9482"/>
                    <a:pt x="5547" y="9603"/>
                  </a:cubicBezTo>
                  <a:cubicBezTo>
                    <a:pt x="5547" y="9723"/>
                    <a:pt x="5609" y="9819"/>
                    <a:pt x="5685" y="9819"/>
                  </a:cubicBezTo>
                  <a:cubicBezTo>
                    <a:pt x="5762" y="9819"/>
                    <a:pt x="5823" y="9723"/>
                    <a:pt x="5823" y="9603"/>
                  </a:cubicBezTo>
                  <a:cubicBezTo>
                    <a:pt x="5823" y="9482"/>
                    <a:pt x="5762" y="9384"/>
                    <a:pt x="5685" y="9384"/>
                  </a:cubicBezTo>
                  <a:close/>
                  <a:moveTo>
                    <a:pt x="6055" y="9384"/>
                  </a:moveTo>
                  <a:cubicBezTo>
                    <a:pt x="5979" y="9384"/>
                    <a:pt x="5916" y="9482"/>
                    <a:pt x="5916" y="9603"/>
                  </a:cubicBezTo>
                  <a:cubicBezTo>
                    <a:pt x="5916" y="9723"/>
                    <a:pt x="5979" y="9819"/>
                    <a:pt x="6055" y="9819"/>
                  </a:cubicBezTo>
                  <a:cubicBezTo>
                    <a:pt x="6131" y="9819"/>
                    <a:pt x="6193" y="9723"/>
                    <a:pt x="6193" y="9603"/>
                  </a:cubicBezTo>
                  <a:cubicBezTo>
                    <a:pt x="6193" y="9482"/>
                    <a:pt x="6131" y="9384"/>
                    <a:pt x="6055" y="9384"/>
                  </a:cubicBezTo>
                  <a:close/>
                  <a:moveTo>
                    <a:pt x="6466" y="9384"/>
                  </a:moveTo>
                  <a:cubicBezTo>
                    <a:pt x="6390" y="9384"/>
                    <a:pt x="6327" y="9482"/>
                    <a:pt x="6327" y="9603"/>
                  </a:cubicBezTo>
                  <a:cubicBezTo>
                    <a:pt x="6327" y="9723"/>
                    <a:pt x="6390" y="9819"/>
                    <a:pt x="6466" y="9819"/>
                  </a:cubicBezTo>
                  <a:cubicBezTo>
                    <a:pt x="6542" y="9819"/>
                    <a:pt x="6603" y="9723"/>
                    <a:pt x="6603" y="9603"/>
                  </a:cubicBezTo>
                  <a:cubicBezTo>
                    <a:pt x="6603" y="9482"/>
                    <a:pt x="6542" y="9384"/>
                    <a:pt x="6466" y="9384"/>
                  </a:cubicBezTo>
                  <a:close/>
                  <a:moveTo>
                    <a:pt x="6877" y="9384"/>
                  </a:moveTo>
                  <a:cubicBezTo>
                    <a:pt x="6801" y="9384"/>
                    <a:pt x="6738" y="9482"/>
                    <a:pt x="6738" y="9603"/>
                  </a:cubicBezTo>
                  <a:cubicBezTo>
                    <a:pt x="6738" y="9723"/>
                    <a:pt x="6801" y="9819"/>
                    <a:pt x="6877" y="9819"/>
                  </a:cubicBezTo>
                  <a:cubicBezTo>
                    <a:pt x="6953" y="9819"/>
                    <a:pt x="7014" y="9723"/>
                    <a:pt x="7014" y="9603"/>
                  </a:cubicBezTo>
                  <a:cubicBezTo>
                    <a:pt x="7014" y="9482"/>
                    <a:pt x="6953" y="9384"/>
                    <a:pt x="6877" y="9384"/>
                  </a:cubicBezTo>
                  <a:close/>
                  <a:moveTo>
                    <a:pt x="7247" y="9384"/>
                  </a:moveTo>
                  <a:cubicBezTo>
                    <a:pt x="7170" y="9384"/>
                    <a:pt x="7108" y="9482"/>
                    <a:pt x="7108" y="9603"/>
                  </a:cubicBezTo>
                  <a:cubicBezTo>
                    <a:pt x="7108" y="9723"/>
                    <a:pt x="7170" y="9819"/>
                    <a:pt x="7247" y="9819"/>
                  </a:cubicBezTo>
                  <a:cubicBezTo>
                    <a:pt x="7323" y="9819"/>
                    <a:pt x="7384" y="9723"/>
                    <a:pt x="7384" y="9603"/>
                  </a:cubicBezTo>
                  <a:cubicBezTo>
                    <a:pt x="7384" y="9482"/>
                    <a:pt x="7323" y="9384"/>
                    <a:pt x="7247" y="9384"/>
                  </a:cubicBezTo>
                  <a:close/>
                  <a:moveTo>
                    <a:pt x="7658" y="9384"/>
                  </a:moveTo>
                  <a:cubicBezTo>
                    <a:pt x="7581" y="9384"/>
                    <a:pt x="7519" y="9482"/>
                    <a:pt x="7519" y="9603"/>
                  </a:cubicBezTo>
                  <a:cubicBezTo>
                    <a:pt x="7519" y="9723"/>
                    <a:pt x="7581" y="9819"/>
                    <a:pt x="7658" y="9819"/>
                  </a:cubicBezTo>
                  <a:cubicBezTo>
                    <a:pt x="7734" y="9819"/>
                    <a:pt x="7795" y="9723"/>
                    <a:pt x="7795" y="9603"/>
                  </a:cubicBezTo>
                  <a:cubicBezTo>
                    <a:pt x="7795" y="9482"/>
                    <a:pt x="7734" y="9384"/>
                    <a:pt x="7658" y="9384"/>
                  </a:cubicBezTo>
                  <a:close/>
                  <a:moveTo>
                    <a:pt x="8027" y="9384"/>
                  </a:moveTo>
                  <a:cubicBezTo>
                    <a:pt x="7951" y="9384"/>
                    <a:pt x="7889" y="9482"/>
                    <a:pt x="7889" y="9603"/>
                  </a:cubicBezTo>
                  <a:cubicBezTo>
                    <a:pt x="7889" y="9723"/>
                    <a:pt x="7951" y="9819"/>
                    <a:pt x="8027" y="9819"/>
                  </a:cubicBezTo>
                  <a:cubicBezTo>
                    <a:pt x="8103" y="9819"/>
                    <a:pt x="8165" y="9723"/>
                    <a:pt x="8165" y="9603"/>
                  </a:cubicBezTo>
                  <a:cubicBezTo>
                    <a:pt x="8165" y="9482"/>
                    <a:pt x="8103" y="9384"/>
                    <a:pt x="8027" y="9384"/>
                  </a:cubicBezTo>
                  <a:close/>
                  <a:moveTo>
                    <a:pt x="8438" y="9384"/>
                  </a:moveTo>
                  <a:cubicBezTo>
                    <a:pt x="8362" y="9384"/>
                    <a:pt x="8299" y="9482"/>
                    <a:pt x="8299" y="9603"/>
                  </a:cubicBezTo>
                  <a:cubicBezTo>
                    <a:pt x="8299" y="9723"/>
                    <a:pt x="8362" y="9819"/>
                    <a:pt x="8438" y="9819"/>
                  </a:cubicBezTo>
                  <a:cubicBezTo>
                    <a:pt x="8515" y="9819"/>
                    <a:pt x="8576" y="9723"/>
                    <a:pt x="8576" y="9603"/>
                  </a:cubicBezTo>
                  <a:cubicBezTo>
                    <a:pt x="8576" y="9482"/>
                    <a:pt x="8515" y="9384"/>
                    <a:pt x="8438" y="9384"/>
                  </a:cubicBezTo>
                  <a:close/>
                  <a:moveTo>
                    <a:pt x="8849" y="9384"/>
                  </a:moveTo>
                  <a:cubicBezTo>
                    <a:pt x="8773" y="9384"/>
                    <a:pt x="8710" y="9482"/>
                    <a:pt x="8710" y="9603"/>
                  </a:cubicBezTo>
                  <a:cubicBezTo>
                    <a:pt x="8710" y="9723"/>
                    <a:pt x="8773" y="9819"/>
                    <a:pt x="8849" y="9819"/>
                  </a:cubicBezTo>
                  <a:cubicBezTo>
                    <a:pt x="8925" y="9819"/>
                    <a:pt x="8986" y="9723"/>
                    <a:pt x="8986" y="9603"/>
                  </a:cubicBezTo>
                  <a:cubicBezTo>
                    <a:pt x="8986" y="9482"/>
                    <a:pt x="8925" y="9384"/>
                    <a:pt x="8849" y="9384"/>
                  </a:cubicBezTo>
                  <a:close/>
                  <a:moveTo>
                    <a:pt x="9219" y="9384"/>
                  </a:moveTo>
                  <a:cubicBezTo>
                    <a:pt x="9142" y="9384"/>
                    <a:pt x="9080" y="9482"/>
                    <a:pt x="9080" y="9603"/>
                  </a:cubicBezTo>
                  <a:cubicBezTo>
                    <a:pt x="9080" y="9723"/>
                    <a:pt x="9142" y="9819"/>
                    <a:pt x="9219" y="9819"/>
                  </a:cubicBezTo>
                  <a:cubicBezTo>
                    <a:pt x="9295" y="9819"/>
                    <a:pt x="9356" y="9723"/>
                    <a:pt x="9356" y="9603"/>
                  </a:cubicBezTo>
                  <a:cubicBezTo>
                    <a:pt x="9356" y="9482"/>
                    <a:pt x="9295" y="9384"/>
                    <a:pt x="9219" y="9384"/>
                  </a:cubicBezTo>
                  <a:close/>
                  <a:moveTo>
                    <a:pt x="9589" y="9384"/>
                  </a:moveTo>
                  <a:cubicBezTo>
                    <a:pt x="9512" y="9384"/>
                    <a:pt x="9450" y="9482"/>
                    <a:pt x="9450" y="9603"/>
                  </a:cubicBezTo>
                  <a:cubicBezTo>
                    <a:pt x="9450" y="9723"/>
                    <a:pt x="9512" y="9819"/>
                    <a:pt x="9589" y="9819"/>
                  </a:cubicBezTo>
                  <a:cubicBezTo>
                    <a:pt x="9665" y="9819"/>
                    <a:pt x="9726" y="9723"/>
                    <a:pt x="9726" y="9603"/>
                  </a:cubicBezTo>
                  <a:cubicBezTo>
                    <a:pt x="9726" y="9482"/>
                    <a:pt x="9665" y="9384"/>
                    <a:pt x="9589" y="9384"/>
                  </a:cubicBezTo>
                  <a:close/>
                  <a:moveTo>
                    <a:pt x="9999" y="9384"/>
                  </a:moveTo>
                  <a:cubicBezTo>
                    <a:pt x="9923" y="9384"/>
                    <a:pt x="9861" y="9482"/>
                    <a:pt x="9861" y="9603"/>
                  </a:cubicBezTo>
                  <a:cubicBezTo>
                    <a:pt x="9861" y="9723"/>
                    <a:pt x="9923" y="9819"/>
                    <a:pt x="9999" y="9819"/>
                  </a:cubicBezTo>
                  <a:cubicBezTo>
                    <a:pt x="10076" y="9819"/>
                    <a:pt x="10137" y="9723"/>
                    <a:pt x="10137" y="9603"/>
                  </a:cubicBezTo>
                  <a:cubicBezTo>
                    <a:pt x="10137" y="9482"/>
                    <a:pt x="10076" y="9384"/>
                    <a:pt x="9999" y="9384"/>
                  </a:cubicBezTo>
                  <a:close/>
                  <a:moveTo>
                    <a:pt x="10410" y="9384"/>
                  </a:moveTo>
                  <a:cubicBezTo>
                    <a:pt x="10334" y="9384"/>
                    <a:pt x="10272" y="9482"/>
                    <a:pt x="10272" y="9603"/>
                  </a:cubicBezTo>
                  <a:cubicBezTo>
                    <a:pt x="10272" y="9723"/>
                    <a:pt x="10334" y="9819"/>
                    <a:pt x="10410" y="9819"/>
                  </a:cubicBezTo>
                  <a:cubicBezTo>
                    <a:pt x="10487" y="9819"/>
                    <a:pt x="10548" y="9723"/>
                    <a:pt x="10548" y="9603"/>
                  </a:cubicBezTo>
                  <a:cubicBezTo>
                    <a:pt x="10548" y="9482"/>
                    <a:pt x="10487" y="9384"/>
                    <a:pt x="10410" y="9384"/>
                  </a:cubicBezTo>
                  <a:close/>
                  <a:moveTo>
                    <a:pt x="10780" y="9384"/>
                  </a:moveTo>
                  <a:cubicBezTo>
                    <a:pt x="10704" y="9384"/>
                    <a:pt x="10641" y="9482"/>
                    <a:pt x="10641" y="9603"/>
                  </a:cubicBezTo>
                  <a:cubicBezTo>
                    <a:pt x="10641" y="9723"/>
                    <a:pt x="10704" y="9819"/>
                    <a:pt x="10780" y="9819"/>
                  </a:cubicBezTo>
                  <a:cubicBezTo>
                    <a:pt x="10856" y="9819"/>
                    <a:pt x="10917" y="9723"/>
                    <a:pt x="10917" y="9603"/>
                  </a:cubicBezTo>
                  <a:cubicBezTo>
                    <a:pt x="10917" y="9482"/>
                    <a:pt x="10856" y="9384"/>
                    <a:pt x="10780" y="9384"/>
                  </a:cubicBezTo>
                  <a:close/>
                  <a:moveTo>
                    <a:pt x="11191" y="9384"/>
                  </a:moveTo>
                  <a:cubicBezTo>
                    <a:pt x="11115" y="9384"/>
                    <a:pt x="11052" y="9482"/>
                    <a:pt x="11052" y="9603"/>
                  </a:cubicBezTo>
                  <a:cubicBezTo>
                    <a:pt x="11052" y="9723"/>
                    <a:pt x="11115" y="9819"/>
                    <a:pt x="11191" y="9819"/>
                  </a:cubicBezTo>
                  <a:cubicBezTo>
                    <a:pt x="11267" y="9819"/>
                    <a:pt x="11328" y="9723"/>
                    <a:pt x="11328" y="9603"/>
                  </a:cubicBezTo>
                  <a:cubicBezTo>
                    <a:pt x="11328" y="9482"/>
                    <a:pt x="11267" y="9384"/>
                    <a:pt x="11191" y="9384"/>
                  </a:cubicBezTo>
                  <a:close/>
                  <a:moveTo>
                    <a:pt x="11561" y="9384"/>
                  </a:moveTo>
                  <a:cubicBezTo>
                    <a:pt x="11484" y="9384"/>
                    <a:pt x="11422" y="9482"/>
                    <a:pt x="11422" y="9603"/>
                  </a:cubicBezTo>
                  <a:cubicBezTo>
                    <a:pt x="11422" y="9723"/>
                    <a:pt x="11484" y="9819"/>
                    <a:pt x="11561" y="9819"/>
                  </a:cubicBezTo>
                  <a:cubicBezTo>
                    <a:pt x="11637" y="9819"/>
                    <a:pt x="11698" y="9723"/>
                    <a:pt x="11698" y="9603"/>
                  </a:cubicBezTo>
                  <a:cubicBezTo>
                    <a:pt x="11698" y="9482"/>
                    <a:pt x="11637" y="9384"/>
                    <a:pt x="11561" y="9384"/>
                  </a:cubicBezTo>
                  <a:close/>
                  <a:moveTo>
                    <a:pt x="11972" y="9384"/>
                  </a:moveTo>
                  <a:cubicBezTo>
                    <a:pt x="11895" y="9384"/>
                    <a:pt x="11833" y="9482"/>
                    <a:pt x="11833" y="9603"/>
                  </a:cubicBezTo>
                  <a:cubicBezTo>
                    <a:pt x="11833" y="9723"/>
                    <a:pt x="11895" y="9819"/>
                    <a:pt x="11972" y="9819"/>
                  </a:cubicBezTo>
                  <a:cubicBezTo>
                    <a:pt x="12048" y="9819"/>
                    <a:pt x="12109" y="9723"/>
                    <a:pt x="12109" y="9603"/>
                  </a:cubicBezTo>
                  <a:cubicBezTo>
                    <a:pt x="12109" y="9482"/>
                    <a:pt x="12048" y="9384"/>
                    <a:pt x="11972" y="9384"/>
                  </a:cubicBezTo>
                  <a:close/>
                  <a:moveTo>
                    <a:pt x="12382" y="9384"/>
                  </a:moveTo>
                  <a:cubicBezTo>
                    <a:pt x="12306" y="9384"/>
                    <a:pt x="12244" y="9482"/>
                    <a:pt x="12244" y="9603"/>
                  </a:cubicBezTo>
                  <a:cubicBezTo>
                    <a:pt x="12244" y="9723"/>
                    <a:pt x="12306" y="9819"/>
                    <a:pt x="12382" y="9819"/>
                  </a:cubicBezTo>
                  <a:cubicBezTo>
                    <a:pt x="12459" y="9819"/>
                    <a:pt x="12520" y="9723"/>
                    <a:pt x="12520" y="9603"/>
                  </a:cubicBezTo>
                  <a:cubicBezTo>
                    <a:pt x="12520" y="9482"/>
                    <a:pt x="12459" y="9384"/>
                    <a:pt x="12382" y="9384"/>
                  </a:cubicBezTo>
                  <a:close/>
                  <a:moveTo>
                    <a:pt x="12752" y="9384"/>
                  </a:moveTo>
                  <a:cubicBezTo>
                    <a:pt x="12676" y="9384"/>
                    <a:pt x="12614" y="9482"/>
                    <a:pt x="12614" y="9603"/>
                  </a:cubicBezTo>
                  <a:cubicBezTo>
                    <a:pt x="12614" y="9723"/>
                    <a:pt x="12676" y="9819"/>
                    <a:pt x="12752" y="9819"/>
                  </a:cubicBezTo>
                  <a:cubicBezTo>
                    <a:pt x="12828" y="9819"/>
                    <a:pt x="12890" y="9723"/>
                    <a:pt x="12890" y="9603"/>
                  </a:cubicBezTo>
                  <a:cubicBezTo>
                    <a:pt x="12890" y="9482"/>
                    <a:pt x="12828" y="9384"/>
                    <a:pt x="12752" y="9384"/>
                  </a:cubicBezTo>
                  <a:close/>
                  <a:moveTo>
                    <a:pt x="14355" y="9384"/>
                  </a:moveTo>
                  <a:cubicBezTo>
                    <a:pt x="14278" y="9384"/>
                    <a:pt x="14216" y="9482"/>
                    <a:pt x="14216" y="9603"/>
                  </a:cubicBezTo>
                  <a:cubicBezTo>
                    <a:pt x="14216" y="9723"/>
                    <a:pt x="14278" y="9819"/>
                    <a:pt x="14355" y="9819"/>
                  </a:cubicBezTo>
                  <a:cubicBezTo>
                    <a:pt x="14431" y="9819"/>
                    <a:pt x="14492" y="9723"/>
                    <a:pt x="14492" y="9603"/>
                  </a:cubicBezTo>
                  <a:cubicBezTo>
                    <a:pt x="14492" y="9482"/>
                    <a:pt x="14431" y="9384"/>
                    <a:pt x="14355" y="9384"/>
                  </a:cubicBezTo>
                  <a:close/>
                  <a:moveTo>
                    <a:pt x="14765" y="9384"/>
                  </a:moveTo>
                  <a:cubicBezTo>
                    <a:pt x="14689" y="9384"/>
                    <a:pt x="14627" y="9482"/>
                    <a:pt x="14627" y="9603"/>
                  </a:cubicBezTo>
                  <a:cubicBezTo>
                    <a:pt x="14627" y="9723"/>
                    <a:pt x="14689" y="9819"/>
                    <a:pt x="14765" y="9819"/>
                  </a:cubicBezTo>
                  <a:cubicBezTo>
                    <a:pt x="14842" y="9819"/>
                    <a:pt x="14903" y="9723"/>
                    <a:pt x="14903" y="9603"/>
                  </a:cubicBezTo>
                  <a:cubicBezTo>
                    <a:pt x="14903" y="9482"/>
                    <a:pt x="14842" y="9384"/>
                    <a:pt x="14765" y="9384"/>
                  </a:cubicBezTo>
                  <a:close/>
                  <a:moveTo>
                    <a:pt x="3302" y="9967"/>
                  </a:moveTo>
                  <a:cubicBezTo>
                    <a:pt x="3226" y="9967"/>
                    <a:pt x="3164" y="10065"/>
                    <a:pt x="3164" y="10185"/>
                  </a:cubicBezTo>
                  <a:cubicBezTo>
                    <a:pt x="3164" y="10305"/>
                    <a:pt x="3226" y="10402"/>
                    <a:pt x="3302" y="10402"/>
                  </a:cubicBezTo>
                  <a:cubicBezTo>
                    <a:pt x="3379" y="10402"/>
                    <a:pt x="3440" y="10305"/>
                    <a:pt x="3440" y="10185"/>
                  </a:cubicBezTo>
                  <a:cubicBezTo>
                    <a:pt x="3440" y="10065"/>
                    <a:pt x="3379" y="9967"/>
                    <a:pt x="3302" y="9967"/>
                  </a:cubicBezTo>
                  <a:close/>
                  <a:moveTo>
                    <a:pt x="3713" y="9967"/>
                  </a:moveTo>
                  <a:cubicBezTo>
                    <a:pt x="3637" y="9967"/>
                    <a:pt x="3575" y="10065"/>
                    <a:pt x="3575" y="10185"/>
                  </a:cubicBezTo>
                  <a:cubicBezTo>
                    <a:pt x="3575" y="10305"/>
                    <a:pt x="3637" y="10402"/>
                    <a:pt x="3713" y="10402"/>
                  </a:cubicBezTo>
                  <a:cubicBezTo>
                    <a:pt x="3789" y="10402"/>
                    <a:pt x="3851" y="10305"/>
                    <a:pt x="3851" y="10185"/>
                  </a:cubicBezTo>
                  <a:cubicBezTo>
                    <a:pt x="3851" y="10065"/>
                    <a:pt x="3789" y="9967"/>
                    <a:pt x="3713" y="9967"/>
                  </a:cubicBezTo>
                  <a:close/>
                  <a:moveTo>
                    <a:pt x="4083" y="9967"/>
                  </a:moveTo>
                  <a:cubicBezTo>
                    <a:pt x="4007" y="9967"/>
                    <a:pt x="3944" y="10065"/>
                    <a:pt x="3944" y="10185"/>
                  </a:cubicBezTo>
                  <a:cubicBezTo>
                    <a:pt x="3944" y="10305"/>
                    <a:pt x="4007" y="10402"/>
                    <a:pt x="4083" y="10402"/>
                  </a:cubicBezTo>
                  <a:cubicBezTo>
                    <a:pt x="4159" y="10402"/>
                    <a:pt x="4220" y="10305"/>
                    <a:pt x="4220" y="10185"/>
                  </a:cubicBezTo>
                  <a:cubicBezTo>
                    <a:pt x="4220" y="10065"/>
                    <a:pt x="4159" y="9967"/>
                    <a:pt x="4083" y="9967"/>
                  </a:cubicBezTo>
                  <a:close/>
                  <a:moveTo>
                    <a:pt x="4494" y="9967"/>
                  </a:moveTo>
                  <a:cubicBezTo>
                    <a:pt x="4418" y="9967"/>
                    <a:pt x="4355" y="10065"/>
                    <a:pt x="4355" y="10185"/>
                  </a:cubicBezTo>
                  <a:cubicBezTo>
                    <a:pt x="4355" y="10305"/>
                    <a:pt x="4418" y="10402"/>
                    <a:pt x="4494" y="10402"/>
                  </a:cubicBezTo>
                  <a:cubicBezTo>
                    <a:pt x="4570" y="10402"/>
                    <a:pt x="4631" y="10305"/>
                    <a:pt x="4631" y="10185"/>
                  </a:cubicBezTo>
                  <a:cubicBezTo>
                    <a:pt x="4631" y="10065"/>
                    <a:pt x="4570" y="9967"/>
                    <a:pt x="4494" y="9967"/>
                  </a:cubicBezTo>
                  <a:close/>
                  <a:moveTo>
                    <a:pt x="4864" y="9967"/>
                  </a:moveTo>
                  <a:cubicBezTo>
                    <a:pt x="4787" y="9967"/>
                    <a:pt x="4725" y="10065"/>
                    <a:pt x="4725" y="10185"/>
                  </a:cubicBezTo>
                  <a:cubicBezTo>
                    <a:pt x="4725" y="10305"/>
                    <a:pt x="4787" y="10402"/>
                    <a:pt x="4864" y="10402"/>
                  </a:cubicBezTo>
                  <a:cubicBezTo>
                    <a:pt x="4940" y="10402"/>
                    <a:pt x="5001" y="10305"/>
                    <a:pt x="5001" y="10185"/>
                  </a:cubicBezTo>
                  <a:cubicBezTo>
                    <a:pt x="5001" y="10065"/>
                    <a:pt x="4940" y="9967"/>
                    <a:pt x="4864" y="9967"/>
                  </a:cubicBezTo>
                  <a:close/>
                  <a:moveTo>
                    <a:pt x="5274" y="9967"/>
                  </a:moveTo>
                  <a:cubicBezTo>
                    <a:pt x="5198" y="9967"/>
                    <a:pt x="5136" y="10065"/>
                    <a:pt x="5136" y="10185"/>
                  </a:cubicBezTo>
                  <a:cubicBezTo>
                    <a:pt x="5136" y="10305"/>
                    <a:pt x="5198" y="10402"/>
                    <a:pt x="5274" y="10402"/>
                  </a:cubicBezTo>
                  <a:cubicBezTo>
                    <a:pt x="5351" y="10402"/>
                    <a:pt x="5412" y="10305"/>
                    <a:pt x="5412" y="10185"/>
                  </a:cubicBezTo>
                  <a:cubicBezTo>
                    <a:pt x="5412" y="10065"/>
                    <a:pt x="5351" y="9967"/>
                    <a:pt x="5274" y="9967"/>
                  </a:cubicBezTo>
                  <a:close/>
                  <a:moveTo>
                    <a:pt x="5685" y="9967"/>
                  </a:moveTo>
                  <a:cubicBezTo>
                    <a:pt x="5609" y="9967"/>
                    <a:pt x="5547" y="10065"/>
                    <a:pt x="5547" y="10185"/>
                  </a:cubicBezTo>
                  <a:cubicBezTo>
                    <a:pt x="5547" y="10305"/>
                    <a:pt x="5609" y="10402"/>
                    <a:pt x="5685" y="10402"/>
                  </a:cubicBezTo>
                  <a:cubicBezTo>
                    <a:pt x="5762" y="10402"/>
                    <a:pt x="5823" y="10305"/>
                    <a:pt x="5823" y="10185"/>
                  </a:cubicBezTo>
                  <a:cubicBezTo>
                    <a:pt x="5823" y="10065"/>
                    <a:pt x="5762" y="9967"/>
                    <a:pt x="5685" y="9967"/>
                  </a:cubicBezTo>
                  <a:close/>
                  <a:moveTo>
                    <a:pt x="6055" y="9967"/>
                  </a:moveTo>
                  <a:cubicBezTo>
                    <a:pt x="5979" y="9967"/>
                    <a:pt x="5916" y="10065"/>
                    <a:pt x="5916" y="10185"/>
                  </a:cubicBezTo>
                  <a:cubicBezTo>
                    <a:pt x="5916" y="10305"/>
                    <a:pt x="5979" y="10402"/>
                    <a:pt x="6055" y="10402"/>
                  </a:cubicBezTo>
                  <a:cubicBezTo>
                    <a:pt x="6131" y="10402"/>
                    <a:pt x="6193" y="10305"/>
                    <a:pt x="6193" y="10185"/>
                  </a:cubicBezTo>
                  <a:cubicBezTo>
                    <a:pt x="6193" y="10065"/>
                    <a:pt x="6131" y="9967"/>
                    <a:pt x="6055" y="9967"/>
                  </a:cubicBezTo>
                  <a:close/>
                  <a:moveTo>
                    <a:pt x="6466" y="9967"/>
                  </a:moveTo>
                  <a:cubicBezTo>
                    <a:pt x="6390" y="9967"/>
                    <a:pt x="6327" y="10065"/>
                    <a:pt x="6327" y="10185"/>
                  </a:cubicBezTo>
                  <a:cubicBezTo>
                    <a:pt x="6327" y="10305"/>
                    <a:pt x="6390" y="10402"/>
                    <a:pt x="6466" y="10402"/>
                  </a:cubicBezTo>
                  <a:cubicBezTo>
                    <a:pt x="6542" y="10402"/>
                    <a:pt x="6603" y="10305"/>
                    <a:pt x="6603" y="10185"/>
                  </a:cubicBezTo>
                  <a:cubicBezTo>
                    <a:pt x="6603" y="10065"/>
                    <a:pt x="6542" y="9967"/>
                    <a:pt x="6466" y="9967"/>
                  </a:cubicBezTo>
                  <a:close/>
                  <a:moveTo>
                    <a:pt x="6877" y="9967"/>
                  </a:moveTo>
                  <a:cubicBezTo>
                    <a:pt x="6801" y="9967"/>
                    <a:pt x="6738" y="10065"/>
                    <a:pt x="6738" y="10185"/>
                  </a:cubicBezTo>
                  <a:cubicBezTo>
                    <a:pt x="6738" y="10305"/>
                    <a:pt x="6801" y="10402"/>
                    <a:pt x="6877" y="10402"/>
                  </a:cubicBezTo>
                  <a:cubicBezTo>
                    <a:pt x="6953" y="10402"/>
                    <a:pt x="7014" y="10305"/>
                    <a:pt x="7014" y="10185"/>
                  </a:cubicBezTo>
                  <a:cubicBezTo>
                    <a:pt x="7014" y="10065"/>
                    <a:pt x="6953" y="9967"/>
                    <a:pt x="6877" y="9967"/>
                  </a:cubicBezTo>
                  <a:close/>
                  <a:moveTo>
                    <a:pt x="7247" y="9967"/>
                  </a:moveTo>
                  <a:cubicBezTo>
                    <a:pt x="7170" y="9967"/>
                    <a:pt x="7108" y="10065"/>
                    <a:pt x="7108" y="10185"/>
                  </a:cubicBezTo>
                  <a:cubicBezTo>
                    <a:pt x="7108" y="10305"/>
                    <a:pt x="7170" y="10402"/>
                    <a:pt x="7247" y="10402"/>
                  </a:cubicBezTo>
                  <a:cubicBezTo>
                    <a:pt x="7323" y="10402"/>
                    <a:pt x="7384" y="10305"/>
                    <a:pt x="7384" y="10185"/>
                  </a:cubicBezTo>
                  <a:cubicBezTo>
                    <a:pt x="7384" y="10065"/>
                    <a:pt x="7323" y="9967"/>
                    <a:pt x="7247" y="9967"/>
                  </a:cubicBezTo>
                  <a:close/>
                  <a:moveTo>
                    <a:pt x="7658" y="9967"/>
                  </a:moveTo>
                  <a:cubicBezTo>
                    <a:pt x="7581" y="9967"/>
                    <a:pt x="7519" y="10065"/>
                    <a:pt x="7519" y="10185"/>
                  </a:cubicBezTo>
                  <a:cubicBezTo>
                    <a:pt x="7519" y="10305"/>
                    <a:pt x="7581" y="10402"/>
                    <a:pt x="7658" y="10402"/>
                  </a:cubicBezTo>
                  <a:cubicBezTo>
                    <a:pt x="7734" y="10402"/>
                    <a:pt x="7795" y="10305"/>
                    <a:pt x="7795" y="10185"/>
                  </a:cubicBezTo>
                  <a:cubicBezTo>
                    <a:pt x="7795" y="10065"/>
                    <a:pt x="7734" y="9967"/>
                    <a:pt x="7658" y="9967"/>
                  </a:cubicBezTo>
                  <a:close/>
                  <a:moveTo>
                    <a:pt x="8027" y="9967"/>
                  </a:moveTo>
                  <a:cubicBezTo>
                    <a:pt x="7951" y="9967"/>
                    <a:pt x="7889" y="10065"/>
                    <a:pt x="7889" y="10185"/>
                  </a:cubicBezTo>
                  <a:cubicBezTo>
                    <a:pt x="7889" y="10305"/>
                    <a:pt x="7951" y="10402"/>
                    <a:pt x="8027" y="10402"/>
                  </a:cubicBezTo>
                  <a:cubicBezTo>
                    <a:pt x="8103" y="10402"/>
                    <a:pt x="8165" y="10305"/>
                    <a:pt x="8165" y="10185"/>
                  </a:cubicBezTo>
                  <a:cubicBezTo>
                    <a:pt x="8165" y="10065"/>
                    <a:pt x="8103" y="9967"/>
                    <a:pt x="8027" y="9967"/>
                  </a:cubicBezTo>
                  <a:close/>
                  <a:moveTo>
                    <a:pt x="8438" y="9967"/>
                  </a:moveTo>
                  <a:cubicBezTo>
                    <a:pt x="8362" y="9967"/>
                    <a:pt x="8299" y="10065"/>
                    <a:pt x="8299" y="10185"/>
                  </a:cubicBezTo>
                  <a:cubicBezTo>
                    <a:pt x="8299" y="10305"/>
                    <a:pt x="8362" y="10402"/>
                    <a:pt x="8438" y="10402"/>
                  </a:cubicBezTo>
                  <a:cubicBezTo>
                    <a:pt x="8515" y="10402"/>
                    <a:pt x="8576" y="10305"/>
                    <a:pt x="8576" y="10185"/>
                  </a:cubicBezTo>
                  <a:cubicBezTo>
                    <a:pt x="8576" y="10065"/>
                    <a:pt x="8515" y="9967"/>
                    <a:pt x="8438" y="9967"/>
                  </a:cubicBezTo>
                  <a:close/>
                  <a:moveTo>
                    <a:pt x="8849" y="9967"/>
                  </a:moveTo>
                  <a:cubicBezTo>
                    <a:pt x="8773" y="9967"/>
                    <a:pt x="8710" y="10065"/>
                    <a:pt x="8710" y="10185"/>
                  </a:cubicBezTo>
                  <a:cubicBezTo>
                    <a:pt x="8710" y="10305"/>
                    <a:pt x="8773" y="10402"/>
                    <a:pt x="8849" y="10402"/>
                  </a:cubicBezTo>
                  <a:cubicBezTo>
                    <a:pt x="8925" y="10402"/>
                    <a:pt x="8986" y="10305"/>
                    <a:pt x="8986" y="10185"/>
                  </a:cubicBezTo>
                  <a:cubicBezTo>
                    <a:pt x="8986" y="10065"/>
                    <a:pt x="8925" y="9967"/>
                    <a:pt x="8849" y="9967"/>
                  </a:cubicBezTo>
                  <a:close/>
                  <a:moveTo>
                    <a:pt x="9219" y="9967"/>
                  </a:moveTo>
                  <a:cubicBezTo>
                    <a:pt x="9142" y="9967"/>
                    <a:pt x="9080" y="10065"/>
                    <a:pt x="9080" y="10185"/>
                  </a:cubicBezTo>
                  <a:cubicBezTo>
                    <a:pt x="9080" y="10305"/>
                    <a:pt x="9142" y="10402"/>
                    <a:pt x="9219" y="10402"/>
                  </a:cubicBezTo>
                  <a:cubicBezTo>
                    <a:pt x="9295" y="10402"/>
                    <a:pt x="9356" y="10305"/>
                    <a:pt x="9356" y="10185"/>
                  </a:cubicBezTo>
                  <a:cubicBezTo>
                    <a:pt x="9356" y="10065"/>
                    <a:pt x="9295" y="9967"/>
                    <a:pt x="9219" y="9967"/>
                  </a:cubicBezTo>
                  <a:close/>
                  <a:moveTo>
                    <a:pt x="9589" y="9967"/>
                  </a:moveTo>
                  <a:cubicBezTo>
                    <a:pt x="9512" y="9967"/>
                    <a:pt x="9450" y="10065"/>
                    <a:pt x="9450" y="10185"/>
                  </a:cubicBezTo>
                  <a:cubicBezTo>
                    <a:pt x="9450" y="10305"/>
                    <a:pt x="9512" y="10402"/>
                    <a:pt x="9589" y="10402"/>
                  </a:cubicBezTo>
                  <a:cubicBezTo>
                    <a:pt x="9665" y="10402"/>
                    <a:pt x="9726" y="10305"/>
                    <a:pt x="9726" y="10185"/>
                  </a:cubicBezTo>
                  <a:cubicBezTo>
                    <a:pt x="9726" y="10065"/>
                    <a:pt x="9665" y="9967"/>
                    <a:pt x="9589" y="9967"/>
                  </a:cubicBezTo>
                  <a:close/>
                  <a:moveTo>
                    <a:pt x="9999" y="9967"/>
                  </a:moveTo>
                  <a:cubicBezTo>
                    <a:pt x="9923" y="9967"/>
                    <a:pt x="9861" y="10065"/>
                    <a:pt x="9861" y="10185"/>
                  </a:cubicBezTo>
                  <a:cubicBezTo>
                    <a:pt x="9861" y="10305"/>
                    <a:pt x="9923" y="10402"/>
                    <a:pt x="9999" y="10402"/>
                  </a:cubicBezTo>
                  <a:cubicBezTo>
                    <a:pt x="10076" y="10402"/>
                    <a:pt x="10137" y="10305"/>
                    <a:pt x="10137" y="10185"/>
                  </a:cubicBezTo>
                  <a:cubicBezTo>
                    <a:pt x="10137" y="10065"/>
                    <a:pt x="10076" y="9967"/>
                    <a:pt x="9999" y="9967"/>
                  </a:cubicBezTo>
                  <a:close/>
                  <a:moveTo>
                    <a:pt x="10410" y="9967"/>
                  </a:moveTo>
                  <a:cubicBezTo>
                    <a:pt x="10334" y="9967"/>
                    <a:pt x="10272" y="10065"/>
                    <a:pt x="10272" y="10185"/>
                  </a:cubicBezTo>
                  <a:cubicBezTo>
                    <a:pt x="10272" y="10305"/>
                    <a:pt x="10334" y="10402"/>
                    <a:pt x="10410" y="10402"/>
                  </a:cubicBezTo>
                  <a:cubicBezTo>
                    <a:pt x="10487" y="10402"/>
                    <a:pt x="10548" y="10305"/>
                    <a:pt x="10548" y="10185"/>
                  </a:cubicBezTo>
                  <a:cubicBezTo>
                    <a:pt x="10548" y="10065"/>
                    <a:pt x="10487" y="9967"/>
                    <a:pt x="10410" y="9967"/>
                  </a:cubicBezTo>
                  <a:close/>
                  <a:moveTo>
                    <a:pt x="10780" y="9967"/>
                  </a:moveTo>
                  <a:cubicBezTo>
                    <a:pt x="10704" y="9967"/>
                    <a:pt x="10641" y="10065"/>
                    <a:pt x="10641" y="10185"/>
                  </a:cubicBezTo>
                  <a:cubicBezTo>
                    <a:pt x="10641" y="10305"/>
                    <a:pt x="10704" y="10402"/>
                    <a:pt x="10780" y="10402"/>
                  </a:cubicBezTo>
                  <a:cubicBezTo>
                    <a:pt x="10856" y="10402"/>
                    <a:pt x="10917" y="10305"/>
                    <a:pt x="10917" y="10185"/>
                  </a:cubicBezTo>
                  <a:cubicBezTo>
                    <a:pt x="10917" y="10065"/>
                    <a:pt x="10856" y="9967"/>
                    <a:pt x="10780" y="9967"/>
                  </a:cubicBezTo>
                  <a:close/>
                  <a:moveTo>
                    <a:pt x="11191" y="9967"/>
                  </a:moveTo>
                  <a:cubicBezTo>
                    <a:pt x="11115" y="9967"/>
                    <a:pt x="11052" y="10065"/>
                    <a:pt x="11052" y="10185"/>
                  </a:cubicBezTo>
                  <a:cubicBezTo>
                    <a:pt x="11052" y="10305"/>
                    <a:pt x="11115" y="10402"/>
                    <a:pt x="11191" y="10402"/>
                  </a:cubicBezTo>
                  <a:cubicBezTo>
                    <a:pt x="11267" y="10402"/>
                    <a:pt x="11328" y="10305"/>
                    <a:pt x="11328" y="10185"/>
                  </a:cubicBezTo>
                  <a:cubicBezTo>
                    <a:pt x="11328" y="10065"/>
                    <a:pt x="11267" y="9967"/>
                    <a:pt x="11191" y="9967"/>
                  </a:cubicBezTo>
                  <a:close/>
                  <a:moveTo>
                    <a:pt x="11561" y="9967"/>
                  </a:moveTo>
                  <a:cubicBezTo>
                    <a:pt x="11484" y="9967"/>
                    <a:pt x="11422" y="10065"/>
                    <a:pt x="11422" y="10185"/>
                  </a:cubicBezTo>
                  <a:cubicBezTo>
                    <a:pt x="11422" y="10305"/>
                    <a:pt x="11484" y="10402"/>
                    <a:pt x="11561" y="10402"/>
                  </a:cubicBezTo>
                  <a:cubicBezTo>
                    <a:pt x="11637" y="10402"/>
                    <a:pt x="11698" y="10305"/>
                    <a:pt x="11698" y="10185"/>
                  </a:cubicBezTo>
                  <a:cubicBezTo>
                    <a:pt x="11698" y="10065"/>
                    <a:pt x="11637" y="9967"/>
                    <a:pt x="11561" y="9967"/>
                  </a:cubicBezTo>
                  <a:close/>
                  <a:moveTo>
                    <a:pt x="11972" y="9967"/>
                  </a:moveTo>
                  <a:cubicBezTo>
                    <a:pt x="11895" y="9967"/>
                    <a:pt x="11833" y="10065"/>
                    <a:pt x="11833" y="10185"/>
                  </a:cubicBezTo>
                  <a:cubicBezTo>
                    <a:pt x="11833" y="10305"/>
                    <a:pt x="11895" y="10402"/>
                    <a:pt x="11972" y="10402"/>
                  </a:cubicBezTo>
                  <a:cubicBezTo>
                    <a:pt x="12048" y="10402"/>
                    <a:pt x="12109" y="10305"/>
                    <a:pt x="12109" y="10185"/>
                  </a:cubicBezTo>
                  <a:cubicBezTo>
                    <a:pt x="12109" y="10065"/>
                    <a:pt x="12048" y="9967"/>
                    <a:pt x="11972" y="9967"/>
                  </a:cubicBezTo>
                  <a:close/>
                  <a:moveTo>
                    <a:pt x="12382" y="9967"/>
                  </a:moveTo>
                  <a:cubicBezTo>
                    <a:pt x="12306" y="9967"/>
                    <a:pt x="12244" y="10065"/>
                    <a:pt x="12244" y="10185"/>
                  </a:cubicBezTo>
                  <a:cubicBezTo>
                    <a:pt x="12244" y="10305"/>
                    <a:pt x="12306" y="10402"/>
                    <a:pt x="12382" y="10402"/>
                  </a:cubicBezTo>
                  <a:cubicBezTo>
                    <a:pt x="12459" y="10402"/>
                    <a:pt x="12520" y="10305"/>
                    <a:pt x="12520" y="10185"/>
                  </a:cubicBezTo>
                  <a:cubicBezTo>
                    <a:pt x="12520" y="10065"/>
                    <a:pt x="12459" y="9967"/>
                    <a:pt x="12382" y="9967"/>
                  </a:cubicBezTo>
                  <a:close/>
                  <a:moveTo>
                    <a:pt x="12752" y="9967"/>
                  </a:moveTo>
                  <a:cubicBezTo>
                    <a:pt x="12676" y="9967"/>
                    <a:pt x="12614" y="10065"/>
                    <a:pt x="12614" y="10185"/>
                  </a:cubicBezTo>
                  <a:cubicBezTo>
                    <a:pt x="12614" y="10305"/>
                    <a:pt x="12676" y="10402"/>
                    <a:pt x="12752" y="10402"/>
                  </a:cubicBezTo>
                  <a:cubicBezTo>
                    <a:pt x="12828" y="10402"/>
                    <a:pt x="12890" y="10305"/>
                    <a:pt x="12890" y="10185"/>
                  </a:cubicBezTo>
                  <a:cubicBezTo>
                    <a:pt x="12890" y="10065"/>
                    <a:pt x="12828" y="9967"/>
                    <a:pt x="12752" y="9967"/>
                  </a:cubicBezTo>
                  <a:close/>
                  <a:moveTo>
                    <a:pt x="13163" y="9967"/>
                  </a:moveTo>
                  <a:cubicBezTo>
                    <a:pt x="13087" y="9967"/>
                    <a:pt x="13024" y="10065"/>
                    <a:pt x="13024" y="10185"/>
                  </a:cubicBezTo>
                  <a:cubicBezTo>
                    <a:pt x="13024" y="10305"/>
                    <a:pt x="13087" y="10402"/>
                    <a:pt x="13163" y="10402"/>
                  </a:cubicBezTo>
                  <a:cubicBezTo>
                    <a:pt x="13239" y="10402"/>
                    <a:pt x="13301" y="10305"/>
                    <a:pt x="13301" y="10185"/>
                  </a:cubicBezTo>
                  <a:cubicBezTo>
                    <a:pt x="13301" y="10065"/>
                    <a:pt x="13239" y="9967"/>
                    <a:pt x="13163" y="9967"/>
                  </a:cubicBezTo>
                  <a:close/>
                  <a:moveTo>
                    <a:pt x="2933" y="10614"/>
                  </a:moveTo>
                  <a:cubicBezTo>
                    <a:pt x="2856" y="10614"/>
                    <a:pt x="2794" y="10712"/>
                    <a:pt x="2794" y="10832"/>
                  </a:cubicBezTo>
                  <a:cubicBezTo>
                    <a:pt x="2794" y="10953"/>
                    <a:pt x="2856" y="11049"/>
                    <a:pt x="2933" y="11049"/>
                  </a:cubicBezTo>
                  <a:cubicBezTo>
                    <a:pt x="3009" y="11049"/>
                    <a:pt x="3070" y="10953"/>
                    <a:pt x="3070" y="10832"/>
                  </a:cubicBezTo>
                  <a:cubicBezTo>
                    <a:pt x="3070" y="10712"/>
                    <a:pt x="3009" y="10614"/>
                    <a:pt x="2933" y="10614"/>
                  </a:cubicBezTo>
                  <a:close/>
                  <a:moveTo>
                    <a:pt x="3302" y="10614"/>
                  </a:moveTo>
                  <a:cubicBezTo>
                    <a:pt x="3226" y="10614"/>
                    <a:pt x="3164" y="10712"/>
                    <a:pt x="3164" y="10832"/>
                  </a:cubicBezTo>
                  <a:cubicBezTo>
                    <a:pt x="3164" y="10953"/>
                    <a:pt x="3226" y="11049"/>
                    <a:pt x="3302" y="11049"/>
                  </a:cubicBezTo>
                  <a:cubicBezTo>
                    <a:pt x="3379" y="11049"/>
                    <a:pt x="3440" y="10953"/>
                    <a:pt x="3440" y="10832"/>
                  </a:cubicBezTo>
                  <a:cubicBezTo>
                    <a:pt x="3440" y="10712"/>
                    <a:pt x="3379" y="10614"/>
                    <a:pt x="3302" y="10614"/>
                  </a:cubicBezTo>
                  <a:close/>
                  <a:moveTo>
                    <a:pt x="3713" y="10614"/>
                  </a:moveTo>
                  <a:cubicBezTo>
                    <a:pt x="3637" y="10614"/>
                    <a:pt x="3575" y="10712"/>
                    <a:pt x="3575" y="10832"/>
                  </a:cubicBezTo>
                  <a:cubicBezTo>
                    <a:pt x="3575" y="10953"/>
                    <a:pt x="3637" y="11049"/>
                    <a:pt x="3713" y="11049"/>
                  </a:cubicBezTo>
                  <a:cubicBezTo>
                    <a:pt x="3789" y="11049"/>
                    <a:pt x="3851" y="10953"/>
                    <a:pt x="3851" y="10832"/>
                  </a:cubicBezTo>
                  <a:cubicBezTo>
                    <a:pt x="3851" y="10712"/>
                    <a:pt x="3789" y="10614"/>
                    <a:pt x="3713" y="10614"/>
                  </a:cubicBezTo>
                  <a:close/>
                  <a:moveTo>
                    <a:pt x="4083" y="10614"/>
                  </a:moveTo>
                  <a:cubicBezTo>
                    <a:pt x="4007" y="10614"/>
                    <a:pt x="3944" y="10712"/>
                    <a:pt x="3944" y="10832"/>
                  </a:cubicBezTo>
                  <a:cubicBezTo>
                    <a:pt x="3944" y="10953"/>
                    <a:pt x="4007" y="11049"/>
                    <a:pt x="4083" y="11049"/>
                  </a:cubicBezTo>
                  <a:cubicBezTo>
                    <a:pt x="4159" y="11049"/>
                    <a:pt x="4220" y="10953"/>
                    <a:pt x="4220" y="10832"/>
                  </a:cubicBezTo>
                  <a:cubicBezTo>
                    <a:pt x="4220" y="10712"/>
                    <a:pt x="4159" y="10614"/>
                    <a:pt x="4083" y="10614"/>
                  </a:cubicBezTo>
                  <a:close/>
                  <a:moveTo>
                    <a:pt x="4494" y="10614"/>
                  </a:moveTo>
                  <a:cubicBezTo>
                    <a:pt x="4418" y="10614"/>
                    <a:pt x="4355" y="10712"/>
                    <a:pt x="4355" y="10832"/>
                  </a:cubicBezTo>
                  <a:cubicBezTo>
                    <a:pt x="4355" y="10953"/>
                    <a:pt x="4418" y="11049"/>
                    <a:pt x="4494" y="11049"/>
                  </a:cubicBezTo>
                  <a:cubicBezTo>
                    <a:pt x="4570" y="11049"/>
                    <a:pt x="4631" y="10953"/>
                    <a:pt x="4631" y="10832"/>
                  </a:cubicBezTo>
                  <a:cubicBezTo>
                    <a:pt x="4631" y="10712"/>
                    <a:pt x="4570" y="10614"/>
                    <a:pt x="4494" y="10614"/>
                  </a:cubicBezTo>
                  <a:close/>
                  <a:moveTo>
                    <a:pt x="4864" y="10614"/>
                  </a:moveTo>
                  <a:cubicBezTo>
                    <a:pt x="4787" y="10614"/>
                    <a:pt x="4725" y="10712"/>
                    <a:pt x="4725" y="10832"/>
                  </a:cubicBezTo>
                  <a:cubicBezTo>
                    <a:pt x="4725" y="10953"/>
                    <a:pt x="4787" y="11049"/>
                    <a:pt x="4864" y="11049"/>
                  </a:cubicBezTo>
                  <a:cubicBezTo>
                    <a:pt x="4940" y="11049"/>
                    <a:pt x="5001" y="10953"/>
                    <a:pt x="5001" y="10832"/>
                  </a:cubicBezTo>
                  <a:cubicBezTo>
                    <a:pt x="5001" y="10712"/>
                    <a:pt x="4940" y="10614"/>
                    <a:pt x="4864" y="10614"/>
                  </a:cubicBezTo>
                  <a:close/>
                  <a:moveTo>
                    <a:pt x="5274" y="10614"/>
                  </a:moveTo>
                  <a:cubicBezTo>
                    <a:pt x="5198" y="10614"/>
                    <a:pt x="5136" y="10712"/>
                    <a:pt x="5136" y="10832"/>
                  </a:cubicBezTo>
                  <a:cubicBezTo>
                    <a:pt x="5136" y="10953"/>
                    <a:pt x="5198" y="11049"/>
                    <a:pt x="5274" y="11049"/>
                  </a:cubicBezTo>
                  <a:cubicBezTo>
                    <a:pt x="5351" y="11049"/>
                    <a:pt x="5412" y="10953"/>
                    <a:pt x="5412" y="10832"/>
                  </a:cubicBezTo>
                  <a:cubicBezTo>
                    <a:pt x="5412" y="10712"/>
                    <a:pt x="5351" y="10614"/>
                    <a:pt x="5274" y="10614"/>
                  </a:cubicBezTo>
                  <a:close/>
                  <a:moveTo>
                    <a:pt x="5685" y="10614"/>
                  </a:moveTo>
                  <a:cubicBezTo>
                    <a:pt x="5609" y="10614"/>
                    <a:pt x="5547" y="10712"/>
                    <a:pt x="5547" y="10832"/>
                  </a:cubicBezTo>
                  <a:cubicBezTo>
                    <a:pt x="5547" y="10953"/>
                    <a:pt x="5609" y="11049"/>
                    <a:pt x="5685" y="11049"/>
                  </a:cubicBezTo>
                  <a:cubicBezTo>
                    <a:pt x="5762" y="11049"/>
                    <a:pt x="5823" y="10953"/>
                    <a:pt x="5823" y="10832"/>
                  </a:cubicBezTo>
                  <a:cubicBezTo>
                    <a:pt x="5823" y="10712"/>
                    <a:pt x="5762" y="10614"/>
                    <a:pt x="5685" y="10614"/>
                  </a:cubicBezTo>
                  <a:close/>
                  <a:moveTo>
                    <a:pt x="6055" y="10614"/>
                  </a:moveTo>
                  <a:cubicBezTo>
                    <a:pt x="5979" y="10614"/>
                    <a:pt x="5916" y="10712"/>
                    <a:pt x="5916" y="10832"/>
                  </a:cubicBezTo>
                  <a:cubicBezTo>
                    <a:pt x="5916" y="10953"/>
                    <a:pt x="5979" y="11049"/>
                    <a:pt x="6055" y="11049"/>
                  </a:cubicBezTo>
                  <a:cubicBezTo>
                    <a:pt x="6131" y="11049"/>
                    <a:pt x="6193" y="10953"/>
                    <a:pt x="6193" y="10832"/>
                  </a:cubicBezTo>
                  <a:cubicBezTo>
                    <a:pt x="6193" y="10712"/>
                    <a:pt x="6131" y="10614"/>
                    <a:pt x="6055" y="10614"/>
                  </a:cubicBezTo>
                  <a:close/>
                  <a:moveTo>
                    <a:pt x="6466" y="10614"/>
                  </a:moveTo>
                  <a:cubicBezTo>
                    <a:pt x="6390" y="10614"/>
                    <a:pt x="6327" y="10712"/>
                    <a:pt x="6327" y="10832"/>
                  </a:cubicBezTo>
                  <a:cubicBezTo>
                    <a:pt x="6327" y="10953"/>
                    <a:pt x="6390" y="11049"/>
                    <a:pt x="6466" y="11049"/>
                  </a:cubicBezTo>
                  <a:cubicBezTo>
                    <a:pt x="6542" y="11049"/>
                    <a:pt x="6603" y="10953"/>
                    <a:pt x="6603" y="10832"/>
                  </a:cubicBezTo>
                  <a:cubicBezTo>
                    <a:pt x="6603" y="10712"/>
                    <a:pt x="6542" y="10614"/>
                    <a:pt x="6466" y="10614"/>
                  </a:cubicBezTo>
                  <a:close/>
                  <a:moveTo>
                    <a:pt x="6877" y="10614"/>
                  </a:moveTo>
                  <a:cubicBezTo>
                    <a:pt x="6801" y="10614"/>
                    <a:pt x="6738" y="10712"/>
                    <a:pt x="6738" y="10832"/>
                  </a:cubicBezTo>
                  <a:cubicBezTo>
                    <a:pt x="6738" y="10953"/>
                    <a:pt x="6801" y="11049"/>
                    <a:pt x="6877" y="11049"/>
                  </a:cubicBezTo>
                  <a:cubicBezTo>
                    <a:pt x="6953" y="11049"/>
                    <a:pt x="7014" y="10953"/>
                    <a:pt x="7014" y="10832"/>
                  </a:cubicBezTo>
                  <a:cubicBezTo>
                    <a:pt x="7014" y="10712"/>
                    <a:pt x="6953" y="10614"/>
                    <a:pt x="6877" y="10614"/>
                  </a:cubicBezTo>
                  <a:close/>
                  <a:moveTo>
                    <a:pt x="7247" y="10614"/>
                  </a:moveTo>
                  <a:cubicBezTo>
                    <a:pt x="7170" y="10614"/>
                    <a:pt x="7108" y="10712"/>
                    <a:pt x="7108" y="10832"/>
                  </a:cubicBezTo>
                  <a:cubicBezTo>
                    <a:pt x="7108" y="10953"/>
                    <a:pt x="7170" y="11049"/>
                    <a:pt x="7247" y="11049"/>
                  </a:cubicBezTo>
                  <a:cubicBezTo>
                    <a:pt x="7323" y="11049"/>
                    <a:pt x="7384" y="10953"/>
                    <a:pt x="7384" y="10832"/>
                  </a:cubicBezTo>
                  <a:cubicBezTo>
                    <a:pt x="7384" y="10712"/>
                    <a:pt x="7323" y="10614"/>
                    <a:pt x="7247" y="10614"/>
                  </a:cubicBezTo>
                  <a:close/>
                  <a:moveTo>
                    <a:pt x="7658" y="10614"/>
                  </a:moveTo>
                  <a:cubicBezTo>
                    <a:pt x="7581" y="10614"/>
                    <a:pt x="7519" y="10712"/>
                    <a:pt x="7519" y="10832"/>
                  </a:cubicBezTo>
                  <a:cubicBezTo>
                    <a:pt x="7519" y="10953"/>
                    <a:pt x="7581" y="11049"/>
                    <a:pt x="7658" y="11049"/>
                  </a:cubicBezTo>
                  <a:cubicBezTo>
                    <a:pt x="7734" y="11049"/>
                    <a:pt x="7795" y="10953"/>
                    <a:pt x="7795" y="10832"/>
                  </a:cubicBezTo>
                  <a:cubicBezTo>
                    <a:pt x="7795" y="10712"/>
                    <a:pt x="7734" y="10614"/>
                    <a:pt x="7658" y="10614"/>
                  </a:cubicBezTo>
                  <a:close/>
                  <a:moveTo>
                    <a:pt x="8027" y="10614"/>
                  </a:moveTo>
                  <a:cubicBezTo>
                    <a:pt x="7951" y="10614"/>
                    <a:pt x="7889" y="10712"/>
                    <a:pt x="7889" y="10832"/>
                  </a:cubicBezTo>
                  <a:cubicBezTo>
                    <a:pt x="7889" y="10953"/>
                    <a:pt x="7951" y="11049"/>
                    <a:pt x="8027" y="11049"/>
                  </a:cubicBezTo>
                  <a:cubicBezTo>
                    <a:pt x="8103" y="11049"/>
                    <a:pt x="8165" y="10953"/>
                    <a:pt x="8165" y="10832"/>
                  </a:cubicBezTo>
                  <a:cubicBezTo>
                    <a:pt x="8165" y="10712"/>
                    <a:pt x="8103" y="10614"/>
                    <a:pt x="8027" y="10614"/>
                  </a:cubicBezTo>
                  <a:close/>
                  <a:moveTo>
                    <a:pt x="8438" y="10614"/>
                  </a:moveTo>
                  <a:cubicBezTo>
                    <a:pt x="8362" y="10614"/>
                    <a:pt x="8299" y="10712"/>
                    <a:pt x="8299" y="10832"/>
                  </a:cubicBezTo>
                  <a:cubicBezTo>
                    <a:pt x="8299" y="10953"/>
                    <a:pt x="8362" y="11049"/>
                    <a:pt x="8438" y="11049"/>
                  </a:cubicBezTo>
                  <a:cubicBezTo>
                    <a:pt x="8515" y="11049"/>
                    <a:pt x="8576" y="10953"/>
                    <a:pt x="8576" y="10832"/>
                  </a:cubicBezTo>
                  <a:cubicBezTo>
                    <a:pt x="8576" y="10712"/>
                    <a:pt x="8515" y="10614"/>
                    <a:pt x="8438" y="10614"/>
                  </a:cubicBezTo>
                  <a:close/>
                  <a:moveTo>
                    <a:pt x="8849" y="10614"/>
                  </a:moveTo>
                  <a:cubicBezTo>
                    <a:pt x="8773" y="10614"/>
                    <a:pt x="8710" y="10712"/>
                    <a:pt x="8710" y="10832"/>
                  </a:cubicBezTo>
                  <a:cubicBezTo>
                    <a:pt x="8710" y="10953"/>
                    <a:pt x="8773" y="11049"/>
                    <a:pt x="8849" y="11049"/>
                  </a:cubicBezTo>
                  <a:cubicBezTo>
                    <a:pt x="8925" y="11049"/>
                    <a:pt x="8986" y="10953"/>
                    <a:pt x="8986" y="10832"/>
                  </a:cubicBezTo>
                  <a:cubicBezTo>
                    <a:pt x="8986" y="10712"/>
                    <a:pt x="8925" y="10614"/>
                    <a:pt x="8849" y="10614"/>
                  </a:cubicBezTo>
                  <a:close/>
                  <a:moveTo>
                    <a:pt x="9219" y="10614"/>
                  </a:moveTo>
                  <a:cubicBezTo>
                    <a:pt x="9142" y="10614"/>
                    <a:pt x="9080" y="10712"/>
                    <a:pt x="9080" y="10832"/>
                  </a:cubicBezTo>
                  <a:cubicBezTo>
                    <a:pt x="9080" y="10953"/>
                    <a:pt x="9142" y="11049"/>
                    <a:pt x="9219" y="11049"/>
                  </a:cubicBezTo>
                  <a:cubicBezTo>
                    <a:pt x="9295" y="11049"/>
                    <a:pt x="9356" y="10953"/>
                    <a:pt x="9356" y="10832"/>
                  </a:cubicBezTo>
                  <a:cubicBezTo>
                    <a:pt x="9356" y="10712"/>
                    <a:pt x="9295" y="10614"/>
                    <a:pt x="9219" y="10614"/>
                  </a:cubicBezTo>
                  <a:close/>
                  <a:moveTo>
                    <a:pt x="9589" y="10614"/>
                  </a:moveTo>
                  <a:cubicBezTo>
                    <a:pt x="9512" y="10614"/>
                    <a:pt x="9450" y="10712"/>
                    <a:pt x="9450" y="10832"/>
                  </a:cubicBezTo>
                  <a:cubicBezTo>
                    <a:pt x="9450" y="10953"/>
                    <a:pt x="9512" y="11049"/>
                    <a:pt x="9589" y="11049"/>
                  </a:cubicBezTo>
                  <a:cubicBezTo>
                    <a:pt x="9665" y="11049"/>
                    <a:pt x="9726" y="10953"/>
                    <a:pt x="9726" y="10832"/>
                  </a:cubicBezTo>
                  <a:cubicBezTo>
                    <a:pt x="9726" y="10712"/>
                    <a:pt x="9665" y="10614"/>
                    <a:pt x="9589" y="10614"/>
                  </a:cubicBezTo>
                  <a:close/>
                  <a:moveTo>
                    <a:pt x="9999" y="10614"/>
                  </a:moveTo>
                  <a:cubicBezTo>
                    <a:pt x="9923" y="10614"/>
                    <a:pt x="9861" y="10712"/>
                    <a:pt x="9861" y="10832"/>
                  </a:cubicBezTo>
                  <a:cubicBezTo>
                    <a:pt x="9861" y="10953"/>
                    <a:pt x="9923" y="11049"/>
                    <a:pt x="9999" y="11049"/>
                  </a:cubicBezTo>
                  <a:cubicBezTo>
                    <a:pt x="10076" y="11049"/>
                    <a:pt x="10137" y="10953"/>
                    <a:pt x="10137" y="10832"/>
                  </a:cubicBezTo>
                  <a:cubicBezTo>
                    <a:pt x="10137" y="10712"/>
                    <a:pt x="10076" y="10614"/>
                    <a:pt x="9999" y="10614"/>
                  </a:cubicBezTo>
                  <a:close/>
                  <a:moveTo>
                    <a:pt x="10410" y="10614"/>
                  </a:moveTo>
                  <a:cubicBezTo>
                    <a:pt x="10334" y="10614"/>
                    <a:pt x="10272" y="10712"/>
                    <a:pt x="10272" y="10832"/>
                  </a:cubicBezTo>
                  <a:cubicBezTo>
                    <a:pt x="10272" y="10953"/>
                    <a:pt x="10334" y="11049"/>
                    <a:pt x="10410" y="11049"/>
                  </a:cubicBezTo>
                  <a:cubicBezTo>
                    <a:pt x="10487" y="11049"/>
                    <a:pt x="10548" y="10953"/>
                    <a:pt x="10548" y="10832"/>
                  </a:cubicBezTo>
                  <a:cubicBezTo>
                    <a:pt x="10548" y="10712"/>
                    <a:pt x="10487" y="10614"/>
                    <a:pt x="10410" y="10614"/>
                  </a:cubicBezTo>
                  <a:close/>
                  <a:moveTo>
                    <a:pt x="10780" y="10614"/>
                  </a:moveTo>
                  <a:cubicBezTo>
                    <a:pt x="10704" y="10614"/>
                    <a:pt x="10641" y="10712"/>
                    <a:pt x="10641" y="10832"/>
                  </a:cubicBezTo>
                  <a:cubicBezTo>
                    <a:pt x="10641" y="10953"/>
                    <a:pt x="10704" y="11049"/>
                    <a:pt x="10780" y="11049"/>
                  </a:cubicBezTo>
                  <a:cubicBezTo>
                    <a:pt x="10856" y="11049"/>
                    <a:pt x="10917" y="10953"/>
                    <a:pt x="10917" y="10832"/>
                  </a:cubicBezTo>
                  <a:cubicBezTo>
                    <a:pt x="10917" y="10712"/>
                    <a:pt x="10856" y="10614"/>
                    <a:pt x="10780" y="10614"/>
                  </a:cubicBezTo>
                  <a:close/>
                  <a:moveTo>
                    <a:pt x="11191" y="10614"/>
                  </a:moveTo>
                  <a:cubicBezTo>
                    <a:pt x="11115" y="10614"/>
                    <a:pt x="11052" y="10712"/>
                    <a:pt x="11052" y="10832"/>
                  </a:cubicBezTo>
                  <a:cubicBezTo>
                    <a:pt x="11052" y="10953"/>
                    <a:pt x="11115" y="11049"/>
                    <a:pt x="11191" y="11049"/>
                  </a:cubicBezTo>
                  <a:cubicBezTo>
                    <a:pt x="11267" y="11049"/>
                    <a:pt x="11328" y="10953"/>
                    <a:pt x="11328" y="10832"/>
                  </a:cubicBezTo>
                  <a:cubicBezTo>
                    <a:pt x="11328" y="10712"/>
                    <a:pt x="11267" y="10614"/>
                    <a:pt x="11191" y="10614"/>
                  </a:cubicBezTo>
                  <a:close/>
                  <a:moveTo>
                    <a:pt x="11561" y="10614"/>
                  </a:moveTo>
                  <a:cubicBezTo>
                    <a:pt x="11484" y="10614"/>
                    <a:pt x="11422" y="10712"/>
                    <a:pt x="11422" y="10832"/>
                  </a:cubicBezTo>
                  <a:cubicBezTo>
                    <a:pt x="11422" y="10953"/>
                    <a:pt x="11484" y="11049"/>
                    <a:pt x="11561" y="11049"/>
                  </a:cubicBezTo>
                  <a:cubicBezTo>
                    <a:pt x="11637" y="11049"/>
                    <a:pt x="11698" y="10953"/>
                    <a:pt x="11698" y="10832"/>
                  </a:cubicBezTo>
                  <a:cubicBezTo>
                    <a:pt x="11698" y="10712"/>
                    <a:pt x="11637" y="10614"/>
                    <a:pt x="11561" y="10614"/>
                  </a:cubicBezTo>
                  <a:close/>
                  <a:moveTo>
                    <a:pt x="2891" y="11196"/>
                  </a:moveTo>
                  <a:cubicBezTo>
                    <a:pt x="2815" y="11196"/>
                    <a:pt x="2753" y="11295"/>
                    <a:pt x="2753" y="11415"/>
                  </a:cubicBezTo>
                  <a:cubicBezTo>
                    <a:pt x="2753" y="11535"/>
                    <a:pt x="2815" y="11631"/>
                    <a:pt x="2891" y="11631"/>
                  </a:cubicBezTo>
                  <a:cubicBezTo>
                    <a:pt x="2968" y="11631"/>
                    <a:pt x="3029" y="11535"/>
                    <a:pt x="3029" y="11415"/>
                  </a:cubicBezTo>
                  <a:cubicBezTo>
                    <a:pt x="3029" y="11295"/>
                    <a:pt x="2968" y="11196"/>
                    <a:pt x="2891" y="11196"/>
                  </a:cubicBezTo>
                  <a:close/>
                  <a:moveTo>
                    <a:pt x="3302" y="11196"/>
                  </a:moveTo>
                  <a:cubicBezTo>
                    <a:pt x="3226" y="11196"/>
                    <a:pt x="3164" y="11295"/>
                    <a:pt x="3164" y="11415"/>
                  </a:cubicBezTo>
                  <a:cubicBezTo>
                    <a:pt x="3164" y="11535"/>
                    <a:pt x="3226" y="11631"/>
                    <a:pt x="3302" y="11631"/>
                  </a:cubicBezTo>
                  <a:cubicBezTo>
                    <a:pt x="3379" y="11631"/>
                    <a:pt x="3440" y="11535"/>
                    <a:pt x="3440" y="11415"/>
                  </a:cubicBezTo>
                  <a:cubicBezTo>
                    <a:pt x="3440" y="11295"/>
                    <a:pt x="3379" y="11196"/>
                    <a:pt x="3302" y="11196"/>
                  </a:cubicBezTo>
                  <a:close/>
                  <a:moveTo>
                    <a:pt x="3713" y="11196"/>
                  </a:moveTo>
                  <a:cubicBezTo>
                    <a:pt x="3637" y="11196"/>
                    <a:pt x="3575" y="11295"/>
                    <a:pt x="3575" y="11415"/>
                  </a:cubicBezTo>
                  <a:cubicBezTo>
                    <a:pt x="3575" y="11535"/>
                    <a:pt x="3637" y="11631"/>
                    <a:pt x="3713" y="11631"/>
                  </a:cubicBezTo>
                  <a:cubicBezTo>
                    <a:pt x="3790" y="11631"/>
                    <a:pt x="3851" y="11535"/>
                    <a:pt x="3851" y="11415"/>
                  </a:cubicBezTo>
                  <a:cubicBezTo>
                    <a:pt x="3851" y="11295"/>
                    <a:pt x="3790" y="11196"/>
                    <a:pt x="3713" y="11196"/>
                  </a:cubicBezTo>
                  <a:close/>
                  <a:moveTo>
                    <a:pt x="4083" y="11196"/>
                  </a:moveTo>
                  <a:cubicBezTo>
                    <a:pt x="4007" y="11196"/>
                    <a:pt x="3944" y="11295"/>
                    <a:pt x="3944" y="11415"/>
                  </a:cubicBezTo>
                  <a:cubicBezTo>
                    <a:pt x="3944" y="11535"/>
                    <a:pt x="4007" y="11631"/>
                    <a:pt x="4083" y="11631"/>
                  </a:cubicBezTo>
                  <a:cubicBezTo>
                    <a:pt x="4159" y="11631"/>
                    <a:pt x="4220" y="11535"/>
                    <a:pt x="4220" y="11415"/>
                  </a:cubicBezTo>
                  <a:cubicBezTo>
                    <a:pt x="4220" y="11295"/>
                    <a:pt x="4159" y="11196"/>
                    <a:pt x="4083" y="11196"/>
                  </a:cubicBezTo>
                  <a:close/>
                  <a:moveTo>
                    <a:pt x="4494" y="11196"/>
                  </a:moveTo>
                  <a:cubicBezTo>
                    <a:pt x="4418" y="11196"/>
                    <a:pt x="4355" y="11295"/>
                    <a:pt x="4355" y="11415"/>
                  </a:cubicBezTo>
                  <a:cubicBezTo>
                    <a:pt x="4355" y="11535"/>
                    <a:pt x="4418" y="11631"/>
                    <a:pt x="4494" y="11631"/>
                  </a:cubicBezTo>
                  <a:cubicBezTo>
                    <a:pt x="4570" y="11631"/>
                    <a:pt x="4631" y="11535"/>
                    <a:pt x="4631" y="11415"/>
                  </a:cubicBezTo>
                  <a:cubicBezTo>
                    <a:pt x="4631" y="11295"/>
                    <a:pt x="4570" y="11196"/>
                    <a:pt x="4494" y="11196"/>
                  </a:cubicBezTo>
                  <a:close/>
                  <a:moveTo>
                    <a:pt x="4864" y="11196"/>
                  </a:moveTo>
                  <a:cubicBezTo>
                    <a:pt x="4787" y="11196"/>
                    <a:pt x="4725" y="11295"/>
                    <a:pt x="4725" y="11415"/>
                  </a:cubicBezTo>
                  <a:cubicBezTo>
                    <a:pt x="4725" y="11535"/>
                    <a:pt x="4787" y="11631"/>
                    <a:pt x="4864" y="11631"/>
                  </a:cubicBezTo>
                  <a:cubicBezTo>
                    <a:pt x="4940" y="11631"/>
                    <a:pt x="5001" y="11535"/>
                    <a:pt x="5001" y="11415"/>
                  </a:cubicBezTo>
                  <a:cubicBezTo>
                    <a:pt x="5001" y="11295"/>
                    <a:pt x="4940" y="11196"/>
                    <a:pt x="4864" y="11196"/>
                  </a:cubicBezTo>
                  <a:close/>
                  <a:moveTo>
                    <a:pt x="5274" y="11196"/>
                  </a:moveTo>
                  <a:cubicBezTo>
                    <a:pt x="5198" y="11196"/>
                    <a:pt x="5136" y="11295"/>
                    <a:pt x="5136" y="11415"/>
                  </a:cubicBezTo>
                  <a:cubicBezTo>
                    <a:pt x="5136" y="11535"/>
                    <a:pt x="5198" y="11631"/>
                    <a:pt x="5274" y="11631"/>
                  </a:cubicBezTo>
                  <a:cubicBezTo>
                    <a:pt x="5351" y="11631"/>
                    <a:pt x="5412" y="11535"/>
                    <a:pt x="5412" y="11415"/>
                  </a:cubicBezTo>
                  <a:cubicBezTo>
                    <a:pt x="5412" y="11295"/>
                    <a:pt x="5351" y="11196"/>
                    <a:pt x="5274" y="11196"/>
                  </a:cubicBezTo>
                  <a:close/>
                  <a:moveTo>
                    <a:pt x="5685" y="11196"/>
                  </a:moveTo>
                  <a:cubicBezTo>
                    <a:pt x="5609" y="11196"/>
                    <a:pt x="5547" y="11295"/>
                    <a:pt x="5547" y="11415"/>
                  </a:cubicBezTo>
                  <a:cubicBezTo>
                    <a:pt x="5547" y="11535"/>
                    <a:pt x="5609" y="11631"/>
                    <a:pt x="5685" y="11631"/>
                  </a:cubicBezTo>
                  <a:cubicBezTo>
                    <a:pt x="5762" y="11631"/>
                    <a:pt x="5823" y="11535"/>
                    <a:pt x="5823" y="11415"/>
                  </a:cubicBezTo>
                  <a:cubicBezTo>
                    <a:pt x="5823" y="11295"/>
                    <a:pt x="5762" y="11196"/>
                    <a:pt x="5685" y="11196"/>
                  </a:cubicBezTo>
                  <a:close/>
                  <a:moveTo>
                    <a:pt x="6055" y="11196"/>
                  </a:moveTo>
                  <a:cubicBezTo>
                    <a:pt x="5979" y="11196"/>
                    <a:pt x="5916" y="11295"/>
                    <a:pt x="5916" y="11415"/>
                  </a:cubicBezTo>
                  <a:cubicBezTo>
                    <a:pt x="5916" y="11535"/>
                    <a:pt x="5979" y="11631"/>
                    <a:pt x="6055" y="11631"/>
                  </a:cubicBezTo>
                  <a:cubicBezTo>
                    <a:pt x="6131" y="11631"/>
                    <a:pt x="6193" y="11535"/>
                    <a:pt x="6193" y="11415"/>
                  </a:cubicBezTo>
                  <a:cubicBezTo>
                    <a:pt x="6193" y="11295"/>
                    <a:pt x="6131" y="11196"/>
                    <a:pt x="6055" y="11196"/>
                  </a:cubicBezTo>
                  <a:close/>
                  <a:moveTo>
                    <a:pt x="6466" y="11196"/>
                  </a:moveTo>
                  <a:cubicBezTo>
                    <a:pt x="6390" y="11196"/>
                    <a:pt x="6327" y="11295"/>
                    <a:pt x="6327" y="11415"/>
                  </a:cubicBezTo>
                  <a:cubicBezTo>
                    <a:pt x="6327" y="11535"/>
                    <a:pt x="6390" y="11631"/>
                    <a:pt x="6466" y="11631"/>
                  </a:cubicBezTo>
                  <a:cubicBezTo>
                    <a:pt x="6542" y="11631"/>
                    <a:pt x="6603" y="11535"/>
                    <a:pt x="6603" y="11415"/>
                  </a:cubicBezTo>
                  <a:cubicBezTo>
                    <a:pt x="6603" y="11295"/>
                    <a:pt x="6542" y="11196"/>
                    <a:pt x="6466" y="11196"/>
                  </a:cubicBezTo>
                  <a:close/>
                  <a:moveTo>
                    <a:pt x="6877" y="11196"/>
                  </a:moveTo>
                  <a:cubicBezTo>
                    <a:pt x="6801" y="11196"/>
                    <a:pt x="6738" y="11295"/>
                    <a:pt x="6738" y="11415"/>
                  </a:cubicBezTo>
                  <a:cubicBezTo>
                    <a:pt x="6738" y="11535"/>
                    <a:pt x="6801" y="11631"/>
                    <a:pt x="6877" y="11631"/>
                  </a:cubicBezTo>
                  <a:cubicBezTo>
                    <a:pt x="6953" y="11631"/>
                    <a:pt x="7014" y="11535"/>
                    <a:pt x="7014" y="11415"/>
                  </a:cubicBezTo>
                  <a:cubicBezTo>
                    <a:pt x="7014" y="11295"/>
                    <a:pt x="6953" y="11196"/>
                    <a:pt x="6877" y="11196"/>
                  </a:cubicBezTo>
                  <a:close/>
                  <a:moveTo>
                    <a:pt x="7247" y="11196"/>
                  </a:moveTo>
                  <a:cubicBezTo>
                    <a:pt x="7170" y="11196"/>
                    <a:pt x="7108" y="11295"/>
                    <a:pt x="7108" y="11415"/>
                  </a:cubicBezTo>
                  <a:cubicBezTo>
                    <a:pt x="7108" y="11535"/>
                    <a:pt x="7170" y="11631"/>
                    <a:pt x="7247" y="11631"/>
                  </a:cubicBezTo>
                  <a:cubicBezTo>
                    <a:pt x="7323" y="11631"/>
                    <a:pt x="7384" y="11535"/>
                    <a:pt x="7384" y="11415"/>
                  </a:cubicBezTo>
                  <a:cubicBezTo>
                    <a:pt x="7384" y="11295"/>
                    <a:pt x="7323" y="11196"/>
                    <a:pt x="7247" y="11196"/>
                  </a:cubicBezTo>
                  <a:close/>
                  <a:moveTo>
                    <a:pt x="7658" y="11196"/>
                  </a:moveTo>
                  <a:cubicBezTo>
                    <a:pt x="7581" y="11196"/>
                    <a:pt x="7519" y="11295"/>
                    <a:pt x="7519" y="11415"/>
                  </a:cubicBezTo>
                  <a:cubicBezTo>
                    <a:pt x="7519" y="11535"/>
                    <a:pt x="7581" y="11631"/>
                    <a:pt x="7658" y="11631"/>
                  </a:cubicBezTo>
                  <a:cubicBezTo>
                    <a:pt x="7734" y="11631"/>
                    <a:pt x="7795" y="11535"/>
                    <a:pt x="7795" y="11415"/>
                  </a:cubicBezTo>
                  <a:cubicBezTo>
                    <a:pt x="7795" y="11295"/>
                    <a:pt x="7734" y="11196"/>
                    <a:pt x="7658" y="11196"/>
                  </a:cubicBezTo>
                  <a:close/>
                  <a:moveTo>
                    <a:pt x="8027" y="11196"/>
                  </a:moveTo>
                  <a:cubicBezTo>
                    <a:pt x="7951" y="11196"/>
                    <a:pt x="7889" y="11295"/>
                    <a:pt x="7889" y="11415"/>
                  </a:cubicBezTo>
                  <a:cubicBezTo>
                    <a:pt x="7889" y="11535"/>
                    <a:pt x="7951" y="11631"/>
                    <a:pt x="8027" y="11631"/>
                  </a:cubicBezTo>
                  <a:cubicBezTo>
                    <a:pt x="8103" y="11631"/>
                    <a:pt x="8165" y="11535"/>
                    <a:pt x="8165" y="11415"/>
                  </a:cubicBezTo>
                  <a:cubicBezTo>
                    <a:pt x="8165" y="11295"/>
                    <a:pt x="8103" y="11196"/>
                    <a:pt x="8027" y="11196"/>
                  </a:cubicBezTo>
                  <a:close/>
                  <a:moveTo>
                    <a:pt x="8438" y="11196"/>
                  </a:moveTo>
                  <a:cubicBezTo>
                    <a:pt x="8362" y="11196"/>
                    <a:pt x="8299" y="11295"/>
                    <a:pt x="8299" y="11415"/>
                  </a:cubicBezTo>
                  <a:cubicBezTo>
                    <a:pt x="8299" y="11535"/>
                    <a:pt x="8362" y="11631"/>
                    <a:pt x="8438" y="11631"/>
                  </a:cubicBezTo>
                  <a:cubicBezTo>
                    <a:pt x="8515" y="11631"/>
                    <a:pt x="8576" y="11535"/>
                    <a:pt x="8576" y="11415"/>
                  </a:cubicBezTo>
                  <a:cubicBezTo>
                    <a:pt x="8576" y="11295"/>
                    <a:pt x="8515" y="11196"/>
                    <a:pt x="8438" y="11196"/>
                  </a:cubicBezTo>
                  <a:close/>
                  <a:moveTo>
                    <a:pt x="8849" y="11196"/>
                  </a:moveTo>
                  <a:cubicBezTo>
                    <a:pt x="8773" y="11196"/>
                    <a:pt x="8710" y="11295"/>
                    <a:pt x="8710" y="11415"/>
                  </a:cubicBezTo>
                  <a:cubicBezTo>
                    <a:pt x="8710" y="11535"/>
                    <a:pt x="8773" y="11631"/>
                    <a:pt x="8849" y="11631"/>
                  </a:cubicBezTo>
                  <a:cubicBezTo>
                    <a:pt x="8925" y="11631"/>
                    <a:pt x="8986" y="11535"/>
                    <a:pt x="8986" y="11415"/>
                  </a:cubicBezTo>
                  <a:cubicBezTo>
                    <a:pt x="8986" y="11295"/>
                    <a:pt x="8925" y="11196"/>
                    <a:pt x="8849" y="11196"/>
                  </a:cubicBezTo>
                  <a:close/>
                  <a:moveTo>
                    <a:pt x="9219" y="11196"/>
                  </a:moveTo>
                  <a:cubicBezTo>
                    <a:pt x="9142" y="11196"/>
                    <a:pt x="9080" y="11295"/>
                    <a:pt x="9080" y="11415"/>
                  </a:cubicBezTo>
                  <a:cubicBezTo>
                    <a:pt x="9080" y="11535"/>
                    <a:pt x="9142" y="11631"/>
                    <a:pt x="9219" y="11631"/>
                  </a:cubicBezTo>
                  <a:cubicBezTo>
                    <a:pt x="9295" y="11631"/>
                    <a:pt x="9356" y="11535"/>
                    <a:pt x="9356" y="11415"/>
                  </a:cubicBezTo>
                  <a:cubicBezTo>
                    <a:pt x="9356" y="11295"/>
                    <a:pt x="9295" y="11196"/>
                    <a:pt x="9219" y="11196"/>
                  </a:cubicBezTo>
                  <a:close/>
                  <a:moveTo>
                    <a:pt x="9589" y="11196"/>
                  </a:moveTo>
                  <a:cubicBezTo>
                    <a:pt x="9512" y="11196"/>
                    <a:pt x="9450" y="11295"/>
                    <a:pt x="9450" y="11415"/>
                  </a:cubicBezTo>
                  <a:cubicBezTo>
                    <a:pt x="9450" y="11535"/>
                    <a:pt x="9512" y="11631"/>
                    <a:pt x="9589" y="11631"/>
                  </a:cubicBezTo>
                  <a:cubicBezTo>
                    <a:pt x="9665" y="11631"/>
                    <a:pt x="9726" y="11535"/>
                    <a:pt x="9726" y="11415"/>
                  </a:cubicBezTo>
                  <a:cubicBezTo>
                    <a:pt x="9726" y="11295"/>
                    <a:pt x="9665" y="11196"/>
                    <a:pt x="9589" y="11196"/>
                  </a:cubicBezTo>
                  <a:close/>
                  <a:moveTo>
                    <a:pt x="9999" y="11196"/>
                  </a:moveTo>
                  <a:cubicBezTo>
                    <a:pt x="9923" y="11196"/>
                    <a:pt x="9861" y="11295"/>
                    <a:pt x="9861" y="11415"/>
                  </a:cubicBezTo>
                  <a:cubicBezTo>
                    <a:pt x="9861" y="11535"/>
                    <a:pt x="9923" y="11631"/>
                    <a:pt x="9999" y="11631"/>
                  </a:cubicBezTo>
                  <a:cubicBezTo>
                    <a:pt x="10076" y="11631"/>
                    <a:pt x="10137" y="11535"/>
                    <a:pt x="10137" y="11415"/>
                  </a:cubicBezTo>
                  <a:cubicBezTo>
                    <a:pt x="10137" y="11295"/>
                    <a:pt x="10076" y="11196"/>
                    <a:pt x="9999" y="11196"/>
                  </a:cubicBezTo>
                  <a:close/>
                  <a:moveTo>
                    <a:pt x="10410" y="11196"/>
                  </a:moveTo>
                  <a:cubicBezTo>
                    <a:pt x="10334" y="11196"/>
                    <a:pt x="10272" y="11295"/>
                    <a:pt x="10272" y="11415"/>
                  </a:cubicBezTo>
                  <a:cubicBezTo>
                    <a:pt x="10272" y="11535"/>
                    <a:pt x="10334" y="11631"/>
                    <a:pt x="10410" y="11631"/>
                  </a:cubicBezTo>
                  <a:cubicBezTo>
                    <a:pt x="10487" y="11631"/>
                    <a:pt x="10548" y="11535"/>
                    <a:pt x="10548" y="11415"/>
                  </a:cubicBezTo>
                  <a:cubicBezTo>
                    <a:pt x="10548" y="11295"/>
                    <a:pt x="10487" y="11196"/>
                    <a:pt x="10410" y="11196"/>
                  </a:cubicBezTo>
                  <a:close/>
                  <a:moveTo>
                    <a:pt x="10780" y="11196"/>
                  </a:moveTo>
                  <a:cubicBezTo>
                    <a:pt x="10704" y="11196"/>
                    <a:pt x="10641" y="11295"/>
                    <a:pt x="10641" y="11415"/>
                  </a:cubicBezTo>
                  <a:cubicBezTo>
                    <a:pt x="10641" y="11535"/>
                    <a:pt x="10704" y="11631"/>
                    <a:pt x="10780" y="11631"/>
                  </a:cubicBezTo>
                  <a:cubicBezTo>
                    <a:pt x="10856" y="11631"/>
                    <a:pt x="10917" y="11535"/>
                    <a:pt x="10917" y="11415"/>
                  </a:cubicBezTo>
                  <a:cubicBezTo>
                    <a:pt x="10917" y="11295"/>
                    <a:pt x="10856" y="11196"/>
                    <a:pt x="10780" y="11196"/>
                  </a:cubicBezTo>
                  <a:close/>
                  <a:moveTo>
                    <a:pt x="11191" y="11196"/>
                  </a:moveTo>
                  <a:cubicBezTo>
                    <a:pt x="11115" y="11196"/>
                    <a:pt x="11052" y="11295"/>
                    <a:pt x="11052" y="11415"/>
                  </a:cubicBezTo>
                  <a:cubicBezTo>
                    <a:pt x="11052" y="11535"/>
                    <a:pt x="11115" y="11631"/>
                    <a:pt x="11191" y="11631"/>
                  </a:cubicBezTo>
                  <a:cubicBezTo>
                    <a:pt x="11267" y="11631"/>
                    <a:pt x="11328" y="11535"/>
                    <a:pt x="11328" y="11415"/>
                  </a:cubicBezTo>
                  <a:cubicBezTo>
                    <a:pt x="11328" y="11295"/>
                    <a:pt x="11267" y="11196"/>
                    <a:pt x="11191" y="11196"/>
                  </a:cubicBezTo>
                  <a:close/>
                  <a:moveTo>
                    <a:pt x="2522" y="11844"/>
                  </a:moveTo>
                  <a:cubicBezTo>
                    <a:pt x="2445" y="11844"/>
                    <a:pt x="2383" y="11942"/>
                    <a:pt x="2383" y="12062"/>
                  </a:cubicBezTo>
                  <a:cubicBezTo>
                    <a:pt x="2383" y="12182"/>
                    <a:pt x="2445" y="12278"/>
                    <a:pt x="2522" y="12278"/>
                  </a:cubicBezTo>
                  <a:cubicBezTo>
                    <a:pt x="2598" y="12278"/>
                    <a:pt x="2659" y="12182"/>
                    <a:pt x="2659" y="12062"/>
                  </a:cubicBezTo>
                  <a:cubicBezTo>
                    <a:pt x="2659" y="11942"/>
                    <a:pt x="2598" y="11844"/>
                    <a:pt x="2522" y="11844"/>
                  </a:cubicBezTo>
                  <a:close/>
                  <a:moveTo>
                    <a:pt x="2891" y="11844"/>
                  </a:moveTo>
                  <a:cubicBezTo>
                    <a:pt x="2815" y="11844"/>
                    <a:pt x="2753" y="11942"/>
                    <a:pt x="2753" y="12062"/>
                  </a:cubicBezTo>
                  <a:cubicBezTo>
                    <a:pt x="2753" y="12182"/>
                    <a:pt x="2815" y="12278"/>
                    <a:pt x="2891" y="12278"/>
                  </a:cubicBezTo>
                  <a:cubicBezTo>
                    <a:pt x="2968" y="12278"/>
                    <a:pt x="3029" y="12182"/>
                    <a:pt x="3029" y="12062"/>
                  </a:cubicBezTo>
                  <a:cubicBezTo>
                    <a:pt x="3029" y="11942"/>
                    <a:pt x="2968" y="11844"/>
                    <a:pt x="2891" y="11844"/>
                  </a:cubicBezTo>
                  <a:close/>
                  <a:moveTo>
                    <a:pt x="3302" y="11844"/>
                  </a:moveTo>
                  <a:cubicBezTo>
                    <a:pt x="3226" y="11844"/>
                    <a:pt x="3164" y="11942"/>
                    <a:pt x="3164" y="12062"/>
                  </a:cubicBezTo>
                  <a:cubicBezTo>
                    <a:pt x="3164" y="12182"/>
                    <a:pt x="3226" y="12278"/>
                    <a:pt x="3302" y="12278"/>
                  </a:cubicBezTo>
                  <a:cubicBezTo>
                    <a:pt x="3379" y="12278"/>
                    <a:pt x="3440" y="12182"/>
                    <a:pt x="3440" y="12062"/>
                  </a:cubicBezTo>
                  <a:cubicBezTo>
                    <a:pt x="3440" y="11942"/>
                    <a:pt x="3379" y="11844"/>
                    <a:pt x="3302" y="11844"/>
                  </a:cubicBezTo>
                  <a:close/>
                  <a:moveTo>
                    <a:pt x="3713" y="11844"/>
                  </a:moveTo>
                  <a:cubicBezTo>
                    <a:pt x="3637" y="11844"/>
                    <a:pt x="3575" y="11942"/>
                    <a:pt x="3575" y="12062"/>
                  </a:cubicBezTo>
                  <a:cubicBezTo>
                    <a:pt x="3575" y="12182"/>
                    <a:pt x="3637" y="12278"/>
                    <a:pt x="3713" y="12278"/>
                  </a:cubicBezTo>
                  <a:cubicBezTo>
                    <a:pt x="3790" y="12278"/>
                    <a:pt x="3851" y="12182"/>
                    <a:pt x="3851" y="12062"/>
                  </a:cubicBezTo>
                  <a:cubicBezTo>
                    <a:pt x="3851" y="11942"/>
                    <a:pt x="3790" y="11844"/>
                    <a:pt x="3713" y="11844"/>
                  </a:cubicBezTo>
                  <a:close/>
                  <a:moveTo>
                    <a:pt x="4083" y="11844"/>
                  </a:moveTo>
                  <a:cubicBezTo>
                    <a:pt x="4007" y="11844"/>
                    <a:pt x="3944" y="11942"/>
                    <a:pt x="3944" y="12062"/>
                  </a:cubicBezTo>
                  <a:cubicBezTo>
                    <a:pt x="3944" y="12182"/>
                    <a:pt x="4007" y="12278"/>
                    <a:pt x="4083" y="12278"/>
                  </a:cubicBezTo>
                  <a:cubicBezTo>
                    <a:pt x="4159" y="12278"/>
                    <a:pt x="4220" y="12182"/>
                    <a:pt x="4220" y="12062"/>
                  </a:cubicBezTo>
                  <a:cubicBezTo>
                    <a:pt x="4220" y="11942"/>
                    <a:pt x="4159" y="11844"/>
                    <a:pt x="4083" y="11844"/>
                  </a:cubicBezTo>
                  <a:close/>
                  <a:moveTo>
                    <a:pt x="4494" y="11844"/>
                  </a:moveTo>
                  <a:cubicBezTo>
                    <a:pt x="4418" y="11844"/>
                    <a:pt x="4355" y="11942"/>
                    <a:pt x="4355" y="12062"/>
                  </a:cubicBezTo>
                  <a:cubicBezTo>
                    <a:pt x="4355" y="12182"/>
                    <a:pt x="4418" y="12278"/>
                    <a:pt x="4494" y="12278"/>
                  </a:cubicBezTo>
                  <a:cubicBezTo>
                    <a:pt x="4570" y="12278"/>
                    <a:pt x="4631" y="12182"/>
                    <a:pt x="4631" y="12062"/>
                  </a:cubicBezTo>
                  <a:cubicBezTo>
                    <a:pt x="4631" y="11942"/>
                    <a:pt x="4570" y="11844"/>
                    <a:pt x="4494" y="11844"/>
                  </a:cubicBezTo>
                  <a:close/>
                  <a:moveTo>
                    <a:pt x="4864" y="11844"/>
                  </a:moveTo>
                  <a:cubicBezTo>
                    <a:pt x="4787" y="11844"/>
                    <a:pt x="4725" y="11942"/>
                    <a:pt x="4725" y="12062"/>
                  </a:cubicBezTo>
                  <a:cubicBezTo>
                    <a:pt x="4725" y="12182"/>
                    <a:pt x="4787" y="12278"/>
                    <a:pt x="4864" y="12278"/>
                  </a:cubicBezTo>
                  <a:cubicBezTo>
                    <a:pt x="4940" y="12278"/>
                    <a:pt x="5001" y="12182"/>
                    <a:pt x="5001" y="12062"/>
                  </a:cubicBezTo>
                  <a:cubicBezTo>
                    <a:pt x="5001" y="11942"/>
                    <a:pt x="4940" y="11844"/>
                    <a:pt x="4864" y="11844"/>
                  </a:cubicBezTo>
                  <a:close/>
                  <a:moveTo>
                    <a:pt x="5274" y="11844"/>
                  </a:moveTo>
                  <a:cubicBezTo>
                    <a:pt x="5198" y="11844"/>
                    <a:pt x="5136" y="11942"/>
                    <a:pt x="5136" y="12062"/>
                  </a:cubicBezTo>
                  <a:cubicBezTo>
                    <a:pt x="5136" y="12182"/>
                    <a:pt x="5198" y="12278"/>
                    <a:pt x="5274" y="12278"/>
                  </a:cubicBezTo>
                  <a:cubicBezTo>
                    <a:pt x="5351" y="12278"/>
                    <a:pt x="5412" y="12182"/>
                    <a:pt x="5412" y="12062"/>
                  </a:cubicBezTo>
                  <a:cubicBezTo>
                    <a:pt x="5412" y="11942"/>
                    <a:pt x="5351" y="11844"/>
                    <a:pt x="5274" y="11844"/>
                  </a:cubicBezTo>
                  <a:close/>
                  <a:moveTo>
                    <a:pt x="5685" y="11844"/>
                  </a:moveTo>
                  <a:cubicBezTo>
                    <a:pt x="5609" y="11844"/>
                    <a:pt x="5547" y="11942"/>
                    <a:pt x="5547" y="12062"/>
                  </a:cubicBezTo>
                  <a:cubicBezTo>
                    <a:pt x="5547" y="12182"/>
                    <a:pt x="5609" y="12278"/>
                    <a:pt x="5685" y="12278"/>
                  </a:cubicBezTo>
                  <a:cubicBezTo>
                    <a:pt x="5762" y="12278"/>
                    <a:pt x="5823" y="12182"/>
                    <a:pt x="5823" y="12062"/>
                  </a:cubicBezTo>
                  <a:cubicBezTo>
                    <a:pt x="5823" y="11942"/>
                    <a:pt x="5762" y="11844"/>
                    <a:pt x="5685" y="11844"/>
                  </a:cubicBezTo>
                  <a:close/>
                  <a:moveTo>
                    <a:pt x="6055" y="11844"/>
                  </a:moveTo>
                  <a:cubicBezTo>
                    <a:pt x="5979" y="11844"/>
                    <a:pt x="5916" y="11942"/>
                    <a:pt x="5916" y="12062"/>
                  </a:cubicBezTo>
                  <a:cubicBezTo>
                    <a:pt x="5916" y="12182"/>
                    <a:pt x="5979" y="12278"/>
                    <a:pt x="6055" y="12278"/>
                  </a:cubicBezTo>
                  <a:cubicBezTo>
                    <a:pt x="6131" y="12278"/>
                    <a:pt x="6193" y="12182"/>
                    <a:pt x="6193" y="12062"/>
                  </a:cubicBezTo>
                  <a:cubicBezTo>
                    <a:pt x="6193" y="11942"/>
                    <a:pt x="6131" y="11844"/>
                    <a:pt x="6055" y="11844"/>
                  </a:cubicBezTo>
                  <a:close/>
                  <a:moveTo>
                    <a:pt x="6466" y="11844"/>
                  </a:moveTo>
                  <a:cubicBezTo>
                    <a:pt x="6390" y="11844"/>
                    <a:pt x="6327" y="11942"/>
                    <a:pt x="6327" y="12062"/>
                  </a:cubicBezTo>
                  <a:cubicBezTo>
                    <a:pt x="6327" y="12182"/>
                    <a:pt x="6390" y="12278"/>
                    <a:pt x="6466" y="12278"/>
                  </a:cubicBezTo>
                  <a:cubicBezTo>
                    <a:pt x="6542" y="12278"/>
                    <a:pt x="6603" y="12182"/>
                    <a:pt x="6603" y="12062"/>
                  </a:cubicBezTo>
                  <a:cubicBezTo>
                    <a:pt x="6603" y="11942"/>
                    <a:pt x="6542" y="11844"/>
                    <a:pt x="6466" y="11844"/>
                  </a:cubicBezTo>
                  <a:close/>
                  <a:moveTo>
                    <a:pt x="6877" y="11844"/>
                  </a:moveTo>
                  <a:cubicBezTo>
                    <a:pt x="6801" y="11844"/>
                    <a:pt x="6738" y="11942"/>
                    <a:pt x="6738" y="12062"/>
                  </a:cubicBezTo>
                  <a:cubicBezTo>
                    <a:pt x="6738" y="12182"/>
                    <a:pt x="6801" y="12278"/>
                    <a:pt x="6877" y="12278"/>
                  </a:cubicBezTo>
                  <a:cubicBezTo>
                    <a:pt x="6953" y="12278"/>
                    <a:pt x="7014" y="12182"/>
                    <a:pt x="7014" y="12062"/>
                  </a:cubicBezTo>
                  <a:cubicBezTo>
                    <a:pt x="7014" y="11942"/>
                    <a:pt x="6953" y="11844"/>
                    <a:pt x="6877" y="11844"/>
                  </a:cubicBezTo>
                  <a:close/>
                  <a:moveTo>
                    <a:pt x="7247" y="11844"/>
                  </a:moveTo>
                  <a:cubicBezTo>
                    <a:pt x="7170" y="11844"/>
                    <a:pt x="7108" y="11942"/>
                    <a:pt x="7108" y="12062"/>
                  </a:cubicBezTo>
                  <a:cubicBezTo>
                    <a:pt x="7108" y="12182"/>
                    <a:pt x="7170" y="12278"/>
                    <a:pt x="7247" y="12278"/>
                  </a:cubicBezTo>
                  <a:cubicBezTo>
                    <a:pt x="7323" y="12278"/>
                    <a:pt x="7384" y="12182"/>
                    <a:pt x="7384" y="12062"/>
                  </a:cubicBezTo>
                  <a:cubicBezTo>
                    <a:pt x="7384" y="11942"/>
                    <a:pt x="7323" y="11844"/>
                    <a:pt x="7247" y="11844"/>
                  </a:cubicBezTo>
                  <a:close/>
                  <a:moveTo>
                    <a:pt x="7658" y="11844"/>
                  </a:moveTo>
                  <a:cubicBezTo>
                    <a:pt x="7581" y="11844"/>
                    <a:pt x="7519" y="11942"/>
                    <a:pt x="7519" y="12062"/>
                  </a:cubicBezTo>
                  <a:cubicBezTo>
                    <a:pt x="7519" y="12182"/>
                    <a:pt x="7581" y="12278"/>
                    <a:pt x="7658" y="12278"/>
                  </a:cubicBezTo>
                  <a:cubicBezTo>
                    <a:pt x="7734" y="12278"/>
                    <a:pt x="7795" y="12182"/>
                    <a:pt x="7795" y="12062"/>
                  </a:cubicBezTo>
                  <a:cubicBezTo>
                    <a:pt x="7795" y="11942"/>
                    <a:pt x="7734" y="11844"/>
                    <a:pt x="7658" y="11844"/>
                  </a:cubicBezTo>
                  <a:close/>
                  <a:moveTo>
                    <a:pt x="8027" y="11844"/>
                  </a:moveTo>
                  <a:cubicBezTo>
                    <a:pt x="7951" y="11844"/>
                    <a:pt x="7889" y="11942"/>
                    <a:pt x="7889" y="12062"/>
                  </a:cubicBezTo>
                  <a:cubicBezTo>
                    <a:pt x="7889" y="12182"/>
                    <a:pt x="7951" y="12278"/>
                    <a:pt x="8027" y="12278"/>
                  </a:cubicBezTo>
                  <a:cubicBezTo>
                    <a:pt x="8103" y="12278"/>
                    <a:pt x="8165" y="12182"/>
                    <a:pt x="8165" y="12062"/>
                  </a:cubicBezTo>
                  <a:cubicBezTo>
                    <a:pt x="8165" y="11942"/>
                    <a:pt x="8103" y="11844"/>
                    <a:pt x="8027" y="11844"/>
                  </a:cubicBezTo>
                  <a:close/>
                  <a:moveTo>
                    <a:pt x="8438" y="11844"/>
                  </a:moveTo>
                  <a:cubicBezTo>
                    <a:pt x="8362" y="11844"/>
                    <a:pt x="8299" y="11942"/>
                    <a:pt x="8299" y="12062"/>
                  </a:cubicBezTo>
                  <a:cubicBezTo>
                    <a:pt x="8299" y="12182"/>
                    <a:pt x="8362" y="12278"/>
                    <a:pt x="8438" y="12278"/>
                  </a:cubicBezTo>
                  <a:cubicBezTo>
                    <a:pt x="8515" y="12278"/>
                    <a:pt x="8576" y="12182"/>
                    <a:pt x="8576" y="12062"/>
                  </a:cubicBezTo>
                  <a:cubicBezTo>
                    <a:pt x="8576" y="11942"/>
                    <a:pt x="8515" y="11844"/>
                    <a:pt x="8438" y="11844"/>
                  </a:cubicBezTo>
                  <a:close/>
                  <a:moveTo>
                    <a:pt x="8849" y="11844"/>
                  </a:moveTo>
                  <a:cubicBezTo>
                    <a:pt x="8773" y="11844"/>
                    <a:pt x="8710" y="11942"/>
                    <a:pt x="8710" y="12062"/>
                  </a:cubicBezTo>
                  <a:cubicBezTo>
                    <a:pt x="8710" y="12182"/>
                    <a:pt x="8773" y="12278"/>
                    <a:pt x="8849" y="12278"/>
                  </a:cubicBezTo>
                  <a:cubicBezTo>
                    <a:pt x="8925" y="12278"/>
                    <a:pt x="8986" y="12182"/>
                    <a:pt x="8986" y="12062"/>
                  </a:cubicBezTo>
                  <a:cubicBezTo>
                    <a:pt x="8986" y="11942"/>
                    <a:pt x="8925" y="11844"/>
                    <a:pt x="8849" y="11844"/>
                  </a:cubicBezTo>
                  <a:close/>
                  <a:moveTo>
                    <a:pt x="9219" y="11844"/>
                  </a:moveTo>
                  <a:cubicBezTo>
                    <a:pt x="9142" y="11844"/>
                    <a:pt x="9080" y="11942"/>
                    <a:pt x="9080" y="12062"/>
                  </a:cubicBezTo>
                  <a:cubicBezTo>
                    <a:pt x="9080" y="12182"/>
                    <a:pt x="9142" y="12278"/>
                    <a:pt x="9219" y="12278"/>
                  </a:cubicBezTo>
                  <a:cubicBezTo>
                    <a:pt x="9295" y="12278"/>
                    <a:pt x="9356" y="12182"/>
                    <a:pt x="9356" y="12062"/>
                  </a:cubicBezTo>
                  <a:cubicBezTo>
                    <a:pt x="9356" y="11942"/>
                    <a:pt x="9295" y="11844"/>
                    <a:pt x="9219" y="11844"/>
                  </a:cubicBezTo>
                  <a:close/>
                  <a:moveTo>
                    <a:pt x="9630" y="11844"/>
                  </a:moveTo>
                  <a:cubicBezTo>
                    <a:pt x="9553" y="11844"/>
                    <a:pt x="9491" y="11942"/>
                    <a:pt x="9491" y="12062"/>
                  </a:cubicBezTo>
                  <a:cubicBezTo>
                    <a:pt x="9491" y="12182"/>
                    <a:pt x="9553" y="12278"/>
                    <a:pt x="9630" y="12278"/>
                  </a:cubicBezTo>
                  <a:cubicBezTo>
                    <a:pt x="9706" y="12278"/>
                    <a:pt x="9767" y="12182"/>
                    <a:pt x="9767" y="12062"/>
                  </a:cubicBezTo>
                  <a:cubicBezTo>
                    <a:pt x="9767" y="11942"/>
                    <a:pt x="9706" y="11844"/>
                    <a:pt x="9630" y="11844"/>
                  </a:cubicBezTo>
                  <a:close/>
                  <a:moveTo>
                    <a:pt x="9999" y="11844"/>
                  </a:moveTo>
                  <a:cubicBezTo>
                    <a:pt x="9923" y="11844"/>
                    <a:pt x="9861" y="11942"/>
                    <a:pt x="9861" y="12062"/>
                  </a:cubicBezTo>
                  <a:cubicBezTo>
                    <a:pt x="9861" y="12183"/>
                    <a:pt x="9923" y="12278"/>
                    <a:pt x="9999" y="12278"/>
                  </a:cubicBezTo>
                  <a:cubicBezTo>
                    <a:pt x="10076" y="12278"/>
                    <a:pt x="10137" y="12183"/>
                    <a:pt x="10137" y="12062"/>
                  </a:cubicBezTo>
                  <a:cubicBezTo>
                    <a:pt x="10137" y="11942"/>
                    <a:pt x="10076" y="11844"/>
                    <a:pt x="9999" y="11844"/>
                  </a:cubicBezTo>
                  <a:close/>
                  <a:moveTo>
                    <a:pt x="10410" y="11844"/>
                  </a:moveTo>
                  <a:cubicBezTo>
                    <a:pt x="10334" y="11844"/>
                    <a:pt x="10272" y="11942"/>
                    <a:pt x="10272" y="12062"/>
                  </a:cubicBezTo>
                  <a:cubicBezTo>
                    <a:pt x="10272" y="12183"/>
                    <a:pt x="10334" y="12278"/>
                    <a:pt x="10410" y="12278"/>
                  </a:cubicBezTo>
                  <a:cubicBezTo>
                    <a:pt x="10487" y="12278"/>
                    <a:pt x="10548" y="12183"/>
                    <a:pt x="10548" y="12062"/>
                  </a:cubicBezTo>
                  <a:cubicBezTo>
                    <a:pt x="10548" y="11942"/>
                    <a:pt x="10487" y="11844"/>
                    <a:pt x="10410" y="11844"/>
                  </a:cubicBezTo>
                  <a:close/>
                  <a:moveTo>
                    <a:pt x="10780" y="11844"/>
                  </a:moveTo>
                  <a:cubicBezTo>
                    <a:pt x="10704" y="11844"/>
                    <a:pt x="10641" y="11942"/>
                    <a:pt x="10641" y="12062"/>
                  </a:cubicBezTo>
                  <a:cubicBezTo>
                    <a:pt x="10641" y="12183"/>
                    <a:pt x="10704" y="12278"/>
                    <a:pt x="10780" y="12278"/>
                  </a:cubicBezTo>
                  <a:cubicBezTo>
                    <a:pt x="10856" y="12278"/>
                    <a:pt x="10917" y="12183"/>
                    <a:pt x="10917" y="12062"/>
                  </a:cubicBezTo>
                  <a:cubicBezTo>
                    <a:pt x="10917" y="11942"/>
                    <a:pt x="10856" y="11844"/>
                    <a:pt x="10780" y="11844"/>
                  </a:cubicBezTo>
                  <a:close/>
                  <a:moveTo>
                    <a:pt x="2891" y="12491"/>
                  </a:moveTo>
                  <a:cubicBezTo>
                    <a:pt x="2815" y="12491"/>
                    <a:pt x="2753" y="12589"/>
                    <a:pt x="2753" y="12709"/>
                  </a:cubicBezTo>
                  <a:cubicBezTo>
                    <a:pt x="2753" y="12829"/>
                    <a:pt x="2815" y="12926"/>
                    <a:pt x="2891" y="12926"/>
                  </a:cubicBezTo>
                  <a:cubicBezTo>
                    <a:pt x="2968" y="12926"/>
                    <a:pt x="3029" y="12829"/>
                    <a:pt x="3029" y="12709"/>
                  </a:cubicBezTo>
                  <a:cubicBezTo>
                    <a:pt x="3029" y="12589"/>
                    <a:pt x="2968" y="12491"/>
                    <a:pt x="2891" y="12491"/>
                  </a:cubicBezTo>
                  <a:close/>
                  <a:moveTo>
                    <a:pt x="3302" y="12491"/>
                  </a:moveTo>
                  <a:cubicBezTo>
                    <a:pt x="3226" y="12491"/>
                    <a:pt x="3164" y="12589"/>
                    <a:pt x="3164" y="12709"/>
                  </a:cubicBezTo>
                  <a:cubicBezTo>
                    <a:pt x="3164" y="12829"/>
                    <a:pt x="3226" y="12926"/>
                    <a:pt x="3302" y="12926"/>
                  </a:cubicBezTo>
                  <a:cubicBezTo>
                    <a:pt x="3379" y="12926"/>
                    <a:pt x="3440" y="12829"/>
                    <a:pt x="3440" y="12709"/>
                  </a:cubicBezTo>
                  <a:cubicBezTo>
                    <a:pt x="3440" y="12589"/>
                    <a:pt x="3379" y="12491"/>
                    <a:pt x="3302" y="12491"/>
                  </a:cubicBezTo>
                  <a:close/>
                  <a:moveTo>
                    <a:pt x="3713" y="12491"/>
                  </a:moveTo>
                  <a:cubicBezTo>
                    <a:pt x="3637" y="12491"/>
                    <a:pt x="3575" y="12589"/>
                    <a:pt x="3575" y="12709"/>
                  </a:cubicBezTo>
                  <a:cubicBezTo>
                    <a:pt x="3575" y="12829"/>
                    <a:pt x="3637" y="12926"/>
                    <a:pt x="3713" y="12926"/>
                  </a:cubicBezTo>
                  <a:cubicBezTo>
                    <a:pt x="3790" y="12926"/>
                    <a:pt x="3851" y="12829"/>
                    <a:pt x="3851" y="12709"/>
                  </a:cubicBezTo>
                  <a:cubicBezTo>
                    <a:pt x="3851" y="12589"/>
                    <a:pt x="3790" y="12491"/>
                    <a:pt x="3713" y="12491"/>
                  </a:cubicBezTo>
                  <a:close/>
                  <a:moveTo>
                    <a:pt x="4083" y="12491"/>
                  </a:moveTo>
                  <a:cubicBezTo>
                    <a:pt x="4007" y="12491"/>
                    <a:pt x="3944" y="12589"/>
                    <a:pt x="3944" y="12709"/>
                  </a:cubicBezTo>
                  <a:cubicBezTo>
                    <a:pt x="3944" y="12829"/>
                    <a:pt x="4007" y="12926"/>
                    <a:pt x="4083" y="12926"/>
                  </a:cubicBezTo>
                  <a:cubicBezTo>
                    <a:pt x="4159" y="12926"/>
                    <a:pt x="4220" y="12829"/>
                    <a:pt x="4220" y="12709"/>
                  </a:cubicBezTo>
                  <a:cubicBezTo>
                    <a:pt x="4220" y="12589"/>
                    <a:pt x="4159" y="12491"/>
                    <a:pt x="4083" y="12491"/>
                  </a:cubicBezTo>
                  <a:close/>
                  <a:moveTo>
                    <a:pt x="4494" y="12491"/>
                  </a:moveTo>
                  <a:cubicBezTo>
                    <a:pt x="4418" y="12491"/>
                    <a:pt x="4355" y="12589"/>
                    <a:pt x="4355" y="12709"/>
                  </a:cubicBezTo>
                  <a:cubicBezTo>
                    <a:pt x="4355" y="12829"/>
                    <a:pt x="4418" y="12926"/>
                    <a:pt x="4494" y="12926"/>
                  </a:cubicBezTo>
                  <a:cubicBezTo>
                    <a:pt x="4570" y="12926"/>
                    <a:pt x="4631" y="12829"/>
                    <a:pt x="4631" y="12709"/>
                  </a:cubicBezTo>
                  <a:cubicBezTo>
                    <a:pt x="4631" y="12589"/>
                    <a:pt x="4570" y="12491"/>
                    <a:pt x="4494" y="12491"/>
                  </a:cubicBezTo>
                  <a:close/>
                  <a:moveTo>
                    <a:pt x="4864" y="12491"/>
                  </a:moveTo>
                  <a:cubicBezTo>
                    <a:pt x="4787" y="12491"/>
                    <a:pt x="4725" y="12589"/>
                    <a:pt x="4725" y="12709"/>
                  </a:cubicBezTo>
                  <a:cubicBezTo>
                    <a:pt x="4725" y="12829"/>
                    <a:pt x="4787" y="12926"/>
                    <a:pt x="4864" y="12926"/>
                  </a:cubicBezTo>
                  <a:cubicBezTo>
                    <a:pt x="4940" y="12926"/>
                    <a:pt x="5001" y="12829"/>
                    <a:pt x="5001" y="12709"/>
                  </a:cubicBezTo>
                  <a:cubicBezTo>
                    <a:pt x="5001" y="12589"/>
                    <a:pt x="4940" y="12491"/>
                    <a:pt x="4864" y="12491"/>
                  </a:cubicBezTo>
                  <a:close/>
                  <a:moveTo>
                    <a:pt x="5274" y="12491"/>
                  </a:moveTo>
                  <a:cubicBezTo>
                    <a:pt x="5198" y="12491"/>
                    <a:pt x="5136" y="12589"/>
                    <a:pt x="5136" y="12709"/>
                  </a:cubicBezTo>
                  <a:cubicBezTo>
                    <a:pt x="5136" y="12829"/>
                    <a:pt x="5198" y="12926"/>
                    <a:pt x="5274" y="12926"/>
                  </a:cubicBezTo>
                  <a:cubicBezTo>
                    <a:pt x="5351" y="12926"/>
                    <a:pt x="5412" y="12829"/>
                    <a:pt x="5412" y="12709"/>
                  </a:cubicBezTo>
                  <a:cubicBezTo>
                    <a:pt x="5412" y="12589"/>
                    <a:pt x="5351" y="12491"/>
                    <a:pt x="5274" y="12491"/>
                  </a:cubicBezTo>
                  <a:close/>
                  <a:moveTo>
                    <a:pt x="5685" y="12491"/>
                  </a:moveTo>
                  <a:cubicBezTo>
                    <a:pt x="5609" y="12491"/>
                    <a:pt x="5547" y="12589"/>
                    <a:pt x="5547" y="12709"/>
                  </a:cubicBezTo>
                  <a:cubicBezTo>
                    <a:pt x="5547" y="12829"/>
                    <a:pt x="5609" y="12926"/>
                    <a:pt x="5685" y="12926"/>
                  </a:cubicBezTo>
                  <a:cubicBezTo>
                    <a:pt x="5762" y="12926"/>
                    <a:pt x="5823" y="12829"/>
                    <a:pt x="5823" y="12709"/>
                  </a:cubicBezTo>
                  <a:cubicBezTo>
                    <a:pt x="5823" y="12589"/>
                    <a:pt x="5762" y="12491"/>
                    <a:pt x="5685" y="12491"/>
                  </a:cubicBezTo>
                  <a:close/>
                  <a:moveTo>
                    <a:pt x="6055" y="12491"/>
                  </a:moveTo>
                  <a:cubicBezTo>
                    <a:pt x="5979" y="12491"/>
                    <a:pt x="5916" y="12589"/>
                    <a:pt x="5916" y="12709"/>
                  </a:cubicBezTo>
                  <a:cubicBezTo>
                    <a:pt x="5916" y="12829"/>
                    <a:pt x="5979" y="12926"/>
                    <a:pt x="6055" y="12926"/>
                  </a:cubicBezTo>
                  <a:cubicBezTo>
                    <a:pt x="6131" y="12926"/>
                    <a:pt x="6193" y="12829"/>
                    <a:pt x="6193" y="12709"/>
                  </a:cubicBezTo>
                  <a:cubicBezTo>
                    <a:pt x="6193" y="12589"/>
                    <a:pt x="6131" y="12491"/>
                    <a:pt x="6055" y="12491"/>
                  </a:cubicBezTo>
                  <a:close/>
                  <a:moveTo>
                    <a:pt x="6466" y="12491"/>
                  </a:moveTo>
                  <a:cubicBezTo>
                    <a:pt x="6390" y="12491"/>
                    <a:pt x="6327" y="12589"/>
                    <a:pt x="6327" y="12709"/>
                  </a:cubicBezTo>
                  <a:cubicBezTo>
                    <a:pt x="6327" y="12829"/>
                    <a:pt x="6390" y="12926"/>
                    <a:pt x="6466" y="12926"/>
                  </a:cubicBezTo>
                  <a:cubicBezTo>
                    <a:pt x="6542" y="12926"/>
                    <a:pt x="6603" y="12829"/>
                    <a:pt x="6603" y="12709"/>
                  </a:cubicBezTo>
                  <a:cubicBezTo>
                    <a:pt x="6603" y="12589"/>
                    <a:pt x="6542" y="12491"/>
                    <a:pt x="6466" y="12491"/>
                  </a:cubicBezTo>
                  <a:close/>
                  <a:moveTo>
                    <a:pt x="6877" y="12491"/>
                  </a:moveTo>
                  <a:cubicBezTo>
                    <a:pt x="6801" y="12491"/>
                    <a:pt x="6738" y="12589"/>
                    <a:pt x="6738" y="12709"/>
                  </a:cubicBezTo>
                  <a:cubicBezTo>
                    <a:pt x="6738" y="12829"/>
                    <a:pt x="6801" y="12926"/>
                    <a:pt x="6877" y="12926"/>
                  </a:cubicBezTo>
                  <a:cubicBezTo>
                    <a:pt x="6953" y="12926"/>
                    <a:pt x="7014" y="12829"/>
                    <a:pt x="7014" y="12709"/>
                  </a:cubicBezTo>
                  <a:cubicBezTo>
                    <a:pt x="7014" y="12589"/>
                    <a:pt x="6953" y="12491"/>
                    <a:pt x="6877" y="12491"/>
                  </a:cubicBezTo>
                  <a:close/>
                  <a:moveTo>
                    <a:pt x="7247" y="12491"/>
                  </a:moveTo>
                  <a:cubicBezTo>
                    <a:pt x="7170" y="12491"/>
                    <a:pt x="7108" y="12589"/>
                    <a:pt x="7108" y="12709"/>
                  </a:cubicBezTo>
                  <a:cubicBezTo>
                    <a:pt x="7108" y="12829"/>
                    <a:pt x="7170" y="12926"/>
                    <a:pt x="7247" y="12926"/>
                  </a:cubicBezTo>
                  <a:cubicBezTo>
                    <a:pt x="7323" y="12926"/>
                    <a:pt x="7384" y="12829"/>
                    <a:pt x="7384" y="12709"/>
                  </a:cubicBezTo>
                  <a:cubicBezTo>
                    <a:pt x="7384" y="12589"/>
                    <a:pt x="7323" y="12491"/>
                    <a:pt x="7247" y="12491"/>
                  </a:cubicBezTo>
                  <a:close/>
                  <a:moveTo>
                    <a:pt x="7658" y="12491"/>
                  </a:moveTo>
                  <a:cubicBezTo>
                    <a:pt x="7581" y="12491"/>
                    <a:pt x="7519" y="12589"/>
                    <a:pt x="7519" y="12709"/>
                  </a:cubicBezTo>
                  <a:cubicBezTo>
                    <a:pt x="7519" y="12829"/>
                    <a:pt x="7581" y="12926"/>
                    <a:pt x="7658" y="12926"/>
                  </a:cubicBezTo>
                  <a:cubicBezTo>
                    <a:pt x="7734" y="12926"/>
                    <a:pt x="7795" y="12829"/>
                    <a:pt x="7795" y="12709"/>
                  </a:cubicBezTo>
                  <a:cubicBezTo>
                    <a:pt x="7795" y="12589"/>
                    <a:pt x="7734" y="12491"/>
                    <a:pt x="7658" y="12491"/>
                  </a:cubicBezTo>
                  <a:close/>
                  <a:moveTo>
                    <a:pt x="8027" y="12491"/>
                  </a:moveTo>
                  <a:cubicBezTo>
                    <a:pt x="7951" y="12491"/>
                    <a:pt x="7889" y="12589"/>
                    <a:pt x="7889" y="12709"/>
                  </a:cubicBezTo>
                  <a:cubicBezTo>
                    <a:pt x="7889" y="12829"/>
                    <a:pt x="7951" y="12926"/>
                    <a:pt x="8027" y="12926"/>
                  </a:cubicBezTo>
                  <a:cubicBezTo>
                    <a:pt x="8103" y="12926"/>
                    <a:pt x="8165" y="12829"/>
                    <a:pt x="8165" y="12709"/>
                  </a:cubicBezTo>
                  <a:cubicBezTo>
                    <a:pt x="8165" y="12589"/>
                    <a:pt x="8103" y="12491"/>
                    <a:pt x="8027" y="12491"/>
                  </a:cubicBezTo>
                  <a:close/>
                  <a:moveTo>
                    <a:pt x="8438" y="12491"/>
                  </a:moveTo>
                  <a:cubicBezTo>
                    <a:pt x="8362" y="12491"/>
                    <a:pt x="8299" y="12589"/>
                    <a:pt x="8299" y="12709"/>
                  </a:cubicBezTo>
                  <a:cubicBezTo>
                    <a:pt x="8299" y="12829"/>
                    <a:pt x="8362" y="12926"/>
                    <a:pt x="8438" y="12926"/>
                  </a:cubicBezTo>
                  <a:cubicBezTo>
                    <a:pt x="8515" y="12926"/>
                    <a:pt x="8576" y="12829"/>
                    <a:pt x="8576" y="12709"/>
                  </a:cubicBezTo>
                  <a:cubicBezTo>
                    <a:pt x="8576" y="12589"/>
                    <a:pt x="8515" y="12491"/>
                    <a:pt x="8438" y="12491"/>
                  </a:cubicBezTo>
                  <a:close/>
                  <a:moveTo>
                    <a:pt x="8849" y="12491"/>
                  </a:moveTo>
                  <a:cubicBezTo>
                    <a:pt x="8773" y="12491"/>
                    <a:pt x="8710" y="12589"/>
                    <a:pt x="8710" y="12709"/>
                  </a:cubicBezTo>
                  <a:cubicBezTo>
                    <a:pt x="8710" y="12829"/>
                    <a:pt x="8773" y="12926"/>
                    <a:pt x="8849" y="12926"/>
                  </a:cubicBezTo>
                  <a:cubicBezTo>
                    <a:pt x="8925" y="12926"/>
                    <a:pt x="8986" y="12829"/>
                    <a:pt x="8986" y="12709"/>
                  </a:cubicBezTo>
                  <a:cubicBezTo>
                    <a:pt x="8986" y="12589"/>
                    <a:pt x="8925" y="12491"/>
                    <a:pt x="8849" y="12491"/>
                  </a:cubicBezTo>
                  <a:close/>
                  <a:moveTo>
                    <a:pt x="9219" y="12491"/>
                  </a:moveTo>
                  <a:cubicBezTo>
                    <a:pt x="9142" y="12491"/>
                    <a:pt x="9080" y="12589"/>
                    <a:pt x="9080" y="12709"/>
                  </a:cubicBezTo>
                  <a:cubicBezTo>
                    <a:pt x="9080" y="12829"/>
                    <a:pt x="9142" y="12926"/>
                    <a:pt x="9219" y="12926"/>
                  </a:cubicBezTo>
                  <a:cubicBezTo>
                    <a:pt x="9295" y="12926"/>
                    <a:pt x="9356" y="12829"/>
                    <a:pt x="9356" y="12709"/>
                  </a:cubicBezTo>
                  <a:cubicBezTo>
                    <a:pt x="9356" y="12589"/>
                    <a:pt x="9295" y="12491"/>
                    <a:pt x="9219" y="12491"/>
                  </a:cubicBezTo>
                  <a:close/>
                  <a:moveTo>
                    <a:pt x="9630" y="12491"/>
                  </a:moveTo>
                  <a:cubicBezTo>
                    <a:pt x="9553" y="12491"/>
                    <a:pt x="9491" y="12589"/>
                    <a:pt x="9491" y="12709"/>
                  </a:cubicBezTo>
                  <a:cubicBezTo>
                    <a:pt x="9491" y="12829"/>
                    <a:pt x="9553" y="12926"/>
                    <a:pt x="9630" y="12926"/>
                  </a:cubicBezTo>
                  <a:cubicBezTo>
                    <a:pt x="9706" y="12926"/>
                    <a:pt x="9767" y="12829"/>
                    <a:pt x="9767" y="12709"/>
                  </a:cubicBezTo>
                  <a:cubicBezTo>
                    <a:pt x="9767" y="12589"/>
                    <a:pt x="9706" y="12491"/>
                    <a:pt x="9630" y="12491"/>
                  </a:cubicBezTo>
                  <a:close/>
                  <a:moveTo>
                    <a:pt x="9999" y="12491"/>
                  </a:moveTo>
                  <a:cubicBezTo>
                    <a:pt x="9923" y="12491"/>
                    <a:pt x="9861" y="12589"/>
                    <a:pt x="9861" y="12709"/>
                  </a:cubicBezTo>
                  <a:cubicBezTo>
                    <a:pt x="9861" y="12829"/>
                    <a:pt x="9923" y="12926"/>
                    <a:pt x="9999" y="12926"/>
                  </a:cubicBezTo>
                  <a:cubicBezTo>
                    <a:pt x="10076" y="12926"/>
                    <a:pt x="10137" y="12829"/>
                    <a:pt x="10137" y="12709"/>
                  </a:cubicBezTo>
                  <a:cubicBezTo>
                    <a:pt x="10137" y="12589"/>
                    <a:pt x="10076" y="12491"/>
                    <a:pt x="9999" y="12491"/>
                  </a:cubicBezTo>
                  <a:close/>
                  <a:moveTo>
                    <a:pt x="2891" y="13138"/>
                  </a:moveTo>
                  <a:cubicBezTo>
                    <a:pt x="2815" y="13138"/>
                    <a:pt x="2753" y="13236"/>
                    <a:pt x="2753" y="13356"/>
                  </a:cubicBezTo>
                  <a:cubicBezTo>
                    <a:pt x="2753" y="13477"/>
                    <a:pt x="2815" y="13573"/>
                    <a:pt x="2891" y="13573"/>
                  </a:cubicBezTo>
                  <a:cubicBezTo>
                    <a:pt x="2968" y="13573"/>
                    <a:pt x="3029" y="13477"/>
                    <a:pt x="3029" y="13356"/>
                  </a:cubicBezTo>
                  <a:cubicBezTo>
                    <a:pt x="3029" y="13236"/>
                    <a:pt x="2968" y="13138"/>
                    <a:pt x="2891" y="13138"/>
                  </a:cubicBezTo>
                  <a:close/>
                  <a:moveTo>
                    <a:pt x="3302" y="13138"/>
                  </a:moveTo>
                  <a:cubicBezTo>
                    <a:pt x="3226" y="13138"/>
                    <a:pt x="3164" y="13236"/>
                    <a:pt x="3164" y="13356"/>
                  </a:cubicBezTo>
                  <a:cubicBezTo>
                    <a:pt x="3164" y="13477"/>
                    <a:pt x="3226" y="13573"/>
                    <a:pt x="3302" y="13573"/>
                  </a:cubicBezTo>
                  <a:cubicBezTo>
                    <a:pt x="3379" y="13573"/>
                    <a:pt x="3440" y="13477"/>
                    <a:pt x="3440" y="13356"/>
                  </a:cubicBezTo>
                  <a:cubicBezTo>
                    <a:pt x="3440" y="13236"/>
                    <a:pt x="3379" y="13138"/>
                    <a:pt x="3302" y="13138"/>
                  </a:cubicBezTo>
                  <a:close/>
                  <a:moveTo>
                    <a:pt x="3713" y="13138"/>
                  </a:moveTo>
                  <a:cubicBezTo>
                    <a:pt x="3637" y="13138"/>
                    <a:pt x="3575" y="13236"/>
                    <a:pt x="3575" y="13356"/>
                  </a:cubicBezTo>
                  <a:cubicBezTo>
                    <a:pt x="3575" y="13477"/>
                    <a:pt x="3637" y="13573"/>
                    <a:pt x="3713" y="13573"/>
                  </a:cubicBezTo>
                  <a:cubicBezTo>
                    <a:pt x="3790" y="13573"/>
                    <a:pt x="3851" y="13477"/>
                    <a:pt x="3851" y="13356"/>
                  </a:cubicBezTo>
                  <a:cubicBezTo>
                    <a:pt x="3851" y="13236"/>
                    <a:pt x="3790" y="13138"/>
                    <a:pt x="3713" y="13138"/>
                  </a:cubicBezTo>
                  <a:close/>
                  <a:moveTo>
                    <a:pt x="4083" y="13138"/>
                  </a:moveTo>
                  <a:cubicBezTo>
                    <a:pt x="4007" y="13138"/>
                    <a:pt x="3944" y="13236"/>
                    <a:pt x="3944" y="13356"/>
                  </a:cubicBezTo>
                  <a:cubicBezTo>
                    <a:pt x="3944" y="13477"/>
                    <a:pt x="4007" y="13573"/>
                    <a:pt x="4083" y="13573"/>
                  </a:cubicBezTo>
                  <a:cubicBezTo>
                    <a:pt x="4159" y="13573"/>
                    <a:pt x="4220" y="13477"/>
                    <a:pt x="4220" y="13356"/>
                  </a:cubicBezTo>
                  <a:cubicBezTo>
                    <a:pt x="4220" y="13236"/>
                    <a:pt x="4159" y="13138"/>
                    <a:pt x="4083" y="13138"/>
                  </a:cubicBezTo>
                  <a:close/>
                  <a:moveTo>
                    <a:pt x="4494" y="13138"/>
                  </a:moveTo>
                  <a:cubicBezTo>
                    <a:pt x="4418" y="13138"/>
                    <a:pt x="4355" y="13236"/>
                    <a:pt x="4355" y="13356"/>
                  </a:cubicBezTo>
                  <a:cubicBezTo>
                    <a:pt x="4355" y="13477"/>
                    <a:pt x="4418" y="13573"/>
                    <a:pt x="4494" y="13573"/>
                  </a:cubicBezTo>
                  <a:cubicBezTo>
                    <a:pt x="4570" y="13573"/>
                    <a:pt x="4631" y="13477"/>
                    <a:pt x="4631" y="13356"/>
                  </a:cubicBezTo>
                  <a:cubicBezTo>
                    <a:pt x="4631" y="13236"/>
                    <a:pt x="4570" y="13138"/>
                    <a:pt x="4494" y="13138"/>
                  </a:cubicBezTo>
                  <a:close/>
                  <a:moveTo>
                    <a:pt x="4864" y="13138"/>
                  </a:moveTo>
                  <a:cubicBezTo>
                    <a:pt x="4787" y="13138"/>
                    <a:pt x="4725" y="13236"/>
                    <a:pt x="4725" y="13356"/>
                  </a:cubicBezTo>
                  <a:cubicBezTo>
                    <a:pt x="4725" y="13477"/>
                    <a:pt x="4787" y="13573"/>
                    <a:pt x="4864" y="13573"/>
                  </a:cubicBezTo>
                  <a:cubicBezTo>
                    <a:pt x="4940" y="13573"/>
                    <a:pt x="5001" y="13477"/>
                    <a:pt x="5001" y="13356"/>
                  </a:cubicBezTo>
                  <a:cubicBezTo>
                    <a:pt x="5001" y="13236"/>
                    <a:pt x="4940" y="13138"/>
                    <a:pt x="4864" y="13138"/>
                  </a:cubicBezTo>
                  <a:close/>
                  <a:moveTo>
                    <a:pt x="5274" y="13138"/>
                  </a:moveTo>
                  <a:cubicBezTo>
                    <a:pt x="5198" y="13138"/>
                    <a:pt x="5136" y="13236"/>
                    <a:pt x="5136" y="13356"/>
                  </a:cubicBezTo>
                  <a:cubicBezTo>
                    <a:pt x="5136" y="13477"/>
                    <a:pt x="5198" y="13573"/>
                    <a:pt x="5274" y="13573"/>
                  </a:cubicBezTo>
                  <a:cubicBezTo>
                    <a:pt x="5351" y="13573"/>
                    <a:pt x="5412" y="13477"/>
                    <a:pt x="5412" y="13356"/>
                  </a:cubicBezTo>
                  <a:cubicBezTo>
                    <a:pt x="5412" y="13236"/>
                    <a:pt x="5351" y="13138"/>
                    <a:pt x="5274" y="13138"/>
                  </a:cubicBezTo>
                  <a:close/>
                  <a:moveTo>
                    <a:pt x="5685" y="13138"/>
                  </a:moveTo>
                  <a:cubicBezTo>
                    <a:pt x="5609" y="13138"/>
                    <a:pt x="5547" y="13236"/>
                    <a:pt x="5547" y="13356"/>
                  </a:cubicBezTo>
                  <a:cubicBezTo>
                    <a:pt x="5547" y="13477"/>
                    <a:pt x="5609" y="13573"/>
                    <a:pt x="5685" y="13573"/>
                  </a:cubicBezTo>
                  <a:cubicBezTo>
                    <a:pt x="5762" y="13573"/>
                    <a:pt x="5823" y="13477"/>
                    <a:pt x="5823" y="13356"/>
                  </a:cubicBezTo>
                  <a:cubicBezTo>
                    <a:pt x="5823" y="13236"/>
                    <a:pt x="5762" y="13138"/>
                    <a:pt x="5685" y="13138"/>
                  </a:cubicBezTo>
                  <a:close/>
                  <a:moveTo>
                    <a:pt x="6055" y="13138"/>
                  </a:moveTo>
                  <a:cubicBezTo>
                    <a:pt x="5979" y="13138"/>
                    <a:pt x="5916" y="13236"/>
                    <a:pt x="5916" y="13356"/>
                  </a:cubicBezTo>
                  <a:cubicBezTo>
                    <a:pt x="5916" y="13477"/>
                    <a:pt x="5979" y="13573"/>
                    <a:pt x="6055" y="13573"/>
                  </a:cubicBezTo>
                  <a:cubicBezTo>
                    <a:pt x="6131" y="13573"/>
                    <a:pt x="6193" y="13477"/>
                    <a:pt x="6193" y="13356"/>
                  </a:cubicBezTo>
                  <a:cubicBezTo>
                    <a:pt x="6193" y="13236"/>
                    <a:pt x="6131" y="13138"/>
                    <a:pt x="6055" y="13138"/>
                  </a:cubicBezTo>
                  <a:close/>
                  <a:moveTo>
                    <a:pt x="6466" y="13138"/>
                  </a:moveTo>
                  <a:cubicBezTo>
                    <a:pt x="6390" y="13138"/>
                    <a:pt x="6327" y="13236"/>
                    <a:pt x="6327" y="13356"/>
                  </a:cubicBezTo>
                  <a:cubicBezTo>
                    <a:pt x="6327" y="13477"/>
                    <a:pt x="6390" y="13573"/>
                    <a:pt x="6466" y="13573"/>
                  </a:cubicBezTo>
                  <a:cubicBezTo>
                    <a:pt x="6542" y="13573"/>
                    <a:pt x="6603" y="13477"/>
                    <a:pt x="6603" y="13356"/>
                  </a:cubicBezTo>
                  <a:cubicBezTo>
                    <a:pt x="6603" y="13236"/>
                    <a:pt x="6542" y="13138"/>
                    <a:pt x="6466" y="13138"/>
                  </a:cubicBezTo>
                  <a:close/>
                  <a:moveTo>
                    <a:pt x="6877" y="13138"/>
                  </a:moveTo>
                  <a:cubicBezTo>
                    <a:pt x="6801" y="13138"/>
                    <a:pt x="6738" y="13236"/>
                    <a:pt x="6738" y="13356"/>
                  </a:cubicBezTo>
                  <a:cubicBezTo>
                    <a:pt x="6738" y="13477"/>
                    <a:pt x="6801" y="13573"/>
                    <a:pt x="6877" y="13573"/>
                  </a:cubicBezTo>
                  <a:cubicBezTo>
                    <a:pt x="6953" y="13573"/>
                    <a:pt x="7014" y="13477"/>
                    <a:pt x="7014" y="13356"/>
                  </a:cubicBezTo>
                  <a:cubicBezTo>
                    <a:pt x="7014" y="13236"/>
                    <a:pt x="6953" y="13138"/>
                    <a:pt x="6877" y="13138"/>
                  </a:cubicBezTo>
                  <a:close/>
                  <a:moveTo>
                    <a:pt x="7247" y="13138"/>
                  </a:moveTo>
                  <a:cubicBezTo>
                    <a:pt x="7170" y="13138"/>
                    <a:pt x="7108" y="13236"/>
                    <a:pt x="7108" y="13356"/>
                  </a:cubicBezTo>
                  <a:cubicBezTo>
                    <a:pt x="7108" y="13477"/>
                    <a:pt x="7170" y="13573"/>
                    <a:pt x="7247" y="13573"/>
                  </a:cubicBezTo>
                  <a:cubicBezTo>
                    <a:pt x="7323" y="13573"/>
                    <a:pt x="7384" y="13477"/>
                    <a:pt x="7384" y="13356"/>
                  </a:cubicBezTo>
                  <a:cubicBezTo>
                    <a:pt x="7384" y="13236"/>
                    <a:pt x="7323" y="13138"/>
                    <a:pt x="7247" y="13138"/>
                  </a:cubicBezTo>
                  <a:close/>
                  <a:moveTo>
                    <a:pt x="7658" y="13138"/>
                  </a:moveTo>
                  <a:cubicBezTo>
                    <a:pt x="7581" y="13138"/>
                    <a:pt x="7519" y="13236"/>
                    <a:pt x="7519" y="13356"/>
                  </a:cubicBezTo>
                  <a:cubicBezTo>
                    <a:pt x="7519" y="13477"/>
                    <a:pt x="7581" y="13573"/>
                    <a:pt x="7658" y="13573"/>
                  </a:cubicBezTo>
                  <a:cubicBezTo>
                    <a:pt x="7734" y="13573"/>
                    <a:pt x="7795" y="13477"/>
                    <a:pt x="7795" y="13356"/>
                  </a:cubicBezTo>
                  <a:cubicBezTo>
                    <a:pt x="7795" y="13236"/>
                    <a:pt x="7734" y="13138"/>
                    <a:pt x="7658" y="13138"/>
                  </a:cubicBezTo>
                  <a:close/>
                  <a:moveTo>
                    <a:pt x="8027" y="13138"/>
                  </a:moveTo>
                  <a:cubicBezTo>
                    <a:pt x="7951" y="13138"/>
                    <a:pt x="7889" y="13236"/>
                    <a:pt x="7889" y="13356"/>
                  </a:cubicBezTo>
                  <a:cubicBezTo>
                    <a:pt x="7889" y="13477"/>
                    <a:pt x="7951" y="13573"/>
                    <a:pt x="8027" y="13573"/>
                  </a:cubicBezTo>
                  <a:cubicBezTo>
                    <a:pt x="8103" y="13573"/>
                    <a:pt x="8165" y="13477"/>
                    <a:pt x="8165" y="13356"/>
                  </a:cubicBezTo>
                  <a:cubicBezTo>
                    <a:pt x="8165" y="13236"/>
                    <a:pt x="8103" y="13138"/>
                    <a:pt x="8027" y="13138"/>
                  </a:cubicBezTo>
                  <a:close/>
                  <a:moveTo>
                    <a:pt x="8438" y="13138"/>
                  </a:moveTo>
                  <a:cubicBezTo>
                    <a:pt x="8362" y="13138"/>
                    <a:pt x="8299" y="13236"/>
                    <a:pt x="8299" y="13356"/>
                  </a:cubicBezTo>
                  <a:cubicBezTo>
                    <a:pt x="8299" y="13477"/>
                    <a:pt x="8362" y="13573"/>
                    <a:pt x="8438" y="13573"/>
                  </a:cubicBezTo>
                  <a:cubicBezTo>
                    <a:pt x="8515" y="13573"/>
                    <a:pt x="8576" y="13477"/>
                    <a:pt x="8576" y="13356"/>
                  </a:cubicBezTo>
                  <a:cubicBezTo>
                    <a:pt x="8576" y="13236"/>
                    <a:pt x="8515" y="13138"/>
                    <a:pt x="8438" y="13138"/>
                  </a:cubicBezTo>
                  <a:close/>
                  <a:moveTo>
                    <a:pt x="8849" y="13138"/>
                  </a:moveTo>
                  <a:cubicBezTo>
                    <a:pt x="8773" y="13138"/>
                    <a:pt x="8710" y="13236"/>
                    <a:pt x="8710" y="13356"/>
                  </a:cubicBezTo>
                  <a:cubicBezTo>
                    <a:pt x="8710" y="13477"/>
                    <a:pt x="8773" y="13573"/>
                    <a:pt x="8849" y="13573"/>
                  </a:cubicBezTo>
                  <a:cubicBezTo>
                    <a:pt x="8925" y="13573"/>
                    <a:pt x="8986" y="13477"/>
                    <a:pt x="8986" y="13356"/>
                  </a:cubicBezTo>
                  <a:cubicBezTo>
                    <a:pt x="8986" y="13236"/>
                    <a:pt x="8925" y="13138"/>
                    <a:pt x="8849" y="13138"/>
                  </a:cubicBezTo>
                  <a:close/>
                  <a:moveTo>
                    <a:pt x="9219" y="13138"/>
                  </a:moveTo>
                  <a:cubicBezTo>
                    <a:pt x="9142" y="13138"/>
                    <a:pt x="9080" y="13236"/>
                    <a:pt x="9080" y="13356"/>
                  </a:cubicBezTo>
                  <a:cubicBezTo>
                    <a:pt x="9080" y="13477"/>
                    <a:pt x="9142" y="13573"/>
                    <a:pt x="9219" y="13573"/>
                  </a:cubicBezTo>
                  <a:cubicBezTo>
                    <a:pt x="9295" y="13573"/>
                    <a:pt x="9356" y="13477"/>
                    <a:pt x="9356" y="13356"/>
                  </a:cubicBezTo>
                  <a:cubicBezTo>
                    <a:pt x="9356" y="13236"/>
                    <a:pt x="9295" y="13138"/>
                    <a:pt x="9219" y="13138"/>
                  </a:cubicBezTo>
                  <a:close/>
                  <a:moveTo>
                    <a:pt x="9630" y="13138"/>
                  </a:moveTo>
                  <a:cubicBezTo>
                    <a:pt x="9553" y="13138"/>
                    <a:pt x="9491" y="13236"/>
                    <a:pt x="9491" y="13356"/>
                  </a:cubicBezTo>
                  <a:cubicBezTo>
                    <a:pt x="9491" y="13477"/>
                    <a:pt x="9553" y="13573"/>
                    <a:pt x="9630" y="13573"/>
                  </a:cubicBezTo>
                  <a:cubicBezTo>
                    <a:pt x="9706" y="13573"/>
                    <a:pt x="9767" y="13477"/>
                    <a:pt x="9767" y="13356"/>
                  </a:cubicBezTo>
                  <a:cubicBezTo>
                    <a:pt x="9767" y="13236"/>
                    <a:pt x="9706" y="13138"/>
                    <a:pt x="9630" y="13138"/>
                  </a:cubicBezTo>
                  <a:close/>
                  <a:moveTo>
                    <a:pt x="9999" y="13138"/>
                  </a:moveTo>
                  <a:cubicBezTo>
                    <a:pt x="9923" y="13138"/>
                    <a:pt x="9861" y="13236"/>
                    <a:pt x="9861" y="13356"/>
                  </a:cubicBezTo>
                  <a:cubicBezTo>
                    <a:pt x="9861" y="13477"/>
                    <a:pt x="9923" y="13573"/>
                    <a:pt x="9999" y="13573"/>
                  </a:cubicBezTo>
                  <a:cubicBezTo>
                    <a:pt x="10076" y="13573"/>
                    <a:pt x="10137" y="13477"/>
                    <a:pt x="10137" y="13356"/>
                  </a:cubicBezTo>
                  <a:cubicBezTo>
                    <a:pt x="10137" y="13236"/>
                    <a:pt x="10076" y="13138"/>
                    <a:pt x="9999" y="13138"/>
                  </a:cubicBezTo>
                  <a:close/>
                  <a:moveTo>
                    <a:pt x="2891" y="13720"/>
                  </a:moveTo>
                  <a:cubicBezTo>
                    <a:pt x="2815" y="13720"/>
                    <a:pt x="2753" y="13819"/>
                    <a:pt x="2753" y="13939"/>
                  </a:cubicBezTo>
                  <a:cubicBezTo>
                    <a:pt x="2753" y="14059"/>
                    <a:pt x="2815" y="14155"/>
                    <a:pt x="2891" y="14155"/>
                  </a:cubicBezTo>
                  <a:cubicBezTo>
                    <a:pt x="2968" y="14155"/>
                    <a:pt x="3029" y="14059"/>
                    <a:pt x="3029" y="13939"/>
                  </a:cubicBezTo>
                  <a:cubicBezTo>
                    <a:pt x="3029" y="13819"/>
                    <a:pt x="2968" y="13720"/>
                    <a:pt x="2891" y="13720"/>
                  </a:cubicBezTo>
                  <a:close/>
                  <a:moveTo>
                    <a:pt x="3302" y="13720"/>
                  </a:moveTo>
                  <a:cubicBezTo>
                    <a:pt x="3226" y="13720"/>
                    <a:pt x="3164" y="13819"/>
                    <a:pt x="3164" y="13939"/>
                  </a:cubicBezTo>
                  <a:cubicBezTo>
                    <a:pt x="3164" y="14059"/>
                    <a:pt x="3226" y="14155"/>
                    <a:pt x="3302" y="14155"/>
                  </a:cubicBezTo>
                  <a:cubicBezTo>
                    <a:pt x="3379" y="14155"/>
                    <a:pt x="3440" y="14059"/>
                    <a:pt x="3440" y="13939"/>
                  </a:cubicBezTo>
                  <a:cubicBezTo>
                    <a:pt x="3440" y="13819"/>
                    <a:pt x="3379" y="13720"/>
                    <a:pt x="3302" y="13720"/>
                  </a:cubicBezTo>
                  <a:close/>
                  <a:moveTo>
                    <a:pt x="3713" y="13720"/>
                  </a:moveTo>
                  <a:cubicBezTo>
                    <a:pt x="3637" y="13720"/>
                    <a:pt x="3575" y="13819"/>
                    <a:pt x="3575" y="13939"/>
                  </a:cubicBezTo>
                  <a:cubicBezTo>
                    <a:pt x="3575" y="14059"/>
                    <a:pt x="3637" y="14155"/>
                    <a:pt x="3713" y="14155"/>
                  </a:cubicBezTo>
                  <a:cubicBezTo>
                    <a:pt x="3789" y="14155"/>
                    <a:pt x="3851" y="14059"/>
                    <a:pt x="3851" y="13939"/>
                  </a:cubicBezTo>
                  <a:cubicBezTo>
                    <a:pt x="3851" y="13819"/>
                    <a:pt x="3789" y="13720"/>
                    <a:pt x="3713" y="13720"/>
                  </a:cubicBezTo>
                  <a:close/>
                  <a:moveTo>
                    <a:pt x="4083" y="13720"/>
                  </a:moveTo>
                  <a:cubicBezTo>
                    <a:pt x="4007" y="13720"/>
                    <a:pt x="3944" y="13819"/>
                    <a:pt x="3944" y="13939"/>
                  </a:cubicBezTo>
                  <a:cubicBezTo>
                    <a:pt x="3944" y="14059"/>
                    <a:pt x="4007" y="14155"/>
                    <a:pt x="4083" y="14155"/>
                  </a:cubicBezTo>
                  <a:cubicBezTo>
                    <a:pt x="4159" y="14155"/>
                    <a:pt x="4220" y="14059"/>
                    <a:pt x="4220" y="13939"/>
                  </a:cubicBezTo>
                  <a:cubicBezTo>
                    <a:pt x="4220" y="13819"/>
                    <a:pt x="4159" y="13720"/>
                    <a:pt x="4083" y="13720"/>
                  </a:cubicBezTo>
                  <a:close/>
                  <a:moveTo>
                    <a:pt x="4494" y="13720"/>
                  </a:moveTo>
                  <a:cubicBezTo>
                    <a:pt x="4418" y="13720"/>
                    <a:pt x="4355" y="13819"/>
                    <a:pt x="4355" y="13939"/>
                  </a:cubicBezTo>
                  <a:cubicBezTo>
                    <a:pt x="4355" y="14059"/>
                    <a:pt x="4418" y="14155"/>
                    <a:pt x="4494" y="14155"/>
                  </a:cubicBezTo>
                  <a:cubicBezTo>
                    <a:pt x="4570" y="14155"/>
                    <a:pt x="4631" y="14059"/>
                    <a:pt x="4631" y="13939"/>
                  </a:cubicBezTo>
                  <a:cubicBezTo>
                    <a:pt x="4631" y="13819"/>
                    <a:pt x="4570" y="13720"/>
                    <a:pt x="4494" y="13720"/>
                  </a:cubicBezTo>
                  <a:close/>
                  <a:moveTo>
                    <a:pt x="4864" y="13720"/>
                  </a:moveTo>
                  <a:cubicBezTo>
                    <a:pt x="4787" y="13720"/>
                    <a:pt x="4725" y="13819"/>
                    <a:pt x="4725" y="13939"/>
                  </a:cubicBezTo>
                  <a:cubicBezTo>
                    <a:pt x="4725" y="14059"/>
                    <a:pt x="4787" y="14155"/>
                    <a:pt x="4864" y="14155"/>
                  </a:cubicBezTo>
                  <a:cubicBezTo>
                    <a:pt x="4940" y="14155"/>
                    <a:pt x="5001" y="14059"/>
                    <a:pt x="5001" y="13939"/>
                  </a:cubicBezTo>
                  <a:cubicBezTo>
                    <a:pt x="5001" y="13819"/>
                    <a:pt x="4940" y="13720"/>
                    <a:pt x="4864" y="13720"/>
                  </a:cubicBezTo>
                  <a:close/>
                  <a:moveTo>
                    <a:pt x="5274" y="13720"/>
                  </a:moveTo>
                  <a:cubicBezTo>
                    <a:pt x="5198" y="13720"/>
                    <a:pt x="5136" y="13819"/>
                    <a:pt x="5136" y="13939"/>
                  </a:cubicBezTo>
                  <a:cubicBezTo>
                    <a:pt x="5136" y="14059"/>
                    <a:pt x="5198" y="14155"/>
                    <a:pt x="5274" y="14155"/>
                  </a:cubicBezTo>
                  <a:cubicBezTo>
                    <a:pt x="5351" y="14155"/>
                    <a:pt x="5412" y="14059"/>
                    <a:pt x="5412" y="13939"/>
                  </a:cubicBezTo>
                  <a:cubicBezTo>
                    <a:pt x="5412" y="13819"/>
                    <a:pt x="5351" y="13720"/>
                    <a:pt x="5274" y="13720"/>
                  </a:cubicBezTo>
                  <a:close/>
                  <a:moveTo>
                    <a:pt x="5685" y="13720"/>
                  </a:moveTo>
                  <a:cubicBezTo>
                    <a:pt x="5609" y="13720"/>
                    <a:pt x="5547" y="13819"/>
                    <a:pt x="5547" y="13939"/>
                  </a:cubicBezTo>
                  <a:cubicBezTo>
                    <a:pt x="5547" y="14059"/>
                    <a:pt x="5609" y="14155"/>
                    <a:pt x="5685" y="14155"/>
                  </a:cubicBezTo>
                  <a:cubicBezTo>
                    <a:pt x="5762" y="14155"/>
                    <a:pt x="5823" y="14059"/>
                    <a:pt x="5823" y="13939"/>
                  </a:cubicBezTo>
                  <a:cubicBezTo>
                    <a:pt x="5823" y="13819"/>
                    <a:pt x="5762" y="13720"/>
                    <a:pt x="5685" y="13720"/>
                  </a:cubicBezTo>
                  <a:close/>
                  <a:moveTo>
                    <a:pt x="6055" y="13720"/>
                  </a:moveTo>
                  <a:cubicBezTo>
                    <a:pt x="5979" y="13720"/>
                    <a:pt x="5916" y="13819"/>
                    <a:pt x="5916" y="13939"/>
                  </a:cubicBezTo>
                  <a:cubicBezTo>
                    <a:pt x="5916" y="14059"/>
                    <a:pt x="5979" y="14155"/>
                    <a:pt x="6055" y="14155"/>
                  </a:cubicBezTo>
                  <a:cubicBezTo>
                    <a:pt x="6131" y="14155"/>
                    <a:pt x="6193" y="14059"/>
                    <a:pt x="6193" y="13939"/>
                  </a:cubicBezTo>
                  <a:cubicBezTo>
                    <a:pt x="6193" y="13819"/>
                    <a:pt x="6131" y="13720"/>
                    <a:pt x="6055" y="13720"/>
                  </a:cubicBezTo>
                  <a:close/>
                  <a:moveTo>
                    <a:pt x="6466" y="13720"/>
                  </a:moveTo>
                  <a:cubicBezTo>
                    <a:pt x="6390" y="13720"/>
                    <a:pt x="6327" y="13819"/>
                    <a:pt x="6327" y="13939"/>
                  </a:cubicBezTo>
                  <a:cubicBezTo>
                    <a:pt x="6327" y="14059"/>
                    <a:pt x="6390" y="14155"/>
                    <a:pt x="6466" y="14155"/>
                  </a:cubicBezTo>
                  <a:cubicBezTo>
                    <a:pt x="6542" y="14155"/>
                    <a:pt x="6603" y="14059"/>
                    <a:pt x="6603" y="13939"/>
                  </a:cubicBezTo>
                  <a:cubicBezTo>
                    <a:pt x="6603" y="13819"/>
                    <a:pt x="6542" y="13720"/>
                    <a:pt x="6466" y="13720"/>
                  </a:cubicBezTo>
                  <a:close/>
                  <a:moveTo>
                    <a:pt x="6877" y="13720"/>
                  </a:moveTo>
                  <a:cubicBezTo>
                    <a:pt x="6801" y="13720"/>
                    <a:pt x="6738" y="13819"/>
                    <a:pt x="6738" y="13939"/>
                  </a:cubicBezTo>
                  <a:cubicBezTo>
                    <a:pt x="6738" y="14059"/>
                    <a:pt x="6801" y="14155"/>
                    <a:pt x="6877" y="14155"/>
                  </a:cubicBezTo>
                  <a:cubicBezTo>
                    <a:pt x="6953" y="14155"/>
                    <a:pt x="7014" y="14059"/>
                    <a:pt x="7014" y="13939"/>
                  </a:cubicBezTo>
                  <a:cubicBezTo>
                    <a:pt x="7014" y="13819"/>
                    <a:pt x="6953" y="13720"/>
                    <a:pt x="6877" y="13720"/>
                  </a:cubicBezTo>
                  <a:close/>
                  <a:moveTo>
                    <a:pt x="7247" y="13720"/>
                  </a:moveTo>
                  <a:cubicBezTo>
                    <a:pt x="7170" y="13720"/>
                    <a:pt x="7108" y="13819"/>
                    <a:pt x="7108" y="13939"/>
                  </a:cubicBezTo>
                  <a:cubicBezTo>
                    <a:pt x="7108" y="14059"/>
                    <a:pt x="7170" y="14155"/>
                    <a:pt x="7247" y="14155"/>
                  </a:cubicBezTo>
                  <a:cubicBezTo>
                    <a:pt x="7323" y="14155"/>
                    <a:pt x="7384" y="14059"/>
                    <a:pt x="7384" y="13939"/>
                  </a:cubicBezTo>
                  <a:cubicBezTo>
                    <a:pt x="7384" y="13819"/>
                    <a:pt x="7323" y="13720"/>
                    <a:pt x="7247" y="13720"/>
                  </a:cubicBezTo>
                  <a:close/>
                  <a:moveTo>
                    <a:pt x="7658" y="13720"/>
                  </a:moveTo>
                  <a:cubicBezTo>
                    <a:pt x="7581" y="13720"/>
                    <a:pt x="7519" y="13819"/>
                    <a:pt x="7519" y="13939"/>
                  </a:cubicBezTo>
                  <a:cubicBezTo>
                    <a:pt x="7519" y="14059"/>
                    <a:pt x="7581" y="14155"/>
                    <a:pt x="7658" y="14155"/>
                  </a:cubicBezTo>
                  <a:cubicBezTo>
                    <a:pt x="7734" y="14155"/>
                    <a:pt x="7795" y="14059"/>
                    <a:pt x="7795" y="13939"/>
                  </a:cubicBezTo>
                  <a:cubicBezTo>
                    <a:pt x="7795" y="13819"/>
                    <a:pt x="7734" y="13720"/>
                    <a:pt x="7658" y="13720"/>
                  </a:cubicBezTo>
                  <a:close/>
                  <a:moveTo>
                    <a:pt x="8027" y="13720"/>
                  </a:moveTo>
                  <a:cubicBezTo>
                    <a:pt x="7951" y="13720"/>
                    <a:pt x="7889" y="13819"/>
                    <a:pt x="7889" y="13939"/>
                  </a:cubicBezTo>
                  <a:cubicBezTo>
                    <a:pt x="7889" y="14059"/>
                    <a:pt x="7951" y="14155"/>
                    <a:pt x="8027" y="14155"/>
                  </a:cubicBezTo>
                  <a:cubicBezTo>
                    <a:pt x="8103" y="14155"/>
                    <a:pt x="8165" y="14059"/>
                    <a:pt x="8165" y="13939"/>
                  </a:cubicBezTo>
                  <a:cubicBezTo>
                    <a:pt x="8165" y="13819"/>
                    <a:pt x="8103" y="13720"/>
                    <a:pt x="8027" y="13720"/>
                  </a:cubicBezTo>
                  <a:close/>
                  <a:moveTo>
                    <a:pt x="8438" y="13720"/>
                  </a:moveTo>
                  <a:cubicBezTo>
                    <a:pt x="8362" y="13720"/>
                    <a:pt x="8299" y="13819"/>
                    <a:pt x="8299" y="13939"/>
                  </a:cubicBezTo>
                  <a:cubicBezTo>
                    <a:pt x="8299" y="14059"/>
                    <a:pt x="8362" y="14155"/>
                    <a:pt x="8438" y="14155"/>
                  </a:cubicBezTo>
                  <a:cubicBezTo>
                    <a:pt x="8515" y="14155"/>
                    <a:pt x="8576" y="14059"/>
                    <a:pt x="8576" y="13939"/>
                  </a:cubicBezTo>
                  <a:cubicBezTo>
                    <a:pt x="8576" y="13819"/>
                    <a:pt x="8515" y="13720"/>
                    <a:pt x="8438" y="13720"/>
                  </a:cubicBezTo>
                  <a:close/>
                  <a:moveTo>
                    <a:pt x="8849" y="13720"/>
                  </a:moveTo>
                  <a:cubicBezTo>
                    <a:pt x="8773" y="13720"/>
                    <a:pt x="8710" y="13819"/>
                    <a:pt x="8710" y="13939"/>
                  </a:cubicBezTo>
                  <a:cubicBezTo>
                    <a:pt x="8710" y="14059"/>
                    <a:pt x="8773" y="14155"/>
                    <a:pt x="8849" y="14155"/>
                  </a:cubicBezTo>
                  <a:cubicBezTo>
                    <a:pt x="8925" y="14155"/>
                    <a:pt x="8986" y="14059"/>
                    <a:pt x="8986" y="13939"/>
                  </a:cubicBezTo>
                  <a:cubicBezTo>
                    <a:pt x="8986" y="13819"/>
                    <a:pt x="8925" y="13720"/>
                    <a:pt x="8849" y="13720"/>
                  </a:cubicBezTo>
                  <a:close/>
                  <a:moveTo>
                    <a:pt x="9219" y="13720"/>
                  </a:moveTo>
                  <a:cubicBezTo>
                    <a:pt x="9142" y="13720"/>
                    <a:pt x="9080" y="13819"/>
                    <a:pt x="9080" y="13939"/>
                  </a:cubicBezTo>
                  <a:cubicBezTo>
                    <a:pt x="9080" y="14059"/>
                    <a:pt x="9142" y="14155"/>
                    <a:pt x="9219" y="14155"/>
                  </a:cubicBezTo>
                  <a:cubicBezTo>
                    <a:pt x="9295" y="14155"/>
                    <a:pt x="9356" y="14059"/>
                    <a:pt x="9356" y="13939"/>
                  </a:cubicBezTo>
                  <a:cubicBezTo>
                    <a:pt x="9356" y="13819"/>
                    <a:pt x="9295" y="13720"/>
                    <a:pt x="9219" y="13720"/>
                  </a:cubicBezTo>
                  <a:close/>
                  <a:moveTo>
                    <a:pt x="9630" y="13720"/>
                  </a:moveTo>
                  <a:cubicBezTo>
                    <a:pt x="9553" y="13720"/>
                    <a:pt x="9491" y="13819"/>
                    <a:pt x="9491" y="13939"/>
                  </a:cubicBezTo>
                  <a:cubicBezTo>
                    <a:pt x="9491" y="14059"/>
                    <a:pt x="9553" y="14155"/>
                    <a:pt x="9630" y="14155"/>
                  </a:cubicBezTo>
                  <a:cubicBezTo>
                    <a:pt x="9706" y="14155"/>
                    <a:pt x="9767" y="14059"/>
                    <a:pt x="9767" y="13939"/>
                  </a:cubicBezTo>
                  <a:cubicBezTo>
                    <a:pt x="9767" y="13819"/>
                    <a:pt x="9706" y="13720"/>
                    <a:pt x="9630" y="13720"/>
                  </a:cubicBezTo>
                  <a:close/>
                  <a:moveTo>
                    <a:pt x="3302" y="14368"/>
                  </a:moveTo>
                  <a:cubicBezTo>
                    <a:pt x="3226" y="14368"/>
                    <a:pt x="3164" y="14466"/>
                    <a:pt x="3164" y="14586"/>
                  </a:cubicBezTo>
                  <a:cubicBezTo>
                    <a:pt x="3164" y="14706"/>
                    <a:pt x="3226" y="14802"/>
                    <a:pt x="3302" y="14802"/>
                  </a:cubicBezTo>
                  <a:cubicBezTo>
                    <a:pt x="3379" y="14802"/>
                    <a:pt x="3440" y="14706"/>
                    <a:pt x="3440" y="14586"/>
                  </a:cubicBezTo>
                  <a:cubicBezTo>
                    <a:pt x="3440" y="14466"/>
                    <a:pt x="3379" y="14368"/>
                    <a:pt x="3302" y="14368"/>
                  </a:cubicBezTo>
                  <a:close/>
                  <a:moveTo>
                    <a:pt x="3713" y="14368"/>
                  </a:moveTo>
                  <a:cubicBezTo>
                    <a:pt x="3637" y="14368"/>
                    <a:pt x="3575" y="14466"/>
                    <a:pt x="3575" y="14586"/>
                  </a:cubicBezTo>
                  <a:cubicBezTo>
                    <a:pt x="3575" y="14706"/>
                    <a:pt x="3637" y="14802"/>
                    <a:pt x="3713" y="14802"/>
                  </a:cubicBezTo>
                  <a:cubicBezTo>
                    <a:pt x="3789" y="14802"/>
                    <a:pt x="3851" y="14706"/>
                    <a:pt x="3851" y="14586"/>
                  </a:cubicBezTo>
                  <a:cubicBezTo>
                    <a:pt x="3851" y="14466"/>
                    <a:pt x="3789" y="14368"/>
                    <a:pt x="3713" y="14368"/>
                  </a:cubicBezTo>
                  <a:close/>
                  <a:moveTo>
                    <a:pt x="4083" y="14368"/>
                  </a:moveTo>
                  <a:cubicBezTo>
                    <a:pt x="4007" y="14368"/>
                    <a:pt x="3944" y="14466"/>
                    <a:pt x="3944" y="14586"/>
                  </a:cubicBezTo>
                  <a:cubicBezTo>
                    <a:pt x="3944" y="14706"/>
                    <a:pt x="4007" y="14802"/>
                    <a:pt x="4083" y="14802"/>
                  </a:cubicBezTo>
                  <a:cubicBezTo>
                    <a:pt x="4159" y="14802"/>
                    <a:pt x="4220" y="14706"/>
                    <a:pt x="4220" y="14586"/>
                  </a:cubicBezTo>
                  <a:cubicBezTo>
                    <a:pt x="4220" y="14466"/>
                    <a:pt x="4159" y="14368"/>
                    <a:pt x="4083" y="14368"/>
                  </a:cubicBezTo>
                  <a:close/>
                  <a:moveTo>
                    <a:pt x="4494" y="14368"/>
                  </a:moveTo>
                  <a:cubicBezTo>
                    <a:pt x="4418" y="14368"/>
                    <a:pt x="4355" y="14466"/>
                    <a:pt x="4355" y="14586"/>
                  </a:cubicBezTo>
                  <a:cubicBezTo>
                    <a:pt x="4355" y="14706"/>
                    <a:pt x="4418" y="14802"/>
                    <a:pt x="4494" y="14802"/>
                  </a:cubicBezTo>
                  <a:cubicBezTo>
                    <a:pt x="4570" y="14802"/>
                    <a:pt x="4631" y="14706"/>
                    <a:pt x="4631" y="14586"/>
                  </a:cubicBezTo>
                  <a:cubicBezTo>
                    <a:pt x="4631" y="14466"/>
                    <a:pt x="4570" y="14368"/>
                    <a:pt x="4494" y="14368"/>
                  </a:cubicBezTo>
                  <a:close/>
                  <a:moveTo>
                    <a:pt x="4864" y="14368"/>
                  </a:moveTo>
                  <a:cubicBezTo>
                    <a:pt x="4787" y="14368"/>
                    <a:pt x="4725" y="14466"/>
                    <a:pt x="4725" y="14586"/>
                  </a:cubicBezTo>
                  <a:cubicBezTo>
                    <a:pt x="4725" y="14706"/>
                    <a:pt x="4787" y="14802"/>
                    <a:pt x="4864" y="14802"/>
                  </a:cubicBezTo>
                  <a:cubicBezTo>
                    <a:pt x="4940" y="14802"/>
                    <a:pt x="5001" y="14706"/>
                    <a:pt x="5001" y="14586"/>
                  </a:cubicBezTo>
                  <a:cubicBezTo>
                    <a:pt x="5001" y="14466"/>
                    <a:pt x="4940" y="14368"/>
                    <a:pt x="4864" y="14368"/>
                  </a:cubicBezTo>
                  <a:close/>
                  <a:moveTo>
                    <a:pt x="5274" y="14368"/>
                  </a:moveTo>
                  <a:cubicBezTo>
                    <a:pt x="5198" y="14368"/>
                    <a:pt x="5136" y="14466"/>
                    <a:pt x="5136" y="14586"/>
                  </a:cubicBezTo>
                  <a:cubicBezTo>
                    <a:pt x="5136" y="14706"/>
                    <a:pt x="5198" y="14802"/>
                    <a:pt x="5274" y="14802"/>
                  </a:cubicBezTo>
                  <a:cubicBezTo>
                    <a:pt x="5351" y="14802"/>
                    <a:pt x="5412" y="14706"/>
                    <a:pt x="5412" y="14586"/>
                  </a:cubicBezTo>
                  <a:cubicBezTo>
                    <a:pt x="5412" y="14466"/>
                    <a:pt x="5351" y="14368"/>
                    <a:pt x="5274" y="14368"/>
                  </a:cubicBezTo>
                  <a:close/>
                  <a:moveTo>
                    <a:pt x="5685" y="14368"/>
                  </a:moveTo>
                  <a:cubicBezTo>
                    <a:pt x="5609" y="14368"/>
                    <a:pt x="5547" y="14466"/>
                    <a:pt x="5547" y="14586"/>
                  </a:cubicBezTo>
                  <a:cubicBezTo>
                    <a:pt x="5547" y="14706"/>
                    <a:pt x="5609" y="14802"/>
                    <a:pt x="5685" y="14802"/>
                  </a:cubicBezTo>
                  <a:cubicBezTo>
                    <a:pt x="5762" y="14802"/>
                    <a:pt x="5823" y="14706"/>
                    <a:pt x="5823" y="14586"/>
                  </a:cubicBezTo>
                  <a:cubicBezTo>
                    <a:pt x="5823" y="14466"/>
                    <a:pt x="5762" y="14368"/>
                    <a:pt x="5685" y="14368"/>
                  </a:cubicBezTo>
                  <a:close/>
                  <a:moveTo>
                    <a:pt x="6055" y="14368"/>
                  </a:moveTo>
                  <a:cubicBezTo>
                    <a:pt x="5979" y="14368"/>
                    <a:pt x="5916" y="14466"/>
                    <a:pt x="5916" y="14586"/>
                  </a:cubicBezTo>
                  <a:cubicBezTo>
                    <a:pt x="5916" y="14706"/>
                    <a:pt x="5979" y="14802"/>
                    <a:pt x="6055" y="14802"/>
                  </a:cubicBezTo>
                  <a:cubicBezTo>
                    <a:pt x="6131" y="14802"/>
                    <a:pt x="6193" y="14706"/>
                    <a:pt x="6193" y="14586"/>
                  </a:cubicBezTo>
                  <a:cubicBezTo>
                    <a:pt x="6193" y="14466"/>
                    <a:pt x="6131" y="14368"/>
                    <a:pt x="6055" y="14368"/>
                  </a:cubicBezTo>
                  <a:close/>
                  <a:moveTo>
                    <a:pt x="6466" y="14368"/>
                  </a:moveTo>
                  <a:cubicBezTo>
                    <a:pt x="6390" y="14368"/>
                    <a:pt x="6327" y="14466"/>
                    <a:pt x="6327" y="14586"/>
                  </a:cubicBezTo>
                  <a:cubicBezTo>
                    <a:pt x="6327" y="14706"/>
                    <a:pt x="6390" y="14802"/>
                    <a:pt x="6466" y="14802"/>
                  </a:cubicBezTo>
                  <a:cubicBezTo>
                    <a:pt x="6542" y="14802"/>
                    <a:pt x="6603" y="14706"/>
                    <a:pt x="6603" y="14586"/>
                  </a:cubicBezTo>
                  <a:cubicBezTo>
                    <a:pt x="6603" y="14466"/>
                    <a:pt x="6542" y="14368"/>
                    <a:pt x="6466" y="14368"/>
                  </a:cubicBezTo>
                  <a:close/>
                  <a:moveTo>
                    <a:pt x="6877" y="14368"/>
                  </a:moveTo>
                  <a:cubicBezTo>
                    <a:pt x="6801" y="14368"/>
                    <a:pt x="6738" y="14466"/>
                    <a:pt x="6738" y="14586"/>
                  </a:cubicBezTo>
                  <a:cubicBezTo>
                    <a:pt x="6738" y="14706"/>
                    <a:pt x="6801" y="14802"/>
                    <a:pt x="6877" y="14802"/>
                  </a:cubicBezTo>
                  <a:cubicBezTo>
                    <a:pt x="6953" y="14802"/>
                    <a:pt x="7014" y="14706"/>
                    <a:pt x="7014" y="14586"/>
                  </a:cubicBezTo>
                  <a:cubicBezTo>
                    <a:pt x="7014" y="14466"/>
                    <a:pt x="6953" y="14368"/>
                    <a:pt x="6877" y="14368"/>
                  </a:cubicBezTo>
                  <a:close/>
                  <a:moveTo>
                    <a:pt x="7247" y="14368"/>
                  </a:moveTo>
                  <a:cubicBezTo>
                    <a:pt x="7170" y="14368"/>
                    <a:pt x="7108" y="14466"/>
                    <a:pt x="7108" y="14586"/>
                  </a:cubicBezTo>
                  <a:cubicBezTo>
                    <a:pt x="7108" y="14706"/>
                    <a:pt x="7170" y="14802"/>
                    <a:pt x="7247" y="14802"/>
                  </a:cubicBezTo>
                  <a:cubicBezTo>
                    <a:pt x="7323" y="14802"/>
                    <a:pt x="7384" y="14706"/>
                    <a:pt x="7384" y="14586"/>
                  </a:cubicBezTo>
                  <a:cubicBezTo>
                    <a:pt x="7384" y="14466"/>
                    <a:pt x="7323" y="14368"/>
                    <a:pt x="7247" y="14368"/>
                  </a:cubicBezTo>
                  <a:close/>
                  <a:moveTo>
                    <a:pt x="7658" y="14368"/>
                  </a:moveTo>
                  <a:cubicBezTo>
                    <a:pt x="7581" y="14368"/>
                    <a:pt x="7519" y="14466"/>
                    <a:pt x="7519" y="14586"/>
                  </a:cubicBezTo>
                  <a:cubicBezTo>
                    <a:pt x="7519" y="14706"/>
                    <a:pt x="7581" y="14802"/>
                    <a:pt x="7658" y="14802"/>
                  </a:cubicBezTo>
                  <a:cubicBezTo>
                    <a:pt x="7734" y="14802"/>
                    <a:pt x="7795" y="14706"/>
                    <a:pt x="7795" y="14586"/>
                  </a:cubicBezTo>
                  <a:cubicBezTo>
                    <a:pt x="7795" y="14466"/>
                    <a:pt x="7734" y="14368"/>
                    <a:pt x="7658" y="14368"/>
                  </a:cubicBezTo>
                  <a:close/>
                  <a:moveTo>
                    <a:pt x="8027" y="14368"/>
                  </a:moveTo>
                  <a:cubicBezTo>
                    <a:pt x="7951" y="14368"/>
                    <a:pt x="7889" y="14466"/>
                    <a:pt x="7889" y="14586"/>
                  </a:cubicBezTo>
                  <a:cubicBezTo>
                    <a:pt x="7889" y="14706"/>
                    <a:pt x="7951" y="14802"/>
                    <a:pt x="8027" y="14802"/>
                  </a:cubicBezTo>
                  <a:cubicBezTo>
                    <a:pt x="8103" y="14802"/>
                    <a:pt x="8165" y="14706"/>
                    <a:pt x="8165" y="14586"/>
                  </a:cubicBezTo>
                  <a:cubicBezTo>
                    <a:pt x="8165" y="14466"/>
                    <a:pt x="8103" y="14368"/>
                    <a:pt x="8027" y="14368"/>
                  </a:cubicBezTo>
                  <a:close/>
                  <a:moveTo>
                    <a:pt x="8438" y="14368"/>
                  </a:moveTo>
                  <a:cubicBezTo>
                    <a:pt x="8362" y="14368"/>
                    <a:pt x="8299" y="14466"/>
                    <a:pt x="8299" y="14586"/>
                  </a:cubicBezTo>
                  <a:cubicBezTo>
                    <a:pt x="8299" y="14706"/>
                    <a:pt x="8362" y="14802"/>
                    <a:pt x="8438" y="14802"/>
                  </a:cubicBezTo>
                  <a:cubicBezTo>
                    <a:pt x="8515" y="14802"/>
                    <a:pt x="8576" y="14706"/>
                    <a:pt x="8576" y="14586"/>
                  </a:cubicBezTo>
                  <a:cubicBezTo>
                    <a:pt x="8576" y="14466"/>
                    <a:pt x="8515" y="14368"/>
                    <a:pt x="8438" y="14368"/>
                  </a:cubicBezTo>
                  <a:close/>
                  <a:moveTo>
                    <a:pt x="8849" y="14368"/>
                  </a:moveTo>
                  <a:cubicBezTo>
                    <a:pt x="8773" y="14368"/>
                    <a:pt x="8710" y="14466"/>
                    <a:pt x="8710" y="14586"/>
                  </a:cubicBezTo>
                  <a:cubicBezTo>
                    <a:pt x="8710" y="14706"/>
                    <a:pt x="8773" y="14802"/>
                    <a:pt x="8849" y="14802"/>
                  </a:cubicBezTo>
                  <a:cubicBezTo>
                    <a:pt x="8925" y="14802"/>
                    <a:pt x="8986" y="14706"/>
                    <a:pt x="8986" y="14586"/>
                  </a:cubicBezTo>
                  <a:cubicBezTo>
                    <a:pt x="8986" y="14466"/>
                    <a:pt x="8925" y="14368"/>
                    <a:pt x="8849" y="14368"/>
                  </a:cubicBezTo>
                  <a:close/>
                  <a:moveTo>
                    <a:pt x="9219" y="14368"/>
                  </a:moveTo>
                  <a:cubicBezTo>
                    <a:pt x="9142" y="14368"/>
                    <a:pt x="9080" y="14466"/>
                    <a:pt x="9080" y="14586"/>
                  </a:cubicBezTo>
                  <a:cubicBezTo>
                    <a:pt x="9080" y="14706"/>
                    <a:pt x="9142" y="14802"/>
                    <a:pt x="9219" y="14802"/>
                  </a:cubicBezTo>
                  <a:cubicBezTo>
                    <a:pt x="9295" y="14802"/>
                    <a:pt x="9356" y="14706"/>
                    <a:pt x="9356" y="14586"/>
                  </a:cubicBezTo>
                  <a:cubicBezTo>
                    <a:pt x="9356" y="14466"/>
                    <a:pt x="9295" y="14368"/>
                    <a:pt x="9219" y="14368"/>
                  </a:cubicBezTo>
                  <a:close/>
                  <a:moveTo>
                    <a:pt x="3261" y="14950"/>
                  </a:moveTo>
                  <a:cubicBezTo>
                    <a:pt x="3185" y="14950"/>
                    <a:pt x="3123" y="15048"/>
                    <a:pt x="3123" y="15169"/>
                  </a:cubicBezTo>
                  <a:cubicBezTo>
                    <a:pt x="3123" y="15288"/>
                    <a:pt x="3185" y="15385"/>
                    <a:pt x="3261" y="15385"/>
                  </a:cubicBezTo>
                  <a:cubicBezTo>
                    <a:pt x="3338" y="15385"/>
                    <a:pt x="3399" y="15288"/>
                    <a:pt x="3399" y="15169"/>
                  </a:cubicBezTo>
                  <a:cubicBezTo>
                    <a:pt x="3399" y="15048"/>
                    <a:pt x="3338" y="14950"/>
                    <a:pt x="3261" y="14950"/>
                  </a:cubicBezTo>
                  <a:close/>
                  <a:moveTo>
                    <a:pt x="3672" y="14950"/>
                  </a:moveTo>
                  <a:cubicBezTo>
                    <a:pt x="3596" y="14950"/>
                    <a:pt x="3533" y="15048"/>
                    <a:pt x="3533" y="15169"/>
                  </a:cubicBezTo>
                  <a:cubicBezTo>
                    <a:pt x="3533" y="15288"/>
                    <a:pt x="3596" y="15385"/>
                    <a:pt x="3672" y="15385"/>
                  </a:cubicBezTo>
                  <a:cubicBezTo>
                    <a:pt x="3748" y="15385"/>
                    <a:pt x="3809" y="15288"/>
                    <a:pt x="3809" y="15169"/>
                  </a:cubicBezTo>
                  <a:cubicBezTo>
                    <a:pt x="3809" y="15048"/>
                    <a:pt x="3748" y="14950"/>
                    <a:pt x="3672" y="14950"/>
                  </a:cubicBezTo>
                  <a:close/>
                  <a:moveTo>
                    <a:pt x="4083" y="14950"/>
                  </a:moveTo>
                  <a:cubicBezTo>
                    <a:pt x="4007" y="14950"/>
                    <a:pt x="3944" y="15048"/>
                    <a:pt x="3944" y="15169"/>
                  </a:cubicBezTo>
                  <a:cubicBezTo>
                    <a:pt x="3944" y="15288"/>
                    <a:pt x="4007" y="15385"/>
                    <a:pt x="4083" y="15385"/>
                  </a:cubicBezTo>
                  <a:cubicBezTo>
                    <a:pt x="4159" y="15385"/>
                    <a:pt x="4220" y="15288"/>
                    <a:pt x="4220" y="15169"/>
                  </a:cubicBezTo>
                  <a:cubicBezTo>
                    <a:pt x="4220" y="15048"/>
                    <a:pt x="4159" y="14950"/>
                    <a:pt x="4083" y="14950"/>
                  </a:cubicBezTo>
                  <a:close/>
                  <a:moveTo>
                    <a:pt x="4494" y="14950"/>
                  </a:moveTo>
                  <a:cubicBezTo>
                    <a:pt x="4418" y="14950"/>
                    <a:pt x="4355" y="15048"/>
                    <a:pt x="4355" y="15169"/>
                  </a:cubicBezTo>
                  <a:cubicBezTo>
                    <a:pt x="4355" y="15289"/>
                    <a:pt x="4418" y="15385"/>
                    <a:pt x="4494" y="15385"/>
                  </a:cubicBezTo>
                  <a:cubicBezTo>
                    <a:pt x="4570" y="15385"/>
                    <a:pt x="4631" y="15289"/>
                    <a:pt x="4631" y="15169"/>
                  </a:cubicBezTo>
                  <a:cubicBezTo>
                    <a:pt x="4631" y="15048"/>
                    <a:pt x="4570" y="14950"/>
                    <a:pt x="4494" y="14950"/>
                  </a:cubicBezTo>
                  <a:close/>
                  <a:moveTo>
                    <a:pt x="4864" y="14950"/>
                  </a:moveTo>
                  <a:cubicBezTo>
                    <a:pt x="4787" y="14950"/>
                    <a:pt x="4725" y="15048"/>
                    <a:pt x="4725" y="15169"/>
                  </a:cubicBezTo>
                  <a:cubicBezTo>
                    <a:pt x="4725" y="15289"/>
                    <a:pt x="4787" y="15385"/>
                    <a:pt x="4864" y="15385"/>
                  </a:cubicBezTo>
                  <a:cubicBezTo>
                    <a:pt x="4940" y="15385"/>
                    <a:pt x="5001" y="15289"/>
                    <a:pt x="5001" y="15169"/>
                  </a:cubicBezTo>
                  <a:cubicBezTo>
                    <a:pt x="5001" y="15048"/>
                    <a:pt x="4940" y="14950"/>
                    <a:pt x="4864" y="14950"/>
                  </a:cubicBezTo>
                  <a:close/>
                  <a:moveTo>
                    <a:pt x="5274" y="14950"/>
                  </a:moveTo>
                  <a:cubicBezTo>
                    <a:pt x="5198" y="14950"/>
                    <a:pt x="5136" y="15048"/>
                    <a:pt x="5136" y="15169"/>
                  </a:cubicBezTo>
                  <a:cubicBezTo>
                    <a:pt x="5136" y="15289"/>
                    <a:pt x="5198" y="15385"/>
                    <a:pt x="5274" y="15385"/>
                  </a:cubicBezTo>
                  <a:cubicBezTo>
                    <a:pt x="5351" y="15385"/>
                    <a:pt x="5412" y="15289"/>
                    <a:pt x="5412" y="15169"/>
                  </a:cubicBezTo>
                  <a:cubicBezTo>
                    <a:pt x="5412" y="15048"/>
                    <a:pt x="5351" y="14950"/>
                    <a:pt x="5274" y="14950"/>
                  </a:cubicBezTo>
                  <a:close/>
                  <a:moveTo>
                    <a:pt x="5685" y="14950"/>
                  </a:moveTo>
                  <a:cubicBezTo>
                    <a:pt x="5609" y="14950"/>
                    <a:pt x="5547" y="15048"/>
                    <a:pt x="5547" y="15169"/>
                  </a:cubicBezTo>
                  <a:cubicBezTo>
                    <a:pt x="5547" y="15289"/>
                    <a:pt x="5609" y="15385"/>
                    <a:pt x="5685" y="15385"/>
                  </a:cubicBezTo>
                  <a:cubicBezTo>
                    <a:pt x="5762" y="15385"/>
                    <a:pt x="5823" y="15289"/>
                    <a:pt x="5823" y="15169"/>
                  </a:cubicBezTo>
                  <a:cubicBezTo>
                    <a:pt x="5823" y="15048"/>
                    <a:pt x="5762" y="14950"/>
                    <a:pt x="5685" y="14950"/>
                  </a:cubicBezTo>
                  <a:close/>
                  <a:moveTo>
                    <a:pt x="6055" y="14950"/>
                  </a:moveTo>
                  <a:cubicBezTo>
                    <a:pt x="5979" y="14950"/>
                    <a:pt x="5916" y="15048"/>
                    <a:pt x="5916" y="15169"/>
                  </a:cubicBezTo>
                  <a:cubicBezTo>
                    <a:pt x="5916" y="15288"/>
                    <a:pt x="5979" y="15385"/>
                    <a:pt x="6055" y="15385"/>
                  </a:cubicBezTo>
                  <a:cubicBezTo>
                    <a:pt x="6131" y="15385"/>
                    <a:pt x="6193" y="15288"/>
                    <a:pt x="6193" y="15169"/>
                  </a:cubicBezTo>
                  <a:cubicBezTo>
                    <a:pt x="6193" y="15048"/>
                    <a:pt x="6131" y="14950"/>
                    <a:pt x="6055" y="14950"/>
                  </a:cubicBezTo>
                  <a:close/>
                  <a:moveTo>
                    <a:pt x="6466" y="14950"/>
                  </a:moveTo>
                  <a:cubicBezTo>
                    <a:pt x="6390" y="14950"/>
                    <a:pt x="6327" y="15048"/>
                    <a:pt x="6327" y="15169"/>
                  </a:cubicBezTo>
                  <a:cubicBezTo>
                    <a:pt x="6327" y="15288"/>
                    <a:pt x="6390" y="15385"/>
                    <a:pt x="6466" y="15385"/>
                  </a:cubicBezTo>
                  <a:cubicBezTo>
                    <a:pt x="6542" y="15385"/>
                    <a:pt x="6603" y="15288"/>
                    <a:pt x="6603" y="15169"/>
                  </a:cubicBezTo>
                  <a:cubicBezTo>
                    <a:pt x="6603" y="15048"/>
                    <a:pt x="6542" y="14950"/>
                    <a:pt x="6466" y="14950"/>
                  </a:cubicBezTo>
                  <a:close/>
                  <a:moveTo>
                    <a:pt x="6877" y="14950"/>
                  </a:moveTo>
                  <a:cubicBezTo>
                    <a:pt x="6801" y="14950"/>
                    <a:pt x="6738" y="15048"/>
                    <a:pt x="6738" y="15169"/>
                  </a:cubicBezTo>
                  <a:cubicBezTo>
                    <a:pt x="6738" y="15288"/>
                    <a:pt x="6801" y="15385"/>
                    <a:pt x="6877" y="15385"/>
                  </a:cubicBezTo>
                  <a:cubicBezTo>
                    <a:pt x="6953" y="15385"/>
                    <a:pt x="7014" y="15288"/>
                    <a:pt x="7014" y="15169"/>
                  </a:cubicBezTo>
                  <a:cubicBezTo>
                    <a:pt x="7014" y="15048"/>
                    <a:pt x="6953" y="14950"/>
                    <a:pt x="6877" y="14950"/>
                  </a:cubicBezTo>
                  <a:close/>
                  <a:moveTo>
                    <a:pt x="7247" y="14950"/>
                  </a:moveTo>
                  <a:cubicBezTo>
                    <a:pt x="7170" y="14950"/>
                    <a:pt x="7108" y="15048"/>
                    <a:pt x="7108" y="15169"/>
                  </a:cubicBezTo>
                  <a:cubicBezTo>
                    <a:pt x="7108" y="15288"/>
                    <a:pt x="7170" y="15385"/>
                    <a:pt x="7247" y="15385"/>
                  </a:cubicBezTo>
                  <a:cubicBezTo>
                    <a:pt x="7323" y="15385"/>
                    <a:pt x="7384" y="15288"/>
                    <a:pt x="7384" y="15169"/>
                  </a:cubicBezTo>
                  <a:cubicBezTo>
                    <a:pt x="7384" y="15048"/>
                    <a:pt x="7323" y="14950"/>
                    <a:pt x="7247" y="14950"/>
                  </a:cubicBezTo>
                  <a:close/>
                  <a:moveTo>
                    <a:pt x="7658" y="14950"/>
                  </a:moveTo>
                  <a:cubicBezTo>
                    <a:pt x="7581" y="14950"/>
                    <a:pt x="7519" y="15048"/>
                    <a:pt x="7519" y="15169"/>
                  </a:cubicBezTo>
                  <a:cubicBezTo>
                    <a:pt x="7519" y="15288"/>
                    <a:pt x="7581" y="15385"/>
                    <a:pt x="7658" y="15385"/>
                  </a:cubicBezTo>
                  <a:cubicBezTo>
                    <a:pt x="7734" y="15385"/>
                    <a:pt x="7795" y="15288"/>
                    <a:pt x="7795" y="15169"/>
                  </a:cubicBezTo>
                  <a:cubicBezTo>
                    <a:pt x="7795" y="15048"/>
                    <a:pt x="7734" y="14950"/>
                    <a:pt x="7658" y="14950"/>
                  </a:cubicBezTo>
                  <a:close/>
                  <a:moveTo>
                    <a:pt x="8849" y="14950"/>
                  </a:moveTo>
                  <a:cubicBezTo>
                    <a:pt x="8773" y="14950"/>
                    <a:pt x="8710" y="15048"/>
                    <a:pt x="8710" y="15169"/>
                  </a:cubicBezTo>
                  <a:cubicBezTo>
                    <a:pt x="8710" y="15288"/>
                    <a:pt x="8773" y="15385"/>
                    <a:pt x="8849" y="15385"/>
                  </a:cubicBezTo>
                  <a:cubicBezTo>
                    <a:pt x="8925" y="15385"/>
                    <a:pt x="8986" y="15288"/>
                    <a:pt x="8986" y="15169"/>
                  </a:cubicBezTo>
                  <a:cubicBezTo>
                    <a:pt x="8986" y="15048"/>
                    <a:pt x="8925" y="14950"/>
                    <a:pt x="8849" y="14950"/>
                  </a:cubicBezTo>
                  <a:close/>
                  <a:moveTo>
                    <a:pt x="4494" y="15533"/>
                  </a:moveTo>
                  <a:cubicBezTo>
                    <a:pt x="4418" y="15533"/>
                    <a:pt x="4355" y="15631"/>
                    <a:pt x="4355" y="15751"/>
                  </a:cubicBezTo>
                  <a:cubicBezTo>
                    <a:pt x="4355" y="15871"/>
                    <a:pt x="4418" y="15969"/>
                    <a:pt x="4494" y="15969"/>
                  </a:cubicBezTo>
                  <a:cubicBezTo>
                    <a:pt x="4570" y="15969"/>
                    <a:pt x="4631" y="15871"/>
                    <a:pt x="4631" y="15751"/>
                  </a:cubicBezTo>
                  <a:cubicBezTo>
                    <a:pt x="4631" y="15631"/>
                    <a:pt x="4570" y="15533"/>
                    <a:pt x="4494" y="15533"/>
                  </a:cubicBezTo>
                  <a:close/>
                  <a:moveTo>
                    <a:pt x="4864" y="15533"/>
                  </a:moveTo>
                  <a:cubicBezTo>
                    <a:pt x="4787" y="15533"/>
                    <a:pt x="4725" y="15631"/>
                    <a:pt x="4725" y="15751"/>
                  </a:cubicBezTo>
                  <a:cubicBezTo>
                    <a:pt x="4725" y="15871"/>
                    <a:pt x="4787" y="15969"/>
                    <a:pt x="4864" y="15969"/>
                  </a:cubicBezTo>
                  <a:cubicBezTo>
                    <a:pt x="4940" y="15969"/>
                    <a:pt x="5001" y="15871"/>
                    <a:pt x="5001" y="15751"/>
                  </a:cubicBezTo>
                  <a:cubicBezTo>
                    <a:pt x="5001" y="15631"/>
                    <a:pt x="4940" y="15533"/>
                    <a:pt x="4864" y="15533"/>
                  </a:cubicBezTo>
                  <a:close/>
                  <a:moveTo>
                    <a:pt x="3261" y="15597"/>
                  </a:moveTo>
                  <a:cubicBezTo>
                    <a:pt x="3185" y="15597"/>
                    <a:pt x="3123" y="15695"/>
                    <a:pt x="3123" y="15816"/>
                  </a:cubicBezTo>
                  <a:cubicBezTo>
                    <a:pt x="3123" y="15936"/>
                    <a:pt x="3185" y="16032"/>
                    <a:pt x="3261" y="16032"/>
                  </a:cubicBezTo>
                  <a:cubicBezTo>
                    <a:pt x="3338" y="16032"/>
                    <a:pt x="3399" y="15936"/>
                    <a:pt x="3399" y="15816"/>
                  </a:cubicBezTo>
                  <a:cubicBezTo>
                    <a:pt x="3399" y="15695"/>
                    <a:pt x="3338" y="15597"/>
                    <a:pt x="3261" y="15597"/>
                  </a:cubicBezTo>
                  <a:close/>
                  <a:moveTo>
                    <a:pt x="4083" y="15597"/>
                  </a:moveTo>
                  <a:cubicBezTo>
                    <a:pt x="4007" y="15597"/>
                    <a:pt x="3944" y="15695"/>
                    <a:pt x="3944" y="15816"/>
                  </a:cubicBezTo>
                  <a:cubicBezTo>
                    <a:pt x="3944" y="15936"/>
                    <a:pt x="4007" y="16032"/>
                    <a:pt x="4083" y="16032"/>
                  </a:cubicBezTo>
                  <a:cubicBezTo>
                    <a:pt x="4159" y="16032"/>
                    <a:pt x="4220" y="15936"/>
                    <a:pt x="4220" y="15816"/>
                  </a:cubicBezTo>
                  <a:cubicBezTo>
                    <a:pt x="4220" y="15695"/>
                    <a:pt x="4159" y="15597"/>
                    <a:pt x="4083" y="15597"/>
                  </a:cubicBezTo>
                  <a:close/>
                  <a:moveTo>
                    <a:pt x="5274" y="15597"/>
                  </a:moveTo>
                  <a:cubicBezTo>
                    <a:pt x="5198" y="15597"/>
                    <a:pt x="5136" y="15695"/>
                    <a:pt x="5136" y="15816"/>
                  </a:cubicBezTo>
                  <a:cubicBezTo>
                    <a:pt x="5136" y="15936"/>
                    <a:pt x="5198" y="16032"/>
                    <a:pt x="5274" y="16032"/>
                  </a:cubicBezTo>
                  <a:cubicBezTo>
                    <a:pt x="5351" y="16032"/>
                    <a:pt x="5412" y="15936"/>
                    <a:pt x="5412" y="15816"/>
                  </a:cubicBezTo>
                  <a:cubicBezTo>
                    <a:pt x="5412" y="15695"/>
                    <a:pt x="5351" y="15597"/>
                    <a:pt x="5274" y="15597"/>
                  </a:cubicBezTo>
                  <a:close/>
                  <a:moveTo>
                    <a:pt x="5685" y="15597"/>
                  </a:moveTo>
                  <a:cubicBezTo>
                    <a:pt x="5609" y="15597"/>
                    <a:pt x="5547" y="15695"/>
                    <a:pt x="5547" y="15816"/>
                  </a:cubicBezTo>
                  <a:cubicBezTo>
                    <a:pt x="5547" y="15936"/>
                    <a:pt x="5609" y="16034"/>
                    <a:pt x="5685" y="16034"/>
                  </a:cubicBezTo>
                  <a:cubicBezTo>
                    <a:pt x="5762" y="16034"/>
                    <a:pt x="5823" y="15936"/>
                    <a:pt x="5823" y="15816"/>
                  </a:cubicBezTo>
                  <a:cubicBezTo>
                    <a:pt x="5823" y="15695"/>
                    <a:pt x="5762" y="15597"/>
                    <a:pt x="5685" y="15597"/>
                  </a:cubicBezTo>
                  <a:close/>
                  <a:moveTo>
                    <a:pt x="6055" y="15597"/>
                  </a:moveTo>
                  <a:cubicBezTo>
                    <a:pt x="5979" y="15597"/>
                    <a:pt x="5916" y="15695"/>
                    <a:pt x="5916" y="15816"/>
                  </a:cubicBezTo>
                  <a:cubicBezTo>
                    <a:pt x="5916" y="15936"/>
                    <a:pt x="5979" y="16032"/>
                    <a:pt x="6055" y="16032"/>
                  </a:cubicBezTo>
                  <a:cubicBezTo>
                    <a:pt x="6131" y="16032"/>
                    <a:pt x="6193" y="15936"/>
                    <a:pt x="6193" y="15816"/>
                  </a:cubicBezTo>
                  <a:cubicBezTo>
                    <a:pt x="6193" y="15695"/>
                    <a:pt x="6131" y="15597"/>
                    <a:pt x="6055" y="15597"/>
                  </a:cubicBezTo>
                  <a:close/>
                  <a:moveTo>
                    <a:pt x="8849" y="15597"/>
                  </a:moveTo>
                  <a:cubicBezTo>
                    <a:pt x="8773" y="15597"/>
                    <a:pt x="8710" y="15695"/>
                    <a:pt x="8710" y="15816"/>
                  </a:cubicBezTo>
                  <a:cubicBezTo>
                    <a:pt x="8710" y="15936"/>
                    <a:pt x="8773" y="16032"/>
                    <a:pt x="8849" y="16032"/>
                  </a:cubicBezTo>
                  <a:cubicBezTo>
                    <a:pt x="8925" y="16032"/>
                    <a:pt x="8986" y="15936"/>
                    <a:pt x="8986" y="15816"/>
                  </a:cubicBezTo>
                  <a:cubicBezTo>
                    <a:pt x="8986" y="15695"/>
                    <a:pt x="8925" y="15597"/>
                    <a:pt x="8849" y="15597"/>
                  </a:cubicBezTo>
                  <a:close/>
                  <a:moveTo>
                    <a:pt x="4083" y="16180"/>
                  </a:moveTo>
                  <a:cubicBezTo>
                    <a:pt x="4007" y="16180"/>
                    <a:pt x="3944" y="16278"/>
                    <a:pt x="3944" y="16398"/>
                  </a:cubicBezTo>
                  <a:cubicBezTo>
                    <a:pt x="3944" y="16518"/>
                    <a:pt x="4007" y="16617"/>
                    <a:pt x="4083" y="16617"/>
                  </a:cubicBezTo>
                  <a:cubicBezTo>
                    <a:pt x="4159" y="16617"/>
                    <a:pt x="4220" y="16518"/>
                    <a:pt x="4220" y="16398"/>
                  </a:cubicBezTo>
                  <a:cubicBezTo>
                    <a:pt x="4220" y="16278"/>
                    <a:pt x="4159" y="16180"/>
                    <a:pt x="4083" y="16180"/>
                  </a:cubicBezTo>
                  <a:close/>
                  <a:moveTo>
                    <a:pt x="4494" y="16180"/>
                  </a:moveTo>
                  <a:cubicBezTo>
                    <a:pt x="4418" y="16180"/>
                    <a:pt x="4355" y="16278"/>
                    <a:pt x="4355" y="16398"/>
                  </a:cubicBezTo>
                  <a:cubicBezTo>
                    <a:pt x="4355" y="16518"/>
                    <a:pt x="4418" y="16615"/>
                    <a:pt x="4494" y="16615"/>
                  </a:cubicBezTo>
                  <a:cubicBezTo>
                    <a:pt x="4570" y="16615"/>
                    <a:pt x="4631" y="16518"/>
                    <a:pt x="4631" y="16398"/>
                  </a:cubicBezTo>
                  <a:cubicBezTo>
                    <a:pt x="4631" y="16278"/>
                    <a:pt x="4570" y="16180"/>
                    <a:pt x="4494" y="16180"/>
                  </a:cubicBezTo>
                  <a:close/>
                  <a:moveTo>
                    <a:pt x="4864" y="16180"/>
                  </a:moveTo>
                  <a:cubicBezTo>
                    <a:pt x="4787" y="16180"/>
                    <a:pt x="4725" y="16278"/>
                    <a:pt x="4725" y="16398"/>
                  </a:cubicBezTo>
                  <a:cubicBezTo>
                    <a:pt x="4725" y="16518"/>
                    <a:pt x="4787" y="16615"/>
                    <a:pt x="4864" y="16615"/>
                  </a:cubicBezTo>
                  <a:cubicBezTo>
                    <a:pt x="4940" y="16615"/>
                    <a:pt x="5001" y="16518"/>
                    <a:pt x="5001" y="16398"/>
                  </a:cubicBezTo>
                  <a:cubicBezTo>
                    <a:pt x="5001" y="16278"/>
                    <a:pt x="4940" y="16180"/>
                    <a:pt x="4864" y="16180"/>
                  </a:cubicBezTo>
                  <a:close/>
                  <a:moveTo>
                    <a:pt x="5274" y="16180"/>
                  </a:moveTo>
                  <a:cubicBezTo>
                    <a:pt x="5198" y="16180"/>
                    <a:pt x="5136" y="16278"/>
                    <a:pt x="5136" y="16398"/>
                  </a:cubicBezTo>
                  <a:cubicBezTo>
                    <a:pt x="5136" y="16518"/>
                    <a:pt x="5198" y="16617"/>
                    <a:pt x="5274" y="16617"/>
                  </a:cubicBezTo>
                  <a:cubicBezTo>
                    <a:pt x="5351" y="16617"/>
                    <a:pt x="5412" y="16518"/>
                    <a:pt x="5412" y="16398"/>
                  </a:cubicBezTo>
                  <a:cubicBezTo>
                    <a:pt x="5412" y="16278"/>
                    <a:pt x="5351" y="16180"/>
                    <a:pt x="5274" y="16180"/>
                  </a:cubicBezTo>
                  <a:close/>
                  <a:moveTo>
                    <a:pt x="5685" y="16180"/>
                  </a:moveTo>
                  <a:cubicBezTo>
                    <a:pt x="5609" y="16180"/>
                    <a:pt x="5547" y="16278"/>
                    <a:pt x="5547" y="16398"/>
                  </a:cubicBezTo>
                  <a:cubicBezTo>
                    <a:pt x="5547" y="16518"/>
                    <a:pt x="5609" y="16617"/>
                    <a:pt x="5685" y="16617"/>
                  </a:cubicBezTo>
                  <a:cubicBezTo>
                    <a:pt x="5762" y="16617"/>
                    <a:pt x="5823" y="16518"/>
                    <a:pt x="5823" y="16398"/>
                  </a:cubicBezTo>
                  <a:cubicBezTo>
                    <a:pt x="5823" y="16278"/>
                    <a:pt x="5762" y="16180"/>
                    <a:pt x="5685" y="16180"/>
                  </a:cubicBezTo>
                  <a:close/>
                  <a:moveTo>
                    <a:pt x="4494" y="16762"/>
                  </a:moveTo>
                  <a:cubicBezTo>
                    <a:pt x="4418" y="16762"/>
                    <a:pt x="4355" y="16861"/>
                    <a:pt x="4355" y="16981"/>
                  </a:cubicBezTo>
                  <a:cubicBezTo>
                    <a:pt x="4355" y="17101"/>
                    <a:pt x="4418" y="17197"/>
                    <a:pt x="4494" y="17197"/>
                  </a:cubicBezTo>
                  <a:cubicBezTo>
                    <a:pt x="4570" y="17197"/>
                    <a:pt x="4631" y="17101"/>
                    <a:pt x="4631" y="16981"/>
                  </a:cubicBezTo>
                  <a:cubicBezTo>
                    <a:pt x="4631" y="16861"/>
                    <a:pt x="4570" y="16762"/>
                    <a:pt x="4494" y="16762"/>
                  </a:cubicBezTo>
                  <a:close/>
                  <a:moveTo>
                    <a:pt x="4864" y="16762"/>
                  </a:moveTo>
                  <a:cubicBezTo>
                    <a:pt x="4787" y="16762"/>
                    <a:pt x="4725" y="16861"/>
                    <a:pt x="4725" y="16981"/>
                  </a:cubicBezTo>
                  <a:cubicBezTo>
                    <a:pt x="4725" y="17101"/>
                    <a:pt x="4787" y="17197"/>
                    <a:pt x="4864" y="17197"/>
                  </a:cubicBezTo>
                  <a:cubicBezTo>
                    <a:pt x="4940" y="17197"/>
                    <a:pt x="5001" y="17101"/>
                    <a:pt x="5001" y="16981"/>
                  </a:cubicBezTo>
                  <a:cubicBezTo>
                    <a:pt x="5001" y="16861"/>
                    <a:pt x="4940" y="16762"/>
                    <a:pt x="4864" y="16762"/>
                  </a:cubicBezTo>
                  <a:close/>
                  <a:moveTo>
                    <a:pt x="5685" y="16827"/>
                  </a:moveTo>
                  <a:cubicBezTo>
                    <a:pt x="5609" y="16827"/>
                    <a:pt x="5547" y="16925"/>
                    <a:pt x="5547" y="17045"/>
                  </a:cubicBezTo>
                  <a:cubicBezTo>
                    <a:pt x="5547" y="17166"/>
                    <a:pt x="5609" y="17262"/>
                    <a:pt x="5685" y="17262"/>
                  </a:cubicBezTo>
                  <a:cubicBezTo>
                    <a:pt x="5762" y="17262"/>
                    <a:pt x="5823" y="17166"/>
                    <a:pt x="5823" y="17045"/>
                  </a:cubicBezTo>
                  <a:cubicBezTo>
                    <a:pt x="5823" y="16925"/>
                    <a:pt x="5762" y="16827"/>
                    <a:pt x="5685" y="16827"/>
                  </a:cubicBezTo>
                  <a:close/>
                  <a:moveTo>
                    <a:pt x="3672" y="16892"/>
                  </a:moveTo>
                  <a:cubicBezTo>
                    <a:pt x="3596" y="16892"/>
                    <a:pt x="3533" y="16990"/>
                    <a:pt x="3533" y="17110"/>
                  </a:cubicBezTo>
                  <a:cubicBezTo>
                    <a:pt x="3533" y="17230"/>
                    <a:pt x="3596" y="17327"/>
                    <a:pt x="3672" y="17327"/>
                  </a:cubicBezTo>
                  <a:cubicBezTo>
                    <a:pt x="3748" y="17327"/>
                    <a:pt x="3809" y="17230"/>
                    <a:pt x="3809" y="17110"/>
                  </a:cubicBezTo>
                  <a:cubicBezTo>
                    <a:pt x="3809" y="16990"/>
                    <a:pt x="3748" y="16892"/>
                    <a:pt x="3672" y="16892"/>
                  </a:cubicBezTo>
                  <a:close/>
                  <a:moveTo>
                    <a:pt x="5274" y="16892"/>
                  </a:moveTo>
                  <a:cubicBezTo>
                    <a:pt x="5198" y="16892"/>
                    <a:pt x="5136" y="16990"/>
                    <a:pt x="5136" y="17110"/>
                  </a:cubicBezTo>
                  <a:cubicBezTo>
                    <a:pt x="5136" y="17230"/>
                    <a:pt x="5198" y="17327"/>
                    <a:pt x="5274" y="17327"/>
                  </a:cubicBezTo>
                  <a:cubicBezTo>
                    <a:pt x="5351" y="17327"/>
                    <a:pt x="5412" y="17230"/>
                    <a:pt x="5412" y="17110"/>
                  </a:cubicBezTo>
                  <a:cubicBezTo>
                    <a:pt x="5412" y="16990"/>
                    <a:pt x="5351" y="16892"/>
                    <a:pt x="5274" y="16892"/>
                  </a:cubicBezTo>
                  <a:close/>
                  <a:moveTo>
                    <a:pt x="4494" y="17409"/>
                  </a:moveTo>
                  <a:cubicBezTo>
                    <a:pt x="4418" y="17409"/>
                    <a:pt x="4355" y="17507"/>
                    <a:pt x="4355" y="17628"/>
                  </a:cubicBezTo>
                  <a:cubicBezTo>
                    <a:pt x="4355" y="17748"/>
                    <a:pt x="4418" y="17844"/>
                    <a:pt x="4494" y="17844"/>
                  </a:cubicBezTo>
                  <a:cubicBezTo>
                    <a:pt x="4570" y="17844"/>
                    <a:pt x="4631" y="17748"/>
                    <a:pt x="4631" y="17628"/>
                  </a:cubicBezTo>
                  <a:cubicBezTo>
                    <a:pt x="4631" y="17507"/>
                    <a:pt x="4570" y="17409"/>
                    <a:pt x="4494" y="17409"/>
                  </a:cubicBezTo>
                  <a:close/>
                  <a:moveTo>
                    <a:pt x="4864" y="17409"/>
                  </a:moveTo>
                  <a:cubicBezTo>
                    <a:pt x="4787" y="17409"/>
                    <a:pt x="4725" y="17507"/>
                    <a:pt x="4725" y="17628"/>
                  </a:cubicBezTo>
                  <a:cubicBezTo>
                    <a:pt x="4725" y="17748"/>
                    <a:pt x="4787" y="17844"/>
                    <a:pt x="4864" y="17844"/>
                  </a:cubicBezTo>
                  <a:cubicBezTo>
                    <a:pt x="4940" y="17844"/>
                    <a:pt x="5001" y="17748"/>
                    <a:pt x="5001" y="17628"/>
                  </a:cubicBezTo>
                  <a:cubicBezTo>
                    <a:pt x="5001" y="17507"/>
                    <a:pt x="4940" y="17409"/>
                    <a:pt x="4864" y="17409"/>
                  </a:cubicBezTo>
                  <a:close/>
                  <a:moveTo>
                    <a:pt x="5274" y="17409"/>
                  </a:moveTo>
                  <a:cubicBezTo>
                    <a:pt x="5198" y="17409"/>
                    <a:pt x="5136" y="17507"/>
                    <a:pt x="5136" y="17628"/>
                  </a:cubicBezTo>
                  <a:cubicBezTo>
                    <a:pt x="5136" y="17748"/>
                    <a:pt x="5198" y="17844"/>
                    <a:pt x="5274" y="17844"/>
                  </a:cubicBezTo>
                  <a:cubicBezTo>
                    <a:pt x="5351" y="17844"/>
                    <a:pt x="5412" y="17748"/>
                    <a:pt x="5412" y="17628"/>
                  </a:cubicBezTo>
                  <a:cubicBezTo>
                    <a:pt x="5412" y="17507"/>
                    <a:pt x="5351" y="17409"/>
                    <a:pt x="5274" y="17409"/>
                  </a:cubicBezTo>
                  <a:close/>
                  <a:moveTo>
                    <a:pt x="5685" y="17409"/>
                  </a:moveTo>
                  <a:cubicBezTo>
                    <a:pt x="5609" y="17409"/>
                    <a:pt x="5547" y="17507"/>
                    <a:pt x="5547" y="17628"/>
                  </a:cubicBezTo>
                  <a:cubicBezTo>
                    <a:pt x="5547" y="17748"/>
                    <a:pt x="5609" y="17844"/>
                    <a:pt x="5685" y="17844"/>
                  </a:cubicBezTo>
                  <a:cubicBezTo>
                    <a:pt x="5762" y="17844"/>
                    <a:pt x="5823" y="17748"/>
                    <a:pt x="5823" y="17628"/>
                  </a:cubicBezTo>
                  <a:cubicBezTo>
                    <a:pt x="5823" y="17507"/>
                    <a:pt x="5762" y="17409"/>
                    <a:pt x="5685" y="17409"/>
                  </a:cubicBezTo>
                  <a:close/>
                  <a:moveTo>
                    <a:pt x="7575" y="17409"/>
                  </a:moveTo>
                  <a:cubicBezTo>
                    <a:pt x="7499" y="17409"/>
                    <a:pt x="7437" y="17507"/>
                    <a:pt x="7437" y="17628"/>
                  </a:cubicBezTo>
                  <a:cubicBezTo>
                    <a:pt x="7437" y="17748"/>
                    <a:pt x="7499" y="17844"/>
                    <a:pt x="7575" y="17844"/>
                  </a:cubicBezTo>
                  <a:cubicBezTo>
                    <a:pt x="7652" y="17844"/>
                    <a:pt x="7713" y="17748"/>
                    <a:pt x="7713" y="17628"/>
                  </a:cubicBezTo>
                  <a:cubicBezTo>
                    <a:pt x="7713" y="17507"/>
                    <a:pt x="7652" y="17409"/>
                    <a:pt x="7575" y="17409"/>
                  </a:cubicBezTo>
                  <a:close/>
                  <a:moveTo>
                    <a:pt x="9219" y="17409"/>
                  </a:moveTo>
                  <a:cubicBezTo>
                    <a:pt x="9143" y="17409"/>
                    <a:pt x="9080" y="17508"/>
                    <a:pt x="9080" y="17628"/>
                  </a:cubicBezTo>
                  <a:cubicBezTo>
                    <a:pt x="9080" y="17748"/>
                    <a:pt x="9143" y="17846"/>
                    <a:pt x="9219" y="17846"/>
                  </a:cubicBezTo>
                  <a:cubicBezTo>
                    <a:pt x="9295" y="17846"/>
                    <a:pt x="9356" y="17748"/>
                    <a:pt x="9356" y="17628"/>
                  </a:cubicBezTo>
                  <a:cubicBezTo>
                    <a:pt x="9356" y="17508"/>
                    <a:pt x="9295" y="17409"/>
                    <a:pt x="9219" y="17409"/>
                  </a:cubicBezTo>
                  <a:close/>
                  <a:moveTo>
                    <a:pt x="9589" y="17409"/>
                  </a:moveTo>
                  <a:cubicBezTo>
                    <a:pt x="9512" y="17409"/>
                    <a:pt x="9450" y="17508"/>
                    <a:pt x="9450" y="17628"/>
                  </a:cubicBezTo>
                  <a:cubicBezTo>
                    <a:pt x="9450" y="17748"/>
                    <a:pt x="9512" y="17846"/>
                    <a:pt x="9589" y="17846"/>
                  </a:cubicBezTo>
                  <a:cubicBezTo>
                    <a:pt x="9665" y="17846"/>
                    <a:pt x="9726" y="17748"/>
                    <a:pt x="9726" y="17628"/>
                  </a:cubicBezTo>
                  <a:cubicBezTo>
                    <a:pt x="9726" y="17508"/>
                    <a:pt x="9665" y="17409"/>
                    <a:pt x="9589" y="17409"/>
                  </a:cubicBezTo>
                  <a:close/>
                  <a:moveTo>
                    <a:pt x="4494" y="18057"/>
                  </a:moveTo>
                  <a:cubicBezTo>
                    <a:pt x="4418" y="18057"/>
                    <a:pt x="4355" y="18155"/>
                    <a:pt x="4355" y="18275"/>
                  </a:cubicBezTo>
                  <a:cubicBezTo>
                    <a:pt x="4355" y="18395"/>
                    <a:pt x="4418" y="18493"/>
                    <a:pt x="4494" y="18493"/>
                  </a:cubicBezTo>
                  <a:cubicBezTo>
                    <a:pt x="4570" y="18493"/>
                    <a:pt x="4631" y="18395"/>
                    <a:pt x="4631" y="18275"/>
                  </a:cubicBezTo>
                  <a:cubicBezTo>
                    <a:pt x="4631" y="18155"/>
                    <a:pt x="4570" y="18057"/>
                    <a:pt x="4494" y="18057"/>
                  </a:cubicBezTo>
                  <a:close/>
                  <a:moveTo>
                    <a:pt x="4864" y="18057"/>
                  </a:moveTo>
                  <a:cubicBezTo>
                    <a:pt x="4787" y="18057"/>
                    <a:pt x="4725" y="18155"/>
                    <a:pt x="4725" y="18275"/>
                  </a:cubicBezTo>
                  <a:cubicBezTo>
                    <a:pt x="4725" y="18395"/>
                    <a:pt x="4787" y="18493"/>
                    <a:pt x="4864" y="18493"/>
                  </a:cubicBezTo>
                  <a:cubicBezTo>
                    <a:pt x="4940" y="18493"/>
                    <a:pt x="5001" y="18395"/>
                    <a:pt x="5001" y="18275"/>
                  </a:cubicBezTo>
                  <a:cubicBezTo>
                    <a:pt x="5001" y="18155"/>
                    <a:pt x="4940" y="18057"/>
                    <a:pt x="4864" y="18057"/>
                  </a:cubicBezTo>
                  <a:close/>
                  <a:moveTo>
                    <a:pt x="5274" y="18057"/>
                  </a:moveTo>
                  <a:cubicBezTo>
                    <a:pt x="5198" y="18057"/>
                    <a:pt x="5136" y="18155"/>
                    <a:pt x="5136" y="18275"/>
                  </a:cubicBezTo>
                  <a:cubicBezTo>
                    <a:pt x="5136" y="18395"/>
                    <a:pt x="5198" y="18493"/>
                    <a:pt x="5274" y="18493"/>
                  </a:cubicBezTo>
                  <a:cubicBezTo>
                    <a:pt x="5351" y="18493"/>
                    <a:pt x="5412" y="18395"/>
                    <a:pt x="5412" y="18275"/>
                  </a:cubicBezTo>
                  <a:cubicBezTo>
                    <a:pt x="5412" y="18155"/>
                    <a:pt x="5351" y="18057"/>
                    <a:pt x="5274" y="18057"/>
                  </a:cubicBezTo>
                  <a:close/>
                  <a:moveTo>
                    <a:pt x="5685" y="18057"/>
                  </a:moveTo>
                  <a:cubicBezTo>
                    <a:pt x="5609" y="18057"/>
                    <a:pt x="5547" y="18155"/>
                    <a:pt x="5547" y="18275"/>
                  </a:cubicBezTo>
                  <a:cubicBezTo>
                    <a:pt x="5547" y="18395"/>
                    <a:pt x="5609" y="18493"/>
                    <a:pt x="5685" y="18493"/>
                  </a:cubicBezTo>
                  <a:cubicBezTo>
                    <a:pt x="5762" y="18493"/>
                    <a:pt x="5823" y="18395"/>
                    <a:pt x="5823" y="18275"/>
                  </a:cubicBezTo>
                  <a:cubicBezTo>
                    <a:pt x="5823" y="18155"/>
                    <a:pt x="5762" y="18057"/>
                    <a:pt x="5685" y="18057"/>
                  </a:cubicBezTo>
                  <a:close/>
                  <a:moveTo>
                    <a:pt x="6055" y="18057"/>
                  </a:moveTo>
                  <a:cubicBezTo>
                    <a:pt x="5979" y="18057"/>
                    <a:pt x="5916" y="18155"/>
                    <a:pt x="5916" y="18275"/>
                  </a:cubicBezTo>
                  <a:cubicBezTo>
                    <a:pt x="5916" y="18395"/>
                    <a:pt x="5979" y="18491"/>
                    <a:pt x="6055" y="18491"/>
                  </a:cubicBezTo>
                  <a:cubicBezTo>
                    <a:pt x="6131" y="18491"/>
                    <a:pt x="6193" y="18395"/>
                    <a:pt x="6193" y="18275"/>
                  </a:cubicBezTo>
                  <a:cubicBezTo>
                    <a:pt x="6193" y="18155"/>
                    <a:pt x="6131" y="18057"/>
                    <a:pt x="6055" y="18057"/>
                  </a:cubicBezTo>
                  <a:close/>
                  <a:moveTo>
                    <a:pt x="7247" y="18057"/>
                  </a:moveTo>
                  <a:cubicBezTo>
                    <a:pt x="7170" y="18057"/>
                    <a:pt x="7108" y="18155"/>
                    <a:pt x="7108" y="18275"/>
                  </a:cubicBezTo>
                  <a:cubicBezTo>
                    <a:pt x="7108" y="18395"/>
                    <a:pt x="7170" y="18491"/>
                    <a:pt x="7247" y="18491"/>
                  </a:cubicBezTo>
                  <a:cubicBezTo>
                    <a:pt x="7323" y="18491"/>
                    <a:pt x="7384" y="18395"/>
                    <a:pt x="7384" y="18275"/>
                  </a:cubicBezTo>
                  <a:cubicBezTo>
                    <a:pt x="7384" y="18155"/>
                    <a:pt x="7323" y="18057"/>
                    <a:pt x="7247" y="18057"/>
                  </a:cubicBezTo>
                  <a:close/>
                  <a:moveTo>
                    <a:pt x="7575" y="18057"/>
                  </a:moveTo>
                  <a:cubicBezTo>
                    <a:pt x="7499" y="18057"/>
                    <a:pt x="7437" y="18155"/>
                    <a:pt x="7437" y="18275"/>
                  </a:cubicBezTo>
                  <a:cubicBezTo>
                    <a:pt x="7437" y="18395"/>
                    <a:pt x="7499" y="18491"/>
                    <a:pt x="7575" y="18491"/>
                  </a:cubicBezTo>
                  <a:cubicBezTo>
                    <a:pt x="7652" y="18491"/>
                    <a:pt x="7713" y="18395"/>
                    <a:pt x="7713" y="18275"/>
                  </a:cubicBezTo>
                  <a:cubicBezTo>
                    <a:pt x="7713" y="18155"/>
                    <a:pt x="7652" y="18057"/>
                    <a:pt x="7575" y="18057"/>
                  </a:cubicBezTo>
                  <a:close/>
                  <a:moveTo>
                    <a:pt x="10369" y="18057"/>
                  </a:moveTo>
                  <a:cubicBezTo>
                    <a:pt x="10293" y="18057"/>
                    <a:pt x="10231" y="18155"/>
                    <a:pt x="10231" y="18275"/>
                  </a:cubicBezTo>
                  <a:cubicBezTo>
                    <a:pt x="10231" y="18396"/>
                    <a:pt x="10293" y="18491"/>
                    <a:pt x="10369" y="18491"/>
                  </a:cubicBezTo>
                  <a:cubicBezTo>
                    <a:pt x="10446" y="18491"/>
                    <a:pt x="10507" y="18396"/>
                    <a:pt x="10507" y="18275"/>
                  </a:cubicBezTo>
                  <a:cubicBezTo>
                    <a:pt x="10507" y="18155"/>
                    <a:pt x="10446" y="18057"/>
                    <a:pt x="10369" y="18057"/>
                  </a:cubicBezTo>
                  <a:close/>
                  <a:moveTo>
                    <a:pt x="5274" y="18704"/>
                  </a:moveTo>
                  <a:cubicBezTo>
                    <a:pt x="5198" y="18704"/>
                    <a:pt x="5136" y="18802"/>
                    <a:pt x="5136" y="18922"/>
                  </a:cubicBezTo>
                  <a:cubicBezTo>
                    <a:pt x="5136" y="19042"/>
                    <a:pt x="5198" y="19139"/>
                    <a:pt x="5274" y="19139"/>
                  </a:cubicBezTo>
                  <a:cubicBezTo>
                    <a:pt x="5351" y="19139"/>
                    <a:pt x="5412" y="19042"/>
                    <a:pt x="5412" y="18922"/>
                  </a:cubicBezTo>
                  <a:cubicBezTo>
                    <a:pt x="5412" y="18802"/>
                    <a:pt x="5351" y="18704"/>
                    <a:pt x="5274" y="18704"/>
                  </a:cubicBezTo>
                  <a:close/>
                  <a:moveTo>
                    <a:pt x="5685" y="18704"/>
                  </a:moveTo>
                  <a:cubicBezTo>
                    <a:pt x="5609" y="18704"/>
                    <a:pt x="5547" y="18802"/>
                    <a:pt x="5547" y="18922"/>
                  </a:cubicBezTo>
                  <a:cubicBezTo>
                    <a:pt x="5547" y="19042"/>
                    <a:pt x="5609" y="19139"/>
                    <a:pt x="5685" y="19139"/>
                  </a:cubicBezTo>
                  <a:cubicBezTo>
                    <a:pt x="5762" y="19139"/>
                    <a:pt x="5823" y="19042"/>
                    <a:pt x="5823" y="18922"/>
                  </a:cubicBezTo>
                  <a:cubicBezTo>
                    <a:pt x="5823" y="18802"/>
                    <a:pt x="5762" y="18704"/>
                    <a:pt x="5685" y="18704"/>
                  </a:cubicBezTo>
                  <a:close/>
                  <a:moveTo>
                    <a:pt x="6055" y="18704"/>
                  </a:moveTo>
                  <a:cubicBezTo>
                    <a:pt x="5979" y="18704"/>
                    <a:pt x="5916" y="18802"/>
                    <a:pt x="5916" y="18922"/>
                  </a:cubicBezTo>
                  <a:cubicBezTo>
                    <a:pt x="5916" y="19043"/>
                    <a:pt x="5979" y="19139"/>
                    <a:pt x="6055" y="19139"/>
                  </a:cubicBezTo>
                  <a:cubicBezTo>
                    <a:pt x="6131" y="19139"/>
                    <a:pt x="6193" y="19043"/>
                    <a:pt x="6193" y="18922"/>
                  </a:cubicBezTo>
                  <a:cubicBezTo>
                    <a:pt x="6193" y="18802"/>
                    <a:pt x="6131" y="18704"/>
                    <a:pt x="6055" y="18704"/>
                  </a:cubicBezTo>
                  <a:close/>
                  <a:moveTo>
                    <a:pt x="6425" y="18704"/>
                  </a:moveTo>
                  <a:cubicBezTo>
                    <a:pt x="6349" y="18704"/>
                    <a:pt x="6286" y="18802"/>
                    <a:pt x="6286" y="18922"/>
                  </a:cubicBezTo>
                  <a:cubicBezTo>
                    <a:pt x="6286" y="19043"/>
                    <a:pt x="6349" y="19139"/>
                    <a:pt x="6425" y="19139"/>
                  </a:cubicBezTo>
                  <a:cubicBezTo>
                    <a:pt x="6501" y="19139"/>
                    <a:pt x="6562" y="19043"/>
                    <a:pt x="6562" y="18922"/>
                  </a:cubicBezTo>
                  <a:cubicBezTo>
                    <a:pt x="6562" y="18802"/>
                    <a:pt x="6501" y="18704"/>
                    <a:pt x="6425" y="18704"/>
                  </a:cubicBezTo>
                  <a:close/>
                  <a:moveTo>
                    <a:pt x="6836" y="18704"/>
                  </a:moveTo>
                  <a:cubicBezTo>
                    <a:pt x="6759" y="18704"/>
                    <a:pt x="6697" y="18802"/>
                    <a:pt x="6697" y="18922"/>
                  </a:cubicBezTo>
                  <a:cubicBezTo>
                    <a:pt x="6697" y="19043"/>
                    <a:pt x="6759" y="19139"/>
                    <a:pt x="6836" y="19139"/>
                  </a:cubicBezTo>
                  <a:cubicBezTo>
                    <a:pt x="6912" y="19139"/>
                    <a:pt x="6973" y="19043"/>
                    <a:pt x="6973" y="18922"/>
                  </a:cubicBezTo>
                  <a:cubicBezTo>
                    <a:pt x="6973" y="18802"/>
                    <a:pt x="6912" y="18704"/>
                    <a:pt x="6836" y="18704"/>
                  </a:cubicBezTo>
                  <a:close/>
                  <a:moveTo>
                    <a:pt x="7247" y="18704"/>
                  </a:moveTo>
                  <a:cubicBezTo>
                    <a:pt x="7170" y="18704"/>
                    <a:pt x="7108" y="18802"/>
                    <a:pt x="7108" y="18922"/>
                  </a:cubicBezTo>
                  <a:cubicBezTo>
                    <a:pt x="7108" y="19043"/>
                    <a:pt x="7170" y="19139"/>
                    <a:pt x="7247" y="19139"/>
                  </a:cubicBezTo>
                  <a:cubicBezTo>
                    <a:pt x="7323" y="19139"/>
                    <a:pt x="7384" y="19043"/>
                    <a:pt x="7384" y="18922"/>
                  </a:cubicBezTo>
                  <a:cubicBezTo>
                    <a:pt x="7384" y="18802"/>
                    <a:pt x="7323" y="18704"/>
                    <a:pt x="7247" y="18704"/>
                  </a:cubicBezTo>
                  <a:close/>
                  <a:moveTo>
                    <a:pt x="6466" y="19351"/>
                  </a:moveTo>
                  <a:cubicBezTo>
                    <a:pt x="6390" y="19351"/>
                    <a:pt x="6327" y="19450"/>
                    <a:pt x="6327" y="19569"/>
                  </a:cubicBezTo>
                  <a:cubicBezTo>
                    <a:pt x="6327" y="19690"/>
                    <a:pt x="6390" y="19786"/>
                    <a:pt x="6466" y="19786"/>
                  </a:cubicBezTo>
                  <a:cubicBezTo>
                    <a:pt x="6542" y="19786"/>
                    <a:pt x="6603" y="19690"/>
                    <a:pt x="6603" y="19569"/>
                  </a:cubicBezTo>
                  <a:cubicBezTo>
                    <a:pt x="6603" y="19450"/>
                    <a:pt x="6542" y="19351"/>
                    <a:pt x="6466" y="19351"/>
                  </a:cubicBezTo>
                  <a:close/>
                  <a:moveTo>
                    <a:pt x="6836" y="19351"/>
                  </a:moveTo>
                  <a:cubicBezTo>
                    <a:pt x="6759" y="19351"/>
                    <a:pt x="6697" y="19450"/>
                    <a:pt x="6697" y="19569"/>
                  </a:cubicBezTo>
                  <a:cubicBezTo>
                    <a:pt x="6697" y="19690"/>
                    <a:pt x="6759" y="19786"/>
                    <a:pt x="6836" y="19786"/>
                  </a:cubicBezTo>
                  <a:cubicBezTo>
                    <a:pt x="6912" y="19786"/>
                    <a:pt x="6973" y="19690"/>
                    <a:pt x="6973" y="19569"/>
                  </a:cubicBezTo>
                  <a:cubicBezTo>
                    <a:pt x="6973" y="19450"/>
                    <a:pt x="6912" y="19351"/>
                    <a:pt x="6836" y="19351"/>
                  </a:cubicBezTo>
                  <a:close/>
                  <a:moveTo>
                    <a:pt x="7247" y="19351"/>
                  </a:moveTo>
                  <a:cubicBezTo>
                    <a:pt x="7170" y="19351"/>
                    <a:pt x="7108" y="19450"/>
                    <a:pt x="7108" y="19569"/>
                  </a:cubicBezTo>
                  <a:cubicBezTo>
                    <a:pt x="7108" y="19690"/>
                    <a:pt x="7170" y="19786"/>
                    <a:pt x="7247" y="19786"/>
                  </a:cubicBezTo>
                  <a:cubicBezTo>
                    <a:pt x="7323" y="19786"/>
                    <a:pt x="7384" y="19690"/>
                    <a:pt x="7384" y="19569"/>
                  </a:cubicBezTo>
                  <a:cubicBezTo>
                    <a:pt x="7384" y="19450"/>
                    <a:pt x="7323" y="19351"/>
                    <a:pt x="7247" y="19351"/>
                  </a:cubicBezTo>
                  <a:close/>
                  <a:moveTo>
                    <a:pt x="7658" y="19351"/>
                  </a:moveTo>
                  <a:cubicBezTo>
                    <a:pt x="7581" y="19351"/>
                    <a:pt x="7519" y="19450"/>
                    <a:pt x="7519" y="19569"/>
                  </a:cubicBezTo>
                  <a:cubicBezTo>
                    <a:pt x="7519" y="19690"/>
                    <a:pt x="7581" y="19786"/>
                    <a:pt x="7658" y="19786"/>
                  </a:cubicBezTo>
                  <a:cubicBezTo>
                    <a:pt x="7734" y="19786"/>
                    <a:pt x="7795" y="19690"/>
                    <a:pt x="7795" y="19569"/>
                  </a:cubicBezTo>
                  <a:cubicBezTo>
                    <a:pt x="7795" y="19450"/>
                    <a:pt x="7734" y="19351"/>
                    <a:pt x="7658" y="19351"/>
                  </a:cubicBezTo>
                  <a:close/>
                  <a:moveTo>
                    <a:pt x="8027" y="19351"/>
                  </a:moveTo>
                  <a:cubicBezTo>
                    <a:pt x="7951" y="19351"/>
                    <a:pt x="7889" y="19450"/>
                    <a:pt x="7889" y="19569"/>
                  </a:cubicBezTo>
                  <a:cubicBezTo>
                    <a:pt x="7889" y="19690"/>
                    <a:pt x="7951" y="19786"/>
                    <a:pt x="8027" y="19786"/>
                  </a:cubicBezTo>
                  <a:cubicBezTo>
                    <a:pt x="8104" y="19786"/>
                    <a:pt x="8165" y="19690"/>
                    <a:pt x="8165" y="19569"/>
                  </a:cubicBezTo>
                  <a:cubicBezTo>
                    <a:pt x="8165" y="19450"/>
                    <a:pt x="8104" y="19351"/>
                    <a:pt x="8027" y="19351"/>
                  </a:cubicBezTo>
                  <a:close/>
                  <a:moveTo>
                    <a:pt x="6836" y="19933"/>
                  </a:moveTo>
                  <a:cubicBezTo>
                    <a:pt x="6759" y="19933"/>
                    <a:pt x="6697" y="20032"/>
                    <a:pt x="6697" y="20152"/>
                  </a:cubicBezTo>
                  <a:cubicBezTo>
                    <a:pt x="6697" y="20272"/>
                    <a:pt x="6759" y="20368"/>
                    <a:pt x="6836" y="20368"/>
                  </a:cubicBezTo>
                  <a:cubicBezTo>
                    <a:pt x="6912" y="20368"/>
                    <a:pt x="6973" y="20272"/>
                    <a:pt x="6973" y="20152"/>
                  </a:cubicBezTo>
                  <a:cubicBezTo>
                    <a:pt x="6973" y="20032"/>
                    <a:pt x="6912" y="19933"/>
                    <a:pt x="6836" y="19933"/>
                  </a:cubicBezTo>
                  <a:close/>
                  <a:moveTo>
                    <a:pt x="7247" y="19933"/>
                  </a:moveTo>
                  <a:cubicBezTo>
                    <a:pt x="7170" y="19933"/>
                    <a:pt x="7108" y="20032"/>
                    <a:pt x="7108" y="20152"/>
                  </a:cubicBezTo>
                  <a:cubicBezTo>
                    <a:pt x="7108" y="20272"/>
                    <a:pt x="7170" y="20368"/>
                    <a:pt x="7247" y="20368"/>
                  </a:cubicBezTo>
                  <a:cubicBezTo>
                    <a:pt x="7323" y="20368"/>
                    <a:pt x="7384" y="20272"/>
                    <a:pt x="7384" y="20152"/>
                  </a:cubicBezTo>
                  <a:cubicBezTo>
                    <a:pt x="7384" y="20032"/>
                    <a:pt x="7323" y="19933"/>
                    <a:pt x="7247" y="19933"/>
                  </a:cubicBezTo>
                  <a:close/>
                  <a:moveTo>
                    <a:pt x="7658" y="19933"/>
                  </a:moveTo>
                  <a:cubicBezTo>
                    <a:pt x="7581" y="19933"/>
                    <a:pt x="7519" y="20032"/>
                    <a:pt x="7519" y="20152"/>
                  </a:cubicBezTo>
                  <a:cubicBezTo>
                    <a:pt x="7519" y="20272"/>
                    <a:pt x="7581" y="20368"/>
                    <a:pt x="7658" y="20368"/>
                  </a:cubicBezTo>
                  <a:cubicBezTo>
                    <a:pt x="7734" y="20368"/>
                    <a:pt x="7795" y="20272"/>
                    <a:pt x="7795" y="20152"/>
                  </a:cubicBezTo>
                  <a:cubicBezTo>
                    <a:pt x="7795" y="20032"/>
                    <a:pt x="7734" y="19933"/>
                    <a:pt x="7658" y="19933"/>
                  </a:cubicBezTo>
                  <a:close/>
                  <a:moveTo>
                    <a:pt x="8027" y="19933"/>
                  </a:moveTo>
                  <a:cubicBezTo>
                    <a:pt x="7951" y="19933"/>
                    <a:pt x="7889" y="20032"/>
                    <a:pt x="7889" y="20152"/>
                  </a:cubicBezTo>
                  <a:cubicBezTo>
                    <a:pt x="7889" y="20272"/>
                    <a:pt x="7951" y="20368"/>
                    <a:pt x="8027" y="20368"/>
                  </a:cubicBezTo>
                  <a:cubicBezTo>
                    <a:pt x="8104" y="20368"/>
                    <a:pt x="8165" y="20272"/>
                    <a:pt x="8165" y="20152"/>
                  </a:cubicBezTo>
                  <a:cubicBezTo>
                    <a:pt x="8165" y="20032"/>
                    <a:pt x="8104" y="19933"/>
                    <a:pt x="8027" y="19933"/>
                  </a:cubicBezTo>
                  <a:close/>
                  <a:moveTo>
                    <a:pt x="7658" y="20516"/>
                  </a:moveTo>
                  <a:cubicBezTo>
                    <a:pt x="7581" y="20516"/>
                    <a:pt x="7519" y="20614"/>
                    <a:pt x="7519" y="20734"/>
                  </a:cubicBezTo>
                  <a:cubicBezTo>
                    <a:pt x="7519" y="20854"/>
                    <a:pt x="7581" y="20951"/>
                    <a:pt x="7658" y="20951"/>
                  </a:cubicBezTo>
                  <a:cubicBezTo>
                    <a:pt x="7734" y="20951"/>
                    <a:pt x="7795" y="20854"/>
                    <a:pt x="7795" y="20734"/>
                  </a:cubicBezTo>
                  <a:cubicBezTo>
                    <a:pt x="7795" y="20614"/>
                    <a:pt x="7734" y="20516"/>
                    <a:pt x="7658" y="20516"/>
                  </a:cubicBezTo>
                  <a:close/>
                  <a:moveTo>
                    <a:pt x="8027" y="20516"/>
                  </a:moveTo>
                  <a:cubicBezTo>
                    <a:pt x="7951" y="20516"/>
                    <a:pt x="7889" y="20614"/>
                    <a:pt x="7889" y="20734"/>
                  </a:cubicBezTo>
                  <a:cubicBezTo>
                    <a:pt x="7889" y="20854"/>
                    <a:pt x="7951" y="20951"/>
                    <a:pt x="8027" y="20951"/>
                  </a:cubicBezTo>
                  <a:cubicBezTo>
                    <a:pt x="8104" y="20951"/>
                    <a:pt x="8165" y="20854"/>
                    <a:pt x="8165" y="20734"/>
                  </a:cubicBezTo>
                  <a:cubicBezTo>
                    <a:pt x="8165" y="20614"/>
                    <a:pt x="8104" y="20516"/>
                    <a:pt x="8027" y="20516"/>
                  </a:cubicBezTo>
                  <a:close/>
                  <a:moveTo>
                    <a:pt x="8027" y="21163"/>
                  </a:moveTo>
                  <a:cubicBezTo>
                    <a:pt x="7951" y="21163"/>
                    <a:pt x="7889" y="21261"/>
                    <a:pt x="7889" y="21382"/>
                  </a:cubicBezTo>
                  <a:cubicBezTo>
                    <a:pt x="7889" y="21502"/>
                    <a:pt x="7951" y="21600"/>
                    <a:pt x="8027" y="21600"/>
                  </a:cubicBezTo>
                  <a:cubicBezTo>
                    <a:pt x="8104" y="21600"/>
                    <a:pt x="8165" y="21502"/>
                    <a:pt x="8165" y="21382"/>
                  </a:cubicBezTo>
                  <a:cubicBezTo>
                    <a:pt x="8165" y="21261"/>
                    <a:pt x="8104" y="21163"/>
                    <a:pt x="8027" y="21163"/>
                  </a:cubicBezTo>
                  <a:close/>
                </a:path>
              </a:pathLst>
            </a:custGeom>
            <a:grpFill/>
            <a:ln w="12700" cap="flat">
              <a:noFill/>
              <a:miter lim="400000"/>
            </a:ln>
            <a:effectLst/>
          </p:spPr>
          <p:txBody>
            <a:bodyPr wrap="square" lIns="19050" tIns="19050" rIns="19050" bIns="19050" numCol="1" anchor="ctr">
              <a:noAutofit/>
            </a:bodyP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11" name="Shape 18635"/>
            <p:cNvSpPr/>
            <p:nvPr/>
          </p:nvSpPr>
          <p:spPr>
            <a:xfrm>
              <a:off x="2565400" y="4025900"/>
              <a:ext cx="2650729" cy="4124325"/>
            </a:xfrm>
            <a:custGeom>
              <a:avLst/>
              <a:gdLst/>
              <a:ahLst/>
              <a:cxnLst>
                <a:cxn ang="0">
                  <a:pos x="wd2" y="hd2"/>
                </a:cxn>
                <a:cxn ang="5400000">
                  <a:pos x="wd2" y="hd2"/>
                </a:cxn>
                <a:cxn ang="10800000">
                  <a:pos x="wd2" y="hd2"/>
                </a:cxn>
                <a:cxn ang="16200000">
                  <a:pos x="wd2" y="hd2"/>
                </a:cxn>
              </a:cxnLst>
              <a:rect l="0" t="0" r="r" b="b"/>
              <a:pathLst>
                <a:path w="21600" h="21600" extrusionOk="0">
                  <a:moveTo>
                    <a:pt x="4282" y="0"/>
                  </a:moveTo>
                  <a:cubicBezTo>
                    <a:pt x="4090" y="0"/>
                    <a:pt x="3933" y="101"/>
                    <a:pt x="3933" y="224"/>
                  </a:cubicBezTo>
                  <a:cubicBezTo>
                    <a:pt x="3933" y="348"/>
                    <a:pt x="4090" y="447"/>
                    <a:pt x="4282" y="447"/>
                  </a:cubicBezTo>
                  <a:cubicBezTo>
                    <a:pt x="4474" y="447"/>
                    <a:pt x="4628" y="348"/>
                    <a:pt x="4628" y="224"/>
                  </a:cubicBezTo>
                  <a:cubicBezTo>
                    <a:pt x="4628" y="101"/>
                    <a:pt x="4474" y="0"/>
                    <a:pt x="4282" y="0"/>
                  </a:cubicBezTo>
                  <a:close/>
                  <a:moveTo>
                    <a:pt x="6352" y="0"/>
                  </a:moveTo>
                  <a:cubicBezTo>
                    <a:pt x="6160" y="0"/>
                    <a:pt x="6002" y="101"/>
                    <a:pt x="6002" y="224"/>
                  </a:cubicBezTo>
                  <a:cubicBezTo>
                    <a:pt x="6002" y="348"/>
                    <a:pt x="6160" y="447"/>
                    <a:pt x="6352" y="447"/>
                  </a:cubicBezTo>
                  <a:cubicBezTo>
                    <a:pt x="6544" y="447"/>
                    <a:pt x="6698" y="348"/>
                    <a:pt x="6698" y="224"/>
                  </a:cubicBezTo>
                  <a:cubicBezTo>
                    <a:pt x="6698" y="101"/>
                    <a:pt x="6544" y="0"/>
                    <a:pt x="6352" y="0"/>
                  </a:cubicBezTo>
                  <a:close/>
                  <a:moveTo>
                    <a:pt x="3247" y="665"/>
                  </a:moveTo>
                  <a:cubicBezTo>
                    <a:pt x="3055" y="665"/>
                    <a:pt x="2898" y="766"/>
                    <a:pt x="2898" y="890"/>
                  </a:cubicBezTo>
                  <a:cubicBezTo>
                    <a:pt x="2898" y="1013"/>
                    <a:pt x="3055" y="1114"/>
                    <a:pt x="3247" y="1114"/>
                  </a:cubicBezTo>
                  <a:cubicBezTo>
                    <a:pt x="3439" y="1114"/>
                    <a:pt x="3593" y="1013"/>
                    <a:pt x="3593" y="890"/>
                  </a:cubicBezTo>
                  <a:cubicBezTo>
                    <a:pt x="3593" y="766"/>
                    <a:pt x="3439" y="665"/>
                    <a:pt x="3247" y="665"/>
                  </a:cubicBezTo>
                  <a:close/>
                  <a:moveTo>
                    <a:pt x="4282" y="665"/>
                  </a:moveTo>
                  <a:cubicBezTo>
                    <a:pt x="4090" y="665"/>
                    <a:pt x="3933" y="766"/>
                    <a:pt x="3933" y="890"/>
                  </a:cubicBezTo>
                  <a:cubicBezTo>
                    <a:pt x="3933" y="1013"/>
                    <a:pt x="4090" y="1114"/>
                    <a:pt x="4282" y="1114"/>
                  </a:cubicBezTo>
                  <a:cubicBezTo>
                    <a:pt x="4474" y="1114"/>
                    <a:pt x="4628" y="1013"/>
                    <a:pt x="4628" y="890"/>
                  </a:cubicBezTo>
                  <a:cubicBezTo>
                    <a:pt x="4628" y="766"/>
                    <a:pt x="4474" y="665"/>
                    <a:pt x="4282" y="665"/>
                  </a:cubicBezTo>
                  <a:close/>
                  <a:moveTo>
                    <a:pt x="5317" y="665"/>
                  </a:moveTo>
                  <a:cubicBezTo>
                    <a:pt x="5125" y="665"/>
                    <a:pt x="4967" y="766"/>
                    <a:pt x="4967" y="890"/>
                  </a:cubicBezTo>
                  <a:cubicBezTo>
                    <a:pt x="4967" y="1013"/>
                    <a:pt x="5125" y="1114"/>
                    <a:pt x="5317" y="1114"/>
                  </a:cubicBezTo>
                  <a:cubicBezTo>
                    <a:pt x="5509" y="1114"/>
                    <a:pt x="5663" y="1013"/>
                    <a:pt x="5663" y="890"/>
                  </a:cubicBezTo>
                  <a:cubicBezTo>
                    <a:pt x="5663" y="766"/>
                    <a:pt x="5509" y="665"/>
                    <a:pt x="5317" y="665"/>
                  </a:cubicBezTo>
                  <a:close/>
                  <a:moveTo>
                    <a:pt x="6352" y="665"/>
                  </a:moveTo>
                  <a:cubicBezTo>
                    <a:pt x="6160" y="665"/>
                    <a:pt x="6002" y="766"/>
                    <a:pt x="6002" y="890"/>
                  </a:cubicBezTo>
                  <a:cubicBezTo>
                    <a:pt x="6002" y="1013"/>
                    <a:pt x="6160" y="1114"/>
                    <a:pt x="6352" y="1114"/>
                  </a:cubicBezTo>
                  <a:cubicBezTo>
                    <a:pt x="6544" y="1114"/>
                    <a:pt x="6698" y="1013"/>
                    <a:pt x="6698" y="890"/>
                  </a:cubicBezTo>
                  <a:cubicBezTo>
                    <a:pt x="6698" y="766"/>
                    <a:pt x="6544" y="665"/>
                    <a:pt x="6352" y="665"/>
                  </a:cubicBezTo>
                  <a:close/>
                  <a:moveTo>
                    <a:pt x="7283" y="665"/>
                  </a:moveTo>
                  <a:cubicBezTo>
                    <a:pt x="7091" y="665"/>
                    <a:pt x="6934" y="766"/>
                    <a:pt x="6934" y="890"/>
                  </a:cubicBezTo>
                  <a:cubicBezTo>
                    <a:pt x="6934" y="1013"/>
                    <a:pt x="7091" y="1114"/>
                    <a:pt x="7283" y="1114"/>
                  </a:cubicBezTo>
                  <a:cubicBezTo>
                    <a:pt x="7475" y="1114"/>
                    <a:pt x="7629" y="1013"/>
                    <a:pt x="7629" y="890"/>
                  </a:cubicBezTo>
                  <a:cubicBezTo>
                    <a:pt x="7629" y="766"/>
                    <a:pt x="7475" y="665"/>
                    <a:pt x="7283" y="665"/>
                  </a:cubicBezTo>
                  <a:close/>
                  <a:moveTo>
                    <a:pt x="8318" y="665"/>
                  </a:moveTo>
                  <a:cubicBezTo>
                    <a:pt x="8126" y="665"/>
                    <a:pt x="7969" y="766"/>
                    <a:pt x="7969" y="890"/>
                  </a:cubicBezTo>
                  <a:cubicBezTo>
                    <a:pt x="7969" y="1013"/>
                    <a:pt x="8126" y="1114"/>
                    <a:pt x="8318" y="1114"/>
                  </a:cubicBezTo>
                  <a:cubicBezTo>
                    <a:pt x="8510" y="1114"/>
                    <a:pt x="8664" y="1013"/>
                    <a:pt x="8664" y="890"/>
                  </a:cubicBezTo>
                  <a:cubicBezTo>
                    <a:pt x="8664" y="766"/>
                    <a:pt x="8510" y="665"/>
                    <a:pt x="8318" y="665"/>
                  </a:cubicBezTo>
                  <a:close/>
                  <a:moveTo>
                    <a:pt x="9146" y="665"/>
                  </a:moveTo>
                  <a:cubicBezTo>
                    <a:pt x="8953" y="665"/>
                    <a:pt x="8797" y="766"/>
                    <a:pt x="8797" y="890"/>
                  </a:cubicBezTo>
                  <a:cubicBezTo>
                    <a:pt x="8797" y="1013"/>
                    <a:pt x="8953" y="1114"/>
                    <a:pt x="9146" y="1114"/>
                  </a:cubicBezTo>
                  <a:cubicBezTo>
                    <a:pt x="9338" y="1114"/>
                    <a:pt x="9492" y="1013"/>
                    <a:pt x="9492" y="890"/>
                  </a:cubicBezTo>
                  <a:cubicBezTo>
                    <a:pt x="9492" y="766"/>
                    <a:pt x="9338" y="665"/>
                    <a:pt x="9146" y="665"/>
                  </a:cubicBezTo>
                  <a:close/>
                  <a:moveTo>
                    <a:pt x="349" y="1264"/>
                  </a:moveTo>
                  <a:cubicBezTo>
                    <a:pt x="157" y="1264"/>
                    <a:pt x="0" y="1364"/>
                    <a:pt x="0" y="1488"/>
                  </a:cubicBezTo>
                  <a:cubicBezTo>
                    <a:pt x="0" y="1611"/>
                    <a:pt x="157" y="1711"/>
                    <a:pt x="349" y="1711"/>
                  </a:cubicBezTo>
                  <a:cubicBezTo>
                    <a:pt x="542" y="1711"/>
                    <a:pt x="695" y="1611"/>
                    <a:pt x="695" y="1488"/>
                  </a:cubicBezTo>
                  <a:cubicBezTo>
                    <a:pt x="695" y="1364"/>
                    <a:pt x="542" y="1264"/>
                    <a:pt x="349" y="1264"/>
                  </a:cubicBezTo>
                  <a:close/>
                  <a:moveTo>
                    <a:pt x="1384" y="1264"/>
                  </a:moveTo>
                  <a:cubicBezTo>
                    <a:pt x="1192" y="1264"/>
                    <a:pt x="1035" y="1364"/>
                    <a:pt x="1035" y="1488"/>
                  </a:cubicBezTo>
                  <a:cubicBezTo>
                    <a:pt x="1035" y="1611"/>
                    <a:pt x="1192" y="1711"/>
                    <a:pt x="1384" y="1711"/>
                  </a:cubicBezTo>
                  <a:cubicBezTo>
                    <a:pt x="1576" y="1711"/>
                    <a:pt x="1730" y="1611"/>
                    <a:pt x="1730" y="1488"/>
                  </a:cubicBezTo>
                  <a:cubicBezTo>
                    <a:pt x="1730" y="1364"/>
                    <a:pt x="1576" y="1264"/>
                    <a:pt x="1384" y="1264"/>
                  </a:cubicBezTo>
                  <a:close/>
                  <a:moveTo>
                    <a:pt x="2316" y="1264"/>
                  </a:moveTo>
                  <a:cubicBezTo>
                    <a:pt x="2123" y="1264"/>
                    <a:pt x="1966" y="1364"/>
                    <a:pt x="1966" y="1488"/>
                  </a:cubicBezTo>
                  <a:cubicBezTo>
                    <a:pt x="1966" y="1611"/>
                    <a:pt x="2123" y="1711"/>
                    <a:pt x="2316" y="1711"/>
                  </a:cubicBezTo>
                  <a:cubicBezTo>
                    <a:pt x="2508" y="1711"/>
                    <a:pt x="2662" y="1611"/>
                    <a:pt x="2662" y="1488"/>
                  </a:cubicBezTo>
                  <a:cubicBezTo>
                    <a:pt x="2662" y="1364"/>
                    <a:pt x="2508" y="1264"/>
                    <a:pt x="2316" y="1264"/>
                  </a:cubicBezTo>
                  <a:close/>
                  <a:moveTo>
                    <a:pt x="3247" y="1264"/>
                  </a:moveTo>
                  <a:cubicBezTo>
                    <a:pt x="3055" y="1264"/>
                    <a:pt x="2898" y="1364"/>
                    <a:pt x="2898" y="1488"/>
                  </a:cubicBezTo>
                  <a:cubicBezTo>
                    <a:pt x="2898" y="1611"/>
                    <a:pt x="3055" y="1711"/>
                    <a:pt x="3247" y="1711"/>
                  </a:cubicBezTo>
                  <a:cubicBezTo>
                    <a:pt x="3439" y="1711"/>
                    <a:pt x="3593" y="1611"/>
                    <a:pt x="3593" y="1488"/>
                  </a:cubicBezTo>
                  <a:cubicBezTo>
                    <a:pt x="3593" y="1364"/>
                    <a:pt x="3439" y="1264"/>
                    <a:pt x="3247" y="1264"/>
                  </a:cubicBezTo>
                  <a:close/>
                  <a:moveTo>
                    <a:pt x="4282" y="1264"/>
                  </a:moveTo>
                  <a:cubicBezTo>
                    <a:pt x="4090" y="1264"/>
                    <a:pt x="3933" y="1364"/>
                    <a:pt x="3933" y="1488"/>
                  </a:cubicBezTo>
                  <a:cubicBezTo>
                    <a:pt x="3933" y="1611"/>
                    <a:pt x="4090" y="1711"/>
                    <a:pt x="4282" y="1711"/>
                  </a:cubicBezTo>
                  <a:cubicBezTo>
                    <a:pt x="4474" y="1711"/>
                    <a:pt x="4628" y="1611"/>
                    <a:pt x="4628" y="1488"/>
                  </a:cubicBezTo>
                  <a:cubicBezTo>
                    <a:pt x="4628" y="1364"/>
                    <a:pt x="4474" y="1264"/>
                    <a:pt x="4282" y="1264"/>
                  </a:cubicBezTo>
                  <a:close/>
                  <a:moveTo>
                    <a:pt x="5317" y="1264"/>
                  </a:moveTo>
                  <a:cubicBezTo>
                    <a:pt x="5125" y="1264"/>
                    <a:pt x="4967" y="1364"/>
                    <a:pt x="4967" y="1488"/>
                  </a:cubicBezTo>
                  <a:cubicBezTo>
                    <a:pt x="4967" y="1611"/>
                    <a:pt x="5125" y="1711"/>
                    <a:pt x="5317" y="1711"/>
                  </a:cubicBezTo>
                  <a:cubicBezTo>
                    <a:pt x="5509" y="1711"/>
                    <a:pt x="5663" y="1611"/>
                    <a:pt x="5663" y="1488"/>
                  </a:cubicBezTo>
                  <a:cubicBezTo>
                    <a:pt x="5663" y="1364"/>
                    <a:pt x="5509" y="1264"/>
                    <a:pt x="5317" y="1264"/>
                  </a:cubicBezTo>
                  <a:close/>
                  <a:moveTo>
                    <a:pt x="6352" y="1264"/>
                  </a:moveTo>
                  <a:cubicBezTo>
                    <a:pt x="6160" y="1264"/>
                    <a:pt x="6002" y="1364"/>
                    <a:pt x="6002" y="1488"/>
                  </a:cubicBezTo>
                  <a:cubicBezTo>
                    <a:pt x="6002" y="1611"/>
                    <a:pt x="6160" y="1711"/>
                    <a:pt x="6352" y="1711"/>
                  </a:cubicBezTo>
                  <a:cubicBezTo>
                    <a:pt x="6544" y="1711"/>
                    <a:pt x="6698" y="1611"/>
                    <a:pt x="6698" y="1488"/>
                  </a:cubicBezTo>
                  <a:cubicBezTo>
                    <a:pt x="6698" y="1364"/>
                    <a:pt x="6544" y="1264"/>
                    <a:pt x="6352" y="1264"/>
                  </a:cubicBezTo>
                  <a:close/>
                  <a:moveTo>
                    <a:pt x="7283" y="1264"/>
                  </a:moveTo>
                  <a:cubicBezTo>
                    <a:pt x="7091" y="1264"/>
                    <a:pt x="6934" y="1364"/>
                    <a:pt x="6934" y="1488"/>
                  </a:cubicBezTo>
                  <a:cubicBezTo>
                    <a:pt x="6934" y="1611"/>
                    <a:pt x="7091" y="1711"/>
                    <a:pt x="7283" y="1711"/>
                  </a:cubicBezTo>
                  <a:cubicBezTo>
                    <a:pt x="7475" y="1711"/>
                    <a:pt x="7629" y="1611"/>
                    <a:pt x="7629" y="1488"/>
                  </a:cubicBezTo>
                  <a:cubicBezTo>
                    <a:pt x="7629" y="1364"/>
                    <a:pt x="7475" y="1264"/>
                    <a:pt x="7283" y="1264"/>
                  </a:cubicBezTo>
                  <a:close/>
                  <a:moveTo>
                    <a:pt x="8318" y="1264"/>
                  </a:moveTo>
                  <a:cubicBezTo>
                    <a:pt x="8126" y="1264"/>
                    <a:pt x="7969" y="1364"/>
                    <a:pt x="7969" y="1488"/>
                  </a:cubicBezTo>
                  <a:cubicBezTo>
                    <a:pt x="7969" y="1611"/>
                    <a:pt x="8126" y="1711"/>
                    <a:pt x="8318" y="1711"/>
                  </a:cubicBezTo>
                  <a:cubicBezTo>
                    <a:pt x="8510" y="1711"/>
                    <a:pt x="8664" y="1611"/>
                    <a:pt x="8664" y="1488"/>
                  </a:cubicBezTo>
                  <a:cubicBezTo>
                    <a:pt x="8664" y="1364"/>
                    <a:pt x="8510" y="1264"/>
                    <a:pt x="8318" y="1264"/>
                  </a:cubicBezTo>
                  <a:close/>
                  <a:moveTo>
                    <a:pt x="9249" y="1330"/>
                  </a:moveTo>
                  <a:cubicBezTo>
                    <a:pt x="9057" y="1330"/>
                    <a:pt x="8900" y="1431"/>
                    <a:pt x="8900" y="1555"/>
                  </a:cubicBezTo>
                  <a:cubicBezTo>
                    <a:pt x="8900" y="1678"/>
                    <a:pt x="9057" y="1777"/>
                    <a:pt x="9249" y="1777"/>
                  </a:cubicBezTo>
                  <a:cubicBezTo>
                    <a:pt x="9441" y="1777"/>
                    <a:pt x="9595" y="1678"/>
                    <a:pt x="9595" y="1555"/>
                  </a:cubicBezTo>
                  <a:cubicBezTo>
                    <a:pt x="9595" y="1431"/>
                    <a:pt x="9441" y="1330"/>
                    <a:pt x="9249" y="1330"/>
                  </a:cubicBezTo>
                  <a:close/>
                  <a:moveTo>
                    <a:pt x="10284" y="1330"/>
                  </a:moveTo>
                  <a:cubicBezTo>
                    <a:pt x="10092" y="1330"/>
                    <a:pt x="9935" y="1431"/>
                    <a:pt x="9935" y="1555"/>
                  </a:cubicBezTo>
                  <a:cubicBezTo>
                    <a:pt x="9935" y="1678"/>
                    <a:pt x="10092" y="1777"/>
                    <a:pt x="10284" y="1777"/>
                  </a:cubicBezTo>
                  <a:cubicBezTo>
                    <a:pt x="10477" y="1777"/>
                    <a:pt x="10630" y="1678"/>
                    <a:pt x="10630" y="1555"/>
                  </a:cubicBezTo>
                  <a:cubicBezTo>
                    <a:pt x="10630" y="1431"/>
                    <a:pt x="10477" y="1330"/>
                    <a:pt x="10284" y="1330"/>
                  </a:cubicBezTo>
                  <a:close/>
                  <a:moveTo>
                    <a:pt x="2316" y="1929"/>
                  </a:moveTo>
                  <a:cubicBezTo>
                    <a:pt x="2123" y="1929"/>
                    <a:pt x="1966" y="2029"/>
                    <a:pt x="1966" y="2153"/>
                  </a:cubicBezTo>
                  <a:cubicBezTo>
                    <a:pt x="1966" y="2276"/>
                    <a:pt x="2123" y="2376"/>
                    <a:pt x="2316" y="2376"/>
                  </a:cubicBezTo>
                  <a:cubicBezTo>
                    <a:pt x="2508" y="2376"/>
                    <a:pt x="2662" y="2276"/>
                    <a:pt x="2662" y="2153"/>
                  </a:cubicBezTo>
                  <a:cubicBezTo>
                    <a:pt x="2662" y="2029"/>
                    <a:pt x="2508" y="1929"/>
                    <a:pt x="2316" y="1929"/>
                  </a:cubicBezTo>
                  <a:close/>
                  <a:moveTo>
                    <a:pt x="3247" y="1929"/>
                  </a:moveTo>
                  <a:cubicBezTo>
                    <a:pt x="3055" y="1929"/>
                    <a:pt x="2898" y="2029"/>
                    <a:pt x="2898" y="2153"/>
                  </a:cubicBezTo>
                  <a:cubicBezTo>
                    <a:pt x="2898" y="2276"/>
                    <a:pt x="3055" y="2376"/>
                    <a:pt x="3247" y="2376"/>
                  </a:cubicBezTo>
                  <a:cubicBezTo>
                    <a:pt x="3439" y="2376"/>
                    <a:pt x="3593" y="2276"/>
                    <a:pt x="3593" y="2153"/>
                  </a:cubicBezTo>
                  <a:cubicBezTo>
                    <a:pt x="3593" y="2029"/>
                    <a:pt x="3439" y="1929"/>
                    <a:pt x="3247" y="1929"/>
                  </a:cubicBezTo>
                  <a:close/>
                  <a:moveTo>
                    <a:pt x="4282" y="1929"/>
                  </a:moveTo>
                  <a:cubicBezTo>
                    <a:pt x="4090" y="1929"/>
                    <a:pt x="3933" y="2029"/>
                    <a:pt x="3933" y="2153"/>
                  </a:cubicBezTo>
                  <a:cubicBezTo>
                    <a:pt x="3933" y="2276"/>
                    <a:pt x="4090" y="2376"/>
                    <a:pt x="4282" y="2376"/>
                  </a:cubicBezTo>
                  <a:cubicBezTo>
                    <a:pt x="4474" y="2376"/>
                    <a:pt x="4628" y="2276"/>
                    <a:pt x="4628" y="2153"/>
                  </a:cubicBezTo>
                  <a:cubicBezTo>
                    <a:pt x="4628" y="2029"/>
                    <a:pt x="4474" y="1929"/>
                    <a:pt x="4282" y="1929"/>
                  </a:cubicBezTo>
                  <a:close/>
                  <a:moveTo>
                    <a:pt x="5317" y="1929"/>
                  </a:moveTo>
                  <a:cubicBezTo>
                    <a:pt x="5125" y="1929"/>
                    <a:pt x="4967" y="2029"/>
                    <a:pt x="4967" y="2153"/>
                  </a:cubicBezTo>
                  <a:cubicBezTo>
                    <a:pt x="4967" y="2276"/>
                    <a:pt x="5125" y="2376"/>
                    <a:pt x="5317" y="2376"/>
                  </a:cubicBezTo>
                  <a:cubicBezTo>
                    <a:pt x="5509" y="2376"/>
                    <a:pt x="5663" y="2276"/>
                    <a:pt x="5663" y="2153"/>
                  </a:cubicBezTo>
                  <a:cubicBezTo>
                    <a:pt x="5663" y="2029"/>
                    <a:pt x="5509" y="1929"/>
                    <a:pt x="5317" y="1929"/>
                  </a:cubicBezTo>
                  <a:close/>
                  <a:moveTo>
                    <a:pt x="6352" y="1929"/>
                  </a:moveTo>
                  <a:cubicBezTo>
                    <a:pt x="6160" y="1929"/>
                    <a:pt x="6002" y="2029"/>
                    <a:pt x="6002" y="2153"/>
                  </a:cubicBezTo>
                  <a:cubicBezTo>
                    <a:pt x="6002" y="2276"/>
                    <a:pt x="6160" y="2376"/>
                    <a:pt x="6352" y="2376"/>
                  </a:cubicBezTo>
                  <a:cubicBezTo>
                    <a:pt x="6544" y="2376"/>
                    <a:pt x="6698" y="2276"/>
                    <a:pt x="6698" y="2153"/>
                  </a:cubicBezTo>
                  <a:cubicBezTo>
                    <a:pt x="6698" y="2029"/>
                    <a:pt x="6544" y="1929"/>
                    <a:pt x="6352" y="1929"/>
                  </a:cubicBezTo>
                  <a:close/>
                  <a:moveTo>
                    <a:pt x="7283" y="1929"/>
                  </a:moveTo>
                  <a:cubicBezTo>
                    <a:pt x="7091" y="1929"/>
                    <a:pt x="6934" y="2029"/>
                    <a:pt x="6934" y="2153"/>
                  </a:cubicBezTo>
                  <a:cubicBezTo>
                    <a:pt x="6934" y="2276"/>
                    <a:pt x="7091" y="2376"/>
                    <a:pt x="7283" y="2376"/>
                  </a:cubicBezTo>
                  <a:cubicBezTo>
                    <a:pt x="7475" y="2376"/>
                    <a:pt x="7629" y="2276"/>
                    <a:pt x="7629" y="2153"/>
                  </a:cubicBezTo>
                  <a:cubicBezTo>
                    <a:pt x="7629" y="2029"/>
                    <a:pt x="7475" y="1929"/>
                    <a:pt x="7283" y="1929"/>
                  </a:cubicBezTo>
                  <a:close/>
                  <a:moveTo>
                    <a:pt x="8318" y="1929"/>
                  </a:moveTo>
                  <a:cubicBezTo>
                    <a:pt x="8126" y="1929"/>
                    <a:pt x="7969" y="2029"/>
                    <a:pt x="7969" y="2153"/>
                  </a:cubicBezTo>
                  <a:cubicBezTo>
                    <a:pt x="7969" y="2276"/>
                    <a:pt x="8126" y="2376"/>
                    <a:pt x="8318" y="2376"/>
                  </a:cubicBezTo>
                  <a:cubicBezTo>
                    <a:pt x="8510" y="2376"/>
                    <a:pt x="8664" y="2276"/>
                    <a:pt x="8664" y="2153"/>
                  </a:cubicBezTo>
                  <a:cubicBezTo>
                    <a:pt x="8664" y="2029"/>
                    <a:pt x="8510" y="1929"/>
                    <a:pt x="8318" y="1929"/>
                  </a:cubicBezTo>
                  <a:close/>
                  <a:moveTo>
                    <a:pt x="9249" y="1929"/>
                  </a:moveTo>
                  <a:cubicBezTo>
                    <a:pt x="9057" y="1929"/>
                    <a:pt x="8900" y="2029"/>
                    <a:pt x="8900" y="2153"/>
                  </a:cubicBezTo>
                  <a:cubicBezTo>
                    <a:pt x="8900" y="2276"/>
                    <a:pt x="9057" y="2376"/>
                    <a:pt x="9249" y="2376"/>
                  </a:cubicBezTo>
                  <a:cubicBezTo>
                    <a:pt x="9441" y="2376"/>
                    <a:pt x="9595" y="2276"/>
                    <a:pt x="9595" y="2153"/>
                  </a:cubicBezTo>
                  <a:cubicBezTo>
                    <a:pt x="9595" y="2029"/>
                    <a:pt x="9441" y="1929"/>
                    <a:pt x="9249" y="1929"/>
                  </a:cubicBezTo>
                  <a:close/>
                  <a:moveTo>
                    <a:pt x="10284" y="1929"/>
                  </a:moveTo>
                  <a:cubicBezTo>
                    <a:pt x="10092" y="1929"/>
                    <a:pt x="9935" y="2029"/>
                    <a:pt x="9935" y="2153"/>
                  </a:cubicBezTo>
                  <a:cubicBezTo>
                    <a:pt x="9935" y="2276"/>
                    <a:pt x="10092" y="2376"/>
                    <a:pt x="10284" y="2376"/>
                  </a:cubicBezTo>
                  <a:cubicBezTo>
                    <a:pt x="10477" y="2376"/>
                    <a:pt x="10630" y="2276"/>
                    <a:pt x="10630" y="2153"/>
                  </a:cubicBezTo>
                  <a:cubicBezTo>
                    <a:pt x="10630" y="2029"/>
                    <a:pt x="10477" y="1929"/>
                    <a:pt x="10284" y="1929"/>
                  </a:cubicBezTo>
                  <a:close/>
                  <a:moveTo>
                    <a:pt x="11319" y="1929"/>
                  </a:moveTo>
                  <a:cubicBezTo>
                    <a:pt x="11127" y="1929"/>
                    <a:pt x="10970" y="2030"/>
                    <a:pt x="10970" y="2153"/>
                  </a:cubicBezTo>
                  <a:cubicBezTo>
                    <a:pt x="10970" y="2277"/>
                    <a:pt x="11127" y="2378"/>
                    <a:pt x="11319" y="2378"/>
                  </a:cubicBezTo>
                  <a:cubicBezTo>
                    <a:pt x="11511" y="2378"/>
                    <a:pt x="11665" y="2277"/>
                    <a:pt x="11665" y="2153"/>
                  </a:cubicBezTo>
                  <a:cubicBezTo>
                    <a:pt x="11665" y="2030"/>
                    <a:pt x="11511" y="1929"/>
                    <a:pt x="11319" y="1929"/>
                  </a:cubicBezTo>
                  <a:close/>
                  <a:moveTo>
                    <a:pt x="12250" y="1929"/>
                  </a:moveTo>
                  <a:cubicBezTo>
                    <a:pt x="12058" y="1929"/>
                    <a:pt x="11901" y="2030"/>
                    <a:pt x="11901" y="2153"/>
                  </a:cubicBezTo>
                  <a:cubicBezTo>
                    <a:pt x="11901" y="2277"/>
                    <a:pt x="12058" y="2378"/>
                    <a:pt x="12250" y="2378"/>
                  </a:cubicBezTo>
                  <a:cubicBezTo>
                    <a:pt x="12443" y="2378"/>
                    <a:pt x="12597" y="2277"/>
                    <a:pt x="12596" y="2153"/>
                  </a:cubicBezTo>
                  <a:cubicBezTo>
                    <a:pt x="12596" y="2030"/>
                    <a:pt x="12443" y="1929"/>
                    <a:pt x="12250" y="1929"/>
                  </a:cubicBezTo>
                  <a:close/>
                  <a:moveTo>
                    <a:pt x="13285" y="1929"/>
                  </a:moveTo>
                  <a:cubicBezTo>
                    <a:pt x="13093" y="1929"/>
                    <a:pt x="12936" y="2030"/>
                    <a:pt x="12936" y="2153"/>
                  </a:cubicBezTo>
                  <a:cubicBezTo>
                    <a:pt x="12936" y="2277"/>
                    <a:pt x="13093" y="2378"/>
                    <a:pt x="13285" y="2378"/>
                  </a:cubicBezTo>
                  <a:cubicBezTo>
                    <a:pt x="13477" y="2378"/>
                    <a:pt x="13631" y="2277"/>
                    <a:pt x="13631" y="2153"/>
                  </a:cubicBezTo>
                  <a:cubicBezTo>
                    <a:pt x="13631" y="2030"/>
                    <a:pt x="13477" y="1929"/>
                    <a:pt x="13285" y="1929"/>
                  </a:cubicBezTo>
                  <a:close/>
                  <a:moveTo>
                    <a:pt x="2316" y="2594"/>
                  </a:moveTo>
                  <a:cubicBezTo>
                    <a:pt x="2123" y="2594"/>
                    <a:pt x="1966" y="2695"/>
                    <a:pt x="1966" y="2818"/>
                  </a:cubicBezTo>
                  <a:cubicBezTo>
                    <a:pt x="1966" y="2942"/>
                    <a:pt x="2123" y="3041"/>
                    <a:pt x="2316" y="3041"/>
                  </a:cubicBezTo>
                  <a:cubicBezTo>
                    <a:pt x="2508" y="3041"/>
                    <a:pt x="2662" y="2942"/>
                    <a:pt x="2662" y="2818"/>
                  </a:cubicBezTo>
                  <a:cubicBezTo>
                    <a:pt x="2662" y="2695"/>
                    <a:pt x="2508" y="2594"/>
                    <a:pt x="2316" y="2594"/>
                  </a:cubicBezTo>
                  <a:close/>
                  <a:moveTo>
                    <a:pt x="3247" y="2594"/>
                  </a:moveTo>
                  <a:cubicBezTo>
                    <a:pt x="3055" y="2594"/>
                    <a:pt x="2898" y="2695"/>
                    <a:pt x="2898" y="2818"/>
                  </a:cubicBezTo>
                  <a:cubicBezTo>
                    <a:pt x="2898" y="2942"/>
                    <a:pt x="3055" y="3041"/>
                    <a:pt x="3247" y="3041"/>
                  </a:cubicBezTo>
                  <a:cubicBezTo>
                    <a:pt x="3439" y="3041"/>
                    <a:pt x="3593" y="2942"/>
                    <a:pt x="3593" y="2818"/>
                  </a:cubicBezTo>
                  <a:cubicBezTo>
                    <a:pt x="3593" y="2695"/>
                    <a:pt x="3439" y="2594"/>
                    <a:pt x="3247" y="2594"/>
                  </a:cubicBezTo>
                  <a:close/>
                  <a:moveTo>
                    <a:pt x="4282" y="2594"/>
                  </a:moveTo>
                  <a:cubicBezTo>
                    <a:pt x="4090" y="2594"/>
                    <a:pt x="3933" y="2695"/>
                    <a:pt x="3933" y="2818"/>
                  </a:cubicBezTo>
                  <a:cubicBezTo>
                    <a:pt x="3933" y="2942"/>
                    <a:pt x="4090" y="3041"/>
                    <a:pt x="4282" y="3041"/>
                  </a:cubicBezTo>
                  <a:cubicBezTo>
                    <a:pt x="4474" y="3041"/>
                    <a:pt x="4628" y="2942"/>
                    <a:pt x="4628" y="2818"/>
                  </a:cubicBezTo>
                  <a:cubicBezTo>
                    <a:pt x="4628" y="2695"/>
                    <a:pt x="4474" y="2594"/>
                    <a:pt x="4282" y="2594"/>
                  </a:cubicBezTo>
                  <a:close/>
                  <a:moveTo>
                    <a:pt x="5317" y="2594"/>
                  </a:moveTo>
                  <a:cubicBezTo>
                    <a:pt x="5125" y="2594"/>
                    <a:pt x="4967" y="2695"/>
                    <a:pt x="4967" y="2818"/>
                  </a:cubicBezTo>
                  <a:cubicBezTo>
                    <a:pt x="4967" y="2942"/>
                    <a:pt x="5125" y="3041"/>
                    <a:pt x="5317" y="3041"/>
                  </a:cubicBezTo>
                  <a:cubicBezTo>
                    <a:pt x="5509" y="3041"/>
                    <a:pt x="5663" y="2942"/>
                    <a:pt x="5663" y="2818"/>
                  </a:cubicBezTo>
                  <a:cubicBezTo>
                    <a:pt x="5663" y="2695"/>
                    <a:pt x="5509" y="2594"/>
                    <a:pt x="5317" y="2594"/>
                  </a:cubicBezTo>
                  <a:close/>
                  <a:moveTo>
                    <a:pt x="6352" y="2594"/>
                  </a:moveTo>
                  <a:cubicBezTo>
                    <a:pt x="6160" y="2594"/>
                    <a:pt x="6002" y="2695"/>
                    <a:pt x="6002" y="2818"/>
                  </a:cubicBezTo>
                  <a:cubicBezTo>
                    <a:pt x="6002" y="2942"/>
                    <a:pt x="6160" y="3041"/>
                    <a:pt x="6352" y="3041"/>
                  </a:cubicBezTo>
                  <a:cubicBezTo>
                    <a:pt x="6544" y="3041"/>
                    <a:pt x="6698" y="2942"/>
                    <a:pt x="6698" y="2818"/>
                  </a:cubicBezTo>
                  <a:cubicBezTo>
                    <a:pt x="6698" y="2695"/>
                    <a:pt x="6544" y="2594"/>
                    <a:pt x="6352" y="2594"/>
                  </a:cubicBezTo>
                  <a:close/>
                  <a:moveTo>
                    <a:pt x="7283" y="2594"/>
                  </a:moveTo>
                  <a:cubicBezTo>
                    <a:pt x="7091" y="2594"/>
                    <a:pt x="6934" y="2695"/>
                    <a:pt x="6934" y="2818"/>
                  </a:cubicBezTo>
                  <a:cubicBezTo>
                    <a:pt x="6934" y="2942"/>
                    <a:pt x="7091" y="3041"/>
                    <a:pt x="7283" y="3041"/>
                  </a:cubicBezTo>
                  <a:cubicBezTo>
                    <a:pt x="7475" y="3041"/>
                    <a:pt x="7629" y="2942"/>
                    <a:pt x="7629" y="2818"/>
                  </a:cubicBezTo>
                  <a:cubicBezTo>
                    <a:pt x="7629" y="2695"/>
                    <a:pt x="7475" y="2594"/>
                    <a:pt x="7283" y="2594"/>
                  </a:cubicBezTo>
                  <a:close/>
                  <a:moveTo>
                    <a:pt x="8318" y="2594"/>
                  </a:moveTo>
                  <a:cubicBezTo>
                    <a:pt x="8126" y="2594"/>
                    <a:pt x="7969" y="2695"/>
                    <a:pt x="7969" y="2818"/>
                  </a:cubicBezTo>
                  <a:cubicBezTo>
                    <a:pt x="7969" y="2942"/>
                    <a:pt x="8126" y="3041"/>
                    <a:pt x="8318" y="3041"/>
                  </a:cubicBezTo>
                  <a:cubicBezTo>
                    <a:pt x="8510" y="3041"/>
                    <a:pt x="8664" y="2942"/>
                    <a:pt x="8664" y="2818"/>
                  </a:cubicBezTo>
                  <a:cubicBezTo>
                    <a:pt x="8664" y="2695"/>
                    <a:pt x="8510" y="2594"/>
                    <a:pt x="8318" y="2594"/>
                  </a:cubicBezTo>
                  <a:close/>
                  <a:moveTo>
                    <a:pt x="9249" y="2594"/>
                  </a:moveTo>
                  <a:cubicBezTo>
                    <a:pt x="9057" y="2594"/>
                    <a:pt x="8900" y="2695"/>
                    <a:pt x="8900" y="2818"/>
                  </a:cubicBezTo>
                  <a:cubicBezTo>
                    <a:pt x="8900" y="2942"/>
                    <a:pt x="9057" y="3041"/>
                    <a:pt x="9249" y="3041"/>
                  </a:cubicBezTo>
                  <a:cubicBezTo>
                    <a:pt x="9441" y="3041"/>
                    <a:pt x="9595" y="2942"/>
                    <a:pt x="9595" y="2818"/>
                  </a:cubicBezTo>
                  <a:cubicBezTo>
                    <a:pt x="9595" y="2695"/>
                    <a:pt x="9441" y="2594"/>
                    <a:pt x="9249" y="2594"/>
                  </a:cubicBezTo>
                  <a:close/>
                  <a:moveTo>
                    <a:pt x="10284" y="2594"/>
                  </a:moveTo>
                  <a:cubicBezTo>
                    <a:pt x="10092" y="2594"/>
                    <a:pt x="9935" y="2695"/>
                    <a:pt x="9935" y="2818"/>
                  </a:cubicBezTo>
                  <a:cubicBezTo>
                    <a:pt x="9935" y="2942"/>
                    <a:pt x="10092" y="3041"/>
                    <a:pt x="10284" y="3041"/>
                  </a:cubicBezTo>
                  <a:cubicBezTo>
                    <a:pt x="10477" y="3041"/>
                    <a:pt x="10630" y="2942"/>
                    <a:pt x="10630" y="2818"/>
                  </a:cubicBezTo>
                  <a:cubicBezTo>
                    <a:pt x="10630" y="2695"/>
                    <a:pt x="10477" y="2594"/>
                    <a:pt x="10284" y="2594"/>
                  </a:cubicBezTo>
                  <a:close/>
                  <a:moveTo>
                    <a:pt x="11319" y="2594"/>
                  </a:moveTo>
                  <a:cubicBezTo>
                    <a:pt x="11127" y="2594"/>
                    <a:pt x="10970" y="2695"/>
                    <a:pt x="10970" y="2818"/>
                  </a:cubicBezTo>
                  <a:cubicBezTo>
                    <a:pt x="10970" y="2942"/>
                    <a:pt x="11127" y="3041"/>
                    <a:pt x="11319" y="3041"/>
                  </a:cubicBezTo>
                  <a:cubicBezTo>
                    <a:pt x="11511" y="3041"/>
                    <a:pt x="11665" y="2942"/>
                    <a:pt x="11665" y="2818"/>
                  </a:cubicBezTo>
                  <a:cubicBezTo>
                    <a:pt x="11665" y="2695"/>
                    <a:pt x="11511" y="2594"/>
                    <a:pt x="11319" y="2594"/>
                  </a:cubicBezTo>
                  <a:close/>
                  <a:moveTo>
                    <a:pt x="12250" y="2594"/>
                  </a:moveTo>
                  <a:cubicBezTo>
                    <a:pt x="12058" y="2594"/>
                    <a:pt x="11901" y="2695"/>
                    <a:pt x="11901" y="2818"/>
                  </a:cubicBezTo>
                  <a:cubicBezTo>
                    <a:pt x="11901" y="2942"/>
                    <a:pt x="12058" y="3041"/>
                    <a:pt x="12250" y="3041"/>
                  </a:cubicBezTo>
                  <a:cubicBezTo>
                    <a:pt x="12443" y="3041"/>
                    <a:pt x="12597" y="2942"/>
                    <a:pt x="12596" y="2818"/>
                  </a:cubicBezTo>
                  <a:cubicBezTo>
                    <a:pt x="12596" y="2695"/>
                    <a:pt x="12443" y="2594"/>
                    <a:pt x="12250" y="2594"/>
                  </a:cubicBezTo>
                  <a:close/>
                  <a:moveTo>
                    <a:pt x="13285" y="2594"/>
                  </a:moveTo>
                  <a:cubicBezTo>
                    <a:pt x="13093" y="2594"/>
                    <a:pt x="12936" y="2695"/>
                    <a:pt x="12936" y="2818"/>
                  </a:cubicBezTo>
                  <a:cubicBezTo>
                    <a:pt x="12936" y="2942"/>
                    <a:pt x="13093" y="3041"/>
                    <a:pt x="13285" y="3041"/>
                  </a:cubicBezTo>
                  <a:cubicBezTo>
                    <a:pt x="13477" y="3041"/>
                    <a:pt x="13631" y="2942"/>
                    <a:pt x="13631" y="2818"/>
                  </a:cubicBezTo>
                  <a:cubicBezTo>
                    <a:pt x="13631" y="2695"/>
                    <a:pt x="13477" y="2594"/>
                    <a:pt x="13285" y="2594"/>
                  </a:cubicBezTo>
                  <a:close/>
                  <a:moveTo>
                    <a:pt x="14320" y="2594"/>
                  </a:moveTo>
                  <a:cubicBezTo>
                    <a:pt x="14128" y="2594"/>
                    <a:pt x="13971" y="2695"/>
                    <a:pt x="13971" y="2818"/>
                  </a:cubicBezTo>
                  <a:cubicBezTo>
                    <a:pt x="13971" y="2942"/>
                    <a:pt x="14128" y="3041"/>
                    <a:pt x="14320" y="3041"/>
                  </a:cubicBezTo>
                  <a:cubicBezTo>
                    <a:pt x="14512" y="3041"/>
                    <a:pt x="14666" y="2942"/>
                    <a:pt x="14666" y="2818"/>
                  </a:cubicBezTo>
                  <a:cubicBezTo>
                    <a:pt x="14666" y="2695"/>
                    <a:pt x="14512" y="2594"/>
                    <a:pt x="14320" y="2594"/>
                  </a:cubicBezTo>
                  <a:close/>
                  <a:moveTo>
                    <a:pt x="1281" y="3193"/>
                  </a:moveTo>
                  <a:cubicBezTo>
                    <a:pt x="1088" y="3193"/>
                    <a:pt x="931" y="3294"/>
                    <a:pt x="931" y="3417"/>
                  </a:cubicBezTo>
                  <a:cubicBezTo>
                    <a:pt x="931" y="3541"/>
                    <a:pt x="1088" y="3639"/>
                    <a:pt x="1281" y="3639"/>
                  </a:cubicBezTo>
                  <a:cubicBezTo>
                    <a:pt x="1473" y="3639"/>
                    <a:pt x="1627" y="3541"/>
                    <a:pt x="1627" y="3417"/>
                  </a:cubicBezTo>
                  <a:cubicBezTo>
                    <a:pt x="1627" y="3294"/>
                    <a:pt x="1473" y="3193"/>
                    <a:pt x="1281" y="3193"/>
                  </a:cubicBezTo>
                  <a:close/>
                  <a:moveTo>
                    <a:pt x="2316" y="3193"/>
                  </a:moveTo>
                  <a:cubicBezTo>
                    <a:pt x="2123" y="3193"/>
                    <a:pt x="1966" y="3294"/>
                    <a:pt x="1966" y="3417"/>
                  </a:cubicBezTo>
                  <a:cubicBezTo>
                    <a:pt x="1966" y="3541"/>
                    <a:pt x="2123" y="3639"/>
                    <a:pt x="2316" y="3639"/>
                  </a:cubicBezTo>
                  <a:cubicBezTo>
                    <a:pt x="2508" y="3639"/>
                    <a:pt x="2662" y="3541"/>
                    <a:pt x="2662" y="3417"/>
                  </a:cubicBezTo>
                  <a:cubicBezTo>
                    <a:pt x="2662" y="3294"/>
                    <a:pt x="2508" y="3193"/>
                    <a:pt x="2316" y="3193"/>
                  </a:cubicBezTo>
                  <a:close/>
                  <a:moveTo>
                    <a:pt x="3247" y="3193"/>
                  </a:moveTo>
                  <a:cubicBezTo>
                    <a:pt x="3055" y="3193"/>
                    <a:pt x="2898" y="3294"/>
                    <a:pt x="2898" y="3417"/>
                  </a:cubicBezTo>
                  <a:cubicBezTo>
                    <a:pt x="2898" y="3541"/>
                    <a:pt x="3055" y="3639"/>
                    <a:pt x="3247" y="3639"/>
                  </a:cubicBezTo>
                  <a:cubicBezTo>
                    <a:pt x="3439" y="3639"/>
                    <a:pt x="3593" y="3541"/>
                    <a:pt x="3593" y="3417"/>
                  </a:cubicBezTo>
                  <a:cubicBezTo>
                    <a:pt x="3593" y="3294"/>
                    <a:pt x="3439" y="3193"/>
                    <a:pt x="3247" y="3193"/>
                  </a:cubicBezTo>
                  <a:close/>
                  <a:moveTo>
                    <a:pt x="4282" y="3193"/>
                  </a:moveTo>
                  <a:cubicBezTo>
                    <a:pt x="4090" y="3193"/>
                    <a:pt x="3933" y="3294"/>
                    <a:pt x="3933" y="3417"/>
                  </a:cubicBezTo>
                  <a:cubicBezTo>
                    <a:pt x="3933" y="3541"/>
                    <a:pt x="4090" y="3639"/>
                    <a:pt x="4282" y="3639"/>
                  </a:cubicBezTo>
                  <a:cubicBezTo>
                    <a:pt x="4474" y="3639"/>
                    <a:pt x="4628" y="3541"/>
                    <a:pt x="4628" y="3417"/>
                  </a:cubicBezTo>
                  <a:cubicBezTo>
                    <a:pt x="4628" y="3294"/>
                    <a:pt x="4474" y="3193"/>
                    <a:pt x="4282" y="3193"/>
                  </a:cubicBezTo>
                  <a:close/>
                  <a:moveTo>
                    <a:pt x="5317" y="3193"/>
                  </a:moveTo>
                  <a:cubicBezTo>
                    <a:pt x="5125" y="3193"/>
                    <a:pt x="4967" y="3294"/>
                    <a:pt x="4967" y="3417"/>
                  </a:cubicBezTo>
                  <a:cubicBezTo>
                    <a:pt x="4967" y="3541"/>
                    <a:pt x="5125" y="3639"/>
                    <a:pt x="5317" y="3639"/>
                  </a:cubicBezTo>
                  <a:cubicBezTo>
                    <a:pt x="5509" y="3639"/>
                    <a:pt x="5663" y="3541"/>
                    <a:pt x="5663" y="3417"/>
                  </a:cubicBezTo>
                  <a:cubicBezTo>
                    <a:pt x="5663" y="3294"/>
                    <a:pt x="5509" y="3193"/>
                    <a:pt x="5317" y="3193"/>
                  </a:cubicBezTo>
                  <a:close/>
                  <a:moveTo>
                    <a:pt x="6352" y="3193"/>
                  </a:moveTo>
                  <a:cubicBezTo>
                    <a:pt x="6160" y="3193"/>
                    <a:pt x="6002" y="3294"/>
                    <a:pt x="6002" y="3417"/>
                  </a:cubicBezTo>
                  <a:cubicBezTo>
                    <a:pt x="6002" y="3541"/>
                    <a:pt x="6160" y="3639"/>
                    <a:pt x="6352" y="3639"/>
                  </a:cubicBezTo>
                  <a:cubicBezTo>
                    <a:pt x="6544" y="3639"/>
                    <a:pt x="6698" y="3541"/>
                    <a:pt x="6698" y="3417"/>
                  </a:cubicBezTo>
                  <a:cubicBezTo>
                    <a:pt x="6698" y="3294"/>
                    <a:pt x="6544" y="3193"/>
                    <a:pt x="6352" y="3193"/>
                  </a:cubicBezTo>
                  <a:close/>
                  <a:moveTo>
                    <a:pt x="7283" y="3193"/>
                  </a:moveTo>
                  <a:cubicBezTo>
                    <a:pt x="7091" y="3193"/>
                    <a:pt x="6934" y="3294"/>
                    <a:pt x="6934" y="3417"/>
                  </a:cubicBezTo>
                  <a:cubicBezTo>
                    <a:pt x="6934" y="3541"/>
                    <a:pt x="7091" y="3639"/>
                    <a:pt x="7283" y="3639"/>
                  </a:cubicBezTo>
                  <a:cubicBezTo>
                    <a:pt x="7475" y="3639"/>
                    <a:pt x="7629" y="3541"/>
                    <a:pt x="7629" y="3417"/>
                  </a:cubicBezTo>
                  <a:cubicBezTo>
                    <a:pt x="7629" y="3294"/>
                    <a:pt x="7475" y="3193"/>
                    <a:pt x="7283" y="3193"/>
                  </a:cubicBezTo>
                  <a:close/>
                  <a:moveTo>
                    <a:pt x="8318" y="3193"/>
                  </a:moveTo>
                  <a:cubicBezTo>
                    <a:pt x="8126" y="3193"/>
                    <a:pt x="7969" y="3294"/>
                    <a:pt x="7969" y="3417"/>
                  </a:cubicBezTo>
                  <a:cubicBezTo>
                    <a:pt x="7969" y="3541"/>
                    <a:pt x="8126" y="3639"/>
                    <a:pt x="8318" y="3639"/>
                  </a:cubicBezTo>
                  <a:cubicBezTo>
                    <a:pt x="8510" y="3639"/>
                    <a:pt x="8664" y="3541"/>
                    <a:pt x="8664" y="3417"/>
                  </a:cubicBezTo>
                  <a:cubicBezTo>
                    <a:pt x="8664" y="3294"/>
                    <a:pt x="8510" y="3193"/>
                    <a:pt x="8318" y="3193"/>
                  </a:cubicBezTo>
                  <a:close/>
                  <a:moveTo>
                    <a:pt x="9249" y="3193"/>
                  </a:moveTo>
                  <a:cubicBezTo>
                    <a:pt x="9057" y="3193"/>
                    <a:pt x="8900" y="3294"/>
                    <a:pt x="8900" y="3417"/>
                  </a:cubicBezTo>
                  <a:cubicBezTo>
                    <a:pt x="8900" y="3541"/>
                    <a:pt x="9057" y="3639"/>
                    <a:pt x="9249" y="3639"/>
                  </a:cubicBezTo>
                  <a:cubicBezTo>
                    <a:pt x="9441" y="3639"/>
                    <a:pt x="9595" y="3541"/>
                    <a:pt x="9595" y="3417"/>
                  </a:cubicBezTo>
                  <a:cubicBezTo>
                    <a:pt x="9595" y="3294"/>
                    <a:pt x="9441" y="3193"/>
                    <a:pt x="9249" y="3193"/>
                  </a:cubicBezTo>
                  <a:close/>
                  <a:moveTo>
                    <a:pt x="10284" y="3193"/>
                  </a:moveTo>
                  <a:cubicBezTo>
                    <a:pt x="10092" y="3193"/>
                    <a:pt x="9935" y="3294"/>
                    <a:pt x="9935" y="3417"/>
                  </a:cubicBezTo>
                  <a:cubicBezTo>
                    <a:pt x="9935" y="3541"/>
                    <a:pt x="10092" y="3639"/>
                    <a:pt x="10284" y="3639"/>
                  </a:cubicBezTo>
                  <a:cubicBezTo>
                    <a:pt x="10477" y="3639"/>
                    <a:pt x="10630" y="3541"/>
                    <a:pt x="10630" y="3417"/>
                  </a:cubicBezTo>
                  <a:cubicBezTo>
                    <a:pt x="10630" y="3294"/>
                    <a:pt x="10477" y="3193"/>
                    <a:pt x="10284" y="3193"/>
                  </a:cubicBezTo>
                  <a:close/>
                  <a:moveTo>
                    <a:pt x="11319" y="3193"/>
                  </a:moveTo>
                  <a:cubicBezTo>
                    <a:pt x="11127" y="3193"/>
                    <a:pt x="10970" y="3294"/>
                    <a:pt x="10970" y="3417"/>
                  </a:cubicBezTo>
                  <a:cubicBezTo>
                    <a:pt x="10970" y="3541"/>
                    <a:pt x="11127" y="3639"/>
                    <a:pt x="11319" y="3639"/>
                  </a:cubicBezTo>
                  <a:cubicBezTo>
                    <a:pt x="11511" y="3639"/>
                    <a:pt x="11665" y="3541"/>
                    <a:pt x="11665" y="3417"/>
                  </a:cubicBezTo>
                  <a:cubicBezTo>
                    <a:pt x="11665" y="3294"/>
                    <a:pt x="11511" y="3193"/>
                    <a:pt x="11319" y="3193"/>
                  </a:cubicBezTo>
                  <a:close/>
                  <a:moveTo>
                    <a:pt x="12250" y="3193"/>
                  </a:moveTo>
                  <a:cubicBezTo>
                    <a:pt x="12058" y="3193"/>
                    <a:pt x="11901" y="3294"/>
                    <a:pt x="11901" y="3417"/>
                  </a:cubicBezTo>
                  <a:cubicBezTo>
                    <a:pt x="11901" y="3541"/>
                    <a:pt x="12058" y="3639"/>
                    <a:pt x="12250" y="3639"/>
                  </a:cubicBezTo>
                  <a:cubicBezTo>
                    <a:pt x="12443" y="3639"/>
                    <a:pt x="12597" y="3541"/>
                    <a:pt x="12596" y="3417"/>
                  </a:cubicBezTo>
                  <a:cubicBezTo>
                    <a:pt x="12596" y="3294"/>
                    <a:pt x="12443" y="3193"/>
                    <a:pt x="12250" y="3193"/>
                  </a:cubicBezTo>
                  <a:close/>
                  <a:moveTo>
                    <a:pt x="13285" y="3193"/>
                  </a:moveTo>
                  <a:cubicBezTo>
                    <a:pt x="13093" y="3193"/>
                    <a:pt x="12936" y="3294"/>
                    <a:pt x="12936" y="3417"/>
                  </a:cubicBezTo>
                  <a:cubicBezTo>
                    <a:pt x="12936" y="3541"/>
                    <a:pt x="13093" y="3639"/>
                    <a:pt x="13285" y="3639"/>
                  </a:cubicBezTo>
                  <a:cubicBezTo>
                    <a:pt x="13477" y="3639"/>
                    <a:pt x="13631" y="3541"/>
                    <a:pt x="13631" y="3417"/>
                  </a:cubicBezTo>
                  <a:cubicBezTo>
                    <a:pt x="13631" y="3294"/>
                    <a:pt x="13477" y="3193"/>
                    <a:pt x="13285" y="3193"/>
                  </a:cubicBezTo>
                  <a:close/>
                  <a:moveTo>
                    <a:pt x="14320" y="3193"/>
                  </a:moveTo>
                  <a:cubicBezTo>
                    <a:pt x="14128" y="3193"/>
                    <a:pt x="13971" y="3294"/>
                    <a:pt x="13971" y="3417"/>
                  </a:cubicBezTo>
                  <a:cubicBezTo>
                    <a:pt x="13971" y="3541"/>
                    <a:pt x="14128" y="3639"/>
                    <a:pt x="14320" y="3639"/>
                  </a:cubicBezTo>
                  <a:cubicBezTo>
                    <a:pt x="14512" y="3639"/>
                    <a:pt x="14666" y="3541"/>
                    <a:pt x="14666" y="3417"/>
                  </a:cubicBezTo>
                  <a:cubicBezTo>
                    <a:pt x="14666" y="3294"/>
                    <a:pt x="14512" y="3193"/>
                    <a:pt x="14320" y="3193"/>
                  </a:cubicBezTo>
                  <a:close/>
                  <a:moveTo>
                    <a:pt x="1281" y="3791"/>
                  </a:moveTo>
                  <a:cubicBezTo>
                    <a:pt x="1088" y="3791"/>
                    <a:pt x="931" y="3892"/>
                    <a:pt x="931" y="4016"/>
                  </a:cubicBezTo>
                  <a:cubicBezTo>
                    <a:pt x="931" y="4139"/>
                    <a:pt x="1088" y="4238"/>
                    <a:pt x="1281" y="4238"/>
                  </a:cubicBezTo>
                  <a:cubicBezTo>
                    <a:pt x="1473" y="4238"/>
                    <a:pt x="1627" y="4139"/>
                    <a:pt x="1627" y="4016"/>
                  </a:cubicBezTo>
                  <a:cubicBezTo>
                    <a:pt x="1627" y="3892"/>
                    <a:pt x="1473" y="3791"/>
                    <a:pt x="1281" y="3791"/>
                  </a:cubicBezTo>
                  <a:close/>
                  <a:moveTo>
                    <a:pt x="2316" y="3791"/>
                  </a:moveTo>
                  <a:cubicBezTo>
                    <a:pt x="2123" y="3791"/>
                    <a:pt x="1966" y="3892"/>
                    <a:pt x="1966" y="4016"/>
                  </a:cubicBezTo>
                  <a:cubicBezTo>
                    <a:pt x="1966" y="4139"/>
                    <a:pt x="2123" y="4238"/>
                    <a:pt x="2316" y="4238"/>
                  </a:cubicBezTo>
                  <a:cubicBezTo>
                    <a:pt x="2508" y="4238"/>
                    <a:pt x="2662" y="4139"/>
                    <a:pt x="2662" y="4016"/>
                  </a:cubicBezTo>
                  <a:cubicBezTo>
                    <a:pt x="2662" y="3892"/>
                    <a:pt x="2508" y="3791"/>
                    <a:pt x="2316" y="3791"/>
                  </a:cubicBezTo>
                  <a:close/>
                  <a:moveTo>
                    <a:pt x="3247" y="3791"/>
                  </a:moveTo>
                  <a:cubicBezTo>
                    <a:pt x="3055" y="3791"/>
                    <a:pt x="2898" y="3892"/>
                    <a:pt x="2898" y="4016"/>
                  </a:cubicBezTo>
                  <a:cubicBezTo>
                    <a:pt x="2898" y="4139"/>
                    <a:pt x="3055" y="4238"/>
                    <a:pt x="3247" y="4238"/>
                  </a:cubicBezTo>
                  <a:cubicBezTo>
                    <a:pt x="3439" y="4238"/>
                    <a:pt x="3593" y="4139"/>
                    <a:pt x="3593" y="4016"/>
                  </a:cubicBezTo>
                  <a:cubicBezTo>
                    <a:pt x="3593" y="3892"/>
                    <a:pt x="3439" y="3791"/>
                    <a:pt x="3247" y="3791"/>
                  </a:cubicBezTo>
                  <a:close/>
                  <a:moveTo>
                    <a:pt x="4282" y="3791"/>
                  </a:moveTo>
                  <a:cubicBezTo>
                    <a:pt x="4090" y="3791"/>
                    <a:pt x="3933" y="3892"/>
                    <a:pt x="3933" y="4016"/>
                  </a:cubicBezTo>
                  <a:cubicBezTo>
                    <a:pt x="3933" y="4139"/>
                    <a:pt x="4090" y="4238"/>
                    <a:pt x="4282" y="4238"/>
                  </a:cubicBezTo>
                  <a:cubicBezTo>
                    <a:pt x="4474" y="4238"/>
                    <a:pt x="4628" y="4139"/>
                    <a:pt x="4628" y="4016"/>
                  </a:cubicBezTo>
                  <a:cubicBezTo>
                    <a:pt x="4628" y="3892"/>
                    <a:pt x="4474" y="3791"/>
                    <a:pt x="4282" y="3791"/>
                  </a:cubicBezTo>
                  <a:close/>
                  <a:moveTo>
                    <a:pt x="5317" y="3791"/>
                  </a:moveTo>
                  <a:cubicBezTo>
                    <a:pt x="5125" y="3791"/>
                    <a:pt x="4967" y="3892"/>
                    <a:pt x="4967" y="4016"/>
                  </a:cubicBezTo>
                  <a:cubicBezTo>
                    <a:pt x="4967" y="4139"/>
                    <a:pt x="5125" y="4238"/>
                    <a:pt x="5317" y="4238"/>
                  </a:cubicBezTo>
                  <a:cubicBezTo>
                    <a:pt x="5509" y="4238"/>
                    <a:pt x="5663" y="4139"/>
                    <a:pt x="5663" y="4016"/>
                  </a:cubicBezTo>
                  <a:cubicBezTo>
                    <a:pt x="5663" y="3892"/>
                    <a:pt x="5509" y="3791"/>
                    <a:pt x="5317" y="3791"/>
                  </a:cubicBezTo>
                  <a:close/>
                  <a:moveTo>
                    <a:pt x="6352" y="3791"/>
                  </a:moveTo>
                  <a:cubicBezTo>
                    <a:pt x="6160" y="3791"/>
                    <a:pt x="6002" y="3892"/>
                    <a:pt x="6002" y="4016"/>
                  </a:cubicBezTo>
                  <a:cubicBezTo>
                    <a:pt x="6002" y="4139"/>
                    <a:pt x="6160" y="4238"/>
                    <a:pt x="6352" y="4238"/>
                  </a:cubicBezTo>
                  <a:cubicBezTo>
                    <a:pt x="6544" y="4238"/>
                    <a:pt x="6698" y="4139"/>
                    <a:pt x="6698" y="4016"/>
                  </a:cubicBezTo>
                  <a:cubicBezTo>
                    <a:pt x="6698" y="3892"/>
                    <a:pt x="6544" y="3791"/>
                    <a:pt x="6352" y="3791"/>
                  </a:cubicBezTo>
                  <a:close/>
                  <a:moveTo>
                    <a:pt x="7283" y="3791"/>
                  </a:moveTo>
                  <a:cubicBezTo>
                    <a:pt x="7091" y="3791"/>
                    <a:pt x="6934" y="3892"/>
                    <a:pt x="6934" y="4016"/>
                  </a:cubicBezTo>
                  <a:cubicBezTo>
                    <a:pt x="6934" y="4139"/>
                    <a:pt x="7091" y="4238"/>
                    <a:pt x="7283" y="4238"/>
                  </a:cubicBezTo>
                  <a:cubicBezTo>
                    <a:pt x="7475" y="4238"/>
                    <a:pt x="7629" y="4139"/>
                    <a:pt x="7629" y="4016"/>
                  </a:cubicBezTo>
                  <a:cubicBezTo>
                    <a:pt x="7629" y="3892"/>
                    <a:pt x="7475" y="3791"/>
                    <a:pt x="7283" y="3791"/>
                  </a:cubicBezTo>
                  <a:close/>
                  <a:moveTo>
                    <a:pt x="8318" y="3791"/>
                  </a:moveTo>
                  <a:cubicBezTo>
                    <a:pt x="8126" y="3791"/>
                    <a:pt x="7969" y="3892"/>
                    <a:pt x="7969" y="4016"/>
                  </a:cubicBezTo>
                  <a:cubicBezTo>
                    <a:pt x="7969" y="4139"/>
                    <a:pt x="8126" y="4238"/>
                    <a:pt x="8318" y="4238"/>
                  </a:cubicBezTo>
                  <a:cubicBezTo>
                    <a:pt x="8510" y="4238"/>
                    <a:pt x="8664" y="4139"/>
                    <a:pt x="8664" y="4016"/>
                  </a:cubicBezTo>
                  <a:cubicBezTo>
                    <a:pt x="8664" y="3892"/>
                    <a:pt x="8510" y="3791"/>
                    <a:pt x="8318" y="3791"/>
                  </a:cubicBezTo>
                  <a:close/>
                  <a:moveTo>
                    <a:pt x="9249" y="3791"/>
                  </a:moveTo>
                  <a:cubicBezTo>
                    <a:pt x="9057" y="3791"/>
                    <a:pt x="8900" y="3892"/>
                    <a:pt x="8900" y="4016"/>
                  </a:cubicBezTo>
                  <a:cubicBezTo>
                    <a:pt x="8900" y="4139"/>
                    <a:pt x="9057" y="4238"/>
                    <a:pt x="9249" y="4238"/>
                  </a:cubicBezTo>
                  <a:cubicBezTo>
                    <a:pt x="9441" y="4238"/>
                    <a:pt x="9595" y="4139"/>
                    <a:pt x="9595" y="4016"/>
                  </a:cubicBezTo>
                  <a:cubicBezTo>
                    <a:pt x="9595" y="3892"/>
                    <a:pt x="9441" y="3791"/>
                    <a:pt x="9249" y="3791"/>
                  </a:cubicBezTo>
                  <a:close/>
                  <a:moveTo>
                    <a:pt x="10284" y="3791"/>
                  </a:moveTo>
                  <a:cubicBezTo>
                    <a:pt x="10092" y="3791"/>
                    <a:pt x="9935" y="3892"/>
                    <a:pt x="9935" y="4016"/>
                  </a:cubicBezTo>
                  <a:cubicBezTo>
                    <a:pt x="9935" y="4139"/>
                    <a:pt x="10092" y="4238"/>
                    <a:pt x="10284" y="4238"/>
                  </a:cubicBezTo>
                  <a:cubicBezTo>
                    <a:pt x="10477" y="4238"/>
                    <a:pt x="10630" y="4139"/>
                    <a:pt x="10630" y="4016"/>
                  </a:cubicBezTo>
                  <a:cubicBezTo>
                    <a:pt x="10630" y="3892"/>
                    <a:pt x="10477" y="3791"/>
                    <a:pt x="10284" y="3791"/>
                  </a:cubicBezTo>
                  <a:close/>
                  <a:moveTo>
                    <a:pt x="11319" y="3791"/>
                  </a:moveTo>
                  <a:cubicBezTo>
                    <a:pt x="11127" y="3791"/>
                    <a:pt x="10970" y="3892"/>
                    <a:pt x="10970" y="4016"/>
                  </a:cubicBezTo>
                  <a:cubicBezTo>
                    <a:pt x="10970" y="4139"/>
                    <a:pt x="11127" y="4238"/>
                    <a:pt x="11319" y="4238"/>
                  </a:cubicBezTo>
                  <a:cubicBezTo>
                    <a:pt x="11511" y="4238"/>
                    <a:pt x="11665" y="4139"/>
                    <a:pt x="11665" y="4016"/>
                  </a:cubicBezTo>
                  <a:cubicBezTo>
                    <a:pt x="11665" y="3892"/>
                    <a:pt x="11511" y="3791"/>
                    <a:pt x="11319" y="3791"/>
                  </a:cubicBezTo>
                  <a:close/>
                  <a:moveTo>
                    <a:pt x="12250" y="3791"/>
                  </a:moveTo>
                  <a:cubicBezTo>
                    <a:pt x="12058" y="3791"/>
                    <a:pt x="11901" y="3892"/>
                    <a:pt x="11901" y="4016"/>
                  </a:cubicBezTo>
                  <a:cubicBezTo>
                    <a:pt x="11901" y="4139"/>
                    <a:pt x="12058" y="4238"/>
                    <a:pt x="12250" y="4238"/>
                  </a:cubicBezTo>
                  <a:cubicBezTo>
                    <a:pt x="12443" y="4238"/>
                    <a:pt x="12597" y="4139"/>
                    <a:pt x="12596" y="4016"/>
                  </a:cubicBezTo>
                  <a:cubicBezTo>
                    <a:pt x="12596" y="3892"/>
                    <a:pt x="12443" y="3791"/>
                    <a:pt x="12250" y="3791"/>
                  </a:cubicBezTo>
                  <a:close/>
                  <a:moveTo>
                    <a:pt x="13285" y="3791"/>
                  </a:moveTo>
                  <a:cubicBezTo>
                    <a:pt x="13093" y="3791"/>
                    <a:pt x="12936" y="3892"/>
                    <a:pt x="12936" y="4016"/>
                  </a:cubicBezTo>
                  <a:cubicBezTo>
                    <a:pt x="12936" y="4139"/>
                    <a:pt x="13093" y="4238"/>
                    <a:pt x="13285" y="4238"/>
                  </a:cubicBezTo>
                  <a:cubicBezTo>
                    <a:pt x="13477" y="4238"/>
                    <a:pt x="13631" y="4139"/>
                    <a:pt x="13631" y="4016"/>
                  </a:cubicBezTo>
                  <a:cubicBezTo>
                    <a:pt x="13631" y="3892"/>
                    <a:pt x="13477" y="3791"/>
                    <a:pt x="13285" y="3791"/>
                  </a:cubicBezTo>
                  <a:close/>
                  <a:moveTo>
                    <a:pt x="14320" y="3791"/>
                  </a:moveTo>
                  <a:cubicBezTo>
                    <a:pt x="14128" y="3791"/>
                    <a:pt x="13971" y="3892"/>
                    <a:pt x="13971" y="4016"/>
                  </a:cubicBezTo>
                  <a:cubicBezTo>
                    <a:pt x="13971" y="4139"/>
                    <a:pt x="14128" y="4238"/>
                    <a:pt x="14320" y="4238"/>
                  </a:cubicBezTo>
                  <a:cubicBezTo>
                    <a:pt x="14512" y="4238"/>
                    <a:pt x="14666" y="4139"/>
                    <a:pt x="14666" y="4016"/>
                  </a:cubicBezTo>
                  <a:cubicBezTo>
                    <a:pt x="14666" y="3892"/>
                    <a:pt x="14512" y="3791"/>
                    <a:pt x="14320" y="3791"/>
                  </a:cubicBezTo>
                  <a:close/>
                  <a:moveTo>
                    <a:pt x="15252" y="3791"/>
                  </a:moveTo>
                  <a:cubicBezTo>
                    <a:pt x="15060" y="3791"/>
                    <a:pt x="14902" y="3892"/>
                    <a:pt x="14902" y="4016"/>
                  </a:cubicBezTo>
                  <a:cubicBezTo>
                    <a:pt x="14902" y="4139"/>
                    <a:pt x="15060" y="4238"/>
                    <a:pt x="15252" y="4238"/>
                  </a:cubicBezTo>
                  <a:cubicBezTo>
                    <a:pt x="15444" y="4238"/>
                    <a:pt x="15598" y="4139"/>
                    <a:pt x="15598" y="4016"/>
                  </a:cubicBezTo>
                  <a:cubicBezTo>
                    <a:pt x="15598" y="3892"/>
                    <a:pt x="15444" y="3791"/>
                    <a:pt x="15252" y="3791"/>
                  </a:cubicBezTo>
                  <a:close/>
                  <a:moveTo>
                    <a:pt x="1281" y="4456"/>
                  </a:moveTo>
                  <a:cubicBezTo>
                    <a:pt x="1088" y="4456"/>
                    <a:pt x="931" y="4557"/>
                    <a:pt x="931" y="4681"/>
                  </a:cubicBezTo>
                  <a:cubicBezTo>
                    <a:pt x="931" y="4805"/>
                    <a:pt x="1088" y="4903"/>
                    <a:pt x="1281" y="4903"/>
                  </a:cubicBezTo>
                  <a:cubicBezTo>
                    <a:pt x="1473" y="4903"/>
                    <a:pt x="1627" y="4805"/>
                    <a:pt x="1627" y="4681"/>
                  </a:cubicBezTo>
                  <a:cubicBezTo>
                    <a:pt x="1627" y="4557"/>
                    <a:pt x="1473" y="4456"/>
                    <a:pt x="1281" y="4456"/>
                  </a:cubicBezTo>
                  <a:close/>
                  <a:moveTo>
                    <a:pt x="2316" y="4456"/>
                  </a:moveTo>
                  <a:cubicBezTo>
                    <a:pt x="2123" y="4456"/>
                    <a:pt x="1966" y="4557"/>
                    <a:pt x="1966" y="4681"/>
                  </a:cubicBezTo>
                  <a:cubicBezTo>
                    <a:pt x="1966" y="4805"/>
                    <a:pt x="2123" y="4903"/>
                    <a:pt x="2316" y="4903"/>
                  </a:cubicBezTo>
                  <a:cubicBezTo>
                    <a:pt x="2508" y="4903"/>
                    <a:pt x="2662" y="4805"/>
                    <a:pt x="2662" y="4681"/>
                  </a:cubicBezTo>
                  <a:cubicBezTo>
                    <a:pt x="2662" y="4557"/>
                    <a:pt x="2508" y="4456"/>
                    <a:pt x="2316" y="4456"/>
                  </a:cubicBezTo>
                  <a:close/>
                  <a:moveTo>
                    <a:pt x="3247" y="4456"/>
                  </a:moveTo>
                  <a:cubicBezTo>
                    <a:pt x="3055" y="4456"/>
                    <a:pt x="2898" y="4557"/>
                    <a:pt x="2898" y="4681"/>
                  </a:cubicBezTo>
                  <a:cubicBezTo>
                    <a:pt x="2898" y="4805"/>
                    <a:pt x="3055" y="4903"/>
                    <a:pt x="3247" y="4903"/>
                  </a:cubicBezTo>
                  <a:cubicBezTo>
                    <a:pt x="3439" y="4903"/>
                    <a:pt x="3593" y="4805"/>
                    <a:pt x="3593" y="4681"/>
                  </a:cubicBezTo>
                  <a:cubicBezTo>
                    <a:pt x="3593" y="4557"/>
                    <a:pt x="3439" y="4456"/>
                    <a:pt x="3247" y="4456"/>
                  </a:cubicBezTo>
                  <a:close/>
                  <a:moveTo>
                    <a:pt x="4282" y="4456"/>
                  </a:moveTo>
                  <a:cubicBezTo>
                    <a:pt x="4090" y="4456"/>
                    <a:pt x="3933" y="4557"/>
                    <a:pt x="3933" y="4681"/>
                  </a:cubicBezTo>
                  <a:cubicBezTo>
                    <a:pt x="3933" y="4805"/>
                    <a:pt x="4090" y="4903"/>
                    <a:pt x="4282" y="4903"/>
                  </a:cubicBezTo>
                  <a:cubicBezTo>
                    <a:pt x="4474" y="4903"/>
                    <a:pt x="4628" y="4805"/>
                    <a:pt x="4628" y="4681"/>
                  </a:cubicBezTo>
                  <a:cubicBezTo>
                    <a:pt x="4628" y="4557"/>
                    <a:pt x="4474" y="4456"/>
                    <a:pt x="4282" y="4456"/>
                  </a:cubicBezTo>
                  <a:close/>
                  <a:moveTo>
                    <a:pt x="5317" y="4456"/>
                  </a:moveTo>
                  <a:cubicBezTo>
                    <a:pt x="5125" y="4456"/>
                    <a:pt x="4967" y="4557"/>
                    <a:pt x="4967" y="4681"/>
                  </a:cubicBezTo>
                  <a:cubicBezTo>
                    <a:pt x="4967" y="4805"/>
                    <a:pt x="5125" y="4903"/>
                    <a:pt x="5317" y="4903"/>
                  </a:cubicBezTo>
                  <a:cubicBezTo>
                    <a:pt x="5509" y="4903"/>
                    <a:pt x="5663" y="4805"/>
                    <a:pt x="5663" y="4681"/>
                  </a:cubicBezTo>
                  <a:cubicBezTo>
                    <a:pt x="5663" y="4557"/>
                    <a:pt x="5509" y="4456"/>
                    <a:pt x="5317" y="4456"/>
                  </a:cubicBezTo>
                  <a:close/>
                  <a:moveTo>
                    <a:pt x="6352" y="4456"/>
                  </a:moveTo>
                  <a:cubicBezTo>
                    <a:pt x="6160" y="4456"/>
                    <a:pt x="6002" y="4557"/>
                    <a:pt x="6002" y="4681"/>
                  </a:cubicBezTo>
                  <a:cubicBezTo>
                    <a:pt x="6002" y="4805"/>
                    <a:pt x="6160" y="4903"/>
                    <a:pt x="6352" y="4903"/>
                  </a:cubicBezTo>
                  <a:cubicBezTo>
                    <a:pt x="6544" y="4903"/>
                    <a:pt x="6698" y="4805"/>
                    <a:pt x="6698" y="4681"/>
                  </a:cubicBezTo>
                  <a:cubicBezTo>
                    <a:pt x="6698" y="4557"/>
                    <a:pt x="6544" y="4456"/>
                    <a:pt x="6352" y="4456"/>
                  </a:cubicBezTo>
                  <a:close/>
                  <a:moveTo>
                    <a:pt x="7283" y="4456"/>
                  </a:moveTo>
                  <a:cubicBezTo>
                    <a:pt x="7091" y="4456"/>
                    <a:pt x="6934" y="4557"/>
                    <a:pt x="6934" y="4681"/>
                  </a:cubicBezTo>
                  <a:cubicBezTo>
                    <a:pt x="6934" y="4805"/>
                    <a:pt x="7091" y="4903"/>
                    <a:pt x="7283" y="4903"/>
                  </a:cubicBezTo>
                  <a:cubicBezTo>
                    <a:pt x="7475" y="4903"/>
                    <a:pt x="7629" y="4805"/>
                    <a:pt x="7629" y="4681"/>
                  </a:cubicBezTo>
                  <a:cubicBezTo>
                    <a:pt x="7629" y="4557"/>
                    <a:pt x="7475" y="4456"/>
                    <a:pt x="7283" y="4456"/>
                  </a:cubicBezTo>
                  <a:close/>
                  <a:moveTo>
                    <a:pt x="8318" y="4456"/>
                  </a:moveTo>
                  <a:cubicBezTo>
                    <a:pt x="8126" y="4456"/>
                    <a:pt x="7969" y="4557"/>
                    <a:pt x="7969" y="4681"/>
                  </a:cubicBezTo>
                  <a:cubicBezTo>
                    <a:pt x="7969" y="4805"/>
                    <a:pt x="8126" y="4903"/>
                    <a:pt x="8318" y="4903"/>
                  </a:cubicBezTo>
                  <a:cubicBezTo>
                    <a:pt x="8510" y="4903"/>
                    <a:pt x="8664" y="4805"/>
                    <a:pt x="8664" y="4681"/>
                  </a:cubicBezTo>
                  <a:cubicBezTo>
                    <a:pt x="8664" y="4557"/>
                    <a:pt x="8510" y="4456"/>
                    <a:pt x="8318" y="4456"/>
                  </a:cubicBezTo>
                  <a:close/>
                  <a:moveTo>
                    <a:pt x="9249" y="4456"/>
                  </a:moveTo>
                  <a:cubicBezTo>
                    <a:pt x="9057" y="4456"/>
                    <a:pt x="8900" y="4557"/>
                    <a:pt x="8900" y="4681"/>
                  </a:cubicBezTo>
                  <a:cubicBezTo>
                    <a:pt x="8900" y="4805"/>
                    <a:pt x="9057" y="4903"/>
                    <a:pt x="9249" y="4903"/>
                  </a:cubicBezTo>
                  <a:cubicBezTo>
                    <a:pt x="9441" y="4903"/>
                    <a:pt x="9595" y="4805"/>
                    <a:pt x="9595" y="4681"/>
                  </a:cubicBezTo>
                  <a:cubicBezTo>
                    <a:pt x="9595" y="4557"/>
                    <a:pt x="9441" y="4456"/>
                    <a:pt x="9249" y="4456"/>
                  </a:cubicBezTo>
                  <a:close/>
                  <a:moveTo>
                    <a:pt x="10284" y="4456"/>
                  </a:moveTo>
                  <a:cubicBezTo>
                    <a:pt x="10092" y="4456"/>
                    <a:pt x="9935" y="4557"/>
                    <a:pt x="9935" y="4681"/>
                  </a:cubicBezTo>
                  <a:cubicBezTo>
                    <a:pt x="9935" y="4805"/>
                    <a:pt x="10092" y="4903"/>
                    <a:pt x="10284" y="4903"/>
                  </a:cubicBezTo>
                  <a:cubicBezTo>
                    <a:pt x="10477" y="4903"/>
                    <a:pt x="10630" y="4805"/>
                    <a:pt x="10630" y="4681"/>
                  </a:cubicBezTo>
                  <a:cubicBezTo>
                    <a:pt x="10630" y="4557"/>
                    <a:pt x="10477" y="4456"/>
                    <a:pt x="10284" y="4456"/>
                  </a:cubicBezTo>
                  <a:close/>
                  <a:moveTo>
                    <a:pt x="11319" y="4456"/>
                  </a:moveTo>
                  <a:cubicBezTo>
                    <a:pt x="11127" y="4456"/>
                    <a:pt x="10970" y="4557"/>
                    <a:pt x="10970" y="4681"/>
                  </a:cubicBezTo>
                  <a:cubicBezTo>
                    <a:pt x="10970" y="4805"/>
                    <a:pt x="11127" y="4903"/>
                    <a:pt x="11319" y="4903"/>
                  </a:cubicBezTo>
                  <a:cubicBezTo>
                    <a:pt x="11511" y="4903"/>
                    <a:pt x="11665" y="4805"/>
                    <a:pt x="11665" y="4681"/>
                  </a:cubicBezTo>
                  <a:cubicBezTo>
                    <a:pt x="11665" y="4557"/>
                    <a:pt x="11511" y="4456"/>
                    <a:pt x="11319" y="4456"/>
                  </a:cubicBezTo>
                  <a:close/>
                  <a:moveTo>
                    <a:pt x="12250" y="4456"/>
                  </a:moveTo>
                  <a:cubicBezTo>
                    <a:pt x="12058" y="4456"/>
                    <a:pt x="11901" y="4557"/>
                    <a:pt x="11901" y="4681"/>
                  </a:cubicBezTo>
                  <a:cubicBezTo>
                    <a:pt x="11901" y="4805"/>
                    <a:pt x="12058" y="4903"/>
                    <a:pt x="12250" y="4903"/>
                  </a:cubicBezTo>
                  <a:cubicBezTo>
                    <a:pt x="12443" y="4903"/>
                    <a:pt x="12597" y="4805"/>
                    <a:pt x="12596" y="4681"/>
                  </a:cubicBezTo>
                  <a:cubicBezTo>
                    <a:pt x="12596" y="4557"/>
                    <a:pt x="12443" y="4456"/>
                    <a:pt x="12250" y="4456"/>
                  </a:cubicBezTo>
                  <a:close/>
                  <a:moveTo>
                    <a:pt x="13285" y="4456"/>
                  </a:moveTo>
                  <a:cubicBezTo>
                    <a:pt x="13093" y="4456"/>
                    <a:pt x="12936" y="4557"/>
                    <a:pt x="12936" y="4681"/>
                  </a:cubicBezTo>
                  <a:cubicBezTo>
                    <a:pt x="12936" y="4805"/>
                    <a:pt x="13093" y="4903"/>
                    <a:pt x="13285" y="4903"/>
                  </a:cubicBezTo>
                  <a:cubicBezTo>
                    <a:pt x="13477" y="4903"/>
                    <a:pt x="13631" y="4805"/>
                    <a:pt x="13631" y="4681"/>
                  </a:cubicBezTo>
                  <a:cubicBezTo>
                    <a:pt x="13631" y="4557"/>
                    <a:pt x="13477" y="4456"/>
                    <a:pt x="13285" y="4456"/>
                  </a:cubicBezTo>
                  <a:close/>
                  <a:moveTo>
                    <a:pt x="14320" y="4456"/>
                  </a:moveTo>
                  <a:cubicBezTo>
                    <a:pt x="14128" y="4456"/>
                    <a:pt x="13971" y="4557"/>
                    <a:pt x="13971" y="4681"/>
                  </a:cubicBezTo>
                  <a:cubicBezTo>
                    <a:pt x="13971" y="4805"/>
                    <a:pt x="14128" y="4903"/>
                    <a:pt x="14320" y="4903"/>
                  </a:cubicBezTo>
                  <a:cubicBezTo>
                    <a:pt x="14512" y="4903"/>
                    <a:pt x="14666" y="4805"/>
                    <a:pt x="14666" y="4681"/>
                  </a:cubicBezTo>
                  <a:cubicBezTo>
                    <a:pt x="14666" y="4557"/>
                    <a:pt x="14512" y="4456"/>
                    <a:pt x="14320" y="4456"/>
                  </a:cubicBezTo>
                  <a:close/>
                  <a:moveTo>
                    <a:pt x="15252" y="4456"/>
                  </a:moveTo>
                  <a:cubicBezTo>
                    <a:pt x="15060" y="4456"/>
                    <a:pt x="14902" y="4557"/>
                    <a:pt x="14902" y="4681"/>
                  </a:cubicBezTo>
                  <a:cubicBezTo>
                    <a:pt x="14902" y="4805"/>
                    <a:pt x="15060" y="4903"/>
                    <a:pt x="15252" y="4903"/>
                  </a:cubicBezTo>
                  <a:cubicBezTo>
                    <a:pt x="15444" y="4903"/>
                    <a:pt x="15598" y="4805"/>
                    <a:pt x="15598" y="4681"/>
                  </a:cubicBezTo>
                  <a:cubicBezTo>
                    <a:pt x="15598" y="4557"/>
                    <a:pt x="15444" y="4456"/>
                    <a:pt x="15252" y="4456"/>
                  </a:cubicBezTo>
                  <a:close/>
                  <a:moveTo>
                    <a:pt x="16287" y="4456"/>
                  </a:moveTo>
                  <a:cubicBezTo>
                    <a:pt x="16094" y="4456"/>
                    <a:pt x="15937" y="4557"/>
                    <a:pt x="15937" y="4681"/>
                  </a:cubicBezTo>
                  <a:cubicBezTo>
                    <a:pt x="15937" y="4805"/>
                    <a:pt x="16094" y="4903"/>
                    <a:pt x="16287" y="4903"/>
                  </a:cubicBezTo>
                  <a:cubicBezTo>
                    <a:pt x="16479" y="4903"/>
                    <a:pt x="16633" y="4805"/>
                    <a:pt x="16633" y="4681"/>
                  </a:cubicBezTo>
                  <a:cubicBezTo>
                    <a:pt x="16633" y="4557"/>
                    <a:pt x="16479" y="4456"/>
                    <a:pt x="16287" y="4456"/>
                  </a:cubicBezTo>
                  <a:close/>
                  <a:moveTo>
                    <a:pt x="17218" y="4456"/>
                  </a:moveTo>
                  <a:cubicBezTo>
                    <a:pt x="17026" y="4456"/>
                    <a:pt x="16869" y="4557"/>
                    <a:pt x="16869" y="4681"/>
                  </a:cubicBezTo>
                  <a:cubicBezTo>
                    <a:pt x="16869" y="4805"/>
                    <a:pt x="17026" y="4903"/>
                    <a:pt x="17218" y="4903"/>
                  </a:cubicBezTo>
                  <a:cubicBezTo>
                    <a:pt x="17410" y="4903"/>
                    <a:pt x="17564" y="4805"/>
                    <a:pt x="17564" y="4681"/>
                  </a:cubicBezTo>
                  <a:cubicBezTo>
                    <a:pt x="17564" y="4557"/>
                    <a:pt x="17410" y="4456"/>
                    <a:pt x="17218" y="4456"/>
                  </a:cubicBezTo>
                  <a:close/>
                  <a:moveTo>
                    <a:pt x="1281" y="5121"/>
                  </a:moveTo>
                  <a:cubicBezTo>
                    <a:pt x="1088" y="5121"/>
                    <a:pt x="931" y="5222"/>
                    <a:pt x="931" y="5346"/>
                  </a:cubicBezTo>
                  <a:cubicBezTo>
                    <a:pt x="931" y="5470"/>
                    <a:pt x="1088" y="5568"/>
                    <a:pt x="1281" y="5568"/>
                  </a:cubicBezTo>
                  <a:cubicBezTo>
                    <a:pt x="1473" y="5568"/>
                    <a:pt x="1627" y="5470"/>
                    <a:pt x="1627" y="5346"/>
                  </a:cubicBezTo>
                  <a:cubicBezTo>
                    <a:pt x="1627" y="5222"/>
                    <a:pt x="1473" y="5121"/>
                    <a:pt x="1281" y="5121"/>
                  </a:cubicBezTo>
                  <a:close/>
                  <a:moveTo>
                    <a:pt x="2316" y="5121"/>
                  </a:moveTo>
                  <a:cubicBezTo>
                    <a:pt x="2123" y="5121"/>
                    <a:pt x="1966" y="5222"/>
                    <a:pt x="1966" y="5346"/>
                  </a:cubicBezTo>
                  <a:cubicBezTo>
                    <a:pt x="1966" y="5470"/>
                    <a:pt x="2123" y="5568"/>
                    <a:pt x="2316" y="5568"/>
                  </a:cubicBezTo>
                  <a:cubicBezTo>
                    <a:pt x="2508" y="5568"/>
                    <a:pt x="2662" y="5470"/>
                    <a:pt x="2662" y="5346"/>
                  </a:cubicBezTo>
                  <a:cubicBezTo>
                    <a:pt x="2662" y="5222"/>
                    <a:pt x="2508" y="5121"/>
                    <a:pt x="2316" y="5121"/>
                  </a:cubicBezTo>
                  <a:close/>
                  <a:moveTo>
                    <a:pt x="3247" y="5121"/>
                  </a:moveTo>
                  <a:cubicBezTo>
                    <a:pt x="3055" y="5121"/>
                    <a:pt x="2898" y="5222"/>
                    <a:pt x="2898" y="5346"/>
                  </a:cubicBezTo>
                  <a:cubicBezTo>
                    <a:pt x="2898" y="5470"/>
                    <a:pt x="3055" y="5568"/>
                    <a:pt x="3247" y="5568"/>
                  </a:cubicBezTo>
                  <a:cubicBezTo>
                    <a:pt x="3439" y="5568"/>
                    <a:pt x="3593" y="5470"/>
                    <a:pt x="3593" y="5346"/>
                  </a:cubicBezTo>
                  <a:cubicBezTo>
                    <a:pt x="3593" y="5222"/>
                    <a:pt x="3439" y="5121"/>
                    <a:pt x="3247" y="5121"/>
                  </a:cubicBezTo>
                  <a:close/>
                  <a:moveTo>
                    <a:pt x="4282" y="5121"/>
                  </a:moveTo>
                  <a:cubicBezTo>
                    <a:pt x="4090" y="5121"/>
                    <a:pt x="3933" y="5222"/>
                    <a:pt x="3933" y="5346"/>
                  </a:cubicBezTo>
                  <a:cubicBezTo>
                    <a:pt x="3933" y="5470"/>
                    <a:pt x="4090" y="5568"/>
                    <a:pt x="4282" y="5568"/>
                  </a:cubicBezTo>
                  <a:cubicBezTo>
                    <a:pt x="4474" y="5568"/>
                    <a:pt x="4628" y="5470"/>
                    <a:pt x="4628" y="5346"/>
                  </a:cubicBezTo>
                  <a:cubicBezTo>
                    <a:pt x="4628" y="5222"/>
                    <a:pt x="4474" y="5121"/>
                    <a:pt x="4282" y="5121"/>
                  </a:cubicBezTo>
                  <a:close/>
                  <a:moveTo>
                    <a:pt x="5317" y="5121"/>
                  </a:moveTo>
                  <a:cubicBezTo>
                    <a:pt x="5125" y="5121"/>
                    <a:pt x="4967" y="5222"/>
                    <a:pt x="4967" y="5346"/>
                  </a:cubicBezTo>
                  <a:cubicBezTo>
                    <a:pt x="4967" y="5470"/>
                    <a:pt x="5125" y="5568"/>
                    <a:pt x="5317" y="5568"/>
                  </a:cubicBezTo>
                  <a:cubicBezTo>
                    <a:pt x="5509" y="5568"/>
                    <a:pt x="5663" y="5470"/>
                    <a:pt x="5663" y="5346"/>
                  </a:cubicBezTo>
                  <a:cubicBezTo>
                    <a:pt x="5663" y="5222"/>
                    <a:pt x="5509" y="5121"/>
                    <a:pt x="5317" y="5121"/>
                  </a:cubicBezTo>
                  <a:close/>
                  <a:moveTo>
                    <a:pt x="6352" y="5121"/>
                  </a:moveTo>
                  <a:cubicBezTo>
                    <a:pt x="6160" y="5121"/>
                    <a:pt x="6002" y="5222"/>
                    <a:pt x="6002" y="5346"/>
                  </a:cubicBezTo>
                  <a:cubicBezTo>
                    <a:pt x="6002" y="5470"/>
                    <a:pt x="6160" y="5568"/>
                    <a:pt x="6352" y="5568"/>
                  </a:cubicBezTo>
                  <a:cubicBezTo>
                    <a:pt x="6544" y="5568"/>
                    <a:pt x="6698" y="5470"/>
                    <a:pt x="6698" y="5346"/>
                  </a:cubicBezTo>
                  <a:cubicBezTo>
                    <a:pt x="6698" y="5222"/>
                    <a:pt x="6544" y="5121"/>
                    <a:pt x="6352" y="5121"/>
                  </a:cubicBezTo>
                  <a:close/>
                  <a:moveTo>
                    <a:pt x="7283" y="5121"/>
                  </a:moveTo>
                  <a:cubicBezTo>
                    <a:pt x="7091" y="5121"/>
                    <a:pt x="6934" y="5222"/>
                    <a:pt x="6934" y="5346"/>
                  </a:cubicBezTo>
                  <a:cubicBezTo>
                    <a:pt x="6934" y="5470"/>
                    <a:pt x="7091" y="5568"/>
                    <a:pt x="7283" y="5568"/>
                  </a:cubicBezTo>
                  <a:cubicBezTo>
                    <a:pt x="7475" y="5568"/>
                    <a:pt x="7629" y="5470"/>
                    <a:pt x="7629" y="5346"/>
                  </a:cubicBezTo>
                  <a:cubicBezTo>
                    <a:pt x="7629" y="5222"/>
                    <a:pt x="7475" y="5121"/>
                    <a:pt x="7283" y="5121"/>
                  </a:cubicBezTo>
                  <a:close/>
                  <a:moveTo>
                    <a:pt x="8318" y="5121"/>
                  </a:moveTo>
                  <a:cubicBezTo>
                    <a:pt x="8126" y="5121"/>
                    <a:pt x="7969" y="5222"/>
                    <a:pt x="7969" y="5346"/>
                  </a:cubicBezTo>
                  <a:cubicBezTo>
                    <a:pt x="7969" y="5470"/>
                    <a:pt x="8126" y="5568"/>
                    <a:pt x="8318" y="5568"/>
                  </a:cubicBezTo>
                  <a:cubicBezTo>
                    <a:pt x="8510" y="5568"/>
                    <a:pt x="8664" y="5470"/>
                    <a:pt x="8664" y="5346"/>
                  </a:cubicBezTo>
                  <a:cubicBezTo>
                    <a:pt x="8664" y="5222"/>
                    <a:pt x="8510" y="5121"/>
                    <a:pt x="8318" y="5121"/>
                  </a:cubicBezTo>
                  <a:close/>
                  <a:moveTo>
                    <a:pt x="9249" y="5121"/>
                  </a:moveTo>
                  <a:cubicBezTo>
                    <a:pt x="9057" y="5121"/>
                    <a:pt x="8900" y="5222"/>
                    <a:pt x="8900" y="5346"/>
                  </a:cubicBezTo>
                  <a:cubicBezTo>
                    <a:pt x="8900" y="5470"/>
                    <a:pt x="9057" y="5568"/>
                    <a:pt x="9249" y="5568"/>
                  </a:cubicBezTo>
                  <a:cubicBezTo>
                    <a:pt x="9441" y="5568"/>
                    <a:pt x="9595" y="5470"/>
                    <a:pt x="9595" y="5346"/>
                  </a:cubicBezTo>
                  <a:cubicBezTo>
                    <a:pt x="9595" y="5222"/>
                    <a:pt x="9441" y="5121"/>
                    <a:pt x="9249" y="5121"/>
                  </a:cubicBezTo>
                  <a:close/>
                  <a:moveTo>
                    <a:pt x="10284" y="5121"/>
                  </a:moveTo>
                  <a:cubicBezTo>
                    <a:pt x="10092" y="5121"/>
                    <a:pt x="9935" y="5222"/>
                    <a:pt x="9935" y="5346"/>
                  </a:cubicBezTo>
                  <a:cubicBezTo>
                    <a:pt x="9935" y="5470"/>
                    <a:pt x="10092" y="5568"/>
                    <a:pt x="10284" y="5568"/>
                  </a:cubicBezTo>
                  <a:cubicBezTo>
                    <a:pt x="10477" y="5568"/>
                    <a:pt x="10630" y="5470"/>
                    <a:pt x="10630" y="5346"/>
                  </a:cubicBezTo>
                  <a:cubicBezTo>
                    <a:pt x="10630" y="5222"/>
                    <a:pt x="10477" y="5121"/>
                    <a:pt x="10284" y="5121"/>
                  </a:cubicBezTo>
                  <a:close/>
                  <a:moveTo>
                    <a:pt x="11319" y="5121"/>
                  </a:moveTo>
                  <a:cubicBezTo>
                    <a:pt x="11127" y="5121"/>
                    <a:pt x="10970" y="5222"/>
                    <a:pt x="10970" y="5346"/>
                  </a:cubicBezTo>
                  <a:cubicBezTo>
                    <a:pt x="10970" y="5470"/>
                    <a:pt x="11127" y="5568"/>
                    <a:pt x="11319" y="5568"/>
                  </a:cubicBezTo>
                  <a:cubicBezTo>
                    <a:pt x="11511" y="5568"/>
                    <a:pt x="11665" y="5470"/>
                    <a:pt x="11665" y="5346"/>
                  </a:cubicBezTo>
                  <a:cubicBezTo>
                    <a:pt x="11665" y="5222"/>
                    <a:pt x="11511" y="5121"/>
                    <a:pt x="11319" y="5121"/>
                  </a:cubicBezTo>
                  <a:close/>
                  <a:moveTo>
                    <a:pt x="12250" y="5121"/>
                  </a:moveTo>
                  <a:cubicBezTo>
                    <a:pt x="12058" y="5121"/>
                    <a:pt x="11901" y="5222"/>
                    <a:pt x="11901" y="5346"/>
                  </a:cubicBezTo>
                  <a:cubicBezTo>
                    <a:pt x="11901" y="5470"/>
                    <a:pt x="12058" y="5568"/>
                    <a:pt x="12250" y="5568"/>
                  </a:cubicBezTo>
                  <a:cubicBezTo>
                    <a:pt x="12443" y="5568"/>
                    <a:pt x="12597" y="5470"/>
                    <a:pt x="12596" y="5346"/>
                  </a:cubicBezTo>
                  <a:cubicBezTo>
                    <a:pt x="12596" y="5222"/>
                    <a:pt x="12443" y="5121"/>
                    <a:pt x="12250" y="5121"/>
                  </a:cubicBezTo>
                  <a:close/>
                  <a:moveTo>
                    <a:pt x="13285" y="5121"/>
                  </a:moveTo>
                  <a:cubicBezTo>
                    <a:pt x="13093" y="5121"/>
                    <a:pt x="12936" y="5222"/>
                    <a:pt x="12936" y="5346"/>
                  </a:cubicBezTo>
                  <a:cubicBezTo>
                    <a:pt x="12936" y="5470"/>
                    <a:pt x="13093" y="5568"/>
                    <a:pt x="13285" y="5568"/>
                  </a:cubicBezTo>
                  <a:cubicBezTo>
                    <a:pt x="13477" y="5568"/>
                    <a:pt x="13631" y="5470"/>
                    <a:pt x="13631" y="5346"/>
                  </a:cubicBezTo>
                  <a:cubicBezTo>
                    <a:pt x="13631" y="5222"/>
                    <a:pt x="13477" y="5121"/>
                    <a:pt x="13285" y="5121"/>
                  </a:cubicBezTo>
                  <a:close/>
                  <a:moveTo>
                    <a:pt x="14320" y="5121"/>
                  </a:moveTo>
                  <a:cubicBezTo>
                    <a:pt x="14128" y="5121"/>
                    <a:pt x="13971" y="5222"/>
                    <a:pt x="13971" y="5346"/>
                  </a:cubicBezTo>
                  <a:cubicBezTo>
                    <a:pt x="13971" y="5470"/>
                    <a:pt x="14128" y="5568"/>
                    <a:pt x="14320" y="5568"/>
                  </a:cubicBezTo>
                  <a:cubicBezTo>
                    <a:pt x="14512" y="5568"/>
                    <a:pt x="14666" y="5470"/>
                    <a:pt x="14666" y="5346"/>
                  </a:cubicBezTo>
                  <a:cubicBezTo>
                    <a:pt x="14666" y="5222"/>
                    <a:pt x="14512" y="5121"/>
                    <a:pt x="14320" y="5121"/>
                  </a:cubicBezTo>
                  <a:close/>
                  <a:moveTo>
                    <a:pt x="15252" y="5121"/>
                  </a:moveTo>
                  <a:cubicBezTo>
                    <a:pt x="15060" y="5121"/>
                    <a:pt x="14902" y="5222"/>
                    <a:pt x="14902" y="5346"/>
                  </a:cubicBezTo>
                  <a:cubicBezTo>
                    <a:pt x="14902" y="5470"/>
                    <a:pt x="15060" y="5568"/>
                    <a:pt x="15252" y="5568"/>
                  </a:cubicBezTo>
                  <a:cubicBezTo>
                    <a:pt x="15444" y="5568"/>
                    <a:pt x="15598" y="5470"/>
                    <a:pt x="15598" y="5346"/>
                  </a:cubicBezTo>
                  <a:cubicBezTo>
                    <a:pt x="15598" y="5222"/>
                    <a:pt x="15444" y="5121"/>
                    <a:pt x="15252" y="5121"/>
                  </a:cubicBezTo>
                  <a:close/>
                  <a:moveTo>
                    <a:pt x="16287" y="5121"/>
                  </a:moveTo>
                  <a:cubicBezTo>
                    <a:pt x="16094" y="5121"/>
                    <a:pt x="15937" y="5222"/>
                    <a:pt x="15937" y="5346"/>
                  </a:cubicBezTo>
                  <a:cubicBezTo>
                    <a:pt x="15937" y="5470"/>
                    <a:pt x="16094" y="5568"/>
                    <a:pt x="16287" y="5568"/>
                  </a:cubicBezTo>
                  <a:cubicBezTo>
                    <a:pt x="16479" y="5568"/>
                    <a:pt x="16633" y="5470"/>
                    <a:pt x="16633" y="5346"/>
                  </a:cubicBezTo>
                  <a:cubicBezTo>
                    <a:pt x="16633" y="5222"/>
                    <a:pt x="16479" y="5121"/>
                    <a:pt x="16287" y="5121"/>
                  </a:cubicBezTo>
                  <a:close/>
                  <a:moveTo>
                    <a:pt x="17218" y="5121"/>
                  </a:moveTo>
                  <a:cubicBezTo>
                    <a:pt x="17026" y="5121"/>
                    <a:pt x="16869" y="5222"/>
                    <a:pt x="16869" y="5346"/>
                  </a:cubicBezTo>
                  <a:cubicBezTo>
                    <a:pt x="16869" y="5470"/>
                    <a:pt x="17026" y="5568"/>
                    <a:pt x="17218" y="5568"/>
                  </a:cubicBezTo>
                  <a:cubicBezTo>
                    <a:pt x="17410" y="5568"/>
                    <a:pt x="17564" y="5470"/>
                    <a:pt x="17564" y="5346"/>
                  </a:cubicBezTo>
                  <a:cubicBezTo>
                    <a:pt x="17564" y="5222"/>
                    <a:pt x="17410" y="5121"/>
                    <a:pt x="17218" y="5121"/>
                  </a:cubicBezTo>
                  <a:close/>
                  <a:moveTo>
                    <a:pt x="18253" y="5121"/>
                  </a:moveTo>
                  <a:cubicBezTo>
                    <a:pt x="18061" y="5121"/>
                    <a:pt x="17904" y="5222"/>
                    <a:pt x="17904" y="5346"/>
                  </a:cubicBezTo>
                  <a:cubicBezTo>
                    <a:pt x="17904" y="5470"/>
                    <a:pt x="18061" y="5568"/>
                    <a:pt x="18253" y="5568"/>
                  </a:cubicBezTo>
                  <a:cubicBezTo>
                    <a:pt x="18445" y="5568"/>
                    <a:pt x="18599" y="5470"/>
                    <a:pt x="18599" y="5346"/>
                  </a:cubicBezTo>
                  <a:cubicBezTo>
                    <a:pt x="18599" y="5222"/>
                    <a:pt x="18445" y="5121"/>
                    <a:pt x="18253" y="5121"/>
                  </a:cubicBezTo>
                  <a:close/>
                  <a:moveTo>
                    <a:pt x="19288" y="5121"/>
                  </a:moveTo>
                  <a:cubicBezTo>
                    <a:pt x="19095" y="5121"/>
                    <a:pt x="18938" y="5222"/>
                    <a:pt x="18938" y="5346"/>
                  </a:cubicBezTo>
                  <a:cubicBezTo>
                    <a:pt x="18938" y="5470"/>
                    <a:pt x="19095" y="5568"/>
                    <a:pt x="19288" y="5568"/>
                  </a:cubicBezTo>
                  <a:cubicBezTo>
                    <a:pt x="19480" y="5568"/>
                    <a:pt x="19634" y="5470"/>
                    <a:pt x="19634" y="5346"/>
                  </a:cubicBezTo>
                  <a:cubicBezTo>
                    <a:pt x="19634" y="5222"/>
                    <a:pt x="19480" y="5121"/>
                    <a:pt x="19288" y="5121"/>
                  </a:cubicBezTo>
                  <a:close/>
                  <a:moveTo>
                    <a:pt x="20116" y="5121"/>
                  </a:moveTo>
                  <a:cubicBezTo>
                    <a:pt x="19923" y="5121"/>
                    <a:pt x="19766" y="5222"/>
                    <a:pt x="19766" y="5346"/>
                  </a:cubicBezTo>
                  <a:cubicBezTo>
                    <a:pt x="19766" y="5470"/>
                    <a:pt x="19923" y="5568"/>
                    <a:pt x="20116" y="5568"/>
                  </a:cubicBezTo>
                  <a:cubicBezTo>
                    <a:pt x="20308" y="5568"/>
                    <a:pt x="20462" y="5470"/>
                    <a:pt x="20462" y="5346"/>
                  </a:cubicBezTo>
                  <a:cubicBezTo>
                    <a:pt x="20462" y="5222"/>
                    <a:pt x="20308" y="5121"/>
                    <a:pt x="20116" y="5121"/>
                  </a:cubicBezTo>
                  <a:close/>
                  <a:moveTo>
                    <a:pt x="1281" y="5787"/>
                  </a:moveTo>
                  <a:cubicBezTo>
                    <a:pt x="1088" y="5787"/>
                    <a:pt x="931" y="5888"/>
                    <a:pt x="931" y="6011"/>
                  </a:cubicBezTo>
                  <a:cubicBezTo>
                    <a:pt x="931" y="6135"/>
                    <a:pt x="1088" y="6236"/>
                    <a:pt x="1281" y="6236"/>
                  </a:cubicBezTo>
                  <a:cubicBezTo>
                    <a:pt x="1473" y="6236"/>
                    <a:pt x="1627" y="6135"/>
                    <a:pt x="1627" y="6011"/>
                  </a:cubicBezTo>
                  <a:cubicBezTo>
                    <a:pt x="1627" y="5888"/>
                    <a:pt x="1473" y="5787"/>
                    <a:pt x="1281" y="5787"/>
                  </a:cubicBezTo>
                  <a:close/>
                  <a:moveTo>
                    <a:pt x="2316" y="5787"/>
                  </a:moveTo>
                  <a:cubicBezTo>
                    <a:pt x="2123" y="5787"/>
                    <a:pt x="1966" y="5888"/>
                    <a:pt x="1966" y="6011"/>
                  </a:cubicBezTo>
                  <a:cubicBezTo>
                    <a:pt x="1966" y="6135"/>
                    <a:pt x="2123" y="6236"/>
                    <a:pt x="2316" y="6236"/>
                  </a:cubicBezTo>
                  <a:cubicBezTo>
                    <a:pt x="2508" y="6236"/>
                    <a:pt x="2662" y="6135"/>
                    <a:pt x="2662" y="6011"/>
                  </a:cubicBezTo>
                  <a:cubicBezTo>
                    <a:pt x="2662" y="5888"/>
                    <a:pt x="2508" y="5787"/>
                    <a:pt x="2316" y="5787"/>
                  </a:cubicBezTo>
                  <a:close/>
                  <a:moveTo>
                    <a:pt x="3247" y="5787"/>
                  </a:moveTo>
                  <a:cubicBezTo>
                    <a:pt x="3055" y="5787"/>
                    <a:pt x="2898" y="5888"/>
                    <a:pt x="2898" y="6011"/>
                  </a:cubicBezTo>
                  <a:cubicBezTo>
                    <a:pt x="2898" y="6135"/>
                    <a:pt x="3055" y="6236"/>
                    <a:pt x="3247" y="6236"/>
                  </a:cubicBezTo>
                  <a:cubicBezTo>
                    <a:pt x="3439" y="6236"/>
                    <a:pt x="3593" y="6135"/>
                    <a:pt x="3593" y="6011"/>
                  </a:cubicBezTo>
                  <a:cubicBezTo>
                    <a:pt x="3593" y="5888"/>
                    <a:pt x="3439" y="5787"/>
                    <a:pt x="3247" y="5787"/>
                  </a:cubicBezTo>
                  <a:close/>
                  <a:moveTo>
                    <a:pt x="4282" y="5787"/>
                  </a:moveTo>
                  <a:cubicBezTo>
                    <a:pt x="4090" y="5787"/>
                    <a:pt x="3933" y="5888"/>
                    <a:pt x="3933" y="6011"/>
                  </a:cubicBezTo>
                  <a:cubicBezTo>
                    <a:pt x="3933" y="6135"/>
                    <a:pt x="4090" y="6236"/>
                    <a:pt x="4282" y="6236"/>
                  </a:cubicBezTo>
                  <a:cubicBezTo>
                    <a:pt x="4474" y="6236"/>
                    <a:pt x="4628" y="6135"/>
                    <a:pt x="4628" y="6011"/>
                  </a:cubicBezTo>
                  <a:cubicBezTo>
                    <a:pt x="4628" y="5888"/>
                    <a:pt x="4474" y="5787"/>
                    <a:pt x="4282" y="5787"/>
                  </a:cubicBezTo>
                  <a:close/>
                  <a:moveTo>
                    <a:pt x="5317" y="5787"/>
                  </a:moveTo>
                  <a:cubicBezTo>
                    <a:pt x="5125" y="5787"/>
                    <a:pt x="4967" y="5888"/>
                    <a:pt x="4967" y="6011"/>
                  </a:cubicBezTo>
                  <a:cubicBezTo>
                    <a:pt x="4967" y="6135"/>
                    <a:pt x="5125" y="6236"/>
                    <a:pt x="5317" y="6236"/>
                  </a:cubicBezTo>
                  <a:cubicBezTo>
                    <a:pt x="5509" y="6236"/>
                    <a:pt x="5663" y="6135"/>
                    <a:pt x="5663" y="6011"/>
                  </a:cubicBezTo>
                  <a:cubicBezTo>
                    <a:pt x="5663" y="5888"/>
                    <a:pt x="5509" y="5787"/>
                    <a:pt x="5317" y="5787"/>
                  </a:cubicBezTo>
                  <a:close/>
                  <a:moveTo>
                    <a:pt x="6352" y="5787"/>
                  </a:moveTo>
                  <a:cubicBezTo>
                    <a:pt x="6160" y="5787"/>
                    <a:pt x="6002" y="5888"/>
                    <a:pt x="6002" y="6011"/>
                  </a:cubicBezTo>
                  <a:cubicBezTo>
                    <a:pt x="6002" y="6135"/>
                    <a:pt x="6160" y="6236"/>
                    <a:pt x="6352" y="6236"/>
                  </a:cubicBezTo>
                  <a:cubicBezTo>
                    <a:pt x="6544" y="6236"/>
                    <a:pt x="6698" y="6135"/>
                    <a:pt x="6698" y="6011"/>
                  </a:cubicBezTo>
                  <a:cubicBezTo>
                    <a:pt x="6698" y="5888"/>
                    <a:pt x="6544" y="5787"/>
                    <a:pt x="6352" y="5787"/>
                  </a:cubicBezTo>
                  <a:close/>
                  <a:moveTo>
                    <a:pt x="7283" y="5787"/>
                  </a:moveTo>
                  <a:cubicBezTo>
                    <a:pt x="7091" y="5787"/>
                    <a:pt x="6934" y="5888"/>
                    <a:pt x="6934" y="6011"/>
                  </a:cubicBezTo>
                  <a:cubicBezTo>
                    <a:pt x="6934" y="6135"/>
                    <a:pt x="7091" y="6236"/>
                    <a:pt x="7283" y="6236"/>
                  </a:cubicBezTo>
                  <a:cubicBezTo>
                    <a:pt x="7475" y="6236"/>
                    <a:pt x="7629" y="6135"/>
                    <a:pt x="7629" y="6011"/>
                  </a:cubicBezTo>
                  <a:cubicBezTo>
                    <a:pt x="7629" y="5888"/>
                    <a:pt x="7475" y="5787"/>
                    <a:pt x="7283" y="5787"/>
                  </a:cubicBezTo>
                  <a:close/>
                  <a:moveTo>
                    <a:pt x="8318" y="5787"/>
                  </a:moveTo>
                  <a:cubicBezTo>
                    <a:pt x="8126" y="5787"/>
                    <a:pt x="7969" y="5888"/>
                    <a:pt x="7969" y="6011"/>
                  </a:cubicBezTo>
                  <a:cubicBezTo>
                    <a:pt x="7969" y="6135"/>
                    <a:pt x="8126" y="6236"/>
                    <a:pt x="8318" y="6236"/>
                  </a:cubicBezTo>
                  <a:cubicBezTo>
                    <a:pt x="8510" y="6236"/>
                    <a:pt x="8664" y="6135"/>
                    <a:pt x="8664" y="6011"/>
                  </a:cubicBezTo>
                  <a:cubicBezTo>
                    <a:pt x="8664" y="5888"/>
                    <a:pt x="8510" y="5787"/>
                    <a:pt x="8318" y="5787"/>
                  </a:cubicBezTo>
                  <a:close/>
                  <a:moveTo>
                    <a:pt x="9249" y="5787"/>
                  </a:moveTo>
                  <a:cubicBezTo>
                    <a:pt x="9057" y="5787"/>
                    <a:pt x="8900" y="5888"/>
                    <a:pt x="8900" y="6011"/>
                  </a:cubicBezTo>
                  <a:cubicBezTo>
                    <a:pt x="8900" y="6135"/>
                    <a:pt x="9057" y="6236"/>
                    <a:pt x="9249" y="6236"/>
                  </a:cubicBezTo>
                  <a:cubicBezTo>
                    <a:pt x="9441" y="6236"/>
                    <a:pt x="9595" y="6135"/>
                    <a:pt x="9595" y="6011"/>
                  </a:cubicBezTo>
                  <a:cubicBezTo>
                    <a:pt x="9595" y="5888"/>
                    <a:pt x="9441" y="5787"/>
                    <a:pt x="9249" y="5787"/>
                  </a:cubicBezTo>
                  <a:close/>
                  <a:moveTo>
                    <a:pt x="10284" y="5787"/>
                  </a:moveTo>
                  <a:cubicBezTo>
                    <a:pt x="10092" y="5787"/>
                    <a:pt x="9935" y="5888"/>
                    <a:pt x="9935" y="6011"/>
                  </a:cubicBezTo>
                  <a:cubicBezTo>
                    <a:pt x="9935" y="6135"/>
                    <a:pt x="10092" y="6236"/>
                    <a:pt x="10284" y="6236"/>
                  </a:cubicBezTo>
                  <a:cubicBezTo>
                    <a:pt x="10477" y="6236"/>
                    <a:pt x="10630" y="6135"/>
                    <a:pt x="10630" y="6011"/>
                  </a:cubicBezTo>
                  <a:cubicBezTo>
                    <a:pt x="10630" y="5888"/>
                    <a:pt x="10477" y="5787"/>
                    <a:pt x="10284" y="5787"/>
                  </a:cubicBezTo>
                  <a:close/>
                  <a:moveTo>
                    <a:pt x="11319" y="5787"/>
                  </a:moveTo>
                  <a:cubicBezTo>
                    <a:pt x="11127" y="5787"/>
                    <a:pt x="10970" y="5888"/>
                    <a:pt x="10970" y="6011"/>
                  </a:cubicBezTo>
                  <a:cubicBezTo>
                    <a:pt x="10970" y="6135"/>
                    <a:pt x="11127" y="6236"/>
                    <a:pt x="11319" y="6236"/>
                  </a:cubicBezTo>
                  <a:cubicBezTo>
                    <a:pt x="11511" y="6236"/>
                    <a:pt x="11665" y="6135"/>
                    <a:pt x="11665" y="6011"/>
                  </a:cubicBezTo>
                  <a:cubicBezTo>
                    <a:pt x="11665" y="5888"/>
                    <a:pt x="11511" y="5787"/>
                    <a:pt x="11319" y="5787"/>
                  </a:cubicBezTo>
                  <a:close/>
                  <a:moveTo>
                    <a:pt x="12250" y="5787"/>
                  </a:moveTo>
                  <a:cubicBezTo>
                    <a:pt x="12058" y="5787"/>
                    <a:pt x="11901" y="5888"/>
                    <a:pt x="11901" y="6011"/>
                  </a:cubicBezTo>
                  <a:cubicBezTo>
                    <a:pt x="11901" y="6135"/>
                    <a:pt x="12058" y="6236"/>
                    <a:pt x="12250" y="6236"/>
                  </a:cubicBezTo>
                  <a:cubicBezTo>
                    <a:pt x="12443" y="6236"/>
                    <a:pt x="12597" y="6135"/>
                    <a:pt x="12596" y="6011"/>
                  </a:cubicBezTo>
                  <a:cubicBezTo>
                    <a:pt x="12596" y="5888"/>
                    <a:pt x="12443" y="5787"/>
                    <a:pt x="12250" y="5787"/>
                  </a:cubicBezTo>
                  <a:close/>
                  <a:moveTo>
                    <a:pt x="13285" y="5787"/>
                  </a:moveTo>
                  <a:cubicBezTo>
                    <a:pt x="13093" y="5787"/>
                    <a:pt x="12936" y="5888"/>
                    <a:pt x="12936" y="6011"/>
                  </a:cubicBezTo>
                  <a:cubicBezTo>
                    <a:pt x="12936" y="6135"/>
                    <a:pt x="13093" y="6236"/>
                    <a:pt x="13285" y="6236"/>
                  </a:cubicBezTo>
                  <a:cubicBezTo>
                    <a:pt x="13477" y="6236"/>
                    <a:pt x="13631" y="6135"/>
                    <a:pt x="13631" y="6011"/>
                  </a:cubicBezTo>
                  <a:cubicBezTo>
                    <a:pt x="13631" y="5888"/>
                    <a:pt x="13477" y="5787"/>
                    <a:pt x="13285" y="5787"/>
                  </a:cubicBezTo>
                  <a:close/>
                  <a:moveTo>
                    <a:pt x="14320" y="5787"/>
                  </a:moveTo>
                  <a:cubicBezTo>
                    <a:pt x="14128" y="5787"/>
                    <a:pt x="13971" y="5888"/>
                    <a:pt x="13971" y="6011"/>
                  </a:cubicBezTo>
                  <a:cubicBezTo>
                    <a:pt x="13971" y="6135"/>
                    <a:pt x="14128" y="6236"/>
                    <a:pt x="14320" y="6236"/>
                  </a:cubicBezTo>
                  <a:cubicBezTo>
                    <a:pt x="14512" y="6236"/>
                    <a:pt x="14666" y="6135"/>
                    <a:pt x="14666" y="6011"/>
                  </a:cubicBezTo>
                  <a:cubicBezTo>
                    <a:pt x="14666" y="5888"/>
                    <a:pt x="14512" y="5787"/>
                    <a:pt x="14320" y="5787"/>
                  </a:cubicBezTo>
                  <a:close/>
                  <a:moveTo>
                    <a:pt x="15252" y="5787"/>
                  </a:moveTo>
                  <a:cubicBezTo>
                    <a:pt x="15060" y="5787"/>
                    <a:pt x="14902" y="5888"/>
                    <a:pt x="14902" y="6011"/>
                  </a:cubicBezTo>
                  <a:cubicBezTo>
                    <a:pt x="14902" y="6135"/>
                    <a:pt x="15060" y="6236"/>
                    <a:pt x="15252" y="6236"/>
                  </a:cubicBezTo>
                  <a:cubicBezTo>
                    <a:pt x="15444" y="6236"/>
                    <a:pt x="15598" y="6135"/>
                    <a:pt x="15598" y="6011"/>
                  </a:cubicBezTo>
                  <a:cubicBezTo>
                    <a:pt x="15598" y="5888"/>
                    <a:pt x="15444" y="5787"/>
                    <a:pt x="15252" y="5787"/>
                  </a:cubicBezTo>
                  <a:close/>
                  <a:moveTo>
                    <a:pt x="16287" y="5787"/>
                  </a:moveTo>
                  <a:cubicBezTo>
                    <a:pt x="16094" y="5787"/>
                    <a:pt x="15937" y="5888"/>
                    <a:pt x="15937" y="6011"/>
                  </a:cubicBezTo>
                  <a:cubicBezTo>
                    <a:pt x="15937" y="6135"/>
                    <a:pt x="16094" y="6236"/>
                    <a:pt x="16287" y="6236"/>
                  </a:cubicBezTo>
                  <a:cubicBezTo>
                    <a:pt x="16479" y="6236"/>
                    <a:pt x="16633" y="6135"/>
                    <a:pt x="16633" y="6011"/>
                  </a:cubicBezTo>
                  <a:cubicBezTo>
                    <a:pt x="16633" y="5888"/>
                    <a:pt x="16479" y="5787"/>
                    <a:pt x="16287" y="5787"/>
                  </a:cubicBezTo>
                  <a:close/>
                  <a:moveTo>
                    <a:pt x="17218" y="5787"/>
                  </a:moveTo>
                  <a:cubicBezTo>
                    <a:pt x="17026" y="5787"/>
                    <a:pt x="16869" y="5888"/>
                    <a:pt x="16869" y="6011"/>
                  </a:cubicBezTo>
                  <a:cubicBezTo>
                    <a:pt x="16869" y="6135"/>
                    <a:pt x="17026" y="6236"/>
                    <a:pt x="17218" y="6236"/>
                  </a:cubicBezTo>
                  <a:cubicBezTo>
                    <a:pt x="17410" y="6236"/>
                    <a:pt x="17564" y="6135"/>
                    <a:pt x="17564" y="6011"/>
                  </a:cubicBezTo>
                  <a:cubicBezTo>
                    <a:pt x="17564" y="5888"/>
                    <a:pt x="17410" y="5787"/>
                    <a:pt x="17218" y="5787"/>
                  </a:cubicBezTo>
                  <a:close/>
                  <a:moveTo>
                    <a:pt x="18253" y="5787"/>
                  </a:moveTo>
                  <a:cubicBezTo>
                    <a:pt x="18061" y="5787"/>
                    <a:pt x="17904" y="5888"/>
                    <a:pt x="17904" y="6011"/>
                  </a:cubicBezTo>
                  <a:cubicBezTo>
                    <a:pt x="17904" y="6135"/>
                    <a:pt x="18061" y="6236"/>
                    <a:pt x="18253" y="6236"/>
                  </a:cubicBezTo>
                  <a:cubicBezTo>
                    <a:pt x="18445" y="6236"/>
                    <a:pt x="18599" y="6135"/>
                    <a:pt x="18599" y="6011"/>
                  </a:cubicBezTo>
                  <a:cubicBezTo>
                    <a:pt x="18599" y="5888"/>
                    <a:pt x="18445" y="5787"/>
                    <a:pt x="18253" y="5787"/>
                  </a:cubicBezTo>
                  <a:close/>
                  <a:moveTo>
                    <a:pt x="19288" y="5787"/>
                  </a:moveTo>
                  <a:cubicBezTo>
                    <a:pt x="19095" y="5787"/>
                    <a:pt x="18938" y="5888"/>
                    <a:pt x="18938" y="6011"/>
                  </a:cubicBezTo>
                  <a:cubicBezTo>
                    <a:pt x="18938" y="6135"/>
                    <a:pt x="19095" y="6236"/>
                    <a:pt x="19288" y="6236"/>
                  </a:cubicBezTo>
                  <a:cubicBezTo>
                    <a:pt x="19480" y="6236"/>
                    <a:pt x="19634" y="6135"/>
                    <a:pt x="19634" y="6011"/>
                  </a:cubicBezTo>
                  <a:cubicBezTo>
                    <a:pt x="19634" y="5888"/>
                    <a:pt x="19480" y="5787"/>
                    <a:pt x="19288" y="5787"/>
                  </a:cubicBezTo>
                  <a:close/>
                  <a:moveTo>
                    <a:pt x="20116" y="5787"/>
                  </a:moveTo>
                  <a:cubicBezTo>
                    <a:pt x="19923" y="5787"/>
                    <a:pt x="19766" y="5888"/>
                    <a:pt x="19766" y="6011"/>
                  </a:cubicBezTo>
                  <a:cubicBezTo>
                    <a:pt x="19766" y="6135"/>
                    <a:pt x="19923" y="6236"/>
                    <a:pt x="20116" y="6236"/>
                  </a:cubicBezTo>
                  <a:cubicBezTo>
                    <a:pt x="20308" y="6236"/>
                    <a:pt x="20462" y="6135"/>
                    <a:pt x="20462" y="6011"/>
                  </a:cubicBezTo>
                  <a:cubicBezTo>
                    <a:pt x="20462" y="5888"/>
                    <a:pt x="20308" y="5787"/>
                    <a:pt x="20116" y="5787"/>
                  </a:cubicBezTo>
                  <a:close/>
                  <a:moveTo>
                    <a:pt x="21254" y="5787"/>
                  </a:moveTo>
                  <a:cubicBezTo>
                    <a:pt x="21062" y="5787"/>
                    <a:pt x="20905" y="5888"/>
                    <a:pt x="20905" y="6011"/>
                  </a:cubicBezTo>
                  <a:cubicBezTo>
                    <a:pt x="20905" y="6135"/>
                    <a:pt x="21062" y="6236"/>
                    <a:pt x="21254" y="6236"/>
                  </a:cubicBezTo>
                  <a:cubicBezTo>
                    <a:pt x="21446" y="6236"/>
                    <a:pt x="21600" y="6135"/>
                    <a:pt x="21600" y="6011"/>
                  </a:cubicBezTo>
                  <a:cubicBezTo>
                    <a:pt x="21600" y="5888"/>
                    <a:pt x="21446" y="5787"/>
                    <a:pt x="21254" y="5787"/>
                  </a:cubicBezTo>
                  <a:close/>
                  <a:moveTo>
                    <a:pt x="2316" y="6385"/>
                  </a:moveTo>
                  <a:cubicBezTo>
                    <a:pt x="2123" y="6385"/>
                    <a:pt x="1966" y="6486"/>
                    <a:pt x="1966" y="6610"/>
                  </a:cubicBezTo>
                  <a:cubicBezTo>
                    <a:pt x="1966" y="6733"/>
                    <a:pt x="2123" y="6832"/>
                    <a:pt x="2316" y="6832"/>
                  </a:cubicBezTo>
                  <a:cubicBezTo>
                    <a:pt x="2508" y="6832"/>
                    <a:pt x="2662" y="6733"/>
                    <a:pt x="2662" y="6610"/>
                  </a:cubicBezTo>
                  <a:cubicBezTo>
                    <a:pt x="2662" y="6486"/>
                    <a:pt x="2508" y="6385"/>
                    <a:pt x="2316" y="6385"/>
                  </a:cubicBezTo>
                  <a:close/>
                  <a:moveTo>
                    <a:pt x="3247" y="6385"/>
                  </a:moveTo>
                  <a:cubicBezTo>
                    <a:pt x="3055" y="6385"/>
                    <a:pt x="2898" y="6486"/>
                    <a:pt x="2898" y="6610"/>
                  </a:cubicBezTo>
                  <a:cubicBezTo>
                    <a:pt x="2898" y="6733"/>
                    <a:pt x="3055" y="6832"/>
                    <a:pt x="3247" y="6832"/>
                  </a:cubicBezTo>
                  <a:cubicBezTo>
                    <a:pt x="3439" y="6832"/>
                    <a:pt x="3593" y="6733"/>
                    <a:pt x="3593" y="6610"/>
                  </a:cubicBezTo>
                  <a:cubicBezTo>
                    <a:pt x="3593" y="6486"/>
                    <a:pt x="3439" y="6385"/>
                    <a:pt x="3247" y="6385"/>
                  </a:cubicBezTo>
                  <a:close/>
                  <a:moveTo>
                    <a:pt x="4282" y="6385"/>
                  </a:moveTo>
                  <a:cubicBezTo>
                    <a:pt x="4090" y="6385"/>
                    <a:pt x="3933" y="6486"/>
                    <a:pt x="3933" y="6610"/>
                  </a:cubicBezTo>
                  <a:cubicBezTo>
                    <a:pt x="3933" y="6733"/>
                    <a:pt x="4090" y="6832"/>
                    <a:pt x="4282" y="6832"/>
                  </a:cubicBezTo>
                  <a:cubicBezTo>
                    <a:pt x="4474" y="6832"/>
                    <a:pt x="4628" y="6733"/>
                    <a:pt x="4628" y="6610"/>
                  </a:cubicBezTo>
                  <a:cubicBezTo>
                    <a:pt x="4628" y="6486"/>
                    <a:pt x="4474" y="6385"/>
                    <a:pt x="4282" y="6385"/>
                  </a:cubicBezTo>
                  <a:close/>
                  <a:moveTo>
                    <a:pt x="5317" y="6385"/>
                  </a:moveTo>
                  <a:cubicBezTo>
                    <a:pt x="5125" y="6385"/>
                    <a:pt x="4967" y="6486"/>
                    <a:pt x="4967" y="6610"/>
                  </a:cubicBezTo>
                  <a:cubicBezTo>
                    <a:pt x="4967" y="6733"/>
                    <a:pt x="5125" y="6832"/>
                    <a:pt x="5317" y="6832"/>
                  </a:cubicBezTo>
                  <a:cubicBezTo>
                    <a:pt x="5509" y="6832"/>
                    <a:pt x="5663" y="6733"/>
                    <a:pt x="5663" y="6610"/>
                  </a:cubicBezTo>
                  <a:cubicBezTo>
                    <a:pt x="5663" y="6486"/>
                    <a:pt x="5509" y="6385"/>
                    <a:pt x="5317" y="6385"/>
                  </a:cubicBezTo>
                  <a:close/>
                  <a:moveTo>
                    <a:pt x="6352" y="6385"/>
                  </a:moveTo>
                  <a:cubicBezTo>
                    <a:pt x="6160" y="6385"/>
                    <a:pt x="6002" y="6486"/>
                    <a:pt x="6002" y="6610"/>
                  </a:cubicBezTo>
                  <a:cubicBezTo>
                    <a:pt x="6002" y="6733"/>
                    <a:pt x="6160" y="6832"/>
                    <a:pt x="6352" y="6832"/>
                  </a:cubicBezTo>
                  <a:cubicBezTo>
                    <a:pt x="6544" y="6832"/>
                    <a:pt x="6698" y="6733"/>
                    <a:pt x="6698" y="6610"/>
                  </a:cubicBezTo>
                  <a:cubicBezTo>
                    <a:pt x="6698" y="6486"/>
                    <a:pt x="6544" y="6385"/>
                    <a:pt x="6352" y="6385"/>
                  </a:cubicBezTo>
                  <a:close/>
                  <a:moveTo>
                    <a:pt x="7283" y="6385"/>
                  </a:moveTo>
                  <a:cubicBezTo>
                    <a:pt x="7091" y="6385"/>
                    <a:pt x="6934" y="6486"/>
                    <a:pt x="6934" y="6610"/>
                  </a:cubicBezTo>
                  <a:cubicBezTo>
                    <a:pt x="6934" y="6733"/>
                    <a:pt x="7091" y="6832"/>
                    <a:pt x="7283" y="6832"/>
                  </a:cubicBezTo>
                  <a:cubicBezTo>
                    <a:pt x="7475" y="6832"/>
                    <a:pt x="7629" y="6733"/>
                    <a:pt x="7629" y="6610"/>
                  </a:cubicBezTo>
                  <a:cubicBezTo>
                    <a:pt x="7629" y="6486"/>
                    <a:pt x="7475" y="6385"/>
                    <a:pt x="7283" y="6385"/>
                  </a:cubicBezTo>
                  <a:close/>
                  <a:moveTo>
                    <a:pt x="8318" y="6385"/>
                  </a:moveTo>
                  <a:cubicBezTo>
                    <a:pt x="8126" y="6385"/>
                    <a:pt x="7969" y="6486"/>
                    <a:pt x="7969" y="6610"/>
                  </a:cubicBezTo>
                  <a:cubicBezTo>
                    <a:pt x="7969" y="6733"/>
                    <a:pt x="8126" y="6832"/>
                    <a:pt x="8318" y="6832"/>
                  </a:cubicBezTo>
                  <a:cubicBezTo>
                    <a:pt x="8510" y="6832"/>
                    <a:pt x="8664" y="6733"/>
                    <a:pt x="8664" y="6610"/>
                  </a:cubicBezTo>
                  <a:cubicBezTo>
                    <a:pt x="8664" y="6486"/>
                    <a:pt x="8510" y="6385"/>
                    <a:pt x="8318" y="6385"/>
                  </a:cubicBezTo>
                  <a:close/>
                  <a:moveTo>
                    <a:pt x="9249" y="6385"/>
                  </a:moveTo>
                  <a:cubicBezTo>
                    <a:pt x="9057" y="6385"/>
                    <a:pt x="8900" y="6486"/>
                    <a:pt x="8900" y="6610"/>
                  </a:cubicBezTo>
                  <a:cubicBezTo>
                    <a:pt x="8900" y="6733"/>
                    <a:pt x="9057" y="6832"/>
                    <a:pt x="9249" y="6832"/>
                  </a:cubicBezTo>
                  <a:cubicBezTo>
                    <a:pt x="9441" y="6832"/>
                    <a:pt x="9595" y="6733"/>
                    <a:pt x="9595" y="6610"/>
                  </a:cubicBezTo>
                  <a:cubicBezTo>
                    <a:pt x="9595" y="6486"/>
                    <a:pt x="9441" y="6385"/>
                    <a:pt x="9249" y="6385"/>
                  </a:cubicBezTo>
                  <a:close/>
                  <a:moveTo>
                    <a:pt x="10284" y="6385"/>
                  </a:moveTo>
                  <a:cubicBezTo>
                    <a:pt x="10092" y="6385"/>
                    <a:pt x="9935" y="6486"/>
                    <a:pt x="9935" y="6610"/>
                  </a:cubicBezTo>
                  <a:cubicBezTo>
                    <a:pt x="9935" y="6733"/>
                    <a:pt x="10092" y="6832"/>
                    <a:pt x="10284" y="6832"/>
                  </a:cubicBezTo>
                  <a:cubicBezTo>
                    <a:pt x="10477" y="6832"/>
                    <a:pt x="10630" y="6733"/>
                    <a:pt x="10630" y="6610"/>
                  </a:cubicBezTo>
                  <a:cubicBezTo>
                    <a:pt x="10630" y="6486"/>
                    <a:pt x="10477" y="6385"/>
                    <a:pt x="10284" y="6385"/>
                  </a:cubicBezTo>
                  <a:close/>
                  <a:moveTo>
                    <a:pt x="11319" y="6385"/>
                  </a:moveTo>
                  <a:cubicBezTo>
                    <a:pt x="11127" y="6385"/>
                    <a:pt x="10970" y="6486"/>
                    <a:pt x="10970" y="6610"/>
                  </a:cubicBezTo>
                  <a:cubicBezTo>
                    <a:pt x="10970" y="6733"/>
                    <a:pt x="11127" y="6832"/>
                    <a:pt x="11319" y="6832"/>
                  </a:cubicBezTo>
                  <a:cubicBezTo>
                    <a:pt x="11511" y="6832"/>
                    <a:pt x="11665" y="6733"/>
                    <a:pt x="11665" y="6610"/>
                  </a:cubicBezTo>
                  <a:cubicBezTo>
                    <a:pt x="11665" y="6486"/>
                    <a:pt x="11511" y="6385"/>
                    <a:pt x="11319" y="6385"/>
                  </a:cubicBezTo>
                  <a:close/>
                  <a:moveTo>
                    <a:pt x="12250" y="6385"/>
                  </a:moveTo>
                  <a:cubicBezTo>
                    <a:pt x="12058" y="6385"/>
                    <a:pt x="11901" y="6486"/>
                    <a:pt x="11901" y="6610"/>
                  </a:cubicBezTo>
                  <a:cubicBezTo>
                    <a:pt x="11901" y="6733"/>
                    <a:pt x="12058" y="6832"/>
                    <a:pt x="12250" y="6832"/>
                  </a:cubicBezTo>
                  <a:cubicBezTo>
                    <a:pt x="12443" y="6832"/>
                    <a:pt x="12597" y="6733"/>
                    <a:pt x="12596" y="6610"/>
                  </a:cubicBezTo>
                  <a:cubicBezTo>
                    <a:pt x="12596" y="6486"/>
                    <a:pt x="12443" y="6385"/>
                    <a:pt x="12250" y="6385"/>
                  </a:cubicBezTo>
                  <a:close/>
                  <a:moveTo>
                    <a:pt x="13285" y="6385"/>
                  </a:moveTo>
                  <a:cubicBezTo>
                    <a:pt x="13093" y="6385"/>
                    <a:pt x="12936" y="6486"/>
                    <a:pt x="12936" y="6610"/>
                  </a:cubicBezTo>
                  <a:cubicBezTo>
                    <a:pt x="12936" y="6733"/>
                    <a:pt x="13093" y="6832"/>
                    <a:pt x="13285" y="6832"/>
                  </a:cubicBezTo>
                  <a:cubicBezTo>
                    <a:pt x="13477" y="6832"/>
                    <a:pt x="13631" y="6733"/>
                    <a:pt x="13631" y="6610"/>
                  </a:cubicBezTo>
                  <a:cubicBezTo>
                    <a:pt x="13631" y="6486"/>
                    <a:pt x="13477" y="6385"/>
                    <a:pt x="13285" y="6385"/>
                  </a:cubicBezTo>
                  <a:close/>
                  <a:moveTo>
                    <a:pt x="14320" y="6385"/>
                  </a:moveTo>
                  <a:cubicBezTo>
                    <a:pt x="14128" y="6385"/>
                    <a:pt x="13971" y="6486"/>
                    <a:pt x="13971" y="6610"/>
                  </a:cubicBezTo>
                  <a:cubicBezTo>
                    <a:pt x="13971" y="6733"/>
                    <a:pt x="14128" y="6832"/>
                    <a:pt x="14320" y="6832"/>
                  </a:cubicBezTo>
                  <a:cubicBezTo>
                    <a:pt x="14512" y="6832"/>
                    <a:pt x="14666" y="6733"/>
                    <a:pt x="14666" y="6610"/>
                  </a:cubicBezTo>
                  <a:cubicBezTo>
                    <a:pt x="14666" y="6486"/>
                    <a:pt x="14512" y="6385"/>
                    <a:pt x="14320" y="6385"/>
                  </a:cubicBezTo>
                  <a:close/>
                  <a:moveTo>
                    <a:pt x="15252" y="6385"/>
                  </a:moveTo>
                  <a:cubicBezTo>
                    <a:pt x="15060" y="6385"/>
                    <a:pt x="14902" y="6486"/>
                    <a:pt x="14902" y="6610"/>
                  </a:cubicBezTo>
                  <a:cubicBezTo>
                    <a:pt x="14902" y="6733"/>
                    <a:pt x="15060" y="6832"/>
                    <a:pt x="15252" y="6832"/>
                  </a:cubicBezTo>
                  <a:cubicBezTo>
                    <a:pt x="15444" y="6832"/>
                    <a:pt x="15598" y="6733"/>
                    <a:pt x="15598" y="6610"/>
                  </a:cubicBezTo>
                  <a:cubicBezTo>
                    <a:pt x="15598" y="6486"/>
                    <a:pt x="15444" y="6385"/>
                    <a:pt x="15252" y="6385"/>
                  </a:cubicBezTo>
                  <a:close/>
                  <a:moveTo>
                    <a:pt x="16287" y="6385"/>
                  </a:moveTo>
                  <a:cubicBezTo>
                    <a:pt x="16094" y="6385"/>
                    <a:pt x="15937" y="6486"/>
                    <a:pt x="15937" y="6610"/>
                  </a:cubicBezTo>
                  <a:cubicBezTo>
                    <a:pt x="15937" y="6733"/>
                    <a:pt x="16094" y="6832"/>
                    <a:pt x="16287" y="6832"/>
                  </a:cubicBezTo>
                  <a:cubicBezTo>
                    <a:pt x="16479" y="6832"/>
                    <a:pt x="16633" y="6733"/>
                    <a:pt x="16633" y="6610"/>
                  </a:cubicBezTo>
                  <a:cubicBezTo>
                    <a:pt x="16633" y="6486"/>
                    <a:pt x="16479" y="6385"/>
                    <a:pt x="16287" y="6385"/>
                  </a:cubicBezTo>
                  <a:close/>
                  <a:moveTo>
                    <a:pt x="17218" y="6385"/>
                  </a:moveTo>
                  <a:cubicBezTo>
                    <a:pt x="17026" y="6385"/>
                    <a:pt x="16869" y="6486"/>
                    <a:pt x="16869" y="6610"/>
                  </a:cubicBezTo>
                  <a:cubicBezTo>
                    <a:pt x="16869" y="6733"/>
                    <a:pt x="17026" y="6832"/>
                    <a:pt x="17218" y="6832"/>
                  </a:cubicBezTo>
                  <a:cubicBezTo>
                    <a:pt x="17410" y="6832"/>
                    <a:pt x="17564" y="6733"/>
                    <a:pt x="17564" y="6610"/>
                  </a:cubicBezTo>
                  <a:cubicBezTo>
                    <a:pt x="17564" y="6486"/>
                    <a:pt x="17410" y="6385"/>
                    <a:pt x="17218" y="6385"/>
                  </a:cubicBezTo>
                  <a:close/>
                  <a:moveTo>
                    <a:pt x="18253" y="6385"/>
                  </a:moveTo>
                  <a:cubicBezTo>
                    <a:pt x="18061" y="6385"/>
                    <a:pt x="17904" y="6486"/>
                    <a:pt x="17904" y="6610"/>
                  </a:cubicBezTo>
                  <a:cubicBezTo>
                    <a:pt x="17904" y="6733"/>
                    <a:pt x="18061" y="6832"/>
                    <a:pt x="18253" y="6832"/>
                  </a:cubicBezTo>
                  <a:cubicBezTo>
                    <a:pt x="18445" y="6832"/>
                    <a:pt x="18599" y="6733"/>
                    <a:pt x="18599" y="6610"/>
                  </a:cubicBezTo>
                  <a:cubicBezTo>
                    <a:pt x="18599" y="6486"/>
                    <a:pt x="18445" y="6385"/>
                    <a:pt x="18253" y="6385"/>
                  </a:cubicBezTo>
                  <a:close/>
                  <a:moveTo>
                    <a:pt x="19288" y="6385"/>
                  </a:moveTo>
                  <a:cubicBezTo>
                    <a:pt x="19095" y="6385"/>
                    <a:pt x="18938" y="6486"/>
                    <a:pt x="18938" y="6610"/>
                  </a:cubicBezTo>
                  <a:cubicBezTo>
                    <a:pt x="18938" y="6733"/>
                    <a:pt x="19095" y="6832"/>
                    <a:pt x="19288" y="6832"/>
                  </a:cubicBezTo>
                  <a:cubicBezTo>
                    <a:pt x="19480" y="6832"/>
                    <a:pt x="19634" y="6733"/>
                    <a:pt x="19634" y="6610"/>
                  </a:cubicBezTo>
                  <a:cubicBezTo>
                    <a:pt x="19634" y="6486"/>
                    <a:pt x="19480" y="6385"/>
                    <a:pt x="19288" y="6385"/>
                  </a:cubicBezTo>
                  <a:close/>
                  <a:moveTo>
                    <a:pt x="20116" y="6385"/>
                  </a:moveTo>
                  <a:cubicBezTo>
                    <a:pt x="19923" y="6385"/>
                    <a:pt x="19766" y="6486"/>
                    <a:pt x="19766" y="6610"/>
                  </a:cubicBezTo>
                  <a:cubicBezTo>
                    <a:pt x="19766" y="6733"/>
                    <a:pt x="19923" y="6832"/>
                    <a:pt x="20116" y="6832"/>
                  </a:cubicBezTo>
                  <a:cubicBezTo>
                    <a:pt x="20308" y="6832"/>
                    <a:pt x="20462" y="6733"/>
                    <a:pt x="20462" y="6610"/>
                  </a:cubicBezTo>
                  <a:cubicBezTo>
                    <a:pt x="20462" y="6486"/>
                    <a:pt x="20308" y="6385"/>
                    <a:pt x="20116" y="6385"/>
                  </a:cubicBezTo>
                  <a:close/>
                  <a:moveTo>
                    <a:pt x="21254" y="6385"/>
                  </a:moveTo>
                  <a:cubicBezTo>
                    <a:pt x="21062" y="6385"/>
                    <a:pt x="20905" y="6486"/>
                    <a:pt x="20905" y="6610"/>
                  </a:cubicBezTo>
                  <a:cubicBezTo>
                    <a:pt x="20905" y="6733"/>
                    <a:pt x="21062" y="6832"/>
                    <a:pt x="21254" y="6832"/>
                  </a:cubicBezTo>
                  <a:cubicBezTo>
                    <a:pt x="21446" y="6832"/>
                    <a:pt x="21600" y="6733"/>
                    <a:pt x="21600" y="6610"/>
                  </a:cubicBezTo>
                  <a:cubicBezTo>
                    <a:pt x="21600" y="6486"/>
                    <a:pt x="21446" y="6385"/>
                    <a:pt x="21254" y="6385"/>
                  </a:cubicBezTo>
                  <a:close/>
                  <a:moveTo>
                    <a:pt x="2316" y="7050"/>
                  </a:moveTo>
                  <a:cubicBezTo>
                    <a:pt x="2123" y="7050"/>
                    <a:pt x="1966" y="7151"/>
                    <a:pt x="1966" y="7275"/>
                  </a:cubicBezTo>
                  <a:cubicBezTo>
                    <a:pt x="1966" y="7398"/>
                    <a:pt x="2123" y="7497"/>
                    <a:pt x="2316" y="7497"/>
                  </a:cubicBezTo>
                  <a:cubicBezTo>
                    <a:pt x="2508" y="7497"/>
                    <a:pt x="2662" y="7398"/>
                    <a:pt x="2662" y="7275"/>
                  </a:cubicBezTo>
                  <a:cubicBezTo>
                    <a:pt x="2662" y="7151"/>
                    <a:pt x="2508" y="7050"/>
                    <a:pt x="2316" y="7050"/>
                  </a:cubicBezTo>
                  <a:close/>
                  <a:moveTo>
                    <a:pt x="3247" y="7050"/>
                  </a:moveTo>
                  <a:cubicBezTo>
                    <a:pt x="3055" y="7050"/>
                    <a:pt x="2898" y="7151"/>
                    <a:pt x="2898" y="7275"/>
                  </a:cubicBezTo>
                  <a:cubicBezTo>
                    <a:pt x="2898" y="7398"/>
                    <a:pt x="3055" y="7497"/>
                    <a:pt x="3247" y="7497"/>
                  </a:cubicBezTo>
                  <a:cubicBezTo>
                    <a:pt x="3439" y="7497"/>
                    <a:pt x="3593" y="7398"/>
                    <a:pt x="3593" y="7275"/>
                  </a:cubicBezTo>
                  <a:cubicBezTo>
                    <a:pt x="3593" y="7151"/>
                    <a:pt x="3439" y="7050"/>
                    <a:pt x="3247" y="7050"/>
                  </a:cubicBezTo>
                  <a:close/>
                  <a:moveTo>
                    <a:pt x="4282" y="7050"/>
                  </a:moveTo>
                  <a:cubicBezTo>
                    <a:pt x="4090" y="7050"/>
                    <a:pt x="3933" y="7151"/>
                    <a:pt x="3933" y="7275"/>
                  </a:cubicBezTo>
                  <a:cubicBezTo>
                    <a:pt x="3933" y="7398"/>
                    <a:pt x="4090" y="7497"/>
                    <a:pt x="4282" y="7497"/>
                  </a:cubicBezTo>
                  <a:cubicBezTo>
                    <a:pt x="4474" y="7497"/>
                    <a:pt x="4628" y="7398"/>
                    <a:pt x="4628" y="7275"/>
                  </a:cubicBezTo>
                  <a:cubicBezTo>
                    <a:pt x="4628" y="7151"/>
                    <a:pt x="4474" y="7050"/>
                    <a:pt x="4282" y="7050"/>
                  </a:cubicBezTo>
                  <a:close/>
                  <a:moveTo>
                    <a:pt x="5317" y="7050"/>
                  </a:moveTo>
                  <a:cubicBezTo>
                    <a:pt x="5125" y="7050"/>
                    <a:pt x="4967" y="7151"/>
                    <a:pt x="4967" y="7275"/>
                  </a:cubicBezTo>
                  <a:cubicBezTo>
                    <a:pt x="4967" y="7398"/>
                    <a:pt x="5125" y="7497"/>
                    <a:pt x="5317" y="7497"/>
                  </a:cubicBezTo>
                  <a:cubicBezTo>
                    <a:pt x="5509" y="7497"/>
                    <a:pt x="5663" y="7398"/>
                    <a:pt x="5663" y="7275"/>
                  </a:cubicBezTo>
                  <a:cubicBezTo>
                    <a:pt x="5663" y="7151"/>
                    <a:pt x="5509" y="7050"/>
                    <a:pt x="5317" y="7050"/>
                  </a:cubicBezTo>
                  <a:close/>
                  <a:moveTo>
                    <a:pt x="6352" y="7050"/>
                  </a:moveTo>
                  <a:cubicBezTo>
                    <a:pt x="6160" y="7050"/>
                    <a:pt x="6002" y="7151"/>
                    <a:pt x="6002" y="7275"/>
                  </a:cubicBezTo>
                  <a:cubicBezTo>
                    <a:pt x="6002" y="7398"/>
                    <a:pt x="6160" y="7497"/>
                    <a:pt x="6352" y="7497"/>
                  </a:cubicBezTo>
                  <a:cubicBezTo>
                    <a:pt x="6544" y="7497"/>
                    <a:pt x="6698" y="7398"/>
                    <a:pt x="6698" y="7275"/>
                  </a:cubicBezTo>
                  <a:cubicBezTo>
                    <a:pt x="6698" y="7151"/>
                    <a:pt x="6544" y="7050"/>
                    <a:pt x="6352" y="7050"/>
                  </a:cubicBezTo>
                  <a:close/>
                  <a:moveTo>
                    <a:pt x="7283" y="7050"/>
                  </a:moveTo>
                  <a:cubicBezTo>
                    <a:pt x="7091" y="7050"/>
                    <a:pt x="6934" y="7151"/>
                    <a:pt x="6934" y="7275"/>
                  </a:cubicBezTo>
                  <a:cubicBezTo>
                    <a:pt x="6934" y="7398"/>
                    <a:pt x="7091" y="7497"/>
                    <a:pt x="7283" y="7497"/>
                  </a:cubicBezTo>
                  <a:cubicBezTo>
                    <a:pt x="7475" y="7497"/>
                    <a:pt x="7629" y="7398"/>
                    <a:pt x="7629" y="7275"/>
                  </a:cubicBezTo>
                  <a:cubicBezTo>
                    <a:pt x="7629" y="7151"/>
                    <a:pt x="7475" y="7050"/>
                    <a:pt x="7283" y="7050"/>
                  </a:cubicBezTo>
                  <a:close/>
                  <a:moveTo>
                    <a:pt x="8318" y="7050"/>
                  </a:moveTo>
                  <a:cubicBezTo>
                    <a:pt x="8126" y="7050"/>
                    <a:pt x="7969" y="7151"/>
                    <a:pt x="7969" y="7275"/>
                  </a:cubicBezTo>
                  <a:cubicBezTo>
                    <a:pt x="7969" y="7398"/>
                    <a:pt x="8126" y="7497"/>
                    <a:pt x="8318" y="7497"/>
                  </a:cubicBezTo>
                  <a:cubicBezTo>
                    <a:pt x="8510" y="7497"/>
                    <a:pt x="8664" y="7398"/>
                    <a:pt x="8664" y="7275"/>
                  </a:cubicBezTo>
                  <a:cubicBezTo>
                    <a:pt x="8664" y="7151"/>
                    <a:pt x="8510" y="7050"/>
                    <a:pt x="8318" y="7050"/>
                  </a:cubicBezTo>
                  <a:close/>
                  <a:moveTo>
                    <a:pt x="9249" y="7050"/>
                  </a:moveTo>
                  <a:cubicBezTo>
                    <a:pt x="9057" y="7050"/>
                    <a:pt x="8900" y="7151"/>
                    <a:pt x="8900" y="7275"/>
                  </a:cubicBezTo>
                  <a:cubicBezTo>
                    <a:pt x="8900" y="7398"/>
                    <a:pt x="9057" y="7497"/>
                    <a:pt x="9249" y="7497"/>
                  </a:cubicBezTo>
                  <a:cubicBezTo>
                    <a:pt x="9441" y="7497"/>
                    <a:pt x="9595" y="7398"/>
                    <a:pt x="9595" y="7275"/>
                  </a:cubicBezTo>
                  <a:cubicBezTo>
                    <a:pt x="9595" y="7151"/>
                    <a:pt x="9441" y="7050"/>
                    <a:pt x="9249" y="7050"/>
                  </a:cubicBezTo>
                  <a:close/>
                  <a:moveTo>
                    <a:pt x="10284" y="7050"/>
                  </a:moveTo>
                  <a:cubicBezTo>
                    <a:pt x="10092" y="7050"/>
                    <a:pt x="9935" y="7151"/>
                    <a:pt x="9935" y="7275"/>
                  </a:cubicBezTo>
                  <a:cubicBezTo>
                    <a:pt x="9935" y="7398"/>
                    <a:pt x="10092" y="7497"/>
                    <a:pt x="10284" y="7497"/>
                  </a:cubicBezTo>
                  <a:cubicBezTo>
                    <a:pt x="10477" y="7497"/>
                    <a:pt x="10630" y="7398"/>
                    <a:pt x="10630" y="7275"/>
                  </a:cubicBezTo>
                  <a:cubicBezTo>
                    <a:pt x="10630" y="7151"/>
                    <a:pt x="10477" y="7050"/>
                    <a:pt x="10284" y="7050"/>
                  </a:cubicBezTo>
                  <a:close/>
                  <a:moveTo>
                    <a:pt x="11319" y="7050"/>
                  </a:moveTo>
                  <a:cubicBezTo>
                    <a:pt x="11127" y="7050"/>
                    <a:pt x="10970" y="7151"/>
                    <a:pt x="10970" y="7275"/>
                  </a:cubicBezTo>
                  <a:cubicBezTo>
                    <a:pt x="10970" y="7398"/>
                    <a:pt x="11127" y="7497"/>
                    <a:pt x="11319" y="7497"/>
                  </a:cubicBezTo>
                  <a:cubicBezTo>
                    <a:pt x="11511" y="7497"/>
                    <a:pt x="11665" y="7398"/>
                    <a:pt x="11665" y="7275"/>
                  </a:cubicBezTo>
                  <a:cubicBezTo>
                    <a:pt x="11665" y="7151"/>
                    <a:pt x="11511" y="7050"/>
                    <a:pt x="11319" y="7050"/>
                  </a:cubicBezTo>
                  <a:close/>
                  <a:moveTo>
                    <a:pt x="12250" y="7050"/>
                  </a:moveTo>
                  <a:cubicBezTo>
                    <a:pt x="12058" y="7050"/>
                    <a:pt x="11901" y="7151"/>
                    <a:pt x="11901" y="7275"/>
                  </a:cubicBezTo>
                  <a:cubicBezTo>
                    <a:pt x="11901" y="7398"/>
                    <a:pt x="12058" y="7497"/>
                    <a:pt x="12250" y="7497"/>
                  </a:cubicBezTo>
                  <a:cubicBezTo>
                    <a:pt x="12443" y="7497"/>
                    <a:pt x="12597" y="7398"/>
                    <a:pt x="12596" y="7275"/>
                  </a:cubicBezTo>
                  <a:cubicBezTo>
                    <a:pt x="12596" y="7151"/>
                    <a:pt x="12443" y="7050"/>
                    <a:pt x="12250" y="7050"/>
                  </a:cubicBezTo>
                  <a:close/>
                  <a:moveTo>
                    <a:pt x="13285" y="7050"/>
                  </a:moveTo>
                  <a:cubicBezTo>
                    <a:pt x="13093" y="7050"/>
                    <a:pt x="12936" y="7151"/>
                    <a:pt x="12936" y="7275"/>
                  </a:cubicBezTo>
                  <a:cubicBezTo>
                    <a:pt x="12936" y="7398"/>
                    <a:pt x="13093" y="7497"/>
                    <a:pt x="13285" y="7497"/>
                  </a:cubicBezTo>
                  <a:cubicBezTo>
                    <a:pt x="13477" y="7497"/>
                    <a:pt x="13631" y="7398"/>
                    <a:pt x="13631" y="7275"/>
                  </a:cubicBezTo>
                  <a:cubicBezTo>
                    <a:pt x="13631" y="7151"/>
                    <a:pt x="13477" y="7050"/>
                    <a:pt x="13285" y="7050"/>
                  </a:cubicBezTo>
                  <a:close/>
                  <a:moveTo>
                    <a:pt x="14320" y="7050"/>
                  </a:moveTo>
                  <a:cubicBezTo>
                    <a:pt x="14128" y="7050"/>
                    <a:pt x="13971" y="7151"/>
                    <a:pt x="13971" y="7275"/>
                  </a:cubicBezTo>
                  <a:cubicBezTo>
                    <a:pt x="13971" y="7398"/>
                    <a:pt x="14128" y="7497"/>
                    <a:pt x="14320" y="7497"/>
                  </a:cubicBezTo>
                  <a:cubicBezTo>
                    <a:pt x="14512" y="7497"/>
                    <a:pt x="14666" y="7398"/>
                    <a:pt x="14666" y="7275"/>
                  </a:cubicBezTo>
                  <a:cubicBezTo>
                    <a:pt x="14666" y="7151"/>
                    <a:pt x="14512" y="7050"/>
                    <a:pt x="14320" y="7050"/>
                  </a:cubicBezTo>
                  <a:close/>
                  <a:moveTo>
                    <a:pt x="15252" y="7050"/>
                  </a:moveTo>
                  <a:cubicBezTo>
                    <a:pt x="15060" y="7050"/>
                    <a:pt x="14902" y="7151"/>
                    <a:pt x="14902" y="7275"/>
                  </a:cubicBezTo>
                  <a:cubicBezTo>
                    <a:pt x="14902" y="7398"/>
                    <a:pt x="15060" y="7497"/>
                    <a:pt x="15252" y="7497"/>
                  </a:cubicBezTo>
                  <a:cubicBezTo>
                    <a:pt x="15444" y="7497"/>
                    <a:pt x="15598" y="7398"/>
                    <a:pt x="15598" y="7275"/>
                  </a:cubicBezTo>
                  <a:cubicBezTo>
                    <a:pt x="15598" y="7151"/>
                    <a:pt x="15444" y="7050"/>
                    <a:pt x="15252" y="7050"/>
                  </a:cubicBezTo>
                  <a:close/>
                  <a:moveTo>
                    <a:pt x="16287" y="7050"/>
                  </a:moveTo>
                  <a:cubicBezTo>
                    <a:pt x="16094" y="7050"/>
                    <a:pt x="15937" y="7151"/>
                    <a:pt x="15937" y="7275"/>
                  </a:cubicBezTo>
                  <a:cubicBezTo>
                    <a:pt x="15937" y="7398"/>
                    <a:pt x="16094" y="7497"/>
                    <a:pt x="16287" y="7497"/>
                  </a:cubicBezTo>
                  <a:cubicBezTo>
                    <a:pt x="16479" y="7497"/>
                    <a:pt x="16633" y="7398"/>
                    <a:pt x="16633" y="7275"/>
                  </a:cubicBezTo>
                  <a:cubicBezTo>
                    <a:pt x="16633" y="7151"/>
                    <a:pt x="16479" y="7050"/>
                    <a:pt x="16287" y="7050"/>
                  </a:cubicBezTo>
                  <a:close/>
                  <a:moveTo>
                    <a:pt x="17218" y="7050"/>
                  </a:moveTo>
                  <a:cubicBezTo>
                    <a:pt x="17026" y="7050"/>
                    <a:pt x="16869" y="7151"/>
                    <a:pt x="16869" y="7275"/>
                  </a:cubicBezTo>
                  <a:cubicBezTo>
                    <a:pt x="16869" y="7398"/>
                    <a:pt x="17026" y="7497"/>
                    <a:pt x="17218" y="7497"/>
                  </a:cubicBezTo>
                  <a:cubicBezTo>
                    <a:pt x="17410" y="7497"/>
                    <a:pt x="17564" y="7398"/>
                    <a:pt x="17564" y="7275"/>
                  </a:cubicBezTo>
                  <a:cubicBezTo>
                    <a:pt x="17564" y="7151"/>
                    <a:pt x="17410" y="7050"/>
                    <a:pt x="17218" y="7050"/>
                  </a:cubicBezTo>
                  <a:close/>
                  <a:moveTo>
                    <a:pt x="18253" y="7050"/>
                  </a:moveTo>
                  <a:cubicBezTo>
                    <a:pt x="18061" y="7050"/>
                    <a:pt x="17904" y="7151"/>
                    <a:pt x="17904" y="7275"/>
                  </a:cubicBezTo>
                  <a:cubicBezTo>
                    <a:pt x="17904" y="7398"/>
                    <a:pt x="18061" y="7497"/>
                    <a:pt x="18253" y="7497"/>
                  </a:cubicBezTo>
                  <a:cubicBezTo>
                    <a:pt x="18445" y="7497"/>
                    <a:pt x="18599" y="7398"/>
                    <a:pt x="18599" y="7275"/>
                  </a:cubicBezTo>
                  <a:cubicBezTo>
                    <a:pt x="18599" y="7151"/>
                    <a:pt x="18445" y="7050"/>
                    <a:pt x="18253" y="7050"/>
                  </a:cubicBezTo>
                  <a:close/>
                  <a:moveTo>
                    <a:pt x="19288" y="7050"/>
                  </a:moveTo>
                  <a:cubicBezTo>
                    <a:pt x="19095" y="7050"/>
                    <a:pt x="18938" y="7151"/>
                    <a:pt x="18938" y="7275"/>
                  </a:cubicBezTo>
                  <a:cubicBezTo>
                    <a:pt x="18938" y="7398"/>
                    <a:pt x="19095" y="7497"/>
                    <a:pt x="19288" y="7497"/>
                  </a:cubicBezTo>
                  <a:cubicBezTo>
                    <a:pt x="19480" y="7497"/>
                    <a:pt x="19634" y="7398"/>
                    <a:pt x="19634" y="7275"/>
                  </a:cubicBezTo>
                  <a:cubicBezTo>
                    <a:pt x="19634" y="7151"/>
                    <a:pt x="19480" y="7050"/>
                    <a:pt x="19288" y="7050"/>
                  </a:cubicBezTo>
                  <a:close/>
                  <a:moveTo>
                    <a:pt x="20116" y="7050"/>
                  </a:moveTo>
                  <a:cubicBezTo>
                    <a:pt x="19923" y="7050"/>
                    <a:pt x="19766" y="7151"/>
                    <a:pt x="19766" y="7275"/>
                  </a:cubicBezTo>
                  <a:cubicBezTo>
                    <a:pt x="19766" y="7398"/>
                    <a:pt x="19923" y="7497"/>
                    <a:pt x="20116" y="7497"/>
                  </a:cubicBezTo>
                  <a:cubicBezTo>
                    <a:pt x="20308" y="7497"/>
                    <a:pt x="20462" y="7398"/>
                    <a:pt x="20462" y="7275"/>
                  </a:cubicBezTo>
                  <a:cubicBezTo>
                    <a:pt x="20462" y="7151"/>
                    <a:pt x="20308" y="7050"/>
                    <a:pt x="20116" y="7050"/>
                  </a:cubicBezTo>
                  <a:close/>
                  <a:moveTo>
                    <a:pt x="21254" y="7050"/>
                  </a:moveTo>
                  <a:cubicBezTo>
                    <a:pt x="21062" y="7050"/>
                    <a:pt x="20905" y="7151"/>
                    <a:pt x="20905" y="7275"/>
                  </a:cubicBezTo>
                  <a:cubicBezTo>
                    <a:pt x="20905" y="7398"/>
                    <a:pt x="21062" y="7497"/>
                    <a:pt x="21254" y="7497"/>
                  </a:cubicBezTo>
                  <a:cubicBezTo>
                    <a:pt x="21446" y="7497"/>
                    <a:pt x="21600" y="7398"/>
                    <a:pt x="21600" y="7275"/>
                  </a:cubicBezTo>
                  <a:cubicBezTo>
                    <a:pt x="21600" y="7151"/>
                    <a:pt x="21446" y="7050"/>
                    <a:pt x="21254" y="7050"/>
                  </a:cubicBezTo>
                  <a:close/>
                  <a:moveTo>
                    <a:pt x="3247" y="7715"/>
                  </a:moveTo>
                  <a:cubicBezTo>
                    <a:pt x="3055" y="7715"/>
                    <a:pt x="2898" y="7817"/>
                    <a:pt x="2898" y="7940"/>
                  </a:cubicBezTo>
                  <a:cubicBezTo>
                    <a:pt x="2898" y="8064"/>
                    <a:pt x="3055" y="8164"/>
                    <a:pt x="3247" y="8164"/>
                  </a:cubicBezTo>
                  <a:cubicBezTo>
                    <a:pt x="3439" y="8164"/>
                    <a:pt x="3593" y="8064"/>
                    <a:pt x="3593" y="7940"/>
                  </a:cubicBezTo>
                  <a:cubicBezTo>
                    <a:pt x="3593" y="7817"/>
                    <a:pt x="3439" y="7715"/>
                    <a:pt x="3247" y="7715"/>
                  </a:cubicBezTo>
                  <a:close/>
                  <a:moveTo>
                    <a:pt x="4282" y="7715"/>
                  </a:moveTo>
                  <a:cubicBezTo>
                    <a:pt x="4090" y="7715"/>
                    <a:pt x="3933" y="7817"/>
                    <a:pt x="3933" y="7940"/>
                  </a:cubicBezTo>
                  <a:cubicBezTo>
                    <a:pt x="3933" y="8064"/>
                    <a:pt x="4090" y="8164"/>
                    <a:pt x="4282" y="8164"/>
                  </a:cubicBezTo>
                  <a:cubicBezTo>
                    <a:pt x="4474" y="8164"/>
                    <a:pt x="4628" y="8064"/>
                    <a:pt x="4628" y="7940"/>
                  </a:cubicBezTo>
                  <a:cubicBezTo>
                    <a:pt x="4628" y="7817"/>
                    <a:pt x="4474" y="7715"/>
                    <a:pt x="4282" y="7715"/>
                  </a:cubicBezTo>
                  <a:close/>
                  <a:moveTo>
                    <a:pt x="5317" y="7715"/>
                  </a:moveTo>
                  <a:cubicBezTo>
                    <a:pt x="5125" y="7715"/>
                    <a:pt x="4967" y="7817"/>
                    <a:pt x="4967" y="7940"/>
                  </a:cubicBezTo>
                  <a:cubicBezTo>
                    <a:pt x="4967" y="8064"/>
                    <a:pt x="5125" y="8164"/>
                    <a:pt x="5317" y="8164"/>
                  </a:cubicBezTo>
                  <a:cubicBezTo>
                    <a:pt x="5509" y="8164"/>
                    <a:pt x="5663" y="8064"/>
                    <a:pt x="5663" y="7940"/>
                  </a:cubicBezTo>
                  <a:cubicBezTo>
                    <a:pt x="5663" y="7817"/>
                    <a:pt x="5509" y="7715"/>
                    <a:pt x="5317" y="7715"/>
                  </a:cubicBezTo>
                  <a:close/>
                  <a:moveTo>
                    <a:pt x="6352" y="7715"/>
                  </a:moveTo>
                  <a:cubicBezTo>
                    <a:pt x="6160" y="7715"/>
                    <a:pt x="6002" y="7817"/>
                    <a:pt x="6002" y="7940"/>
                  </a:cubicBezTo>
                  <a:cubicBezTo>
                    <a:pt x="6002" y="8064"/>
                    <a:pt x="6160" y="8164"/>
                    <a:pt x="6352" y="8164"/>
                  </a:cubicBezTo>
                  <a:cubicBezTo>
                    <a:pt x="6544" y="8164"/>
                    <a:pt x="6698" y="8064"/>
                    <a:pt x="6698" y="7940"/>
                  </a:cubicBezTo>
                  <a:cubicBezTo>
                    <a:pt x="6698" y="7817"/>
                    <a:pt x="6544" y="7715"/>
                    <a:pt x="6352" y="7715"/>
                  </a:cubicBezTo>
                  <a:close/>
                  <a:moveTo>
                    <a:pt x="7283" y="7715"/>
                  </a:moveTo>
                  <a:cubicBezTo>
                    <a:pt x="7091" y="7715"/>
                    <a:pt x="6934" y="7817"/>
                    <a:pt x="6934" y="7940"/>
                  </a:cubicBezTo>
                  <a:cubicBezTo>
                    <a:pt x="6934" y="8064"/>
                    <a:pt x="7091" y="8164"/>
                    <a:pt x="7283" y="8164"/>
                  </a:cubicBezTo>
                  <a:cubicBezTo>
                    <a:pt x="7475" y="8164"/>
                    <a:pt x="7629" y="8064"/>
                    <a:pt x="7629" y="7940"/>
                  </a:cubicBezTo>
                  <a:cubicBezTo>
                    <a:pt x="7629" y="7817"/>
                    <a:pt x="7475" y="7715"/>
                    <a:pt x="7283" y="7715"/>
                  </a:cubicBezTo>
                  <a:close/>
                  <a:moveTo>
                    <a:pt x="8318" y="7715"/>
                  </a:moveTo>
                  <a:cubicBezTo>
                    <a:pt x="8126" y="7715"/>
                    <a:pt x="7969" y="7817"/>
                    <a:pt x="7969" y="7940"/>
                  </a:cubicBezTo>
                  <a:cubicBezTo>
                    <a:pt x="7969" y="8064"/>
                    <a:pt x="8126" y="8164"/>
                    <a:pt x="8318" y="8164"/>
                  </a:cubicBezTo>
                  <a:cubicBezTo>
                    <a:pt x="8510" y="8164"/>
                    <a:pt x="8664" y="8064"/>
                    <a:pt x="8664" y="7940"/>
                  </a:cubicBezTo>
                  <a:cubicBezTo>
                    <a:pt x="8664" y="7817"/>
                    <a:pt x="8510" y="7715"/>
                    <a:pt x="8318" y="7715"/>
                  </a:cubicBezTo>
                  <a:close/>
                  <a:moveTo>
                    <a:pt x="9249" y="7715"/>
                  </a:moveTo>
                  <a:cubicBezTo>
                    <a:pt x="9057" y="7715"/>
                    <a:pt x="8900" y="7817"/>
                    <a:pt x="8900" y="7940"/>
                  </a:cubicBezTo>
                  <a:cubicBezTo>
                    <a:pt x="8900" y="8064"/>
                    <a:pt x="9057" y="8164"/>
                    <a:pt x="9249" y="8164"/>
                  </a:cubicBezTo>
                  <a:cubicBezTo>
                    <a:pt x="9441" y="8164"/>
                    <a:pt x="9595" y="8064"/>
                    <a:pt x="9595" y="7940"/>
                  </a:cubicBezTo>
                  <a:cubicBezTo>
                    <a:pt x="9595" y="7817"/>
                    <a:pt x="9441" y="7715"/>
                    <a:pt x="9249" y="7715"/>
                  </a:cubicBezTo>
                  <a:close/>
                  <a:moveTo>
                    <a:pt x="10284" y="7715"/>
                  </a:moveTo>
                  <a:cubicBezTo>
                    <a:pt x="10092" y="7715"/>
                    <a:pt x="9935" y="7817"/>
                    <a:pt x="9935" y="7940"/>
                  </a:cubicBezTo>
                  <a:cubicBezTo>
                    <a:pt x="9935" y="8064"/>
                    <a:pt x="10092" y="8164"/>
                    <a:pt x="10284" y="8164"/>
                  </a:cubicBezTo>
                  <a:cubicBezTo>
                    <a:pt x="10477" y="8164"/>
                    <a:pt x="10630" y="8064"/>
                    <a:pt x="10630" y="7940"/>
                  </a:cubicBezTo>
                  <a:cubicBezTo>
                    <a:pt x="10630" y="7817"/>
                    <a:pt x="10477" y="7715"/>
                    <a:pt x="10284" y="7715"/>
                  </a:cubicBezTo>
                  <a:close/>
                  <a:moveTo>
                    <a:pt x="11319" y="7715"/>
                  </a:moveTo>
                  <a:cubicBezTo>
                    <a:pt x="11127" y="7715"/>
                    <a:pt x="10970" y="7817"/>
                    <a:pt x="10970" y="7940"/>
                  </a:cubicBezTo>
                  <a:cubicBezTo>
                    <a:pt x="10970" y="8064"/>
                    <a:pt x="11127" y="8164"/>
                    <a:pt x="11319" y="8164"/>
                  </a:cubicBezTo>
                  <a:cubicBezTo>
                    <a:pt x="11511" y="8164"/>
                    <a:pt x="11665" y="8064"/>
                    <a:pt x="11665" y="7940"/>
                  </a:cubicBezTo>
                  <a:cubicBezTo>
                    <a:pt x="11665" y="7817"/>
                    <a:pt x="11511" y="7715"/>
                    <a:pt x="11319" y="7715"/>
                  </a:cubicBezTo>
                  <a:close/>
                  <a:moveTo>
                    <a:pt x="12250" y="7715"/>
                  </a:moveTo>
                  <a:cubicBezTo>
                    <a:pt x="12058" y="7715"/>
                    <a:pt x="11901" y="7817"/>
                    <a:pt x="11901" y="7940"/>
                  </a:cubicBezTo>
                  <a:cubicBezTo>
                    <a:pt x="11901" y="8064"/>
                    <a:pt x="12058" y="8164"/>
                    <a:pt x="12250" y="8164"/>
                  </a:cubicBezTo>
                  <a:cubicBezTo>
                    <a:pt x="12443" y="8164"/>
                    <a:pt x="12597" y="8064"/>
                    <a:pt x="12596" y="7940"/>
                  </a:cubicBezTo>
                  <a:cubicBezTo>
                    <a:pt x="12596" y="7817"/>
                    <a:pt x="12443" y="7715"/>
                    <a:pt x="12250" y="7715"/>
                  </a:cubicBezTo>
                  <a:close/>
                  <a:moveTo>
                    <a:pt x="13285" y="7715"/>
                  </a:moveTo>
                  <a:cubicBezTo>
                    <a:pt x="13093" y="7715"/>
                    <a:pt x="12936" y="7817"/>
                    <a:pt x="12936" y="7940"/>
                  </a:cubicBezTo>
                  <a:cubicBezTo>
                    <a:pt x="12936" y="8064"/>
                    <a:pt x="13093" y="8164"/>
                    <a:pt x="13285" y="8164"/>
                  </a:cubicBezTo>
                  <a:cubicBezTo>
                    <a:pt x="13477" y="8164"/>
                    <a:pt x="13631" y="8064"/>
                    <a:pt x="13631" y="7940"/>
                  </a:cubicBezTo>
                  <a:cubicBezTo>
                    <a:pt x="13631" y="7817"/>
                    <a:pt x="13477" y="7715"/>
                    <a:pt x="13285" y="7715"/>
                  </a:cubicBezTo>
                  <a:close/>
                  <a:moveTo>
                    <a:pt x="14320" y="7715"/>
                  </a:moveTo>
                  <a:cubicBezTo>
                    <a:pt x="14128" y="7715"/>
                    <a:pt x="13971" y="7817"/>
                    <a:pt x="13971" y="7940"/>
                  </a:cubicBezTo>
                  <a:cubicBezTo>
                    <a:pt x="13971" y="8064"/>
                    <a:pt x="14128" y="8164"/>
                    <a:pt x="14320" y="8164"/>
                  </a:cubicBezTo>
                  <a:cubicBezTo>
                    <a:pt x="14512" y="8164"/>
                    <a:pt x="14666" y="8064"/>
                    <a:pt x="14666" y="7940"/>
                  </a:cubicBezTo>
                  <a:cubicBezTo>
                    <a:pt x="14666" y="7817"/>
                    <a:pt x="14512" y="7715"/>
                    <a:pt x="14320" y="7715"/>
                  </a:cubicBezTo>
                  <a:close/>
                  <a:moveTo>
                    <a:pt x="15252" y="7715"/>
                  </a:moveTo>
                  <a:cubicBezTo>
                    <a:pt x="15060" y="7715"/>
                    <a:pt x="14902" y="7817"/>
                    <a:pt x="14902" y="7940"/>
                  </a:cubicBezTo>
                  <a:cubicBezTo>
                    <a:pt x="14902" y="8064"/>
                    <a:pt x="15060" y="8164"/>
                    <a:pt x="15252" y="8164"/>
                  </a:cubicBezTo>
                  <a:cubicBezTo>
                    <a:pt x="15444" y="8164"/>
                    <a:pt x="15598" y="8064"/>
                    <a:pt x="15598" y="7940"/>
                  </a:cubicBezTo>
                  <a:cubicBezTo>
                    <a:pt x="15598" y="7817"/>
                    <a:pt x="15444" y="7715"/>
                    <a:pt x="15252" y="7715"/>
                  </a:cubicBezTo>
                  <a:close/>
                  <a:moveTo>
                    <a:pt x="16287" y="7715"/>
                  </a:moveTo>
                  <a:cubicBezTo>
                    <a:pt x="16094" y="7715"/>
                    <a:pt x="15937" y="7817"/>
                    <a:pt x="15937" y="7940"/>
                  </a:cubicBezTo>
                  <a:cubicBezTo>
                    <a:pt x="15937" y="8064"/>
                    <a:pt x="16094" y="8164"/>
                    <a:pt x="16287" y="8164"/>
                  </a:cubicBezTo>
                  <a:cubicBezTo>
                    <a:pt x="16479" y="8164"/>
                    <a:pt x="16633" y="8064"/>
                    <a:pt x="16633" y="7940"/>
                  </a:cubicBezTo>
                  <a:cubicBezTo>
                    <a:pt x="16633" y="7817"/>
                    <a:pt x="16479" y="7715"/>
                    <a:pt x="16287" y="7715"/>
                  </a:cubicBezTo>
                  <a:close/>
                  <a:moveTo>
                    <a:pt x="17218" y="7715"/>
                  </a:moveTo>
                  <a:cubicBezTo>
                    <a:pt x="17026" y="7715"/>
                    <a:pt x="16869" y="7817"/>
                    <a:pt x="16869" y="7940"/>
                  </a:cubicBezTo>
                  <a:cubicBezTo>
                    <a:pt x="16869" y="8064"/>
                    <a:pt x="17026" y="8164"/>
                    <a:pt x="17218" y="8164"/>
                  </a:cubicBezTo>
                  <a:cubicBezTo>
                    <a:pt x="17410" y="8164"/>
                    <a:pt x="17564" y="8064"/>
                    <a:pt x="17564" y="7940"/>
                  </a:cubicBezTo>
                  <a:cubicBezTo>
                    <a:pt x="17564" y="7817"/>
                    <a:pt x="17410" y="7715"/>
                    <a:pt x="17218" y="7715"/>
                  </a:cubicBezTo>
                  <a:close/>
                  <a:moveTo>
                    <a:pt x="18253" y="7715"/>
                  </a:moveTo>
                  <a:cubicBezTo>
                    <a:pt x="18061" y="7715"/>
                    <a:pt x="17904" y="7817"/>
                    <a:pt x="17904" y="7940"/>
                  </a:cubicBezTo>
                  <a:cubicBezTo>
                    <a:pt x="17904" y="8064"/>
                    <a:pt x="18061" y="8164"/>
                    <a:pt x="18253" y="8164"/>
                  </a:cubicBezTo>
                  <a:cubicBezTo>
                    <a:pt x="18445" y="8164"/>
                    <a:pt x="18599" y="8064"/>
                    <a:pt x="18599" y="7940"/>
                  </a:cubicBezTo>
                  <a:cubicBezTo>
                    <a:pt x="18599" y="7817"/>
                    <a:pt x="18445" y="7715"/>
                    <a:pt x="18253" y="7715"/>
                  </a:cubicBezTo>
                  <a:close/>
                  <a:moveTo>
                    <a:pt x="19288" y="7715"/>
                  </a:moveTo>
                  <a:cubicBezTo>
                    <a:pt x="19095" y="7715"/>
                    <a:pt x="18938" y="7817"/>
                    <a:pt x="18938" y="7940"/>
                  </a:cubicBezTo>
                  <a:cubicBezTo>
                    <a:pt x="18938" y="8064"/>
                    <a:pt x="19095" y="8164"/>
                    <a:pt x="19288" y="8164"/>
                  </a:cubicBezTo>
                  <a:cubicBezTo>
                    <a:pt x="19480" y="8164"/>
                    <a:pt x="19634" y="8064"/>
                    <a:pt x="19634" y="7940"/>
                  </a:cubicBezTo>
                  <a:cubicBezTo>
                    <a:pt x="19634" y="7817"/>
                    <a:pt x="19480" y="7715"/>
                    <a:pt x="19288" y="7715"/>
                  </a:cubicBezTo>
                  <a:close/>
                  <a:moveTo>
                    <a:pt x="20116" y="7715"/>
                  </a:moveTo>
                  <a:cubicBezTo>
                    <a:pt x="19923" y="7715"/>
                    <a:pt x="19766" y="7817"/>
                    <a:pt x="19766" y="7940"/>
                  </a:cubicBezTo>
                  <a:cubicBezTo>
                    <a:pt x="19766" y="8064"/>
                    <a:pt x="19923" y="8164"/>
                    <a:pt x="20116" y="8164"/>
                  </a:cubicBezTo>
                  <a:cubicBezTo>
                    <a:pt x="20308" y="8164"/>
                    <a:pt x="20462" y="8064"/>
                    <a:pt x="20462" y="7940"/>
                  </a:cubicBezTo>
                  <a:cubicBezTo>
                    <a:pt x="20462" y="7817"/>
                    <a:pt x="20308" y="7715"/>
                    <a:pt x="20116" y="7715"/>
                  </a:cubicBezTo>
                  <a:close/>
                  <a:moveTo>
                    <a:pt x="3247" y="8314"/>
                  </a:moveTo>
                  <a:cubicBezTo>
                    <a:pt x="3055" y="8314"/>
                    <a:pt x="2898" y="8415"/>
                    <a:pt x="2898" y="8539"/>
                  </a:cubicBezTo>
                  <a:cubicBezTo>
                    <a:pt x="2898" y="8662"/>
                    <a:pt x="3055" y="8763"/>
                    <a:pt x="3247" y="8763"/>
                  </a:cubicBezTo>
                  <a:cubicBezTo>
                    <a:pt x="3439" y="8763"/>
                    <a:pt x="3593" y="8662"/>
                    <a:pt x="3593" y="8539"/>
                  </a:cubicBezTo>
                  <a:cubicBezTo>
                    <a:pt x="3593" y="8415"/>
                    <a:pt x="3439" y="8314"/>
                    <a:pt x="3247" y="8314"/>
                  </a:cubicBezTo>
                  <a:close/>
                  <a:moveTo>
                    <a:pt x="4282" y="8314"/>
                  </a:moveTo>
                  <a:cubicBezTo>
                    <a:pt x="4090" y="8314"/>
                    <a:pt x="3933" y="8415"/>
                    <a:pt x="3933" y="8539"/>
                  </a:cubicBezTo>
                  <a:cubicBezTo>
                    <a:pt x="3933" y="8662"/>
                    <a:pt x="4090" y="8763"/>
                    <a:pt x="4282" y="8763"/>
                  </a:cubicBezTo>
                  <a:cubicBezTo>
                    <a:pt x="4474" y="8763"/>
                    <a:pt x="4628" y="8662"/>
                    <a:pt x="4628" y="8539"/>
                  </a:cubicBezTo>
                  <a:cubicBezTo>
                    <a:pt x="4628" y="8415"/>
                    <a:pt x="4474" y="8314"/>
                    <a:pt x="4282" y="8314"/>
                  </a:cubicBezTo>
                  <a:close/>
                  <a:moveTo>
                    <a:pt x="5317" y="8314"/>
                  </a:moveTo>
                  <a:cubicBezTo>
                    <a:pt x="5125" y="8314"/>
                    <a:pt x="4967" y="8415"/>
                    <a:pt x="4967" y="8539"/>
                  </a:cubicBezTo>
                  <a:cubicBezTo>
                    <a:pt x="4967" y="8662"/>
                    <a:pt x="5125" y="8763"/>
                    <a:pt x="5317" y="8763"/>
                  </a:cubicBezTo>
                  <a:cubicBezTo>
                    <a:pt x="5509" y="8763"/>
                    <a:pt x="5663" y="8662"/>
                    <a:pt x="5663" y="8539"/>
                  </a:cubicBezTo>
                  <a:cubicBezTo>
                    <a:pt x="5663" y="8415"/>
                    <a:pt x="5509" y="8314"/>
                    <a:pt x="5317" y="8314"/>
                  </a:cubicBezTo>
                  <a:close/>
                  <a:moveTo>
                    <a:pt x="6352" y="8314"/>
                  </a:moveTo>
                  <a:cubicBezTo>
                    <a:pt x="6160" y="8314"/>
                    <a:pt x="6002" y="8415"/>
                    <a:pt x="6002" y="8539"/>
                  </a:cubicBezTo>
                  <a:cubicBezTo>
                    <a:pt x="6002" y="8662"/>
                    <a:pt x="6160" y="8763"/>
                    <a:pt x="6352" y="8763"/>
                  </a:cubicBezTo>
                  <a:cubicBezTo>
                    <a:pt x="6544" y="8763"/>
                    <a:pt x="6698" y="8662"/>
                    <a:pt x="6698" y="8539"/>
                  </a:cubicBezTo>
                  <a:cubicBezTo>
                    <a:pt x="6698" y="8415"/>
                    <a:pt x="6544" y="8314"/>
                    <a:pt x="6352" y="8314"/>
                  </a:cubicBezTo>
                  <a:close/>
                  <a:moveTo>
                    <a:pt x="7283" y="8314"/>
                  </a:moveTo>
                  <a:cubicBezTo>
                    <a:pt x="7091" y="8314"/>
                    <a:pt x="6934" y="8415"/>
                    <a:pt x="6934" y="8539"/>
                  </a:cubicBezTo>
                  <a:cubicBezTo>
                    <a:pt x="6934" y="8662"/>
                    <a:pt x="7091" y="8763"/>
                    <a:pt x="7283" y="8763"/>
                  </a:cubicBezTo>
                  <a:cubicBezTo>
                    <a:pt x="7475" y="8763"/>
                    <a:pt x="7629" y="8662"/>
                    <a:pt x="7629" y="8539"/>
                  </a:cubicBezTo>
                  <a:cubicBezTo>
                    <a:pt x="7629" y="8415"/>
                    <a:pt x="7475" y="8314"/>
                    <a:pt x="7283" y="8314"/>
                  </a:cubicBezTo>
                  <a:close/>
                  <a:moveTo>
                    <a:pt x="8318" y="8314"/>
                  </a:moveTo>
                  <a:cubicBezTo>
                    <a:pt x="8126" y="8314"/>
                    <a:pt x="7969" y="8415"/>
                    <a:pt x="7969" y="8539"/>
                  </a:cubicBezTo>
                  <a:cubicBezTo>
                    <a:pt x="7969" y="8662"/>
                    <a:pt x="8126" y="8763"/>
                    <a:pt x="8318" y="8763"/>
                  </a:cubicBezTo>
                  <a:cubicBezTo>
                    <a:pt x="8510" y="8763"/>
                    <a:pt x="8664" y="8662"/>
                    <a:pt x="8664" y="8539"/>
                  </a:cubicBezTo>
                  <a:cubicBezTo>
                    <a:pt x="8664" y="8415"/>
                    <a:pt x="8510" y="8314"/>
                    <a:pt x="8318" y="8314"/>
                  </a:cubicBezTo>
                  <a:close/>
                  <a:moveTo>
                    <a:pt x="9249" y="8314"/>
                  </a:moveTo>
                  <a:cubicBezTo>
                    <a:pt x="9057" y="8314"/>
                    <a:pt x="8900" y="8415"/>
                    <a:pt x="8900" y="8539"/>
                  </a:cubicBezTo>
                  <a:cubicBezTo>
                    <a:pt x="8900" y="8662"/>
                    <a:pt x="9057" y="8763"/>
                    <a:pt x="9249" y="8763"/>
                  </a:cubicBezTo>
                  <a:cubicBezTo>
                    <a:pt x="9441" y="8763"/>
                    <a:pt x="9595" y="8662"/>
                    <a:pt x="9595" y="8539"/>
                  </a:cubicBezTo>
                  <a:cubicBezTo>
                    <a:pt x="9595" y="8415"/>
                    <a:pt x="9441" y="8314"/>
                    <a:pt x="9249" y="8314"/>
                  </a:cubicBezTo>
                  <a:close/>
                  <a:moveTo>
                    <a:pt x="10284" y="8314"/>
                  </a:moveTo>
                  <a:cubicBezTo>
                    <a:pt x="10092" y="8314"/>
                    <a:pt x="9935" y="8415"/>
                    <a:pt x="9935" y="8539"/>
                  </a:cubicBezTo>
                  <a:cubicBezTo>
                    <a:pt x="9935" y="8662"/>
                    <a:pt x="10092" y="8763"/>
                    <a:pt x="10284" y="8763"/>
                  </a:cubicBezTo>
                  <a:cubicBezTo>
                    <a:pt x="10477" y="8763"/>
                    <a:pt x="10630" y="8662"/>
                    <a:pt x="10630" y="8539"/>
                  </a:cubicBezTo>
                  <a:cubicBezTo>
                    <a:pt x="10630" y="8415"/>
                    <a:pt x="10477" y="8314"/>
                    <a:pt x="10284" y="8314"/>
                  </a:cubicBezTo>
                  <a:close/>
                  <a:moveTo>
                    <a:pt x="11319" y="8314"/>
                  </a:moveTo>
                  <a:cubicBezTo>
                    <a:pt x="11127" y="8314"/>
                    <a:pt x="10970" y="8415"/>
                    <a:pt x="10970" y="8539"/>
                  </a:cubicBezTo>
                  <a:cubicBezTo>
                    <a:pt x="10970" y="8662"/>
                    <a:pt x="11127" y="8763"/>
                    <a:pt x="11319" y="8763"/>
                  </a:cubicBezTo>
                  <a:cubicBezTo>
                    <a:pt x="11511" y="8763"/>
                    <a:pt x="11665" y="8662"/>
                    <a:pt x="11665" y="8539"/>
                  </a:cubicBezTo>
                  <a:cubicBezTo>
                    <a:pt x="11665" y="8415"/>
                    <a:pt x="11511" y="8314"/>
                    <a:pt x="11319" y="8314"/>
                  </a:cubicBezTo>
                  <a:close/>
                  <a:moveTo>
                    <a:pt x="12250" y="8314"/>
                  </a:moveTo>
                  <a:cubicBezTo>
                    <a:pt x="12058" y="8314"/>
                    <a:pt x="11901" y="8415"/>
                    <a:pt x="11901" y="8539"/>
                  </a:cubicBezTo>
                  <a:cubicBezTo>
                    <a:pt x="11901" y="8662"/>
                    <a:pt x="12058" y="8763"/>
                    <a:pt x="12250" y="8763"/>
                  </a:cubicBezTo>
                  <a:cubicBezTo>
                    <a:pt x="12443" y="8763"/>
                    <a:pt x="12597" y="8662"/>
                    <a:pt x="12596" y="8539"/>
                  </a:cubicBezTo>
                  <a:cubicBezTo>
                    <a:pt x="12596" y="8415"/>
                    <a:pt x="12443" y="8314"/>
                    <a:pt x="12250" y="8314"/>
                  </a:cubicBezTo>
                  <a:close/>
                  <a:moveTo>
                    <a:pt x="13285" y="8314"/>
                  </a:moveTo>
                  <a:cubicBezTo>
                    <a:pt x="13093" y="8314"/>
                    <a:pt x="12936" y="8415"/>
                    <a:pt x="12936" y="8539"/>
                  </a:cubicBezTo>
                  <a:cubicBezTo>
                    <a:pt x="12936" y="8662"/>
                    <a:pt x="13093" y="8763"/>
                    <a:pt x="13285" y="8763"/>
                  </a:cubicBezTo>
                  <a:cubicBezTo>
                    <a:pt x="13477" y="8763"/>
                    <a:pt x="13631" y="8662"/>
                    <a:pt x="13631" y="8539"/>
                  </a:cubicBezTo>
                  <a:cubicBezTo>
                    <a:pt x="13631" y="8415"/>
                    <a:pt x="13477" y="8314"/>
                    <a:pt x="13285" y="8314"/>
                  </a:cubicBezTo>
                  <a:close/>
                  <a:moveTo>
                    <a:pt x="14320" y="8314"/>
                  </a:moveTo>
                  <a:cubicBezTo>
                    <a:pt x="14128" y="8314"/>
                    <a:pt x="13971" y="8415"/>
                    <a:pt x="13971" y="8539"/>
                  </a:cubicBezTo>
                  <a:cubicBezTo>
                    <a:pt x="13971" y="8662"/>
                    <a:pt x="14128" y="8763"/>
                    <a:pt x="14320" y="8763"/>
                  </a:cubicBezTo>
                  <a:cubicBezTo>
                    <a:pt x="14512" y="8763"/>
                    <a:pt x="14666" y="8662"/>
                    <a:pt x="14666" y="8539"/>
                  </a:cubicBezTo>
                  <a:cubicBezTo>
                    <a:pt x="14666" y="8415"/>
                    <a:pt x="14512" y="8314"/>
                    <a:pt x="14320" y="8314"/>
                  </a:cubicBezTo>
                  <a:close/>
                  <a:moveTo>
                    <a:pt x="15252" y="8314"/>
                  </a:moveTo>
                  <a:cubicBezTo>
                    <a:pt x="15060" y="8314"/>
                    <a:pt x="14902" y="8415"/>
                    <a:pt x="14902" y="8539"/>
                  </a:cubicBezTo>
                  <a:cubicBezTo>
                    <a:pt x="14902" y="8662"/>
                    <a:pt x="15060" y="8763"/>
                    <a:pt x="15252" y="8763"/>
                  </a:cubicBezTo>
                  <a:cubicBezTo>
                    <a:pt x="15444" y="8763"/>
                    <a:pt x="15598" y="8662"/>
                    <a:pt x="15598" y="8539"/>
                  </a:cubicBezTo>
                  <a:cubicBezTo>
                    <a:pt x="15598" y="8415"/>
                    <a:pt x="15444" y="8314"/>
                    <a:pt x="15252" y="8314"/>
                  </a:cubicBezTo>
                  <a:close/>
                  <a:moveTo>
                    <a:pt x="16287" y="8314"/>
                  </a:moveTo>
                  <a:cubicBezTo>
                    <a:pt x="16094" y="8314"/>
                    <a:pt x="15937" y="8415"/>
                    <a:pt x="15937" y="8539"/>
                  </a:cubicBezTo>
                  <a:cubicBezTo>
                    <a:pt x="15937" y="8662"/>
                    <a:pt x="16094" y="8763"/>
                    <a:pt x="16287" y="8763"/>
                  </a:cubicBezTo>
                  <a:cubicBezTo>
                    <a:pt x="16479" y="8763"/>
                    <a:pt x="16633" y="8662"/>
                    <a:pt x="16633" y="8539"/>
                  </a:cubicBezTo>
                  <a:cubicBezTo>
                    <a:pt x="16633" y="8415"/>
                    <a:pt x="16479" y="8314"/>
                    <a:pt x="16287" y="8314"/>
                  </a:cubicBezTo>
                  <a:close/>
                  <a:moveTo>
                    <a:pt x="17218" y="8314"/>
                  </a:moveTo>
                  <a:cubicBezTo>
                    <a:pt x="17026" y="8314"/>
                    <a:pt x="16869" y="8415"/>
                    <a:pt x="16869" y="8539"/>
                  </a:cubicBezTo>
                  <a:cubicBezTo>
                    <a:pt x="16869" y="8662"/>
                    <a:pt x="17026" y="8763"/>
                    <a:pt x="17218" y="8763"/>
                  </a:cubicBezTo>
                  <a:cubicBezTo>
                    <a:pt x="17410" y="8763"/>
                    <a:pt x="17564" y="8662"/>
                    <a:pt x="17564" y="8539"/>
                  </a:cubicBezTo>
                  <a:cubicBezTo>
                    <a:pt x="17564" y="8415"/>
                    <a:pt x="17410" y="8314"/>
                    <a:pt x="17218" y="8314"/>
                  </a:cubicBezTo>
                  <a:close/>
                  <a:moveTo>
                    <a:pt x="18253" y="8314"/>
                  </a:moveTo>
                  <a:cubicBezTo>
                    <a:pt x="18061" y="8314"/>
                    <a:pt x="17904" y="8415"/>
                    <a:pt x="17904" y="8539"/>
                  </a:cubicBezTo>
                  <a:cubicBezTo>
                    <a:pt x="17904" y="8662"/>
                    <a:pt x="18061" y="8763"/>
                    <a:pt x="18253" y="8763"/>
                  </a:cubicBezTo>
                  <a:cubicBezTo>
                    <a:pt x="18445" y="8763"/>
                    <a:pt x="18599" y="8662"/>
                    <a:pt x="18599" y="8539"/>
                  </a:cubicBezTo>
                  <a:cubicBezTo>
                    <a:pt x="18599" y="8415"/>
                    <a:pt x="18445" y="8314"/>
                    <a:pt x="18253" y="8314"/>
                  </a:cubicBezTo>
                  <a:close/>
                  <a:moveTo>
                    <a:pt x="19288" y="8314"/>
                  </a:moveTo>
                  <a:cubicBezTo>
                    <a:pt x="19095" y="8314"/>
                    <a:pt x="18938" y="8415"/>
                    <a:pt x="18938" y="8539"/>
                  </a:cubicBezTo>
                  <a:cubicBezTo>
                    <a:pt x="18938" y="8662"/>
                    <a:pt x="19095" y="8763"/>
                    <a:pt x="19288" y="8763"/>
                  </a:cubicBezTo>
                  <a:cubicBezTo>
                    <a:pt x="19480" y="8763"/>
                    <a:pt x="19634" y="8662"/>
                    <a:pt x="19634" y="8539"/>
                  </a:cubicBezTo>
                  <a:cubicBezTo>
                    <a:pt x="19634" y="8415"/>
                    <a:pt x="19480" y="8314"/>
                    <a:pt x="19288" y="8314"/>
                  </a:cubicBezTo>
                  <a:close/>
                  <a:moveTo>
                    <a:pt x="4282" y="8979"/>
                  </a:moveTo>
                  <a:cubicBezTo>
                    <a:pt x="4090" y="8979"/>
                    <a:pt x="3933" y="9080"/>
                    <a:pt x="3933" y="9204"/>
                  </a:cubicBezTo>
                  <a:cubicBezTo>
                    <a:pt x="3933" y="9327"/>
                    <a:pt x="4090" y="9428"/>
                    <a:pt x="4282" y="9428"/>
                  </a:cubicBezTo>
                  <a:cubicBezTo>
                    <a:pt x="4474" y="9428"/>
                    <a:pt x="4628" y="9327"/>
                    <a:pt x="4628" y="9204"/>
                  </a:cubicBezTo>
                  <a:cubicBezTo>
                    <a:pt x="4628" y="9080"/>
                    <a:pt x="4474" y="8979"/>
                    <a:pt x="4282" y="8979"/>
                  </a:cubicBezTo>
                  <a:close/>
                  <a:moveTo>
                    <a:pt x="5317" y="8979"/>
                  </a:moveTo>
                  <a:cubicBezTo>
                    <a:pt x="5125" y="8979"/>
                    <a:pt x="4967" y="9080"/>
                    <a:pt x="4967" y="9204"/>
                  </a:cubicBezTo>
                  <a:cubicBezTo>
                    <a:pt x="4967" y="9327"/>
                    <a:pt x="5125" y="9428"/>
                    <a:pt x="5317" y="9428"/>
                  </a:cubicBezTo>
                  <a:cubicBezTo>
                    <a:pt x="5509" y="9428"/>
                    <a:pt x="5663" y="9327"/>
                    <a:pt x="5663" y="9204"/>
                  </a:cubicBezTo>
                  <a:cubicBezTo>
                    <a:pt x="5663" y="9080"/>
                    <a:pt x="5509" y="8979"/>
                    <a:pt x="5317" y="8979"/>
                  </a:cubicBezTo>
                  <a:close/>
                  <a:moveTo>
                    <a:pt x="6352" y="8979"/>
                  </a:moveTo>
                  <a:cubicBezTo>
                    <a:pt x="6160" y="8979"/>
                    <a:pt x="6002" y="9080"/>
                    <a:pt x="6002" y="9204"/>
                  </a:cubicBezTo>
                  <a:cubicBezTo>
                    <a:pt x="6002" y="9327"/>
                    <a:pt x="6160" y="9428"/>
                    <a:pt x="6352" y="9428"/>
                  </a:cubicBezTo>
                  <a:cubicBezTo>
                    <a:pt x="6544" y="9428"/>
                    <a:pt x="6698" y="9327"/>
                    <a:pt x="6698" y="9204"/>
                  </a:cubicBezTo>
                  <a:cubicBezTo>
                    <a:pt x="6698" y="9080"/>
                    <a:pt x="6544" y="8979"/>
                    <a:pt x="6352" y="8979"/>
                  </a:cubicBezTo>
                  <a:close/>
                  <a:moveTo>
                    <a:pt x="7283" y="8979"/>
                  </a:moveTo>
                  <a:cubicBezTo>
                    <a:pt x="7091" y="8979"/>
                    <a:pt x="6934" y="9080"/>
                    <a:pt x="6934" y="9204"/>
                  </a:cubicBezTo>
                  <a:cubicBezTo>
                    <a:pt x="6934" y="9327"/>
                    <a:pt x="7091" y="9428"/>
                    <a:pt x="7283" y="9428"/>
                  </a:cubicBezTo>
                  <a:cubicBezTo>
                    <a:pt x="7475" y="9428"/>
                    <a:pt x="7629" y="9327"/>
                    <a:pt x="7629" y="9204"/>
                  </a:cubicBezTo>
                  <a:cubicBezTo>
                    <a:pt x="7629" y="9080"/>
                    <a:pt x="7475" y="8979"/>
                    <a:pt x="7283" y="8979"/>
                  </a:cubicBezTo>
                  <a:close/>
                  <a:moveTo>
                    <a:pt x="8318" y="8979"/>
                  </a:moveTo>
                  <a:cubicBezTo>
                    <a:pt x="8126" y="8979"/>
                    <a:pt x="7969" y="9080"/>
                    <a:pt x="7969" y="9204"/>
                  </a:cubicBezTo>
                  <a:cubicBezTo>
                    <a:pt x="7969" y="9327"/>
                    <a:pt x="8126" y="9428"/>
                    <a:pt x="8318" y="9428"/>
                  </a:cubicBezTo>
                  <a:cubicBezTo>
                    <a:pt x="8510" y="9428"/>
                    <a:pt x="8664" y="9327"/>
                    <a:pt x="8664" y="9204"/>
                  </a:cubicBezTo>
                  <a:cubicBezTo>
                    <a:pt x="8664" y="9080"/>
                    <a:pt x="8510" y="8979"/>
                    <a:pt x="8318" y="8979"/>
                  </a:cubicBezTo>
                  <a:close/>
                  <a:moveTo>
                    <a:pt x="9249" y="8979"/>
                  </a:moveTo>
                  <a:cubicBezTo>
                    <a:pt x="9057" y="8979"/>
                    <a:pt x="8900" y="9080"/>
                    <a:pt x="8900" y="9204"/>
                  </a:cubicBezTo>
                  <a:cubicBezTo>
                    <a:pt x="8900" y="9327"/>
                    <a:pt x="9057" y="9428"/>
                    <a:pt x="9249" y="9428"/>
                  </a:cubicBezTo>
                  <a:cubicBezTo>
                    <a:pt x="9441" y="9428"/>
                    <a:pt x="9595" y="9327"/>
                    <a:pt x="9595" y="9204"/>
                  </a:cubicBezTo>
                  <a:cubicBezTo>
                    <a:pt x="9595" y="9080"/>
                    <a:pt x="9441" y="8979"/>
                    <a:pt x="9249" y="8979"/>
                  </a:cubicBezTo>
                  <a:close/>
                  <a:moveTo>
                    <a:pt x="10284" y="8979"/>
                  </a:moveTo>
                  <a:cubicBezTo>
                    <a:pt x="10092" y="8979"/>
                    <a:pt x="9935" y="9080"/>
                    <a:pt x="9935" y="9204"/>
                  </a:cubicBezTo>
                  <a:cubicBezTo>
                    <a:pt x="9935" y="9327"/>
                    <a:pt x="10092" y="9428"/>
                    <a:pt x="10284" y="9428"/>
                  </a:cubicBezTo>
                  <a:cubicBezTo>
                    <a:pt x="10477" y="9428"/>
                    <a:pt x="10630" y="9327"/>
                    <a:pt x="10630" y="9204"/>
                  </a:cubicBezTo>
                  <a:cubicBezTo>
                    <a:pt x="10630" y="9080"/>
                    <a:pt x="10477" y="8979"/>
                    <a:pt x="10284" y="8979"/>
                  </a:cubicBezTo>
                  <a:close/>
                  <a:moveTo>
                    <a:pt x="11319" y="8979"/>
                  </a:moveTo>
                  <a:cubicBezTo>
                    <a:pt x="11127" y="8979"/>
                    <a:pt x="10970" y="9080"/>
                    <a:pt x="10970" y="9204"/>
                  </a:cubicBezTo>
                  <a:cubicBezTo>
                    <a:pt x="10970" y="9327"/>
                    <a:pt x="11127" y="9428"/>
                    <a:pt x="11319" y="9428"/>
                  </a:cubicBezTo>
                  <a:cubicBezTo>
                    <a:pt x="11511" y="9428"/>
                    <a:pt x="11665" y="9327"/>
                    <a:pt x="11665" y="9204"/>
                  </a:cubicBezTo>
                  <a:cubicBezTo>
                    <a:pt x="11665" y="9080"/>
                    <a:pt x="11511" y="8979"/>
                    <a:pt x="11319" y="8979"/>
                  </a:cubicBezTo>
                  <a:close/>
                  <a:moveTo>
                    <a:pt x="12250" y="8979"/>
                  </a:moveTo>
                  <a:cubicBezTo>
                    <a:pt x="12058" y="8979"/>
                    <a:pt x="11901" y="9080"/>
                    <a:pt x="11901" y="9204"/>
                  </a:cubicBezTo>
                  <a:cubicBezTo>
                    <a:pt x="11901" y="9327"/>
                    <a:pt x="12058" y="9428"/>
                    <a:pt x="12250" y="9428"/>
                  </a:cubicBezTo>
                  <a:cubicBezTo>
                    <a:pt x="12443" y="9428"/>
                    <a:pt x="12597" y="9327"/>
                    <a:pt x="12596" y="9204"/>
                  </a:cubicBezTo>
                  <a:cubicBezTo>
                    <a:pt x="12596" y="9080"/>
                    <a:pt x="12443" y="8979"/>
                    <a:pt x="12250" y="8979"/>
                  </a:cubicBezTo>
                  <a:close/>
                  <a:moveTo>
                    <a:pt x="13285" y="8979"/>
                  </a:moveTo>
                  <a:cubicBezTo>
                    <a:pt x="13093" y="8979"/>
                    <a:pt x="12936" y="9080"/>
                    <a:pt x="12936" y="9204"/>
                  </a:cubicBezTo>
                  <a:cubicBezTo>
                    <a:pt x="12936" y="9327"/>
                    <a:pt x="13093" y="9428"/>
                    <a:pt x="13285" y="9428"/>
                  </a:cubicBezTo>
                  <a:cubicBezTo>
                    <a:pt x="13477" y="9428"/>
                    <a:pt x="13631" y="9327"/>
                    <a:pt x="13631" y="9204"/>
                  </a:cubicBezTo>
                  <a:cubicBezTo>
                    <a:pt x="13631" y="9080"/>
                    <a:pt x="13477" y="8979"/>
                    <a:pt x="13285" y="8979"/>
                  </a:cubicBezTo>
                  <a:close/>
                  <a:moveTo>
                    <a:pt x="14320" y="8979"/>
                  </a:moveTo>
                  <a:cubicBezTo>
                    <a:pt x="14128" y="8979"/>
                    <a:pt x="13971" y="9080"/>
                    <a:pt x="13971" y="9204"/>
                  </a:cubicBezTo>
                  <a:cubicBezTo>
                    <a:pt x="13971" y="9327"/>
                    <a:pt x="14128" y="9428"/>
                    <a:pt x="14320" y="9428"/>
                  </a:cubicBezTo>
                  <a:cubicBezTo>
                    <a:pt x="14512" y="9428"/>
                    <a:pt x="14666" y="9327"/>
                    <a:pt x="14666" y="9204"/>
                  </a:cubicBezTo>
                  <a:cubicBezTo>
                    <a:pt x="14666" y="9080"/>
                    <a:pt x="14512" y="8979"/>
                    <a:pt x="14320" y="8979"/>
                  </a:cubicBezTo>
                  <a:close/>
                  <a:moveTo>
                    <a:pt x="15252" y="8979"/>
                  </a:moveTo>
                  <a:cubicBezTo>
                    <a:pt x="15060" y="8979"/>
                    <a:pt x="14902" y="9080"/>
                    <a:pt x="14902" y="9204"/>
                  </a:cubicBezTo>
                  <a:cubicBezTo>
                    <a:pt x="14902" y="9327"/>
                    <a:pt x="15060" y="9428"/>
                    <a:pt x="15252" y="9428"/>
                  </a:cubicBezTo>
                  <a:cubicBezTo>
                    <a:pt x="15444" y="9428"/>
                    <a:pt x="15598" y="9327"/>
                    <a:pt x="15598" y="9204"/>
                  </a:cubicBezTo>
                  <a:cubicBezTo>
                    <a:pt x="15598" y="9080"/>
                    <a:pt x="15444" y="8979"/>
                    <a:pt x="15252" y="8979"/>
                  </a:cubicBezTo>
                  <a:close/>
                  <a:moveTo>
                    <a:pt x="16287" y="8979"/>
                  </a:moveTo>
                  <a:cubicBezTo>
                    <a:pt x="16094" y="8979"/>
                    <a:pt x="15937" y="9080"/>
                    <a:pt x="15937" y="9204"/>
                  </a:cubicBezTo>
                  <a:cubicBezTo>
                    <a:pt x="15937" y="9327"/>
                    <a:pt x="16094" y="9428"/>
                    <a:pt x="16287" y="9428"/>
                  </a:cubicBezTo>
                  <a:cubicBezTo>
                    <a:pt x="16479" y="9428"/>
                    <a:pt x="16633" y="9327"/>
                    <a:pt x="16633" y="9204"/>
                  </a:cubicBezTo>
                  <a:cubicBezTo>
                    <a:pt x="16633" y="9080"/>
                    <a:pt x="16479" y="8979"/>
                    <a:pt x="16287" y="8979"/>
                  </a:cubicBezTo>
                  <a:close/>
                  <a:moveTo>
                    <a:pt x="17218" y="8979"/>
                  </a:moveTo>
                  <a:cubicBezTo>
                    <a:pt x="17026" y="8979"/>
                    <a:pt x="16869" y="9080"/>
                    <a:pt x="16869" y="9204"/>
                  </a:cubicBezTo>
                  <a:cubicBezTo>
                    <a:pt x="16869" y="9327"/>
                    <a:pt x="17026" y="9428"/>
                    <a:pt x="17218" y="9428"/>
                  </a:cubicBezTo>
                  <a:cubicBezTo>
                    <a:pt x="17410" y="9428"/>
                    <a:pt x="17564" y="9327"/>
                    <a:pt x="17564" y="9204"/>
                  </a:cubicBezTo>
                  <a:cubicBezTo>
                    <a:pt x="17564" y="9080"/>
                    <a:pt x="17410" y="8979"/>
                    <a:pt x="17218" y="8979"/>
                  </a:cubicBezTo>
                  <a:close/>
                  <a:moveTo>
                    <a:pt x="18253" y="8979"/>
                  </a:moveTo>
                  <a:cubicBezTo>
                    <a:pt x="18061" y="8979"/>
                    <a:pt x="17904" y="9080"/>
                    <a:pt x="17904" y="9204"/>
                  </a:cubicBezTo>
                  <a:cubicBezTo>
                    <a:pt x="17904" y="9327"/>
                    <a:pt x="18061" y="9428"/>
                    <a:pt x="18253" y="9428"/>
                  </a:cubicBezTo>
                  <a:cubicBezTo>
                    <a:pt x="18445" y="9428"/>
                    <a:pt x="18599" y="9327"/>
                    <a:pt x="18599" y="9204"/>
                  </a:cubicBezTo>
                  <a:cubicBezTo>
                    <a:pt x="18599" y="9080"/>
                    <a:pt x="18445" y="8979"/>
                    <a:pt x="18253" y="8979"/>
                  </a:cubicBezTo>
                  <a:close/>
                  <a:moveTo>
                    <a:pt x="19288" y="8979"/>
                  </a:moveTo>
                  <a:cubicBezTo>
                    <a:pt x="19095" y="8979"/>
                    <a:pt x="18938" y="9080"/>
                    <a:pt x="18938" y="9204"/>
                  </a:cubicBezTo>
                  <a:cubicBezTo>
                    <a:pt x="18938" y="9327"/>
                    <a:pt x="19095" y="9428"/>
                    <a:pt x="19288" y="9428"/>
                  </a:cubicBezTo>
                  <a:cubicBezTo>
                    <a:pt x="19480" y="9428"/>
                    <a:pt x="19634" y="9327"/>
                    <a:pt x="19634" y="9204"/>
                  </a:cubicBezTo>
                  <a:cubicBezTo>
                    <a:pt x="19634" y="9080"/>
                    <a:pt x="19480" y="8979"/>
                    <a:pt x="19288" y="8979"/>
                  </a:cubicBezTo>
                  <a:close/>
                  <a:moveTo>
                    <a:pt x="6352" y="9578"/>
                  </a:moveTo>
                  <a:cubicBezTo>
                    <a:pt x="6160" y="9578"/>
                    <a:pt x="6002" y="9678"/>
                    <a:pt x="6002" y="9802"/>
                  </a:cubicBezTo>
                  <a:cubicBezTo>
                    <a:pt x="6002" y="9925"/>
                    <a:pt x="6160" y="10025"/>
                    <a:pt x="6352" y="10025"/>
                  </a:cubicBezTo>
                  <a:cubicBezTo>
                    <a:pt x="6544" y="10025"/>
                    <a:pt x="6698" y="9925"/>
                    <a:pt x="6698" y="9802"/>
                  </a:cubicBezTo>
                  <a:cubicBezTo>
                    <a:pt x="6698" y="9678"/>
                    <a:pt x="6544" y="9578"/>
                    <a:pt x="6352" y="9578"/>
                  </a:cubicBezTo>
                  <a:close/>
                  <a:moveTo>
                    <a:pt x="7283" y="9578"/>
                  </a:moveTo>
                  <a:cubicBezTo>
                    <a:pt x="7091" y="9578"/>
                    <a:pt x="6934" y="9678"/>
                    <a:pt x="6934" y="9802"/>
                  </a:cubicBezTo>
                  <a:cubicBezTo>
                    <a:pt x="6934" y="9925"/>
                    <a:pt x="7091" y="10025"/>
                    <a:pt x="7283" y="10025"/>
                  </a:cubicBezTo>
                  <a:cubicBezTo>
                    <a:pt x="7475" y="10025"/>
                    <a:pt x="7629" y="9925"/>
                    <a:pt x="7629" y="9802"/>
                  </a:cubicBezTo>
                  <a:cubicBezTo>
                    <a:pt x="7629" y="9678"/>
                    <a:pt x="7475" y="9578"/>
                    <a:pt x="7283" y="9578"/>
                  </a:cubicBezTo>
                  <a:close/>
                  <a:moveTo>
                    <a:pt x="8318" y="9578"/>
                  </a:moveTo>
                  <a:cubicBezTo>
                    <a:pt x="8126" y="9578"/>
                    <a:pt x="7969" y="9678"/>
                    <a:pt x="7969" y="9802"/>
                  </a:cubicBezTo>
                  <a:cubicBezTo>
                    <a:pt x="7969" y="9925"/>
                    <a:pt x="8126" y="10025"/>
                    <a:pt x="8318" y="10025"/>
                  </a:cubicBezTo>
                  <a:cubicBezTo>
                    <a:pt x="8510" y="10025"/>
                    <a:pt x="8664" y="9925"/>
                    <a:pt x="8664" y="9802"/>
                  </a:cubicBezTo>
                  <a:cubicBezTo>
                    <a:pt x="8664" y="9678"/>
                    <a:pt x="8510" y="9578"/>
                    <a:pt x="8318" y="9578"/>
                  </a:cubicBezTo>
                  <a:close/>
                  <a:moveTo>
                    <a:pt x="9249" y="9578"/>
                  </a:moveTo>
                  <a:cubicBezTo>
                    <a:pt x="9057" y="9578"/>
                    <a:pt x="8900" y="9678"/>
                    <a:pt x="8900" y="9802"/>
                  </a:cubicBezTo>
                  <a:cubicBezTo>
                    <a:pt x="8900" y="9925"/>
                    <a:pt x="9057" y="10025"/>
                    <a:pt x="9249" y="10025"/>
                  </a:cubicBezTo>
                  <a:cubicBezTo>
                    <a:pt x="9441" y="10025"/>
                    <a:pt x="9595" y="9925"/>
                    <a:pt x="9595" y="9802"/>
                  </a:cubicBezTo>
                  <a:cubicBezTo>
                    <a:pt x="9595" y="9678"/>
                    <a:pt x="9441" y="9578"/>
                    <a:pt x="9249" y="9578"/>
                  </a:cubicBezTo>
                  <a:close/>
                  <a:moveTo>
                    <a:pt x="10284" y="9578"/>
                  </a:moveTo>
                  <a:cubicBezTo>
                    <a:pt x="10092" y="9578"/>
                    <a:pt x="9935" y="9678"/>
                    <a:pt x="9935" y="9802"/>
                  </a:cubicBezTo>
                  <a:cubicBezTo>
                    <a:pt x="9935" y="9925"/>
                    <a:pt x="10092" y="10025"/>
                    <a:pt x="10284" y="10025"/>
                  </a:cubicBezTo>
                  <a:cubicBezTo>
                    <a:pt x="10477" y="10025"/>
                    <a:pt x="10630" y="9925"/>
                    <a:pt x="10630" y="9802"/>
                  </a:cubicBezTo>
                  <a:cubicBezTo>
                    <a:pt x="10630" y="9678"/>
                    <a:pt x="10477" y="9578"/>
                    <a:pt x="10284" y="9578"/>
                  </a:cubicBezTo>
                  <a:close/>
                  <a:moveTo>
                    <a:pt x="11319" y="9578"/>
                  </a:moveTo>
                  <a:cubicBezTo>
                    <a:pt x="11127" y="9578"/>
                    <a:pt x="10970" y="9678"/>
                    <a:pt x="10970" y="9802"/>
                  </a:cubicBezTo>
                  <a:cubicBezTo>
                    <a:pt x="10970" y="9925"/>
                    <a:pt x="11127" y="10025"/>
                    <a:pt x="11319" y="10025"/>
                  </a:cubicBezTo>
                  <a:cubicBezTo>
                    <a:pt x="11511" y="10025"/>
                    <a:pt x="11665" y="9925"/>
                    <a:pt x="11665" y="9802"/>
                  </a:cubicBezTo>
                  <a:cubicBezTo>
                    <a:pt x="11665" y="9678"/>
                    <a:pt x="11511" y="9578"/>
                    <a:pt x="11319" y="9578"/>
                  </a:cubicBezTo>
                  <a:close/>
                  <a:moveTo>
                    <a:pt x="12250" y="9578"/>
                  </a:moveTo>
                  <a:cubicBezTo>
                    <a:pt x="12058" y="9578"/>
                    <a:pt x="11901" y="9678"/>
                    <a:pt x="11901" y="9802"/>
                  </a:cubicBezTo>
                  <a:cubicBezTo>
                    <a:pt x="11901" y="9925"/>
                    <a:pt x="12058" y="10025"/>
                    <a:pt x="12250" y="10025"/>
                  </a:cubicBezTo>
                  <a:cubicBezTo>
                    <a:pt x="12443" y="10025"/>
                    <a:pt x="12597" y="9925"/>
                    <a:pt x="12596" y="9802"/>
                  </a:cubicBezTo>
                  <a:cubicBezTo>
                    <a:pt x="12596" y="9678"/>
                    <a:pt x="12443" y="9578"/>
                    <a:pt x="12250" y="9578"/>
                  </a:cubicBezTo>
                  <a:close/>
                  <a:moveTo>
                    <a:pt x="13285" y="9578"/>
                  </a:moveTo>
                  <a:cubicBezTo>
                    <a:pt x="13093" y="9578"/>
                    <a:pt x="12936" y="9678"/>
                    <a:pt x="12936" y="9802"/>
                  </a:cubicBezTo>
                  <a:cubicBezTo>
                    <a:pt x="12936" y="9925"/>
                    <a:pt x="13093" y="10025"/>
                    <a:pt x="13285" y="10025"/>
                  </a:cubicBezTo>
                  <a:cubicBezTo>
                    <a:pt x="13477" y="10025"/>
                    <a:pt x="13631" y="9925"/>
                    <a:pt x="13631" y="9802"/>
                  </a:cubicBezTo>
                  <a:cubicBezTo>
                    <a:pt x="13631" y="9678"/>
                    <a:pt x="13477" y="9578"/>
                    <a:pt x="13285" y="9578"/>
                  </a:cubicBezTo>
                  <a:close/>
                  <a:moveTo>
                    <a:pt x="14320" y="9578"/>
                  </a:moveTo>
                  <a:cubicBezTo>
                    <a:pt x="14128" y="9578"/>
                    <a:pt x="13971" y="9678"/>
                    <a:pt x="13971" y="9802"/>
                  </a:cubicBezTo>
                  <a:cubicBezTo>
                    <a:pt x="13971" y="9925"/>
                    <a:pt x="14128" y="10025"/>
                    <a:pt x="14320" y="10025"/>
                  </a:cubicBezTo>
                  <a:cubicBezTo>
                    <a:pt x="14512" y="10025"/>
                    <a:pt x="14666" y="9925"/>
                    <a:pt x="14666" y="9802"/>
                  </a:cubicBezTo>
                  <a:cubicBezTo>
                    <a:pt x="14666" y="9678"/>
                    <a:pt x="14512" y="9578"/>
                    <a:pt x="14320" y="9578"/>
                  </a:cubicBezTo>
                  <a:close/>
                  <a:moveTo>
                    <a:pt x="15252" y="9578"/>
                  </a:moveTo>
                  <a:cubicBezTo>
                    <a:pt x="15060" y="9578"/>
                    <a:pt x="14902" y="9678"/>
                    <a:pt x="14902" y="9802"/>
                  </a:cubicBezTo>
                  <a:cubicBezTo>
                    <a:pt x="14902" y="9925"/>
                    <a:pt x="15060" y="10025"/>
                    <a:pt x="15252" y="10025"/>
                  </a:cubicBezTo>
                  <a:cubicBezTo>
                    <a:pt x="15444" y="10025"/>
                    <a:pt x="15598" y="9925"/>
                    <a:pt x="15598" y="9802"/>
                  </a:cubicBezTo>
                  <a:cubicBezTo>
                    <a:pt x="15598" y="9678"/>
                    <a:pt x="15444" y="9578"/>
                    <a:pt x="15252" y="9578"/>
                  </a:cubicBezTo>
                  <a:close/>
                  <a:moveTo>
                    <a:pt x="16287" y="9578"/>
                  </a:moveTo>
                  <a:cubicBezTo>
                    <a:pt x="16094" y="9578"/>
                    <a:pt x="15937" y="9678"/>
                    <a:pt x="15937" y="9802"/>
                  </a:cubicBezTo>
                  <a:cubicBezTo>
                    <a:pt x="15937" y="9925"/>
                    <a:pt x="16094" y="10025"/>
                    <a:pt x="16287" y="10025"/>
                  </a:cubicBezTo>
                  <a:cubicBezTo>
                    <a:pt x="16479" y="10025"/>
                    <a:pt x="16633" y="9925"/>
                    <a:pt x="16633" y="9802"/>
                  </a:cubicBezTo>
                  <a:cubicBezTo>
                    <a:pt x="16633" y="9678"/>
                    <a:pt x="16479" y="9578"/>
                    <a:pt x="16287" y="9578"/>
                  </a:cubicBezTo>
                  <a:close/>
                  <a:moveTo>
                    <a:pt x="17218" y="9578"/>
                  </a:moveTo>
                  <a:cubicBezTo>
                    <a:pt x="17026" y="9578"/>
                    <a:pt x="16869" y="9678"/>
                    <a:pt x="16869" y="9802"/>
                  </a:cubicBezTo>
                  <a:cubicBezTo>
                    <a:pt x="16869" y="9925"/>
                    <a:pt x="17026" y="10025"/>
                    <a:pt x="17218" y="10025"/>
                  </a:cubicBezTo>
                  <a:cubicBezTo>
                    <a:pt x="17410" y="10025"/>
                    <a:pt x="17564" y="9925"/>
                    <a:pt x="17564" y="9802"/>
                  </a:cubicBezTo>
                  <a:cubicBezTo>
                    <a:pt x="17564" y="9678"/>
                    <a:pt x="17410" y="9578"/>
                    <a:pt x="17218" y="9578"/>
                  </a:cubicBezTo>
                  <a:close/>
                  <a:moveTo>
                    <a:pt x="18253" y="9578"/>
                  </a:moveTo>
                  <a:cubicBezTo>
                    <a:pt x="18061" y="9578"/>
                    <a:pt x="17904" y="9678"/>
                    <a:pt x="17904" y="9802"/>
                  </a:cubicBezTo>
                  <a:cubicBezTo>
                    <a:pt x="17904" y="9925"/>
                    <a:pt x="18061" y="10025"/>
                    <a:pt x="18253" y="10025"/>
                  </a:cubicBezTo>
                  <a:cubicBezTo>
                    <a:pt x="18445" y="10025"/>
                    <a:pt x="18599" y="9925"/>
                    <a:pt x="18599" y="9802"/>
                  </a:cubicBezTo>
                  <a:cubicBezTo>
                    <a:pt x="18599" y="9678"/>
                    <a:pt x="18445" y="9578"/>
                    <a:pt x="18253" y="9578"/>
                  </a:cubicBezTo>
                  <a:close/>
                  <a:moveTo>
                    <a:pt x="19288" y="9578"/>
                  </a:moveTo>
                  <a:cubicBezTo>
                    <a:pt x="19095" y="9578"/>
                    <a:pt x="18938" y="9678"/>
                    <a:pt x="18938" y="9802"/>
                  </a:cubicBezTo>
                  <a:cubicBezTo>
                    <a:pt x="18938" y="9925"/>
                    <a:pt x="19095" y="10025"/>
                    <a:pt x="19288" y="10025"/>
                  </a:cubicBezTo>
                  <a:cubicBezTo>
                    <a:pt x="19480" y="10025"/>
                    <a:pt x="19634" y="9925"/>
                    <a:pt x="19634" y="9802"/>
                  </a:cubicBezTo>
                  <a:cubicBezTo>
                    <a:pt x="19634" y="9678"/>
                    <a:pt x="19480" y="9578"/>
                    <a:pt x="19288" y="9578"/>
                  </a:cubicBezTo>
                  <a:close/>
                  <a:moveTo>
                    <a:pt x="6352" y="10243"/>
                  </a:moveTo>
                  <a:cubicBezTo>
                    <a:pt x="6160" y="10243"/>
                    <a:pt x="6002" y="10344"/>
                    <a:pt x="6002" y="10467"/>
                  </a:cubicBezTo>
                  <a:cubicBezTo>
                    <a:pt x="6002" y="10591"/>
                    <a:pt x="6160" y="10690"/>
                    <a:pt x="6352" y="10690"/>
                  </a:cubicBezTo>
                  <a:cubicBezTo>
                    <a:pt x="6544" y="10690"/>
                    <a:pt x="6698" y="10591"/>
                    <a:pt x="6698" y="10467"/>
                  </a:cubicBezTo>
                  <a:cubicBezTo>
                    <a:pt x="6698" y="10344"/>
                    <a:pt x="6544" y="10243"/>
                    <a:pt x="6352" y="10243"/>
                  </a:cubicBezTo>
                  <a:close/>
                  <a:moveTo>
                    <a:pt x="7283" y="10243"/>
                  </a:moveTo>
                  <a:cubicBezTo>
                    <a:pt x="7091" y="10243"/>
                    <a:pt x="6934" y="10344"/>
                    <a:pt x="6934" y="10467"/>
                  </a:cubicBezTo>
                  <a:cubicBezTo>
                    <a:pt x="6934" y="10591"/>
                    <a:pt x="7091" y="10690"/>
                    <a:pt x="7283" y="10690"/>
                  </a:cubicBezTo>
                  <a:cubicBezTo>
                    <a:pt x="7475" y="10690"/>
                    <a:pt x="7629" y="10591"/>
                    <a:pt x="7629" y="10467"/>
                  </a:cubicBezTo>
                  <a:cubicBezTo>
                    <a:pt x="7629" y="10344"/>
                    <a:pt x="7475" y="10243"/>
                    <a:pt x="7283" y="10243"/>
                  </a:cubicBezTo>
                  <a:close/>
                  <a:moveTo>
                    <a:pt x="8318" y="10243"/>
                  </a:moveTo>
                  <a:cubicBezTo>
                    <a:pt x="8126" y="10243"/>
                    <a:pt x="7969" y="10344"/>
                    <a:pt x="7969" y="10467"/>
                  </a:cubicBezTo>
                  <a:cubicBezTo>
                    <a:pt x="7969" y="10591"/>
                    <a:pt x="8126" y="10690"/>
                    <a:pt x="8318" y="10690"/>
                  </a:cubicBezTo>
                  <a:cubicBezTo>
                    <a:pt x="8510" y="10690"/>
                    <a:pt x="8664" y="10591"/>
                    <a:pt x="8664" y="10467"/>
                  </a:cubicBezTo>
                  <a:cubicBezTo>
                    <a:pt x="8664" y="10344"/>
                    <a:pt x="8510" y="10243"/>
                    <a:pt x="8318" y="10243"/>
                  </a:cubicBezTo>
                  <a:close/>
                  <a:moveTo>
                    <a:pt x="9249" y="10243"/>
                  </a:moveTo>
                  <a:cubicBezTo>
                    <a:pt x="9057" y="10243"/>
                    <a:pt x="8900" y="10344"/>
                    <a:pt x="8900" y="10467"/>
                  </a:cubicBezTo>
                  <a:cubicBezTo>
                    <a:pt x="8900" y="10591"/>
                    <a:pt x="9057" y="10690"/>
                    <a:pt x="9249" y="10690"/>
                  </a:cubicBezTo>
                  <a:cubicBezTo>
                    <a:pt x="9441" y="10690"/>
                    <a:pt x="9595" y="10591"/>
                    <a:pt x="9595" y="10467"/>
                  </a:cubicBezTo>
                  <a:cubicBezTo>
                    <a:pt x="9595" y="10344"/>
                    <a:pt x="9441" y="10243"/>
                    <a:pt x="9249" y="10243"/>
                  </a:cubicBezTo>
                  <a:close/>
                  <a:moveTo>
                    <a:pt x="10284" y="10243"/>
                  </a:moveTo>
                  <a:cubicBezTo>
                    <a:pt x="10092" y="10243"/>
                    <a:pt x="9935" y="10344"/>
                    <a:pt x="9935" y="10467"/>
                  </a:cubicBezTo>
                  <a:cubicBezTo>
                    <a:pt x="9935" y="10591"/>
                    <a:pt x="10092" y="10690"/>
                    <a:pt x="10284" y="10690"/>
                  </a:cubicBezTo>
                  <a:cubicBezTo>
                    <a:pt x="10477" y="10690"/>
                    <a:pt x="10630" y="10591"/>
                    <a:pt x="10630" y="10467"/>
                  </a:cubicBezTo>
                  <a:cubicBezTo>
                    <a:pt x="10630" y="10344"/>
                    <a:pt x="10477" y="10243"/>
                    <a:pt x="10284" y="10243"/>
                  </a:cubicBezTo>
                  <a:close/>
                  <a:moveTo>
                    <a:pt x="11319" y="10243"/>
                  </a:moveTo>
                  <a:cubicBezTo>
                    <a:pt x="11127" y="10243"/>
                    <a:pt x="10970" y="10344"/>
                    <a:pt x="10970" y="10467"/>
                  </a:cubicBezTo>
                  <a:cubicBezTo>
                    <a:pt x="10970" y="10591"/>
                    <a:pt x="11127" y="10690"/>
                    <a:pt x="11319" y="10690"/>
                  </a:cubicBezTo>
                  <a:cubicBezTo>
                    <a:pt x="11511" y="10690"/>
                    <a:pt x="11665" y="10591"/>
                    <a:pt x="11665" y="10467"/>
                  </a:cubicBezTo>
                  <a:cubicBezTo>
                    <a:pt x="11665" y="10344"/>
                    <a:pt x="11511" y="10243"/>
                    <a:pt x="11319" y="10243"/>
                  </a:cubicBezTo>
                  <a:close/>
                  <a:moveTo>
                    <a:pt x="12250" y="10243"/>
                  </a:moveTo>
                  <a:cubicBezTo>
                    <a:pt x="12058" y="10243"/>
                    <a:pt x="11901" y="10344"/>
                    <a:pt x="11901" y="10467"/>
                  </a:cubicBezTo>
                  <a:cubicBezTo>
                    <a:pt x="11901" y="10591"/>
                    <a:pt x="12058" y="10690"/>
                    <a:pt x="12250" y="10690"/>
                  </a:cubicBezTo>
                  <a:cubicBezTo>
                    <a:pt x="12443" y="10690"/>
                    <a:pt x="12597" y="10591"/>
                    <a:pt x="12596" y="10467"/>
                  </a:cubicBezTo>
                  <a:cubicBezTo>
                    <a:pt x="12596" y="10344"/>
                    <a:pt x="12443" y="10243"/>
                    <a:pt x="12250" y="10243"/>
                  </a:cubicBezTo>
                  <a:close/>
                  <a:moveTo>
                    <a:pt x="13285" y="10243"/>
                  </a:moveTo>
                  <a:cubicBezTo>
                    <a:pt x="13093" y="10243"/>
                    <a:pt x="12936" y="10344"/>
                    <a:pt x="12936" y="10467"/>
                  </a:cubicBezTo>
                  <a:cubicBezTo>
                    <a:pt x="12936" y="10591"/>
                    <a:pt x="13093" y="10690"/>
                    <a:pt x="13285" y="10690"/>
                  </a:cubicBezTo>
                  <a:cubicBezTo>
                    <a:pt x="13477" y="10690"/>
                    <a:pt x="13631" y="10591"/>
                    <a:pt x="13631" y="10467"/>
                  </a:cubicBezTo>
                  <a:cubicBezTo>
                    <a:pt x="13631" y="10344"/>
                    <a:pt x="13477" y="10243"/>
                    <a:pt x="13285" y="10243"/>
                  </a:cubicBezTo>
                  <a:close/>
                  <a:moveTo>
                    <a:pt x="14320" y="10243"/>
                  </a:moveTo>
                  <a:cubicBezTo>
                    <a:pt x="14128" y="10243"/>
                    <a:pt x="13971" y="10344"/>
                    <a:pt x="13971" y="10467"/>
                  </a:cubicBezTo>
                  <a:cubicBezTo>
                    <a:pt x="13971" y="10591"/>
                    <a:pt x="14128" y="10690"/>
                    <a:pt x="14320" y="10690"/>
                  </a:cubicBezTo>
                  <a:cubicBezTo>
                    <a:pt x="14512" y="10690"/>
                    <a:pt x="14666" y="10591"/>
                    <a:pt x="14666" y="10467"/>
                  </a:cubicBezTo>
                  <a:cubicBezTo>
                    <a:pt x="14666" y="10344"/>
                    <a:pt x="14512" y="10243"/>
                    <a:pt x="14320" y="10243"/>
                  </a:cubicBezTo>
                  <a:close/>
                  <a:moveTo>
                    <a:pt x="15252" y="10243"/>
                  </a:moveTo>
                  <a:cubicBezTo>
                    <a:pt x="15060" y="10243"/>
                    <a:pt x="14902" y="10344"/>
                    <a:pt x="14902" y="10467"/>
                  </a:cubicBezTo>
                  <a:cubicBezTo>
                    <a:pt x="14902" y="10591"/>
                    <a:pt x="15060" y="10690"/>
                    <a:pt x="15252" y="10690"/>
                  </a:cubicBezTo>
                  <a:cubicBezTo>
                    <a:pt x="15444" y="10690"/>
                    <a:pt x="15598" y="10591"/>
                    <a:pt x="15598" y="10467"/>
                  </a:cubicBezTo>
                  <a:cubicBezTo>
                    <a:pt x="15598" y="10344"/>
                    <a:pt x="15444" y="10243"/>
                    <a:pt x="15252" y="10243"/>
                  </a:cubicBezTo>
                  <a:close/>
                  <a:moveTo>
                    <a:pt x="16287" y="10243"/>
                  </a:moveTo>
                  <a:cubicBezTo>
                    <a:pt x="16094" y="10243"/>
                    <a:pt x="15937" y="10344"/>
                    <a:pt x="15937" y="10467"/>
                  </a:cubicBezTo>
                  <a:cubicBezTo>
                    <a:pt x="15937" y="10591"/>
                    <a:pt x="16094" y="10690"/>
                    <a:pt x="16287" y="10690"/>
                  </a:cubicBezTo>
                  <a:cubicBezTo>
                    <a:pt x="16479" y="10690"/>
                    <a:pt x="16633" y="10591"/>
                    <a:pt x="16633" y="10467"/>
                  </a:cubicBezTo>
                  <a:cubicBezTo>
                    <a:pt x="16633" y="10344"/>
                    <a:pt x="16479" y="10243"/>
                    <a:pt x="16287" y="10243"/>
                  </a:cubicBezTo>
                  <a:close/>
                  <a:moveTo>
                    <a:pt x="17218" y="10243"/>
                  </a:moveTo>
                  <a:cubicBezTo>
                    <a:pt x="17026" y="10243"/>
                    <a:pt x="16869" y="10344"/>
                    <a:pt x="16869" y="10467"/>
                  </a:cubicBezTo>
                  <a:cubicBezTo>
                    <a:pt x="16869" y="10591"/>
                    <a:pt x="17026" y="10690"/>
                    <a:pt x="17218" y="10690"/>
                  </a:cubicBezTo>
                  <a:cubicBezTo>
                    <a:pt x="17410" y="10690"/>
                    <a:pt x="17564" y="10591"/>
                    <a:pt x="17564" y="10467"/>
                  </a:cubicBezTo>
                  <a:cubicBezTo>
                    <a:pt x="17564" y="10344"/>
                    <a:pt x="17410" y="10243"/>
                    <a:pt x="17218" y="10243"/>
                  </a:cubicBezTo>
                  <a:close/>
                  <a:moveTo>
                    <a:pt x="18253" y="10243"/>
                  </a:moveTo>
                  <a:cubicBezTo>
                    <a:pt x="18061" y="10243"/>
                    <a:pt x="17904" y="10344"/>
                    <a:pt x="17904" y="10467"/>
                  </a:cubicBezTo>
                  <a:cubicBezTo>
                    <a:pt x="17904" y="10591"/>
                    <a:pt x="18061" y="10690"/>
                    <a:pt x="18253" y="10690"/>
                  </a:cubicBezTo>
                  <a:cubicBezTo>
                    <a:pt x="18445" y="10690"/>
                    <a:pt x="18599" y="10591"/>
                    <a:pt x="18599" y="10467"/>
                  </a:cubicBezTo>
                  <a:cubicBezTo>
                    <a:pt x="18599" y="10344"/>
                    <a:pt x="18445" y="10243"/>
                    <a:pt x="18253" y="10243"/>
                  </a:cubicBezTo>
                  <a:close/>
                  <a:moveTo>
                    <a:pt x="19288" y="10243"/>
                  </a:moveTo>
                  <a:cubicBezTo>
                    <a:pt x="19095" y="10243"/>
                    <a:pt x="18938" y="10344"/>
                    <a:pt x="18938" y="10467"/>
                  </a:cubicBezTo>
                  <a:cubicBezTo>
                    <a:pt x="18938" y="10591"/>
                    <a:pt x="19095" y="10690"/>
                    <a:pt x="19288" y="10690"/>
                  </a:cubicBezTo>
                  <a:cubicBezTo>
                    <a:pt x="19480" y="10690"/>
                    <a:pt x="19634" y="10591"/>
                    <a:pt x="19634" y="10467"/>
                  </a:cubicBezTo>
                  <a:cubicBezTo>
                    <a:pt x="19634" y="10344"/>
                    <a:pt x="19480" y="10243"/>
                    <a:pt x="19288" y="10243"/>
                  </a:cubicBezTo>
                  <a:close/>
                  <a:moveTo>
                    <a:pt x="6248" y="10908"/>
                  </a:moveTo>
                  <a:cubicBezTo>
                    <a:pt x="6056" y="10908"/>
                    <a:pt x="5899" y="11009"/>
                    <a:pt x="5899" y="11133"/>
                  </a:cubicBezTo>
                  <a:cubicBezTo>
                    <a:pt x="5899" y="11256"/>
                    <a:pt x="6056" y="11357"/>
                    <a:pt x="6248" y="11357"/>
                  </a:cubicBezTo>
                  <a:cubicBezTo>
                    <a:pt x="6440" y="11357"/>
                    <a:pt x="6594" y="11256"/>
                    <a:pt x="6594" y="11133"/>
                  </a:cubicBezTo>
                  <a:cubicBezTo>
                    <a:pt x="6594" y="11009"/>
                    <a:pt x="6440" y="10908"/>
                    <a:pt x="6248" y="10908"/>
                  </a:cubicBezTo>
                  <a:close/>
                  <a:moveTo>
                    <a:pt x="7283" y="10908"/>
                  </a:moveTo>
                  <a:cubicBezTo>
                    <a:pt x="7091" y="10908"/>
                    <a:pt x="6934" y="11009"/>
                    <a:pt x="6934" y="11133"/>
                  </a:cubicBezTo>
                  <a:cubicBezTo>
                    <a:pt x="6934" y="11256"/>
                    <a:pt x="7091" y="11357"/>
                    <a:pt x="7283" y="11357"/>
                  </a:cubicBezTo>
                  <a:cubicBezTo>
                    <a:pt x="7475" y="11357"/>
                    <a:pt x="7629" y="11256"/>
                    <a:pt x="7629" y="11133"/>
                  </a:cubicBezTo>
                  <a:cubicBezTo>
                    <a:pt x="7629" y="11009"/>
                    <a:pt x="7475" y="10908"/>
                    <a:pt x="7283" y="10908"/>
                  </a:cubicBezTo>
                  <a:close/>
                  <a:moveTo>
                    <a:pt x="8318" y="10908"/>
                  </a:moveTo>
                  <a:cubicBezTo>
                    <a:pt x="8126" y="10908"/>
                    <a:pt x="7969" y="11009"/>
                    <a:pt x="7969" y="11133"/>
                  </a:cubicBezTo>
                  <a:cubicBezTo>
                    <a:pt x="7969" y="11256"/>
                    <a:pt x="8126" y="11357"/>
                    <a:pt x="8318" y="11357"/>
                  </a:cubicBezTo>
                  <a:cubicBezTo>
                    <a:pt x="8510" y="11357"/>
                    <a:pt x="8664" y="11256"/>
                    <a:pt x="8664" y="11133"/>
                  </a:cubicBezTo>
                  <a:cubicBezTo>
                    <a:pt x="8664" y="11009"/>
                    <a:pt x="8510" y="10908"/>
                    <a:pt x="8318" y="10908"/>
                  </a:cubicBezTo>
                  <a:close/>
                  <a:moveTo>
                    <a:pt x="9249" y="10908"/>
                  </a:moveTo>
                  <a:cubicBezTo>
                    <a:pt x="9057" y="10908"/>
                    <a:pt x="8900" y="11009"/>
                    <a:pt x="8900" y="11133"/>
                  </a:cubicBezTo>
                  <a:cubicBezTo>
                    <a:pt x="8900" y="11256"/>
                    <a:pt x="9057" y="11357"/>
                    <a:pt x="9249" y="11357"/>
                  </a:cubicBezTo>
                  <a:cubicBezTo>
                    <a:pt x="9441" y="11357"/>
                    <a:pt x="9595" y="11256"/>
                    <a:pt x="9595" y="11133"/>
                  </a:cubicBezTo>
                  <a:cubicBezTo>
                    <a:pt x="9595" y="11009"/>
                    <a:pt x="9441" y="10908"/>
                    <a:pt x="9249" y="10908"/>
                  </a:cubicBezTo>
                  <a:close/>
                  <a:moveTo>
                    <a:pt x="10284" y="10908"/>
                  </a:moveTo>
                  <a:cubicBezTo>
                    <a:pt x="10092" y="10908"/>
                    <a:pt x="9935" y="11009"/>
                    <a:pt x="9935" y="11133"/>
                  </a:cubicBezTo>
                  <a:cubicBezTo>
                    <a:pt x="9935" y="11256"/>
                    <a:pt x="10092" y="11357"/>
                    <a:pt x="10284" y="11357"/>
                  </a:cubicBezTo>
                  <a:cubicBezTo>
                    <a:pt x="10477" y="11357"/>
                    <a:pt x="10630" y="11256"/>
                    <a:pt x="10630" y="11133"/>
                  </a:cubicBezTo>
                  <a:cubicBezTo>
                    <a:pt x="10630" y="11009"/>
                    <a:pt x="10477" y="10908"/>
                    <a:pt x="10284" y="10908"/>
                  </a:cubicBezTo>
                  <a:close/>
                  <a:moveTo>
                    <a:pt x="11319" y="10908"/>
                  </a:moveTo>
                  <a:cubicBezTo>
                    <a:pt x="11127" y="10908"/>
                    <a:pt x="10970" y="11009"/>
                    <a:pt x="10970" y="11133"/>
                  </a:cubicBezTo>
                  <a:cubicBezTo>
                    <a:pt x="10970" y="11256"/>
                    <a:pt x="11127" y="11357"/>
                    <a:pt x="11319" y="11357"/>
                  </a:cubicBezTo>
                  <a:cubicBezTo>
                    <a:pt x="11511" y="11357"/>
                    <a:pt x="11665" y="11256"/>
                    <a:pt x="11665" y="11133"/>
                  </a:cubicBezTo>
                  <a:cubicBezTo>
                    <a:pt x="11665" y="11009"/>
                    <a:pt x="11511" y="10908"/>
                    <a:pt x="11319" y="10908"/>
                  </a:cubicBezTo>
                  <a:close/>
                  <a:moveTo>
                    <a:pt x="12250" y="10908"/>
                  </a:moveTo>
                  <a:cubicBezTo>
                    <a:pt x="12058" y="10908"/>
                    <a:pt x="11901" y="11009"/>
                    <a:pt x="11901" y="11133"/>
                  </a:cubicBezTo>
                  <a:cubicBezTo>
                    <a:pt x="11901" y="11256"/>
                    <a:pt x="12058" y="11357"/>
                    <a:pt x="12250" y="11357"/>
                  </a:cubicBezTo>
                  <a:cubicBezTo>
                    <a:pt x="12443" y="11357"/>
                    <a:pt x="12597" y="11256"/>
                    <a:pt x="12596" y="11133"/>
                  </a:cubicBezTo>
                  <a:cubicBezTo>
                    <a:pt x="12596" y="11009"/>
                    <a:pt x="12443" y="10908"/>
                    <a:pt x="12250" y="10908"/>
                  </a:cubicBezTo>
                  <a:close/>
                  <a:moveTo>
                    <a:pt x="13285" y="10908"/>
                  </a:moveTo>
                  <a:cubicBezTo>
                    <a:pt x="13093" y="10908"/>
                    <a:pt x="12936" y="11009"/>
                    <a:pt x="12936" y="11133"/>
                  </a:cubicBezTo>
                  <a:cubicBezTo>
                    <a:pt x="12936" y="11256"/>
                    <a:pt x="13093" y="11357"/>
                    <a:pt x="13285" y="11357"/>
                  </a:cubicBezTo>
                  <a:cubicBezTo>
                    <a:pt x="13477" y="11357"/>
                    <a:pt x="13631" y="11256"/>
                    <a:pt x="13631" y="11133"/>
                  </a:cubicBezTo>
                  <a:cubicBezTo>
                    <a:pt x="13631" y="11009"/>
                    <a:pt x="13477" y="10908"/>
                    <a:pt x="13285" y="10908"/>
                  </a:cubicBezTo>
                  <a:close/>
                  <a:moveTo>
                    <a:pt x="14320" y="10908"/>
                  </a:moveTo>
                  <a:cubicBezTo>
                    <a:pt x="14128" y="10908"/>
                    <a:pt x="13971" y="11009"/>
                    <a:pt x="13971" y="11133"/>
                  </a:cubicBezTo>
                  <a:cubicBezTo>
                    <a:pt x="13971" y="11256"/>
                    <a:pt x="14128" y="11357"/>
                    <a:pt x="14320" y="11357"/>
                  </a:cubicBezTo>
                  <a:cubicBezTo>
                    <a:pt x="14512" y="11357"/>
                    <a:pt x="14666" y="11256"/>
                    <a:pt x="14666" y="11133"/>
                  </a:cubicBezTo>
                  <a:cubicBezTo>
                    <a:pt x="14666" y="11009"/>
                    <a:pt x="14512" y="10908"/>
                    <a:pt x="14320" y="10908"/>
                  </a:cubicBezTo>
                  <a:close/>
                  <a:moveTo>
                    <a:pt x="15252" y="10908"/>
                  </a:moveTo>
                  <a:cubicBezTo>
                    <a:pt x="15060" y="10908"/>
                    <a:pt x="14902" y="11009"/>
                    <a:pt x="14902" y="11133"/>
                  </a:cubicBezTo>
                  <a:cubicBezTo>
                    <a:pt x="14902" y="11256"/>
                    <a:pt x="15060" y="11357"/>
                    <a:pt x="15252" y="11357"/>
                  </a:cubicBezTo>
                  <a:cubicBezTo>
                    <a:pt x="15444" y="11357"/>
                    <a:pt x="15598" y="11256"/>
                    <a:pt x="15598" y="11133"/>
                  </a:cubicBezTo>
                  <a:cubicBezTo>
                    <a:pt x="15598" y="11009"/>
                    <a:pt x="15444" y="10908"/>
                    <a:pt x="15252" y="10908"/>
                  </a:cubicBezTo>
                  <a:close/>
                  <a:moveTo>
                    <a:pt x="16287" y="10908"/>
                  </a:moveTo>
                  <a:cubicBezTo>
                    <a:pt x="16094" y="10908"/>
                    <a:pt x="15937" y="11009"/>
                    <a:pt x="15937" y="11133"/>
                  </a:cubicBezTo>
                  <a:cubicBezTo>
                    <a:pt x="15937" y="11256"/>
                    <a:pt x="16094" y="11357"/>
                    <a:pt x="16287" y="11357"/>
                  </a:cubicBezTo>
                  <a:cubicBezTo>
                    <a:pt x="16479" y="11357"/>
                    <a:pt x="16633" y="11256"/>
                    <a:pt x="16633" y="11133"/>
                  </a:cubicBezTo>
                  <a:cubicBezTo>
                    <a:pt x="16633" y="11009"/>
                    <a:pt x="16479" y="10908"/>
                    <a:pt x="16287" y="10908"/>
                  </a:cubicBezTo>
                  <a:close/>
                  <a:moveTo>
                    <a:pt x="17218" y="10908"/>
                  </a:moveTo>
                  <a:cubicBezTo>
                    <a:pt x="17026" y="10908"/>
                    <a:pt x="16869" y="11009"/>
                    <a:pt x="16869" y="11133"/>
                  </a:cubicBezTo>
                  <a:cubicBezTo>
                    <a:pt x="16869" y="11256"/>
                    <a:pt x="17026" y="11357"/>
                    <a:pt x="17218" y="11357"/>
                  </a:cubicBezTo>
                  <a:cubicBezTo>
                    <a:pt x="17410" y="11357"/>
                    <a:pt x="17564" y="11256"/>
                    <a:pt x="17564" y="11133"/>
                  </a:cubicBezTo>
                  <a:cubicBezTo>
                    <a:pt x="17564" y="11009"/>
                    <a:pt x="17410" y="10908"/>
                    <a:pt x="17218" y="10908"/>
                  </a:cubicBezTo>
                  <a:close/>
                  <a:moveTo>
                    <a:pt x="18253" y="10908"/>
                  </a:moveTo>
                  <a:cubicBezTo>
                    <a:pt x="18061" y="10908"/>
                    <a:pt x="17904" y="11009"/>
                    <a:pt x="17904" y="11133"/>
                  </a:cubicBezTo>
                  <a:cubicBezTo>
                    <a:pt x="17904" y="11256"/>
                    <a:pt x="18061" y="11357"/>
                    <a:pt x="18253" y="11357"/>
                  </a:cubicBezTo>
                  <a:cubicBezTo>
                    <a:pt x="18445" y="11357"/>
                    <a:pt x="18599" y="11256"/>
                    <a:pt x="18599" y="11133"/>
                  </a:cubicBezTo>
                  <a:cubicBezTo>
                    <a:pt x="18599" y="11009"/>
                    <a:pt x="18445" y="10908"/>
                    <a:pt x="18253" y="10908"/>
                  </a:cubicBezTo>
                  <a:close/>
                  <a:moveTo>
                    <a:pt x="19288" y="10908"/>
                  </a:moveTo>
                  <a:cubicBezTo>
                    <a:pt x="19095" y="10908"/>
                    <a:pt x="18938" y="11009"/>
                    <a:pt x="18938" y="11133"/>
                  </a:cubicBezTo>
                  <a:cubicBezTo>
                    <a:pt x="18938" y="11256"/>
                    <a:pt x="19095" y="11357"/>
                    <a:pt x="19288" y="11357"/>
                  </a:cubicBezTo>
                  <a:cubicBezTo>
                    <a:pt x="19480" y="11357"/>
                    <a:pt x="19634" y="11256"/>
                    <a:pt x="19634" y="11133"/>
                  </a:cubicBezTo>
                  <a:cubicBezTo>
                    <a:pt x="19634" y="11009"/>
                    <a:pt x="19480" y="10908"/>
                    <a:pt x="19288" y="10908"/>
                  </a:cubicBezTo>
                  <a:close/>
                  <a:moveTo>
                    <a:pt x="6248" y="11507"/>
                  </a:moveTo>
                  <a:cubicBezTo>
                    <a:pt x="6056" y="11507"/>
                    <a:pt x="5899" y="11608"/>
                    <a:pt x="5899" y="11731"/>
                  </a:cubicBezTo>
                  <a:cubicBezTo>
                    <a:pt x="5899" y="11855"/>
                    <a:pt x="6056" y="11954"/>
                    <a:pt x="6248" y="11954"/>
                  </a:cubicBezTo>
                  <a:cubicBezTo>
                    <a:pt x="6440" y="11954"/>
                    <a:pt x="6594" y="11855"/>
                    <a:pt x="6594" y="11731"/>
                  </a:cubicBezTo>
                  <a:cubicBezTo>
                    <a:pt x="6594" y="11608"/>
                    <a:pt x="6440" y="11507"/>
                    <a:pt x="6248" y="11507"/>
                  </a:cubicBezTo>
                  <a:close/>
                  <a:moveTo>
                    <a:pt x="7283" y="11507"/>
                  </a:moveTo>
                  <a:cubicBezTo>
                    <a:pt x="7091" y="11507"/>
                    <a:pt x="6934" y="11608"/>
                    <a:pt x="6934" y="11731"/>
                  </a:cubicBezTo>
                  <a:cubicBezTo>
                    <a:pt x="6934" y="11855"/>
                    <a:pt x="7091" y="11954"/>
                    <a:pt x="7283" y="11954"/>
                  </a:cubicBezTo>
                  <a:cubicBezTo>
                    <a:pt x="7475" y="11954"/>
                    <a:pt x="7629" y="11855"/>
                    <a:pt x="7629" y="11731"/>
                  </a:cubicBezTo>
                  <a:cubicBezTo>
                    <a:pt x="7629" y="11608"/>
                    <a:pt x="7475" y="11507"/>
                    <a:pt x="7283" y="11507"/>
                  </a:cubicBezTo>
                  <a:close/>
                  <a:moveTo>
                    <a:pt x="8318" y="11507"/>
                  </a:moveTo>
                  <a:cubicBezTo>
                    <a:pt x="8125" y="11507"/>
                    <a:pt x="7969" y="11608"/>
                    <a:pt x="7969" y="11731"/>
                  </a:cubicBezTo>
                  <a:cubicBezTo>
                    <a:pt x="7969" y="11855"/>
                    <a:pt x="8125" y="11954"/>
                    <a:pt x="8318" y="11954"/>
                  </a:cubicBezTo>
                  <a:cubicBezTo>
                    <a:pt x="8510" y="11954"/>
                    <a:pt x="8664" y="11855"/>
                    <a:pt x="8664" y="11731"/>
                  </a:cubicBezTo>
                  <a:cubicBezTo>
                    <a:pt x="8664" y="11608"/>
                    <a:pt x="8510" y="11507"/>
                    <a:pt x="8318" y="11507"/>
                  </a:cubicBezTo>
                  <a:close/>
                  <a:moveTo>
                    <a:pt x="9249" y="11507"/>
                  </a:moveTo>
                  <a:cubicBezTo>
                    <a:pt x="9057" y="11507"/>
                    <a:pt x="8900" y="11608"/>
                    <a:pt x="8900" y="11731"/>
                  </a:cubicBezTo>
                  <a:cubicBezTo>
                    <a:pt x="8900" y="11855"/>
                    <a:pt x="9057" y="11954"/>
                    <a:pt x="9249" y="11954"/>
                  </a:cubicBezTo>
                  <a:cubicBezTo>
                    <a:pt x="9442" y="11954"/>
                    <a:pt x="9595" y="11855"/>
                    <a:pt x="9595" y="11731"/>
                  </a:cubicBezTo>
                  <a:cubicBezTo>
                    <a:pt x="9595" y="11608"/>
                    <a:pt x="9442" y="11507"/>
                    <a:pt x="9249" y="11507"/>
                  </a:cubicBezTo>
                  <a:close/>
                  <a:moveTo>
                    <a:pt x="10284" y="11507"/>
                  </a:moveTo>
                  <a:cubicBezTo>
                    <a:pt x="10092" y="11507"/>
                    <a:pt x="9935" y="11608"/>
                    <a:pt x="9935" y="11731"/>
                  </a:cubicBezTo>
                  <a:cubicBezTo>
                    <a:pt x="9935" y="11855"/>
                    <a:pt x="10092" y="11954"/>
                    <a:pt x="10284" y="11954"/>
                  </a:cubicBezTo>
                  <a:cubicBezTo>
                    <a:pt x="10476" y="11954"/>
                    <a:pt x="10630" y="11855"/>
                    <a:pt x="10630" y="11731"/>
                  </a:cubicBezTo>
                  <a:cubicBezTo>
                    <a:pt x="10630" y="11608"/>
                    <a:pt x="10476" y="11507"/>
                    <a:pt x="10284" y="11507"/>
                  </a:cubicBezTo>
                  <a:close/>
                  <a:moveTo>
                    <a:pt x="11319" y="11507"/>
                  </a:moveTo>
                  <a:cubicBezTo>
                    <a:pt x="11127" y="11507"/>
                    <a:pt x="10970" y="11608"/>
                    <a:pt x="10970" y="11731"/>
                  </a:cubicBezTo>
                  <a:cubicBezTo>
                    <a:pt x="10970" y="11855"/>
                    <a:pt x="11127" y="11954"/>
                    <a:pt x="11319" y="11954"/>
                  </a:cubicBezTo>
                  <a:cubicBezTo>
                    <a:pt x="11511" y="11954"/>
                    <a:pt x="11665" y="11855"/>
                    <a:pt x="11665" y="11731"/>
                  </a:cubicBezTo>
                  <a:cubicBezTo>
                    <a:pt x="11665" y="11608"/>
                    <a:pt x="11511" y="11507"/>
                    <a:pt x="11319" y="11507"/>
                  </a:cubicBezTo>
                  <a:close/>
                  <a:moveTo>
                    <a:pt x="12250" y="11507"/>
                  </a:moveTo>
                  <a:cubicBezTo>
                    <a:pt x="12058" y="11507"/>
                    <a:pt x="11901" y="11608"/>
                    <a:pt x="11901" y="11731"/>
                  </a:cubicBezTo>
                  <a:cubicBezTo>
                    <a:pt x="11901" y="11855"/>
                    <a:pt x="12058" y="11954"/>
                    <a:pt x="12250" y="11954"/>
                  </a:cubicBezTo>
                  <a:cubicBezTo>
                    <a:pt x="12443" y="11954"/>
                    <a:pt x="12597" y="11855"/>
                    <a:pt x="12596" y="11731"/>
                  </a:cubicBezTo>
                  <a:cubicBezTo>
                    <a:pt x="12596" y="11608"/>
                    <a:pt x="12443" y="11507"/>
                    <a:pt x="12250" y="11507"/>
                  </a:cubicBezTo>
                  <a:close/>
                  <a:moveTo>
                    <a:pt x="13285" y="11507"/>
                  </a:moveTo>
                  <a:cubicBezTo>
                    <a:pt x="13093" y="11507"/>
                    <a:pt x="12936" y="11608"/>
                    <a:pt x="12936" y="11731"/>
                  </a:cubicBezTo>
                  <a:cubicBezTo>
                    <a:pt x="12936" y="11855"/>
                    <a:pt x="13093" y="11954"/>
                    <a:pt x="13285" y="11954"/>
                  </a:cubicBezTo>
                  <a:cubicBezTo>
                    <a:pt x="13477" y="11954"/>
                    <a:pt x="13631" y="11855"/>
                    <a:pt x="13631" y="11731"/>
                  </a:cubicBezTo>
                  <a:cubicBezTo>
                    <a:pt x="13631" y="11608"/>
                    <a:pt x="13477" y="11507"/>
                    <a:pt x="13285" y="11507"/>
                  </a:cubicBezTo>
                  <a:close/>
                  <a:moveTo>
                    <a:pt x="14320" y="11507"/>
                  </a:moveTo>
                  <a:cubicBezTo>
                    <a:pt x="14128" y="11507"/>
                    <a:pt x="13971" y="11608"/>
                    <a:pt x="13971" y="11731"/>
                  </a:cubicBezTo>
                  <a:cubicBezTo>
                    <a:pt x="13971" y="11855"/>
                    <a:pt x="14128" y="11954"/>
                    <a:pt x="14320" y="11954"/>
                  </a:cubicBezTo>
                  <a:cubicBezTo>
                    <a:pt x="14512" y="11954"/>
                    <a:pt x="14666" y="11855"/>
                    <a:pt x="14666" y="11731"/>
                  </a:cubicBezTo>
                  <a:cubicBezTo>
                    <a:pt x="14666" y="11608"/>
                    <a:pt x="14512" y="11507"/>
                    <a:pt x="14320" y="11507"/>
                  </a:cubicBezTo>
                  <a:close/>
                  <a:moveTo>
                    <a:pt x="15252" y="11507"/>
                  </a:moveTo>
                  <a:cubicBezTo>
                    <a:pt x="15060" y="11507"/>
                    <a:pt x="14902" y="11608"/>
                    <a:pt x="14902" y="11731"/>
                  </a:cubicBezTo>
                  <a:cubicBezTo>
                    <a:pt x="14902" y="11855"/>
                    <a:pt x="15060" y="11954"/>
                    <a:pt x="15252" y="11954"/>
                  </a:cubicBezTo>
                  <a:cubicBezTo>
                    <a:pt x="15444" y="11954"/>
                    <a:pt x="15598" y="11855"/>
                    <a:pt x="15598" y="11731"/>
                  </a:cubicBezTo>
                  <a:cubicBezTo>
                    <a:pt x="15598" y="11608"/>
                    <a:pt x="15444" y="11507"/>
                    <a:pt x="15252" y="11507"/>
                  </a:cubicBezTo>
                  <a:close/>
                  <a:moveTo>
                    <a:pt x="16287" y="11507"/>
                  </a:moveTo>
                  <a:cubicBezTo>
                    <a:pt x="16094" y="11507"/>
                    <a:pt x="15937" y="11608"/>
                    <a:pt x="15937" y="11731"/>
                  </a:cubicBezTo>
                  <a:cubicBezTo>
                    <a:pt x="15937" y="11855"/>
                    <a:pt x="16094" y="11954"/>
                    <a:pt x="16287" y="11954"/>
                  </a:cubicBezTo>
                  <a:cubicBezTo>
                    <a:pt x="16479" y="11954"/>
                    <a:pt x="16633" y="11855"/>
                    <a:pt x="16633" y="11731"/>
                  </a:cubicBezTo>
                  <a:cubicBezTo>
                    <a:pt x="16633" y="11608"/>
                    <a:pt x="16479" y="11507"/>
                    <a:pt x="16287" y="11507"/>
                  </a:cubicBezTo>
                  <a:close/>
                  <a:moveTo>
                    <a:pt x="6248" y="12172"/>
                  </a:moveTo>
                  <a:cubicBezTo>
                    <a:pt x="6056" y="12172"/>
                    <a:pt x="5899" y="12273"/>
                    <a:pt x="5899" y="12396"/>
                  </a:cubicBezTo>
                  <a:cubicBezTo>
                    <a:pt x="5899" y="12520"/>
                    <a:pt x="6056" y="12619"/>
                    <a:pt x="6248" y="12619"/>
                  </a:cubicBezTo>
                  <a:cubicBezTo>
                    <a:pt x="6440" y="12619"/>
                    <a:pt x="6594" y="12520"/>
                    <a:pt x="6594" y="12396"/>
                  </a:cubicBezTo>
                  <a:cubicBezTo>
                    <a:pt x="6594" y="12273"/>
                    <a:pt x="6440" y="12172"/>
                    <a:pt x="6248" y="12172"/>
                  </a:cubicBezTo>
                  <a:close/>
                  <a:moveTo>
                    <a:pt x="7386" y="12172"/>
                  </a:moveTo>
                  <a:cubicBezTo>
                    <a:pt x="7194" y="12172"/>
                    <a:pt x="7037" y="12273"/>
                    <a:pt x="7037" y="12396"/>
                  </a:cubicBezTo>
                  <a:cubicBezTo>
                    <a:pt x="7037" y="12520"/>
                    <a:pt x="7194" y="12619"/>
                    <a:pt x="7386" y="12619"/>
                  </a:cubicBezTo>
                  <a:cubicBezTo>
                    <a:pt x="7578" y="12619"/>
                    <a:pt x="7733" y="12520"/>
                    <a:pt x="7733" y="12396"/>
                  </a:cubicBezTo>
                  <a:cubicBezTo>
                    <a:pt x="7733" y="12273"/>
                    <a:pt x="7578" y="12172"/>
                    <a:pt x="7386" y="12172"/>
                  </a:cubicBezTo>
                  <a:close/>
                  <a:moveTo>
                    <a:pt x="8318" y="12172"/>
                  </a:moveTo>
                  <a:cubicBezTo>
                    <a:pt x="8126" y="12172"/>
                    <a:pt x="7969" y="12273"/>
                    <a:pt x="7969" y="12396"/>
                  </a:cubicBezTo>
                  <a:cubicBezTo>
                    <a:pt x="7969" y="12520"/>
                    <a:pt x="8126" y="12619"/>
                    <a:pt x="8318" y="12619"/>
                  </a:cubicBezTo>
                  <a:cubicBezTo>
                    <a:pt x="8510" y="12619"/>
                    <a:pt x="8664" y="12520"/>
                    <a:pt x="8664" y="12396"/>
                  </a:cubicBezTo>
                  <a:cubicBezTo>
                    <a:pt x="8664" y="12273"/>
                    <a:pt x="8510" y="12172"/>
                    <a:pt x="8318" y="12172"/>
                  </a:cubicBezTo>
                  <a:close/>
                  <a:moveTo>
                    <a:pt x="9249" y="12172"/>
                  </a:moveTo>
                  <a:cubicBezTo>
                    <a:pt x="9057" y="12172"/>
                    <a:pt x="8900" y="12273"/>
                    <a:pt x="8900" y="12396"/>
                  </a:cubicBezTo>
                  <a:cubicBezTo>
                    <a:pt x="8900" y="12520"/>
                    <a:pt x="9057" y="12619"/>
                    <a:pt x="9249" y="12619"/>
                  </a:cubicBezTo>
                  <a:cubicBezTo>
                    <a:pt x="9442" y="12619"/>
                    <a:pt x="9595" y="12520"/>
                    <a:pt x="9595" y="12396"/>
                  </a:cubicBezTo>
                  <a:cubicBezTo>
                    <a:pt x="9595" y="12273"/>
                    <a:pt x="9442" y="12172"/>
                    <a:pt x="9249" y="12172"/>
                  </a:cubicBezTo>
                  <a:close/>
                  <a:moveTo>
                    <a:pt x="10284" y="12172"/>
                  </a:moveTo>
                  <a:cubicBezTo>
                    <a:pt x="10092" y="12172"/>
                    <a:pt x="9935" y="12273"/>
                    <a:pt x="9935" y="12396"/>
                  </a:cubicBezTo>
                  <a:cubicBezTo>
                    <a:pt x="9935" y="12520"/>
                    <a:pt x="10092" y="12619"/>
                    <a:pt x="10284" y="12619"/>
                  </a:cubicBezTo>
                  <a:cubicBezTo>
                    <a:pt x="10476" y="12619"/>
                    <a:pt x="10630" y="12520"/>
                    <a:pt x="10630" y="12396"/>
                  </a:cubicBezTo>
                  <a:cubicBezTo>
                    <a:pt x="10630" y="12273"/>
                    <a:pt x="10476" y="12172"/>
                    <a:pt x="10284" y="12172"/>
                  </a:cubicBezTo>
                  <a:close/>
                  <a:moveTo>
                    <a:pt x="11319" y="12172"/>
                  </a:moveTo>
                  <a:cubicBezTo>
                    <a:pt x="11127" y="12172"/>
                    <a:pt x="10970" y="12273"/>
                    <a:pt x="10970" y="12396"/>
                  </a:cubicBezTo>
                  <a:cubicBezTo>
                    <a:pt x="10970" y="12520"/>
                    <a:pt x="11127" y="12619"/>
                    <a:pt x="11319" y="12619"/>
                  </a:cubicBezTo>
                  <a:cubicBezTo>
                    <a:pt x="11511" y="12619"/>
                    <a:pt x="11665" y="12520"/>
                    <a:pt x="11665" y="12396"/>
                  </a:cubicBezTo>
                  <a:cubicBezTo>
                    <a:pt x="11665" y="12273"/>
                    <a:pt x="11511" y="12172"/>
                    <a:pt x="11319" y="12172"/>
                  </a:cubicBezTo>
                  <a:close/>
                  <a:moveTo>
                    <a:pt x="12250" y="12172"/>
                  </a:moveTo>
                  <a:cubicBezTo>
                    <a:pt x="12058" y="12172"/>
                    <a:pt x="11901" y="12273"/>
                    <a:pt x="11901" y="12396"/>
                  </a:cubicBezTo>
                  <a:cubicBezTo>
                    <a:pt x="11901" y="12520"/>
                    <a:pt x="12058" y="12619"/>
                    <a:pt x="12250" y="12619"/>
                  </a:cubicBezTo>
                  <a:cubicBezTo>
                    <a:pt x="12443" y="12619"/>
                    <a:pt x="12597" y="12520"/>
                    <a:pt x="12596" y="12396"/>
                  </a:cubicBezTo>
                  <a:cubicBezTo>
                    <a:pt x="12596" y="12273"/>
                    <a:pt x="12443" y="12172"/>
                    <a:pt x="12250" y="12172"/>
                  </a:cubicBezTo>
                  <a:close/>
                  <a:moveTo>
                    <a:pt x="13285" y="12172"/>
                  </a:moveTo>
                  <a:cubicBezTo>
                    <a:pt x="13093" y="12172"/>
                    <a:pt x="12936" y="12273"/>
                    <a:pt x="12936" y="12396"/>
                  </a:cubicBezTo>
                  <a:cubicBezTo>
                    <a:pt x="12936" y="12520"/>
                    <a:pt x="13093" y="12619"/>
                    <a:pt x="13285" y="12619"/>
                  </a:cubicBezTo>
                  <a:cubicBezTo>
                    <a:pt x="13477" y="12619"/>
                    <a:pt x="13631" y="12520"/>
                    <a:pt x="13631" y="12396"/>
                  </a:cubicBezTo>
                  <a:cubicBezTo>
                    <a:pt x="13631" y="12273"/>
                    <a:pt x="13477" y="12172"/>
                    <a:pt x="13285" y="12172"/>
                  </a:cubicBezTo>
                  <a:close/>
                  <a:moveTo>
                    <a:pt x="14320" y="12172"/>
                  </a:moveTo>
                  <a:cubicBezTo>
                    <a:pt x="14128" y="12172"/>
                    <a:pt x="13971" y="12273"/>
                    <a:pt x="13971" y="12396"/>
                  </a:cubicBezTo>
                  <a:cubicBezTo>
                    <a:pt x="13971" y="12520"/>
                    <a:pt x="14128" y="12619"/>
                    <a:pt x="14320" y="12619"/>
                  </a:cubicBezTo>
                  <a:cubicBezTo>
                    <a:pt x="14512" y="12619"/>
                    <a:pt x="14666" y="12520"/>
                    <a:pt x="14666" y="12396"/>
                  </a:cubicBezTo>
                  <a:cubicBezTo>
                    <a:pt x="14666" y="12273"/>
                    <a:pt x="14512" y="12172"/>
                    <a:pt x="14320" y="12172"/>
                  </a:cubicBezTo>
                  <a:close/>
                  <a:moveTo>
                    <a:pt x="15252" y="12172"/>
                  </a:moveTo>
                  <a:cubicBezTo>
                    <a:pt x="15060" y="12172"/>
                    <a:pt x="14902" y="12273"/>
                    <a:pt x="14902" y="12396"/>
                  </a:cubicBezTo>
                  <a:cubicBezTo>
                    <a:pt x="14902" y="12520"/>
                    <a:pt x="15060" y="12619"/>
                    <a:pt x="15252" y="12619"/>
                  </a:cubicBezTo>
                  <a:cubicBezTo>
                    <a:pt x="15444" y="12619"/>
                    <a:pt x="15598" y="12520"/>
                    <a:pt x="15598" y="12396"/>
                  </a:cubicBezTo>
                  <a:cubicBezTo>
                    <a:pt x="15598" y="12273"/>
                    <a:pt x="15444" y="12172"/>
                    <a:pt x="15252" y="12172"/>
                  </a:cubicBezTo>
                  <a:close/>
                  <a:moveTo>
                    <a:pt x="16287" y="12172"/>
                  </a:moveTo>
                  <a:cubicBezTo>
                    <a:pt x="16094" y="12172"/>
                    <a:pt x="15937" y="12273"/>
                    <a:pt x="15937" y="12396"/>
                  </a:cubicBezTo>
                  <a:cubicBezTo>
                    <a:pt x="15937" y="12520"/>
                    <a:pt x="16094" y="12619"/>
                    <a:pt x="16287" y="12619"/>
                  </a:cubicBezTo>
                  <a:cubicBezTo>
                    <a:pt x="16479" y="12619"/>
                    <a:pt x="16633" y="12520"/>
                    <a:pt x="16633" y="12396"/>
                  </a:cubicBezTo>
                  <a:cubicBezTo>
                    <a:pt x="16633" y="12273"/>
                    <a:pt x="16479" y="12172"/>
                    <a:pt x="16287" y="12172"/>
                  </a:cubicBezTo>
                  <a:close/>
                  <a:moveTo>
                    <a:pt x="6248" y="12837"/>
                  </a:moveTo>
                  <a:cubicBezTo>
                    <a:pt x="6056" y="12837"/>
                    <a:pt x="5899" y="12938"/>
                    <a:pt x="5899" y="13061"/>
                  </a:cubicBezTo>
                  <a:cubicBezTo>
                    <a:pt x="5899" y="13185"/>
                    <a:pt x="6056" y="13284"/>
                    <a:pt x="6248" y="13284"/>
                  </a:cubicBezTo>
                  <a:cubicBezTo>
                    <a:pt x="6440" y="13284"/>
                    <a:pt x="6594" y="13185"/>
                    <a:pt x="6594" y="13061"/>
                  </a:cubicBezTo>
                  <a:cubicBezTo>
                    <a:pt x="6594" y="12938"/>
                    <a:pt x="6440" y="12837"/>
                    <a:pt x="6248" y="12837"/>
                  </a:cubicBezTo>
                  <a:close/>
                  <a:moveTo>
                    <a:pt x="7283" y="12837"/>
                  </a:moveTo>
                  <a:cubicBezTo>
                    <a:pt x="7091" y="12837"/>
                    <a:pt x="6934" y="12938"/>
                    <a:pt x="6934" y="13061"/>
                  </a:cubicBezTo>
                  <a:cubicBezTo>
                    <a:pt x="6934" y="13185"/>
                    <a:pt x="7091" y="13284"/>
                    <a:pt x="7283" y="13284"/>
                  </a:cubicBezTo>
                  <a:cubicBezTo>
                    <a:pt x="7475" y="13284"/>
                    <a:pt x="7629" y="13185"/>
                    <a:pt x="7629" y="13061"/>
                  </a:cubicBezTo>
                  <a:cubicBezTo>
                    <a:pt x="7629" y="12938"/>
                    <a:pt x="7475" y="12837"/>
                    <a:pt x="7283" y="12837"/>
                  </a:cubicBezTo>
                  <a:close/>
                  <a:moveTo>
                    <a:pt x="8318" y="12837"/>
                  </a:moveTo>
                  <a:cubicBezTo>
                    <a:pt x="8126" y="12837"/>
                    <a:pt x="7969" y="12938"/>
                    <a:pt x="7969" y="13061"/>
                  </a:cubicBezTo>
                  <a:cubicBezTo>
                    <a:pt x="7969" y="13185"/>
                    <a:pt x="8126" y="13284"/>
                    <a:pt x="8318" y="13284"/>
                  </a:cubicBezTo>
                  <a:cubicBezTo>
                    <a:pt x="8510" y="13284"/>
                    <a:pt x="8664" y="13185"/>
                    <a:pt x="8664" y="13061"/>
                  </a:cubicBezTo>
                  <a:cubicBezTo>
                    <a:pt x="8664" y="12938"/>
                    <a:pt x="8510" y="12837"/>
                    <a:pt x="8318" y="12837"/>
                  </a:cubicBezTo>
                  <a:close/>
                  <a:moveTo>
                    <a:pt x="9249" y="12837"/>
                  </a:moveTo>
                  <a:cubicBezTo>
                    <a:pt x="9057" y="12837"/>
                    <a:pt x="8900" y="12938"/>
                    <a:pt x="8900" y="13061"/>
                  </a:cubicBezTo>
                  <a:cubicBezTo>
                    <a:pt x="8900" y="13185"/>
                    <a:pt x="9057" y="13284"/>
                    <a:pt x="9249" y="13284"/>
                  </a:cubicBezTo>
                  <a:cubicBezTo>
                    <a:pt x="9442" y="13284"/>
                    <a:pt x="9595" y="13185"/>
                    <a:pt x="9595" y="13061"/>
                  </a:cubicBezTo>
                  <a:cubicBezTo>
                    <a:pt x="9595" y="12938"/>
                    <a:pt x="9442" y="12837"/>
                    <a:pt x="9249" y="12837"/>
                  </a:cubicBezTo>
                  <a:close/>
                  <a:moveTo>
                    <a:pt x="10284" y="12837"/>
                  </a:moveTo>
                  <a:cubicBezTo>
                    <a:pt x="10092" y="12837"/>
                    <a:pt x="9935" y="12938"/>
                    <a:pt x="9935" y="13061"/>
                  </a:cubicBezTo>
                  <a:cubicBezTo>
                    <a:pt x="9935" y="13185"/>
                    <a:pt x="10092" y="13284"/>
                    <a:pt x="10284" y="13284"/>
                  </a:cubicBezTo>
                  <a:cubicBezTo>
                    <a:pt x="10476" y="13284"/>
                    <a:pt x="10630" y="13185"/>
                    <a:pt x="10630" y="13061"/>
                  </a:cubicBezTo>
                  <a:cubicBezTo>
                    <a:pt x="10630" y="12938"/>
                    <a:pt x="10476" y="12837"/>
                    <a:pt x="10284" y="12837"/>
                  </a:cubicBezTo>
                  <a:close/>
                  <a:moveTo>
                    <a:pt x="11319" y="12837"/>
                  </a:moveTo>
                  <a:cubicBezTo>
                    <a:pt x="11127" y="12837"/>
                    <a:pt x="10970" y="12938"/>
                    <a:pt x="10970" y="13061"/>
                  </a:cubicBezTo>
                  <a:cubicBezTo>
                    <a:pt x="10970" y="13185"/>
                    <a:pt x="11127" y="13284"/>
                    <a:pt x="11319" y="13284"/>
                  </a:cubicBezTo>
                  <a:cubicBezTo>
                    <a:pt x="11511" y="13284"/>
                    <a:pt x="11665" y="13185"/>
                    <a:pt x="11665" y="13061"/>
                  </a:cubicBezTo>
                  <a:cubicBezTo>
                    <a:pt x="11665" y="12938"/>
                    <a:pt x="11511" y="12837"/>
                    <a:pt x="11319" y="12837"/>
                  </a:cubicBezTo>
                  <a:close/>
                  <a:moveTo>
                    <a:pt x="12250" y="12837"/>
                  </a:moveTo>
                  <a:cubicBezTo>
                    <a:pt x="12058" y="12837"/>
                    <a:pt x="11901" y="12938"/>
                    <a:pt x="11901" y="13061"/>
                  </a:cubicBezTo>
                  <a:cubicBezTo>
                    <a:pt x="11901" y="13185"/>
                    <a:pt x="12058" y="13284"/>
                    <a:pt x="12250" y="13284"/>
                  </a:cubicBezTo>
                  <a:cubicBezTo>
                    <a:pt x="12443" y="13284"/>
                    <a:pt x="12597" y="13185"/>
                    <a:pt x="12596" y="13061"/>
                  </a:cubicBezTo>
                  <a:cubicBezTo>
                    <a:pt x="12596" y="12938"/>
                    <a:pt x="12443" y="12837"/>
                    <a:pt x="12250" y="12837"/>
                  </a:cubicBezTo>
                  <a:close/>
                  <a:moveTo>
                    <a:pt x="13285" y="12837"/>
                  </a:moveTo>
                  <a:cubicBezTo>
                    <a:pt x="13093" y="12837"/>
                    <a:pt x="12936" y="12938"/>
                    <a:pt x="12936" y="13061"/>
                  </a:cubicBezTo>
                  <a:cubicBezTo>
                    <a:pt x="12936" y="13185"/>
                    <a:pt x="13093" y="13284"/>
                    <a:pt x="13285" y="13284"/>
                  </a:cubicBezTo>
                  <a:cubicBezTo>
                    <a:pt x="13477" y="13284"/>
                    <a:pt x="13631" y="13185"/>
                    <a:pt x="13631" y="13061"/>
                  </a:cubicBezTo>
                  <a:cubicBezTo>
                    <a:pt x="13631" y="12938"/>
                    <a:pt x="13477" y="12837"/>
                    <a:pt x="13285" y="12837"/>
                  </a:cubicBezTo>
                  <a:close/>
                  <a:moveTo>
                    <a:pt x="14320" y="12837"/>
                  </a:moveTo>
                  <a:cubicBezTo>
                    <a:pt x="14128" y="12837"/>
                    <a:pt x="13971" y="12938"/>
                    <a:pt x="13971" y="13061"/>
                  </a:cubicBezTo>
                  <a:cubicBezTo>
                    <a:pt x="13971" y="13185"/>
                    <a:pt x="14128" y="13284"/>
                    <a:pt x="14320" y="13284"/>
                  </a:cubicBezTo>
                  <a:cubicBezTo>
                    <a:pt x="14512" y="13284"/>
                    <a:pt x="14666" y="13185"/>
                    <a:pt x="14666" y="13061"/>
                  </a:cubicBezTo>
                  <a:cubicBezTo>
                    <a:pt x="14666" y="12938"/>
                    <a:pt x="14512" y="12837"/>
                    <a:pt x="14320" y="12837"/>
                  </a:cubicBezTo>
                  <a:close/>
                  <a:moveTo>
                    <a:pt x="15252" y="12837"/>
                  </a:moveTo>
                  <a:cubicBezTo>
                    <a:pt x="15060" y="12837"/>
                    <a:pt x="14902" y="12938"/>
                    <a:pt x="14902" y="13061"/>
                  </a:cubicBezTo>
                  <a:cubicBezTo>
                    <a:pt x="14902" y="13185"/>
                    <a:pt x="15060" y="13284"/>
                    <a:pt x="15252" y="13284"/>
                  </a:cubicBezTo>
                  <a:cubicBezTo>
                    <a:pt x="15444" y="13284"/>
                    <a:pt x="15598" y="13185"/>
                    <a:pt x="15598" y="13061"/>
                  </a:cubicBezTo>
                  <a:cubicBezTo>
                    <a:pt x="15598" y="12938"/>
                    <a:pt x="15444" y="12837"/>
                    <a:pt x="15252" y="12837"/>
                  </a:cubicBezTo>
                  <a:close/>
                  <a:moveTo>
                    <a:pt x="16287" y="12837"/>
                  </a:moveTo>
                  <a:cubicBezTo>
                    <a:pt x="16094" y="12837"/>
                    <a:pt x="15937" y="12938"/>
                    <a:pt x="15937" y="13061"/>
                  </a:cubicBezTo>
                  <a:cubicBezTo>
                    <a:pt x="15937" y="13185"/>
                    <a:pt x="16094" y="13284"/>
                    <a:pt x="16287" y="13284"/>
                  </a:cubicBezTo>
                  <a:cubicBezTo>
                    <a:pt x="16479" y="13284"/>
                    <a:pt x="16633" y="13185"/>
                    <a:pt x="16633" y="13061"/>
                  </a:cubicBezTo>
                  <a:cubicBezTo>
                    <a:pt x="16633" y="12938"/>
                    <a:pt x="16479" y="12837"/>
                    <a:pt x="16287" y="12837"/>
                  </a:cubicBezTo>
                  <a:close/>
                  <a:moveTo>
                    <a:pt x="6248" y="13436"/>
                  </a:moveTo>
                  <a:cubicBezTo>
                    <a:pt x="6056" y="13436"/>
                    <a:pt x="5899" y="13537"/>
                    <a:pt x="5899" y="13660"/>
                  </a:cubicBezTo>
                  <a:cubicBezTo>
                    <a:pt x="5899" y="13784"/>
                    <a:pt x="6056" y="13885"/>
                    <a:pt x="6248" y="13885"/>
                  </a:cubicBezTo>
                  <a:cubicBezTo>
                    <a:pt x="6440" y="13885"/>
                    <a:pt x="6594" y="13784"/>
                    <a:pt x="6594" y="13660"/>
                  </a:cubicBezTo>
                  <a:cubicBezTo>
                    <a:pt x="6594" y="13537"/>
                    <a:pt x="6440" y="13436"/>
                    <a:pt x="6248" y="13436"/>
                  </a:cubicBezTo>
                  <a:close/>
                  <a:moveTo>
                    <a:pt x="7283" y="13436"/>
                  </a:moveTo>
                  <a:cubicBezTo>
                    <a:pt x="7091" y="13436"/>
                    <a:pt x="6934" y="13537"/>
                    <a:pt x="6934" y="13660"/>
                  </a:cubicBezTo>
                  <a:cubicBezTo>
                    <a:pt x="6934" y="13784"/>
                    <a:pt x="7091" y="13885"/>
                    <a:pt x="7283" y="13885"/>
                  </a:cubicBezTo>
                  <a:cubicBezTo>
                    <a:pt x="7475" y="13885"/>
                    <a:pt x="7629" y="13784"/>
                    <a:pt x="7629" y="13660"/>
                  </a:cubicBezTo>
                  <a:cubicBezTo>
                    <a:pt x="7629" y="13537"/>
                    <a:pt x="7475" y="13436"/>
                    <a:pt x="7283" y="13436"/>
                  </a:cubicBezTo>
                  <a:close/>
                  <a:moveTo>
                    <a:pt x="8214" y="13436"/>
                  </a:moveTo>
                  <a:cubicBezTo>
                    <a:pt x="8022" y="13436"/>
                    <a:pt x="7865" y="13537"/>
                    <a:pt x="7865" y="13660"/>
                  </a:cubicBezTo>
                  <a:cubicBezTo>
                    <a:pt x="7865" y="13784"/>
                    <a:pt x="8022" y="13885"/>
                    <a:pt x="8214" y="13885"/>
                  </a:cubicBezTo>
                  <a:cubicBezTo>
                    <a:pt x="8406" y="13885"/>
                    <a:pt x="8560" y="13784"/>
                    <a:pt x="8560" y="13660"/>
                  </a:cubicBezTo>
                  <a:cubicBezTo>
                    <a:pt x="8560" y="13537"/>
                    <a:pt x="8406" y="13436"/>
                    <a:pt x="8214" y="13436"/>
                  </a:cubicBezTo>
                  <a:close/>
                  <a:moveTo>
                    <a:pt x="9249" y="13436"/>
                  </a:moveTo>
                  <a:cubicBezTo>
                    <a:pt x="9057" y="13436"/>
                    <a:pt x="8900" y="13537"/>
                    <a:pt x="8900" y="13660"/>
                  </a:cubicBezTo>
                  <a:cubicBezTo>
                    <a:pt x="8900" y="13784"/>
                    <a:pt x="9057" y="13885"/>
                    <a:pt x="9249" y="13885"/>
                  </a:cubicBezTo>
                  <a:cubicBezTo>
                    <a:pt x="9442" y="13885"/>
                    <a:pt x="9595" y="13784"/>
                    <a:pt x="9595" y="13660"/>
                  </a:cubicBezTo>
                  <a:cubicBezTo>
                    <a:pt x="9595" y="13537"/>
                    <a:pt x="9442" y="13436"/>
                    <a:pt x="9249" y="13436"/>
                  </a:cubicBezTo>
                  <a:close/>
                  <a:moveTo>
                    <a:pt x="10284" y="13436"/>
                  </a:moveTo>
                  <a:cubicBezTo>
                    <a:pt x="10092" y="13436"/>
                    <a:pt x="9935" y="13537"/>
                    <a:pt x="9935" y="13660"/>
                  </a:cubicBezTo>
                  <a:cubicBezTo>
                    <a:pt x="9935" y="13784"/>
                    <a:pt x="10092" y="13885"/>
                    <a:pt x="10284" y="13885"/>
                  </a:cubicBezTo>
                  <a:cubicBezTo>
                    <a:pt x="10476" y="13885"/>
                    <a:pt x="10630" y="13784"/>
                    <a:pt x="10630" y="13660"/>
                  </a:cubicBezTo>
                  <a:cubicBezTo>
                    <a:pt x="10630" y="13537"/>
                    <a:pt x="10476" y="13436"/>
                    <a:pt x="10284" y="13436"/>
                  </a:cubicBezTo>
                  <a:close/>
                  <a:moveTo>
                    <a:pt x="11319" y="13436"/>
                  </a:moveTo>
                  <a:cubicBezTo>
                    <a:pt x="11127" y="13436"/>
                    <a:pt x="10970" y="13537"/>
                    <a:pt x="10970" y="13660"/>
                  </a:cubicBezTo>
                  <a:cubicBezTo>
                    <a:pt x="10970" y="13784"/>
                    <a:pt x="11127" y="13885"/>
                    <a:pt x="11319" y="13885"/>
                  </a:cubicBezTo>
                  <a:cubicBezTo>
                    <a:pt x="11511" y="13885"/>
                    <a:pt x="11665" y="13784"/>
                    <a:pt x="11665" y="13660"/>
                  </a:cubicBezTo>
                  <a:cubicBezTo>
                    <a:pt x="11665" y="13537"/>
                    <a:pt x="11511" y="13436"/>
                    <a:pt x="11319" y="13436"/>
                  </a:cubicBezTo>
                  <a:close/>
                  <a:moveTo>
                    <a:pt x="12250" y="13436"/>
                  </a:moveTo>
                  <a:cubicBezTo>
                    <a:pt x="12058" y="13436"/>
                    <a:pt x="11901" y="13537"/>
                    <a:pt x="11901" y="13660"/>
                  </a:cubicBezTo>
                  <a:cubicBezTo>
                    <a:pt x="11901" y="13784"/>
                    <a:pt x="12058" y="13885"/>
                    <a:pt x="12250" y="13885"/>
                  </a:cubicBezTo>
                  <a:cubicBezTo>
                    <a:pt x="12443" y="13885"/>
                    <a:pt x="12597" y="13784"/>
                    <a:pt x="12596" y="13660"/>
                  </a:cubicBezTo>
                  <a:cubicBezTo>
                    <a:pt x="12596" y="13537"/>
                    <a:pt x="12443" y="13436"/>
                    <a:pt x="12250" y="13436"/>
                  </a:cubicBezTo>
                  <a:close/>
                  <a:moveTo>
                    <a:pt x="13285" y="13436"/>
                  </a:moveTo>
                  <a:cubicBezTo>
                    <a:pt x="13093" y="13436"/>
                    <a:pt x="12936" y="13537"/>
                    <a:pt x="12936" y="13660"/>
                  </a:cubicBezTo>
                  <a:cubicBezTo>
                    <a:pt x="12936" y="13784"/>
                    <a:pt x="13093" y="13885"/>
                    <a:pt x="13285" y="13885"/>
                  </a:cubicBezTo>
                  <a:cubicBezTo>
                    <a:pt x="13477" y="13885"/>
                    <a:pt x="13631" y="13784"/>
                    <a:pt x="13631" y="13660"/>
                  </a:cubicBezTo>
                  <a:cubicBezTo>
                    <a:pt x="13631" y="13537"/>
                    <a:pt x="13477" y="13436"/>
                    <a:pt x="13285" y="13436"/>
                  </a:cubicBezTo>
                  <a:close/>
                  <a:moveTo>
                    <a:pt x="14320" y="13436"/>
                  </a:moveTo>
                  <a:cubicBezTo>
                    <a:pt x="14128" y="13436"/>
                    <a:pt x="13971" y="13537"/>
                    <a:pt x="13971" y="13660"/>
                  </a:cubicBezTo>
                  <a:cubicBezTo>
                    <a:pt x="13971" y="13784"/>
                    <a:pt x="14128" y="13885"/>
                    <a:pt x="14320" y="13885"/>
                  </a:cubicBezTo>
                  <a:cubicBezTo>
                    <a:pt x="14512" y="13885"/>
                    <a:pt x="14666" y="13784"/>
                    <a:pt x="14666" y="13660"/>
                  </a:cubicBezTo>
                  <a:cubicBezTo>
                    <a:pt x="14666" y="13537"/>
                    <a:pt x="14512" y="13436"/>
                    <a:pt x="14320" y="13436"/>
                  </a:cubicBezTo>
                  <a:close/>
                  <a:moveTo>
                    <a:pt x="15252" y="13436"/>
                  </a:moveTo>
                  <a:cubicBezTo>
                    <a:pt x="15060" y="13436"/>
                    <a:pt x="14902" y="13537"/>
                    <a:pt x="14902" y="13660"/>
                  </a:cubicBezTo>
                  <a:cubicBezTo>
                    <a:pt x="14902" y="13784"/>
                    <a:pt x="15060" y="13885"/>
                    <a:pt x="15252" y="13885"/>
                  </a:cubicBezTo>
                  <a:cubicBezTo>
                    <a:pt x="15444" y="13885"/>
                    <a:pt x="15598" y="13784"/>
                    <a:pt x="15598" y="13660"/>
                  </a:cubicBezTo>
                  <a:cubicBezTo>
                    <a:pt x="15598" y="13537"/>
                    <a:pt x="15444" y="13436"/>
                    <a:pt x="15252" y="13436"/>
                  </a:cubicBezTo>
                  <a:close/>
                  <a:moveTo>
                    <a:pt x="7283" y="14101"/>
                  </a:moveTo>
                  <a:cubicBezTo>
                    <a:pt x="7091" y="14101"/>
                    <a:pt x="6934" y="14202"/>
                    <a:pt x="6934" y="14325"/>
                  </a:cubicBezTo>
                  <a:cubicBezTo>
                    <a:pt x="6934" y="14449"/>
                    <a:pt x="7091" y="14548"/>
                    <a:pt x="7283" y="14548"/>
                  </a:cubicBezTo>
                  <a:cubicBezTo>
                    <a:pt x="7475" y="14548"/>
                    <a:pt x="7629" y="14449"/>
                    <a:pt x="7629" y="14325"/>
                  </a:cubicBezTo>
                  <a:cubicBezTo>
                    <a:pt x="7629" y="14202"/>
                    <a:pt x="7475" y="14101"/>
                    <a:pt x="7283" y="14101"/>
                  </a:cubicBezTo>
                  <a:close/>
                  <a:moveTo>
                    <a:pt x="8214" y="14101"/>
                  </a:moveTo>
                  <a:cubicBezTo>
                    <a:pt x="8022" y="14101"/>
                    <a:pt x="7865" y="14202"/>
                    <a:pt x="7865" y="14325"/>
                  </a:cubicBezTo>
                  <a:cubicBezTo>
                    <a:pt x="7865" y="14449"/>
                    <a:pt x="8022" y="14548"/>
                    <a:pt x="8214" y="14548"/>
                  </a:cubicBezTo>
                  <a:cubicBezTo>
                    <a:pt x="8407" y="14548"/>
                    <a:pt x="8560" y="14449"/>
                    <a:pt x="8560" y="14325"/>
                  </a:cubicBezTo>
                  <a:cubicBezTo>
                    <a:pt x="8560" y="14202"/>
                    <a:pt x="8407" y="14101"/>
                    <a:pt x="8214" y="14101"/>
                  </a:cubicBezTo>
                  <a:close/>
                  <a:moveTo>
                    <a:pt x="9249" y="14101"/>
                  </a:moveTo>
                  <a:cubicBezTo>
                    <a:pt x="9057" y="14101"/>
                    <a:pt x="8900" y="14202"/>
                    <a:pt x="8900" y="14325"/>
                  </a:cubicBezTo>
                  <a:cubicBezTo>
                    <a:pt x="8900" y="14449"/>
                    <a:pt x="9057" y="14548"/>
                    <a:pt x="9249" y="14548"/>
                  </a:cubicBezTo>
                  <a:cubicBezTo>
                    <a:pt x="9442" y="14548"/>
                    <a:pt x="9595" y="14449"/>
                    <a:pt x="9595" y="14325"/>
                  </a:cubicBezTo>
                  <a:cubicBezTo>
                    <a:pt x="9595" y="14202"/>
                    <a:pt x="9442" y="14101"/>
                    <a:pt x="9249" y="14101"/>
                  </a:cubicBezTo>
                  <a:close/>
                  <a:moveTo>
                    <a:pt x="10284" y="14101"/>
                  </a:moveTo>
                  <a:cubicBezTo>
                    <a:pt x="10092" y="14101"/>
                    <a:pt x="9935" y="14202"/>
                    <a:pt x="9935" y="14325"/>
                  </a:cubicBezTo>
                  <a:cubicBezTo>
                    <a:pt x="9935" y="14449"/>
                    <a:pt x="10092" y="14548"/>
                    <a:pt x="10284" y="14548"/>
                  </a:cubicBezTo>
                  <a:cubicBezTo>
                    <a:pt x="10476" y="14548"/>
                    <a:pt x="10630" y="14449"/>
                    <a:pt x="10630" y="14325"/>
                  </a:cubicBezTo>
                  <a:cubicBezTo>
                    <a:pt x="10630" y="14202"/>
                    <a:pt x="10476" y="14101"/>
                    <a:pt x="10284" y="14101"/>
                  </a:cubicBezTo>
                  <a:close/>
                  <a:moveTo>
                    <a:pt x="11216" y="14101"/>
                  </a:moveTo>
                  <a:cubicBezTo>
                    <a:pt x="11023" y="14101"/>
                    <a:pt x="10866" y="14202"/>
                    <a:pt x="10866" y="14325"/>
                  </a:cubicBezTo>
                  <a:cubicBezTo>
                    <a:pt x="10866" y="14449"/>
                    <a:pt x="11023" y="14548"/>
                    <a:pt x="11216" y="14548"/>
                  </a:cubicBezTo>
                  <a:cubicBezTo>
                    <a:pt x="11408" y="14548"/>
                    <a:pt x="11562" y="14449"/>
                    <a:pt x="11562" y="14325"/>
                  </a:cubicBezTo>
                  <a:cubicBezTo>
                    <a:pt x="11562" y="14202"/>
                    <a:pt x="11408" y="14101"/>
                    <a:pt x="11216" y="14101"/>
                  </a:cubicBezTo>
                  <a:close/>
                  <a:moveTo>
                    <a:pt x="12250" y="14101"/>
                  </a:moveTo>
                  <a:cubicBezTo>
                    <a:pt x="12058" y="14101"/>
                    <a:pt x="11901" y="14202"/>
                    <a:pt x="11901" y="14325"/>
                  </a:cubicBezTo>
                  <a:cubicBezTo>
                    <a:pt x="11901" y="14449"/>
                    <a:pt x="12058" y="14548"/>
                    <a:pt x="12250" y="14548"/>
                  </a:cubicBezTo>
                  <a:cubicBezTo>
                    <a:pt x="12443" y="14548"/>
                    <a:pt x="12597" y="14449"/>
                    <a:pt x="12596" y="14325"/>
                  </a:cubicBezTo>
                  <a:cubicBezTo>
                    <a:pt x="12596" y="14202"/>
                    <a:pt x="12443" y="14101"/>
                    <a:pt x="12250" y="14101"/>
                  </a:cubicBezTo>
                  <a:close/>
                  <a:moveTo>
                    <a:pt x="13285" y="14101"/>
                  </a:moveTo>
                  <a:cubicBezTo>
                    <a:pt x="13093" y="14101"/>
                    <a:pt x="12936" y="14202"/>
                    <a:pt x="12936" y="14325"/>
                  </a:cubicBezTo>
                  <a:cubicBezTo>
                    <a:pt x="12936" y="14449"/>
                    <a:pt x="13093" y="14548"/>
                    <a:pt x="13285" y="14548"/>
                  </a:cubicBezTo>
                  <a:cubicBezTo>
                    <a:pt x="13478" y="14548"/>
                    <a:pt x="13631" y="14449"/>
                    <a:pt x="13631" y="14325"/>
                  </a:cubicBezTo>
                  <a:cubicBezTo>
                    <a:pt x="13631" y="14202"/>
                    <a:pt x="13478" y="14101"/>
                    <a:pt x="13285" y="14101"/>
                  </a:cubicBezTo>
                  <a:close/>
                  <a:moveTo>
                    <a:pt x="14217" y="14101"/>
                  </a:moveTo>
                  <a:cubicBezTo>
                    <a:pt x="14025" y="14101"/>
                    <a:pt x="13867" y="14202"/>
                    <a:pt x="13867" y="14325"/>
                  </a:cubicBezTo>
                  <a:cubicBezTo>
                    <a:pt x="13867" y="14449"/>
                    <a:pt x="14025" y="14548"/>
                    <a:pt x="14217" y="14548"/>
                  </a:cubicBezTo>
                  <a:cubicBezTo>
                    <a:pt x="14409" y="14548"/>
                    <a:pt x="14563" y="14449"/>
                    <a:pt x="14563" y="14325"/>
                  </a:cubicBezTo>
                  <a:cubicBezTo>
                    <a:pt x="14563" y="14202"/>
                    <a:pt x="14409" y="14101"/>
                    <a:pt x="14217" y="14101"/>
                  </a:cubicBezTo>
                  <a:close/>
                  <a:moveTo>
                    <a:pt x="15252" y="14101"/>
                  </a:moveTo>
                  <a:cubicBezTo>
                    <a:pt x="15059" y="14101"/>
                    <a:pt x="14902" y="14202"/>
                    <a:pt x="14902" y="14325"/>
                  </a:cubicBezTo>
                  <a:cubicBezTo>
                    <a:pt x="14902" y="14449"/>
                    <a:pt x="15059" y="14548"/>
                    <a:pt x="15252" y="14548"/>
                  </a:cubicBezTo>
                  <a:cubicBezTo>
                    <a:pt x="15444" y="14548"/>
                    <a:pt x="15598" y="14449"/>
                    <a:pt x="15598" y="14325"/>
                  </a:cubicBezTo>
                  <a:cubicBezTo>
                    <a:pt x="15598" y="14202"/>
                    <a:pt x="15444" y="14101"/>
                    <a:pt x="15252" y="14101"/>
                  </a:cubicBezTo>
                  <a:close/>
                  <a:moveTo>
                    <a:pt x="7283" y="14766"/>
                  </a:moveTo>
                  <a:cubicBezTo>
                    <a:pt x="7091" y="14766"/>
                    <a:pt x="6934" y="14867"/>
                    <a:pt x="6934" y="14990"/>
                  </a:cubicBezTo>
                  <a:cubicBezTo>
                    <a:pt x="6934" y="15114"/>
                    <a:pt x="7091" y="15215"/>
                    <a:pt x="7283" y="15215"/>
                  </a:cubicBezTo>
                  <a:cubicBezTo>
                    <a:pt x="7475" y="15215"/>
                    <a:pt x="7629" y="15114"/>
                    <a:pt x="7629" y="14990"/>
                  </a:cubicBezTo>
                  <a:cubicBezTo>
                    <a:pt x="7629" y="14867"/>
                    <a:pt x="7475" y="14766"/>
                    <a:pt x="7283" y="14766"/>
                  </a:cubicBezTo>
                  <a:close/>
                  <a:moveTo>
                    <a:pt x="8214" y="14766"/>
                  </a:moveTo>
                  <a:cubicBezTo>
                    <a:pt x="8022" y="14766"/>
                    <a:pt x="7865" y="14867"/>
                    <a:pt x="7865" y="14990"/>
                  </a:cubicBezTo>
                  <a:cubicBezTo>
                    <a:pt x="7865" y="15114"/>
                    <a:pt x="8022" y="15215"/>
                    <a:pt x="8214" y="15215"/>
                  </a:cubicBezTo>
                  <a:cubicBezTo>
                    <a:pt x="8407" y="15215"/>
                    <a:pt x="8560" y="15114"/>
                    <a:pt x="8560" y="14990"/>
                  </a:cubicBezTo>
                  <a:cubicBezTo>
                    <a:pt x="8560" y="14867"/>
                    <a:pt x="8407" y="14766"/>
                    <a:pt x="8214" y="14766"/>
                  </a:cubicBezTo>
                  <a:close/>
                  <a:moveTo>
                    <a:pt x="9249" y="14766"/>
                  </a:moveTo>
                  <a:cubicBezTo>
                    <a:pt x="9057" y="14766"/>
                    <a:pt x="8900" y="14867"/>
                    <a:pt x="8900" y="14990"/>
                  </a:cubicBezTo>
                  <a:cubicBezTo>
                    <a:pt x="8900" y="15114"/>
                    <a:pt x="9057" y="15215"/>
                    <a:pt x="9249" y="15215"/>
                  </a:cubicBezTo>
                  <a:cubicBezTo>
                    <a:pt x="9441" y="15215"/>
                    <a:pt x="9595" y="15114"/>
                    <a:pt x="9595" y="14990"/>
                  </a:cubicBezTo>
                  <a:cubicBezTo>
                    <a:pt x="9595" y="14867"/>
                    <a:pt x="9441" y="14766"/>
                    <a:pt x="9249" y="14766"/>
                  </a:cubicBezTo>
                  <a:close/>
                  <a:moveTo>
                    <a:pt x="10284" y="14766"/>
                  </a:moveTo>
                  <a:cubicBezTo>
                    <a:pt x="10092" y="14766"/>
                    <a:pt x="9935" y="14867"/>
                    <a:pt x="9935" y="14990"/>
                  </a:cubicBezTo>
                  <a:cubicBezTo>
                    <a:pt x="9935" y="15114"/>
                    <a:pt x="10092" y="15215"/>
                    <a:pt x="10284" y="15215"/>
                  </a:cubicBezTo>
                  <a:cubicBezTo>
                    <a:pt x="10476" y="15215"/>
                    <a:pt x="10630" y="15114"/>
                    <a:pt x="10630" y="14990"/>
                  </a:cubicBezTo>
                  <a:cubicBezTo>
                    <a:pt x="10630" y="14867"/>
                    <a:pt x="10476" y="14766"/>
                    <a:pt x="10284" y="14766"/>
                  </a:cubicBezTo>
                  <a:close/>
                  <a:moveTo>
                    <a:pt x="11216" y="14766"/>
                  </a:moveTo>
                  <a:cubicBezTo>
                    <a:pt x="11024" y="14766"/>
                    <a:pt x="10866" y="14867"/>
                    <a:pt x="10866" y="14990"/>
                  </a:cubicBezTo>
                  <a:cubicBezTo>
                    <a:pt x="10866" y="15114"/>
                    <a:pt x="11024" y="15215"/>
                    <a:pt x="11216" y="15215"/>
                  </a:cubicBezTo>
                  <a:cubicBezTo>
                    <a:pt x="11408" y="15215"/>
                    <a:pt x="11562" y="15114"/>
                    <a:pt x="11562" y="14990"/>
                  </a:cubicBezTo>
                  <a:cubicBezTo>
                    <a:pt x="11562" y="14867"/>
                    <a:pt x="11408" y="14766"/>
                    <a:pt x="11216" y="14766"/>
                  </a:cubicBezTo>
                  <a:close/>
                  <a:moveTo>
                    <a:pt x="12250" y="14766"/>
                  </a:moveTo>
                  <a:cubicBezTo>
                    <a:pt x="12059" y="14766"/>
                    <a:pt x="11901" y="14867"/>
                    <a:pt x="11901" y="14990"/>
                  </a:cubicBezTo>
                  <a:cubicBezTo>
                    <a:pt x="11901" y="15114"/>
                    <a:pt x="12059" y="15215"/>
                    <a:pt x="12250" y="15215"/>
                  </a:cubicBezTo>
                  <a:cubicBezTo>
                    <a:pt x="12443" y="15215"/>
                    <a:pt x="12596" y="15114"/>
                    <a:pt x="12596" y="14990"/>
                  </a:cubicBezTo>
                  <a:cubicBezTo>
                    <a:pt x="12596" y="14867"/>
                    <a:pt x="12443" y="14766"/>
                    <a:pt x="12250" y="14766"/>
                  </a:cubicBezTo>
                  <a:close/>
                  <a:moveTo>
                    <a:pt x="13285" y="14766"/>
                  </a:moveTo>
                  <a:cubicBezTo>
                    <a:pt x="13093" y="14766"/>
                    <a:pt x="12936" y="14867"/>
                    <a:pt x="12936" y="14990"/>
                  </a:cubicBezTo>
                  <a:cubicBezTo>
                    <a:pt x="12936" y="15114"/>
                    <a:pt x="13093" y="15215"/>
                    <a:pt x="13285" y="15215"/>
                  </a:cubicBezTo>
                  <a:cubicBezTo>
                    <a:pt x="13478" y="15215"/>
                    <a:pt x="13631" y="15114"/>
                    <a:pt x="13631" y="14990"/>
                  </a:cubicBezTo>
                  <a:cubicBezTo>
                    <a:pt x="13631" y="14867"/>
                    <a:pt x="13478" y="14766"/>
                    <a:pt x="13285" y="14766"/>
                  </a:cubicBezTo>
                  <a:close/>
                  <a:moveTo>
                    <a:pt x="14217" y="14766"/>
                  </a:moveTo>
                  <a:cubicBezTo>
                    <a:pt x="14025" y="14766"/>
                    <a:pt x="13867" y="14867"/>
                    <a:pt x="13867" y="14990"/>
                  </a:cubicBezTo>
                  <a:cubicBezTo>
                    <a:pt x="13867" y="15114"/>
                    <a:pt x="14025" y="15215"/>
                    <a:pt x="14217" y="15215"/>
                  </a:cubicBezTo>
                  <a:cubicBezTo>
                    <a:pt x="14409" y="15215"/>
                    <a:pt x="14563" y="15114"/>
                    <a:pt x="14563" y="14990"/>
                  </a:cubicBezTo>
                  <a:cubicBezTo>
                    <a:pt x="14563" y="14867"/>
                    <a:pt x="14409" y="14766"/>
                    <a:pt x="14217" y="14766"/>
                  </a:cubicBezTo>
                  <a:close/>
                  <a:moveTo>
                    <a:pt x="7283" y="15431"/>
                  </a:moveTo>
                  <a:cubicBezTo>
                    <a:pt x="7091" y="15431"/>
                    <a:pt x="6934" y="15532"/>
                    <a:pt x="6934" y="15655"/>
                  </a:cubicBezTo>
                  <a:cubicBezTo>
                    <a:pt x="6934" y="15779"/>
                    <a:pt x="7091" y="15878"/>
                    <a:pt x="7283" y="15878"/>
                  </a:cubicBezTo>
                  <a:cubicBezTo>
                    <a:pt x="7475" y="15878"/>
                    <a:pt x="7629" y="15779"/>
                    <a:pt x="7629" y="15655"/>
                  </a:cubicBezTo>
                  <a:cubicBezTo>
                    <a:pt x="7629" y="15532"/>
                    <a:pt x="7475" y="15431"/>
                    <a:pt x="7283" y="15431"/>
                  </a:cubicBezTo>
                  <a:close/>
                  <a:moveTo>
                    <a:pt x="8214" y="15431"/>
                  </a:moveTo>
                  <a:cubicBezTo>
                    <a:pt x="8022" y="15431"/>
                    <a:pt x="7865" y="15532"/>
                    <a:pt x="7865" y="15655"/>
                  </a:cubicBezTo>
                  <a:cubicBezTo>
                    <a:pt x="7865" y="15779"/>
                    <a:pt x="8022" y="15878"/>
                    <a:pt x="8214" y="15878"/>
                  </a:cubicBezTo>
                  <a:cubicBezTo>
                    <a:pt x="8407" y="15878"/>
                    <a:pt x="8560" y="15779"/>
                    <a:pt x="8560" y="15655"/>
                  </a:cubicBezTo>
                  <a:cubicBezTo>
                    <a:pt x="8560" y="15532"/>
                    <a:pt x="8407" y="15431"/>
                    <a:pt x="8214" y="15431"/>
                  </a:cubicBezTo>
                  <a:close/>
                  <a:moveTo>
                    <a:pt x="9249" y="15431"/>
                  </a:moveTo>
                  <a:cubicBezTo>
                    <a:pt x="9057" y="15431"/>
                    <a:pt x="8900" y="15532"/>
                    <a:pt x="8900" y="15655"/>
                  </a:cubicBezTo>
                  <a:cubicBezTo>
                    <a:pt x="8900" y="15779"/>
                    <a:pt x="9057" y="15878"/>
                    <a:pt x="9249" y="15878"/>
                  </a:cubicBezTo>
                  <a:cubicBezTo>
                    <a:pt x="9441" y="15878"/>
                    <a:pt x="9595" y="15779"/>
                    <a:pt x="9595" y="15655"/>
                  </a:cubicBezTo>
                  <a:cubicBezTo>
                    <a:pt x="9595" y="15532"/>
                    <a:pt x="9441" y="15431"/>
                    <a:pt x="9249" y="15431"/>
                  </a:cubicBezTo>
                  <a:close/>
                  <a:moveTo>
                    <a:pt x="10284" y="15431"/>
                  </a:moveTo>
                  <a:cubicBezTo>
                    <a:pt x="10092" y="15431"/>
                    <a:pt x="9935" y="15532"/>
                    <a:pt x="9935" y="15655"/>
                  </a:cubicBezTo>
                  <a:cubicBezTo>
                    <a:pt x="9935" y="15779"/>
                    <a:pt x="10092" y="15878"/>
                    <a:pt x="10284" y="15878"/>
                  </a:cubicBezTo>
                  <a:cubicBezTo>
                    <a:pt x="10476" y="15878"/>
                    <a:pt x="10630" y="15779"/>
                    <a:pt x="10630" y="15655"/>
                  </a:cubicBezTo>
                  <a:cubicBezTo>
                    <a:pt x="10630" y="15532"/>
                    <a:pt x="10476" y="15431"/>
                    <a:pt x="10284" y="15431"/>
                  </a:cubicBezTo>
                  <a:close/>
                  <a:moveTo>
                    <a:pt x="11216" y="15431"/>
                  </a:moveTo>
                  <a:cubicBezTo>
                    <a:pt x="11024" y="15431"/>
                    <a:pt x="10866" y="15532"/>
                    <a:pt x="10866" y="15655"/>
                  </a:cubicBezTo>
                  <a:cubicBezTo>
                    <a:pt x="10866" y="15779"/>
                    <a:pt x="11024" y="15878"/>
                    <a:pt x="11216" y="15878"/>
                  </a:cubicBezTo>
                  <a:cubicBezTo>
                    <a:pt x="11408" y="15878"/>
                    <a:pt x="11562" y="15779"/>
                    <a:pt x="11562" y="15655"/>
                  </a:cubicBezTo>
                  <a:cubicBezTo>
                    <a:pt x="11562" y="15532"/>
                    <a:pt x="11408" y="15431"/>
                    <a:pt x="11216" y="15431"/>
                  </a:cubicBezTo>
                  <a:close/>
                  <a:moveTo>
                    <a:pt x="12250" y="15431"/>
                  </a:moveTo>
                  <a:cubicBezTo>
                    <a:pt x="12059" y="15431"/>
                    <a:pt x="11901" y="15532"/>
                    <a:pt x="11901" y="15655"/>
                  </a:cubicBezTo>
                  <a:cubicBezTo>
                    <a:pt x="11901" y="15779"/>
                    <a:pt x="12059" y="15878"/>
                    <a:pt x="12250" y="15878"/>
                  </a:cubicBezTo>
                  <a:cubicBezTo>
                    <a:pt x="12443" y="15878"/>
                    <a:pt x="12596" y="15779"/>
                    <a:pt x="12596" y="15655"/>
                  </a:cubicBezTo>
                  <a:cubicBezTo>
                    <a:pt x="12596" y="15532"/>
                    <a:pt x="12443" y="15431"/>
                    <a:pt x="12250" y="15431"/>
                  </a:cubicBezTo>
                  <a:close/>
                  <a:moveTo>
                    <a:pt x="13285" y="15431"/>
                  </a:moveTo>
                  <a:cubicBezTo>
                    <a:pt x="13093" y="15431"/>
                    <a:pt x="12936" y="15532"/>
                    <a:pt x="12936" y="15655"/>
                  </a:cubicBezTo>
                  <a:cubicBezTo>
                    <a:pt x="12936" y="15779"/>
                    <a:pt x="13093" y="15878"/>
                    <a:pt x="13285" y="15878"/>
                  </a:cubicBezTo>
                  <a:cubicBezTo>
                    <a:pt x="13478" y="15878"/>
                    <a:pt x="13631" y="15779"/>
                    <a:pt x="13631" y="15655"/>
                  </a:cubicBezTo>
                  <a:cubicBezTo>
                    <a:pt x="13631" y="15532"/>
                    <a:pt x="13478" y="15431"/>
                    <a:pt x="13285" y="15431"/>
                  </a:cubicBezTo>
                  <a:close/>
                  <a:moveTo>
                    <a:pt x="7283" y="16030"/>
                  </a:moveTo>
                  <a:cubicBezTo>
                    <a:pt x="7091" y="16030"/>
                    <a:pt x="6934" y="16130"/>
                    <a:pt x="6934" y="16254"/>
                  </a:cubicBezTo>
                  <a:cubicBezTo>
                    <a:pt x="6934" y="16377"/>
                    <a:pt x="7091" y="16479"/>
                    <a:pt x="7283" y="16479"/>
                  </a:cubicBezTo>
                  <a:cubicBezTo>
                    <a:pt x="7475" y="16479"/>
                    <a:pt x="7629" y="16377"/>
                    <a:pt x="7629" y="16254"/>
                  </a:cubicBezTo>
                  <a:cubicBezTo>
                    <a:pt x="7629" y="16130"/>
                    <a:pt x="7475" y="16030"/>
                    <a:pt x="7283" y="16030"/>
                  </a:cubicBezTo>
                  <a:close/>
                  <a:moveTo>
                    <a:pt x="8214" y="16030"/>
                  </a:moveTo>
                  <a:cubicBezTo>
                    <a:pt x="8022" y="16030"/>
                    <a:pt x="7865" y="16130"/>
                    <a:pt x="7865" y="16254"/>
                  </a:cubicBezTo>
                  <a:cubicBezTo>
                    <a:pt x="7865" y="16377"/>
                    <a:pt x="8022" y="16476"/>
                    <a:pt x="8214" y="16476"/>
                  </a:cubicBezTo>
                  <a:cubicBezTo>
                    <a:pt x="8406" y="16476"/>
                    <a:pt x="8560" y="16377"/>
                    <a:pt x="8560" y="16254"/>
                  </a:cubicBezTo>
                  <a:cubicBezTo>
                    <a:pt x="8560" y="16130"/>
                    <a:pt x="8406" y="16030"/>
                    <a:pt x="8214" y="16030"/>
                  </a:cubicBezTo>
                  <a:close/>
                  <a:moveTo>
                    <a:pt x="9249" y="16030"/>
                  </a:moveTo>
                  <a:cubicBezTo>
                    <a:pt x="9057" y="16030"/>
                    <a:pt x="8900" y="16130"/>
                    <a:pt x="8900" y="16254"/>
                  </a:cubicBezTo>
                  <a:cubicBezTo>
                    <a:pt x="8900" y="16377"/>
                    <a:pt x="9057" y="16476"/>
                    <a:pt x="9249" y="16476"/>
                  </a:cubicBezTo>
                  <a:cubicBezTo>
                    <a:pt x="9442" y="16476"/>
                    <a:pt x="9595" y="16377"/>
                    <a:pt x="9595" y="16254"/>
                  </a:cubicBezTo>
                  <a:cubicBezTo>
                    <a:pt x="9595" y="16130"/>
                    <a:pt x="9442" y="16030"/>
                    <a:pt x="9249" y="16030"/>
                  </a:cubicBezTo>
                  <a:close/>
                  <a:moveTo>
                    <a:pt x="10284" y="16030"/>
                  </a:moveTo>
                  <a:cubicBezTo>
                    <a:pt x="10092" y="16030"/>
                    <a:pt x="9935" y="16130"/>
                    <a:pt x="9935" y="16254"/>
                  </a:cubicBezTo>
                  <a:cubicBezTo>
                    <a:pt x="9935" y="16377"/>
                    <a:pt x="10092" y="16476"/>
                    <a:pt x="10284" y="16476"/>
                  </a:cubicBezTo>
                  <a:cubicBezTo>
                    <a:pt x="10476" y="16476"/>
                    <a:pt x="10630" y="16377"/>
                    <a:pt x="10630" y="16254"/>
                  </a:cubicBezTo>
                  <a:cubicBezTo>
                    <a:pt x="10630" y="16130"/>
                    <a:pt x="10476" y="16030"/>
                    <a:pt x="10284" y="16030"/>
                  </a:cubicBezTo>
                  <a:close/>
                  <a:moveTo>
                    <a:pt x="11216" y="16030"/>
                  </a:moveTo>
                  <a:cubicBezTo>
                    <a:pt x="11024" y="16030"/>
                    <a:pt x="10866" y="16130"/>
                    <a:pt x="10866" y="16254"/>
                  </a:cubicBezTo>
                  <a:cubicBezTo>
                    <a:pt x="10866" y="16377"/>
                    <a:pt x="11024" y="16476"/>
                    <a:pt x="11216" y="16476"/>
                  </a:cubicBezTo>
                  <a:cubicBezTo>
                    <a:pt x="11408" y="16476"/>
                    <a:pt x="11562" y="16377"/>
                    <a:pt x="11562" y="16254"/>
                  </a:cubicBezTo>
                  <a:cubicBezTo>
                    <a:pt x="11562" y="16130"/>
                    <a:pt x="11408" y="16030"/>
                    <a:pt x="11216" y="16030"/>
                  </a:cubicBezTo>
                  <a:close/>
                  <a:moveTo>
                    <a:pt x="12250" y="16030"/>
                  </a:moveTo>
                  <a:cubicBezTo>
                    <a:pt x="12059" y="16030"/>
                    <a:pt x="11901" y="16130"/>
                    <a:pt x="11901" y="16254"/>
                  </a:cubicBezTo>
                  <a:cubicBezTo>
                    <a:pt x="11901" y="16377"/>
                    <a:pt x="12059" y="16476"/>
                    <a:pt x="12250" y="16476"/>
                  </a:cubicBezTo>
                  <a:cubicBezTo>
                    <a:pt x="12443" y="16476"/>
                    <a:pt x="12596" y="16377"/>
                    <a:pt x="12596" y="16254"/>
                  </a:cubicBezTo>
                  <a:cubicBezTo>
                    <a:pt x="12596" y="16130"/>
                    <a:pt x="12443" y="16030"/>
                    <a:pt x="12250" y="16030"/>
                  </a:cubicBezTo>
                  <a:close/>
                  <a:moveTo>
                    <a:pt x="13285" y="16030"/>
                  </a:moveTo>
                  <a:cubicBezTo>
                    <a:pt x="13093" y="16030"/>
                    <a:pt x="12936" y="16130"/>
                    <a:pt x="12936" y="16254"/>
                  </a:cubicBezTo>
                  <a:cubicBezTo>
                    <a:pt x="12936" y="16377"/>
                    <a:pt x="13093" y="16476"/>
                    <a:pt x="13285" y="16476"/>
                  </a:cubicBezTo>
                  <a:cubicBezTo>
                    <a:pt x="13478" y="16476"/>
                    <a:pt x="13631" y="16377"/>
                    <a:pt x="13631" y="16254"/>
                  </a:cubicBezTo>
                  <a:cubicBezTo>
                    <a:pt x="13631" y="16130"/>
                    <a:pt x="13478" y="16030"/>
                    <a:pt x="13285" y="16030"/>
                  </a:cubicBezTo>
                  <a:close/>
                  <a:moveTo>
                    <a:pt x="7283" y="16628"/>
                  </a:moveTo>
                  <a:cubicBezTo>
                    <a:pt x="7091" y="16628"/>
                    <a:pt x="6934" y="16729"/>
                    <a:pt x="6934" y="16853"/>
                  </a:cubicBezTo>
                  <a:cubicBezTo>
                    <a:pt x="6934" y="16976"/>
                    <a:pt x="7091" y="17075"/>
                    <a:pt x="7283" y="17075"/>
                  </a:cubicBezTo>
                  <a:cubicBezTo>
                    <a:pt x="7475" y="17075"/>
                    <a:pt x="7629" y="16976"/>
                    <a:pt x="7629" y="16853"/>
                  </a:cubicBezTo>
                  <a:cubicBezTo>
                    <a:pt x="7629" y="16729"/>
                    <a:pt x="7475" y="16628"/>
                    <a:pt x="7283" y="16628"/>
                  </a:cubicBezTo>
                  <a:close/>
                  <a:moveTo>
                    <a:pt x="8214" y="16628"/>
                  </a:moveTo>
                  <a:cubicBezTo>
                    <a:pt x="8022" y="16628"/>
                    <a:pt x="7865" y="16729"/>
                    <a:pt x="7865" y="16853"/>
                  </a:cubicBezTo>
                  <a:cubicBezTo>
                    <a:pt x="7865" y="16976"/>
                    <a:pt x="8022" y="17075"/>
                    <a:pt x="8214" y="17075"/>
                  </a:cubicBezTo>
                  <a:cubicBezTo>
                    <a:pt x="8406" y="17075"/>
                    <a:pt x="8560" y="16976"/>
                    <a:pt x="8560" y="16853"/>
                  </a:cubicBezTo>
                  <a:cubicBezTo>
                    <a:pt x="8560" y="16729"/>
                    <a:pt x="8406" y="16628"/>
                    <a:pt x="8214" y="16628"/>
                  </a:cubicBezTo>
                  <a:close/>
                  <a:moveTo>
                    <a:pt x="9249" y="16628"/>
                  </a:moveTo>
                  <a:cubicBezTo>
                    <a:pt x="9057" y="16628"/>
                    <a:pt x="8900" y="16729"/>
                    <a:pt x="8900" y="16853"/>
                  </a:cubicBezTo>
                  <a:cubicBezTo>
                    <a:pt x="8900" y="16976"/>
                    <a:pt x="9057" y="17075"/>
                    <a:pt x="9249" y="17075"/>
                  </a:cubicBezTo>
                  <a:cubicBezTo>
                    <a:pt x="9441" y="17075"/>
                    <a:pt x="9595" y="16976"/>
                    <a:pt x="9595" y="16853"/>
                  </a:cubicBezTo>
                  <a:cubicBezTo>
                    <a:pt x="9595" y="16729"/>
                    <a:pt x="9441" y="16628"/>
                    <a:pt x="9249" y="16628"/>
                  </a:cubicBezTo>
                  <a:close/>
                  <a:moveTo>
                    <a:pt x="10284" y="16628"/>
                  </a:moveTo>
                  <a:cubicBezTo>
                    <a:pt x="10092" y="16628"/>
                    <a:pt x="9935" y="16729"/>
                    <a:pt x="9935" y="16853"/>
                  </a:cubicBezTo>
                  <a:cubicBezTo>
                    <a:pt x="9935" y="16976"/>
                    <a:pt x="10092" y="17075"/>
                    <a:pt x="10284" y="17075"/>
                  </a:cubicBezTo>
                  <a:cubicBezTo>
                    <a:pt x="10476" y="17075"/>
                    <a:pt x="10630" y="16976"/>
                    <a:pt x="10630" y="16853"/>
                  </a:cubicBezTo>
                  <a:cubicBezTo>
                    <a:pt x="10630" y="16729"/>
                    <a:pt x="10476" y="16628"/>
                    <a:pt x="10284" y="16628"/>
                  </a:cubicBezTo>
                  <a:close/>
                  <a:moveTo>
                    <a:pt x="11319" y="16628"/>
                  </a:moveTo>
                  <a:cubicBezTo>
                    <a:pt x="11127" y="16628"/>
                    <a:pt x="10970" y="16729"/>
                    <a:pt x="10970" y="16853"/>
                  </a:cubicBezTo>
                  <a:cubicBezTo>
                    <a:pt x="10970" y="16976"/>
                    <a:pt x="11127" y="17075"/>
                    <a:pt x="11319" y="17075"/>
                  </a:cubicBezTo>
                  <a:cubicBezTo>
                    <a:pt x="11511" y="17075"/>
                    <a:pt x="11665" y="16976"/>
                    <a:pt x="11665" y="16853"/>
                  </a:cubicBezTo>
                  <a:cubicBezTo>
                    <a:pt x="11665" y="16729"/>
                    <a:pt x="11511" y="16628"/>
                    <a:pt x="11319" y="16628"/>
                  </a:cubicBezTo>
                  <a:close/>
                  <a:moveTo>
                    <a:pt x="8214" y="17293"/>
                  </a:moveTo>
                  <a:cubicBezTo>
                    <a:pt x="8022" y="17293"/>
                    <a:pt x="7865" y="17394"/>
                    <a:pt x="7865" y="17518"/>
                  </a:cubicBezTo>
                  <a:cubicBezTo>
                    <a:pt x="7865" y="17641"/>
                    <a:pt x="8022" y="17740"/>
                    <a:pt x="8214" y="17740"/>
                  </a:cubicBezTo>
                  <a:cubicBezTo>
                    <a:pt x="8407" y="17740"/>
                    <a:pt x="8560" y="17641"/>
                    <a:pt x="8560" y="17518"/>
                  </a:cubicBezTo>
                  <a:cubicBezTo>
                    <a:pt x="8560" y="17394"/>
                    <a:pt x="8407" y="17293"/>
                    <a:pt x="8214" y="17293"/>
                  </a:cubicBezTo>
                  <a:close/>
                  <a:moveTo>
                    <a:pt x="9353" y="17293"/>
                  </a:moveTo>
                  <a:cubicBezTo>
                    <a:pt x="9161" y="17293"/>
                    <a:pt x="9004" y="17394"/>
                    <a:pt x="9004" y="17518"/>
                  </a:cubicBezTo>
                  <a:cubicBezTo>
                    <a:pt x="9004" y="17641"/>
                    <a:pt x="9161" y="17740"/>
                    <a:pt x="9353" y="17740"/>
                  </a:cubicBezTo>
                  <a:cubicBezTo>
                    <a:pt x="9545" y="17740"/>
                    <a:pt x="9699" y="17641"/>
                    <a:pt x="9699" y="17518"/>
                  </a:cubicBezTo>
                  <a:cubicBezTo>
                    <a:pt x="9699" y="17394"/>
                    <a:pt x="9545" y="17293"/>
                    <a:pt x="9353" y="17293"/>
                  </a:cubicBezTo>
                  <a:close/>
                  <a:moveTo>
                    <a:pt x="10284" y="17293"/>
                  </a:moveTo>
                  <a:cubicBezTo>
                    <a:pt x="10092" y="17293"/>
                    <a:pt x="9935" y="17394"/>
                    <a:pt x="9935" y="17518"/>
                  </a:cubicBezTo>
                  <a:cubicBezTo>
                    <a:pt x="9935" y="17641"/>
                    <a:pt x="10092" y="17740"/>
                    <a:pt x="10284" y="17740"/>
                  </a:cubicBezTo>
                  <a:cubicBezTo>
                    <a:pt x="10476" y="17740"/>
                    <a:pt x="10630" y="17641"/>
                    <a:pt x="10630" y="17518"/>
                  </a:cubicBezTo>
                  <a:cubicBezTo>
                    <a:pt x="10630" y="17394"/>
                    <a:pt x="10476" y="17293"/>
                    <a:pt x="10284" y="17293"/>
                  </a:cubicBezTo>
                  <a:close/>
                  <a:moveTo>
                    <a:pt x="8214" y="17892"/>
                  </a:moveTo>
                  <a:cubicBezTo>
                    <a:pt x="8022" y="17892"/>
                    <a:pt x="7865" y="17993"/>
                    <a:pt x="7865" y="18116"/>
                  </a:cubicBezTo>
                  <a:cubicBezTo>
                    <a:pt x="7865" y="18240"/>
                    <a:pt x="8022" y="18339"/>
                    <a:pt x="8214" y="18339"/>
                  </a:cubicBezTo>
                  <a:cubicBezTo>
                    <a:pt x="8407" y="18339"/>
                    <a:pt x="8560" y="18240"/>
                    <a:pt x="8560" y="18116"/>
                  </a:cubicBezTo>
                  <a:cubicBezTo>
                    <a:pt x="8560" y="17993"/>
                    <a:pt x="8407" y="17892"/>
                    <a:pt x="8214" y="17892"/>
                  </a:cubicBezTo>
                  <a:close/>
                  <a:moveTo>
                    <a:pt x="9249" y="17892"/>
                  </a:moveTo>
                  <a:cubicBezTo>
                    <a:pt x="9057" y="17892"/>
                    <a:pt x="8900" y="17993"/>
                    <a:pt x="8900" y="18116"/>
                  </a:cubicBezTo>
                  <a:cubicBezTo>
                    <a:pt x="8900" y="18240"/>
                    <a:pt x="9057" y="18339"/>
                    <a:pt x="9249" y="18339"/>
                  </a:cubicBezTo>
                  <a:cubicBezTo>
                    <a:pt x="9442" y="18339"/>
                    <a:pt x="9595" y="18240"/>
                    <a:pt x="9595" y="18116"/>
                  </a:cubicBezTo>
                  <a:cubicBezTo>
                    <a:pt x="9595" y="17993"/>
                    <a:pt x="9442" y="17892"/>
                    <a:pt x="9249" y="17892"/>
                  </a:cubicBezTo>
                  <a:close/>
                  <a:moveTo>
                    <a:pt x="10284" y="17958"/>
                  </a:moveTo>
                  <a:cubicBezTo>
                    <a:pt x="10092" y="17958"/>
                    <a:pt x="9935" y="18060"/>
                    <a:pt x="9935" y="18183"/>
                  </a:cubicBezTo>
                  <a:cubicBezTo>
                    <a:pt x="9935" y="18307"/>
                    <a:pt x="10092" y="18405"/>
                    <a:pt x="10284" y="18405"/>
                  </a:cubicBezTo>
                  <a:cubicBezTo>
                    <a:pt x="10476" y="18405"/>
                    <a:pt x="10630" y="18307"/>
                    <a:pt x="10630" y="18183"/>
                  </a:cubicBezTo>
                  <a:cubicBezTo>
                    <a:pt x="10630" y="18060"/>
                    <a:pt x="10476" y="17958"/>
                    <a:pt x="10284" y="17958"/>
                  </a:cubicBezTo>
                  <a:close/>
                  <a:moveTo>
                    <a:pt x="8214" y="18557"/>
                  </a:moveTo>
                  <a:cubicBezTo>
                    <a:pt x="8022" y="18557"/>
                    <a:pt x="7865" y="18658"/>
                    <a:pt x="7865" y="18782"/>
                  </a:cubicBezTo>
                  <a:cubicBezTo>
                    <a:pt x="7865" y="18905"/>
                    <a:pt x="8022" y="19006"/>
                    <a:pt x="8214" y="19006"/>
                  </a:cubicBezTo>
                  <a:cubicBezTo>
                    <a:pt x="8406" y="19006"/>
                    <a:pt x="8560" y="18905"/>
                    <a:pt x="8560" y="18782"/>
                  </a:cubicBezTo>
                  <a:cubicBezTo>
                    <a:pt x="8560" y="18658"/>
                    <a:pt x="8406" y="18557"/>
                    <a:pt x="8214" y="18557"/>
                  </a:cubicBezTo>
                  <a:close/>
                  <a:moveTo>
                    <a:pt x="9249" y="18557"/>
                  </a:moveTo>
                  <a:cubicBezTo>
                    <a:pt x="9057" y="18557"/>
                    <a:pt x="8900" y="18658"/>
                    <a:pt x="8900" y="18782"/>
                  </a:cubicBezTo>
                  <a:cubicBezTo>
                    <a:pt x="8900" y="18905"/>
                    <a:pt x="9057" y="19006"/>
                    <a:pt x="9249" y="19006"/>
                  </a:cubicBezTo>
                  <a:cubicBezTo>
                    <a:pt x="9441" y="19006"/>
                    <a:pt x="9595" y="18905"/>
                    <a:pt x="9595" y="18782"/>
                  </a:cubicBezTo>
                  <a:cubicBezTo>
                    <a:pt x="9595" y="18658"/>
                    <a:pt x="9441" y="18557"/>
                    <a:pt x="9249" y="18557"/>
                  </a:cubicBezTo>
                  <a:close/>
                  <a:moveTo>
                    <a:pt x="10284" y="18624"/>
                  </a:moveTo>
                  <a:cubicBezTo>
                    <a:pt x="10092" y="18624"/>
                    <a:pt x="9935" y="18724"/>
                    <a:pt x="9935" y="18848"/>
                  </a:cubicBezTo>
                  <a:cubicBezTo>
                    <a:pt x="9935" y="18972"/>
                    <a:pt x="10092" y="19070"/>
                    <a:pt x="10284" y="19070"/>
                  </a:cubicBezTo>
                  <a:cubicBezTo>
                    <a:pt x="10476" y="19070"/>
                    <a:pt x="10630" y="18972"/>
                    <a:pt x="10630" y="18848"/>
                  </a:cubicBezTo>
                  <a:cubicBezTo>
                    <a:pt x="10630" y="18724"/>
                    <a:pt x="10476" y="18624"/>
                    <a:pt x="10284" y="18624"/>
                  </a:cubicBezTo>
                  <a:close/>
                  <a:moveTo>
                    <a:pt x="8214" y="19156"/>
                  </a:moveTo>
                  <a:cubicBezTo>
                    <a:pt x="8022" y="19156"/>
                    <a:pt x="7865" y="19257"/>
                    <a:pt x="7865" y="19380"/>
                  </a:cubicBezTo>
                  <a:cubicBezTo>
                    <a:pt x="7865" y="19504"/>
                    <a:pt x="8022" y="19603"/>
                    <a:pt x="8214" y="19603"/>
                  </a:cubicBezTo>
                  <a:cubicBezTo>
                    <a:pt x="8406" y="19603"/>
                    <a:pt x="8560" y="19504"/>
                    <a:pt x="8560" y="19380"/>
                  </a:cubicBezTo>
                  <a:cubicBezTo>
                    <a:pt x="8560" y="19257"/>
                    <a:pt x="8406" y="19156"/>
                    <a:pt x="8214" y="19156"/>
                  </a:cubicBezTo>
                  <a:close/>
                  <a:moveTo>
                    <a:pt x="9249" y="19156"/>
                  </a:moveTo>
                  <a:cubicBezTo>
                    <a:pt x="9057" y="19156"/>
                    <a:pt x="8900" y="19257"/>
                    <a:pt x="8900" y="19380"/>
                  </a:cubicBezTo>
                  <a:cubicBezTo>
                    <a:pt x="8900" y="19504"/>
                    <a:pt x="9057" y="19603"/>
                    <a:pt x="9249" y="19603"/>
                  </a:cubicBezTo>
                  <a:cubicBezTo>
                    <a:pt x="9442" y="19603"/>
                    <a:pt x="9595" y="19504"/>
                    <a:pt x="9595" y="19380"/>
                  </a:cubicBezTo>
                  <a:cubicBezTo>
                    <a:pt x="9595" y="19257"/>
                    <a:pt x="9442" y="19156"/>
                    <a:pt x="9249" y="19156"/>
                  </a:cubicBezTo>
                  <a:close/>
                  <a:moveTo>
                    <a:pt x="10284" y="19222"/>
                  </a:moveTo>
                  <a:cubicBezTo>
                    <a:pt x="10092" y="19222"/>
                    <a:pt x="9935" y="19323"/>
                    <a:pt x="9935" y="19447"/>
                  </a:cubicBezTo>
                  <a:cubicBezTo>
                    <a:pt x="9935" y="19570"/>
                    <a:pt x="10092" y="19671"/>
                    <a:pt x="10284" y="19671"/>
                  </a:cubicBezTo>
                  <a:cubicBezTo>
                    <a:pt x="10476" y="19671"/>
                    <a:pt x="10630" y="19570"/>
                    <a:pt x="10630" y="19447"/>
                  </a:cubicBezTo>
                  <a:cubicBezTo>
                    <a:pt x="10630" y="19323"/>
                    <a:pt x="10476" y="19222"/>
                    <a:pt x="10284" y="19222"/>
                  </a:cubicBezTo>
                  <a:close/>
                  <a:moveTo>
                    <a:pt x="11216" y="19222"/>
                  </a:moveTo>
                  <a:cubicBezTo>
                    <a:pt x="11024" y="19222"/>
                    <a:pt x="10866" y="19323"/>
                    <a:pt x="10866" y="19447"/>
                  </a:cubicBezTo>
                  <a:cubicBezTo>
                    <a:pt x="10866" y="19570"/>
                    <a:pt x="11024" y="19669"/>
                    <a:pt x="11216" y="19669"/>
                  </a:cubicBezTo>
                  <a:cubicBezTo>
                    <a:pt x="11408" y="19669"/>
                    <a:pt x="11562" y="19570"/>
                    <a:pt x="11562" y="19447"/>
                  </a:cubicBezTo>
                  <a:cubicBezTo>
                    <a:pt x="11562" y="19323"/>
                    <a:pt x="11408" y="19222"/>
                    <a:pt x="11216" y="19222"/>
                  </a:cubicBezTo>
                  <a:close/>
                  <a:moveTo>
                    <a:pt x="9249" y="19821"/>
                  </a:moveTo>
                  <a:cubicBezTo>
                    <a:pt x="9057" y="19821"/>
                    <a:pt x="8900" y="19922"/>
                    <a:pt x="8900" y="20045"/>
                  </a:cubicBezTo>
                  <a:cubicBezTo>
                    <a:pt x="8900" y="20169"/>
                    <a:pt x="9057" y="20268"/>
                    <a:pt x="9249" y="20268"/>
                  </a:cubicBezTo>
                  <a:cubicBezTo>
                    <a:pt x="9441" y="20268"/>
                    <a:pt x="9595" y="20169"/>
                    <a:pt x="9595" y="20045"/>
                  </a:cubicBezTo>
                  <a:cubicBezTo>
                    <a:pt x="9595" y="19922"/>
                    <a:pt x="9441" y="19821"/>
                    <a:pt x="9249" y="19821"/>
                  </a:cubicBezTo>
                  <a:close/>
                  <a:moveTo>
                    <a:pt x="10284" y="19821"/>
                  </a:moveTo>
                  <a:cubicBezTo>
                    <a:pt x="10092" y="19821"/>
                    <a:pt x="9935" y="19922"/>
                    <a:pt x="9935" y="20045"/>
                  </a:cubicBezTo>
                  <a:cubicBezTo>
                    <a:pt x="9935" y="20169"/>
                    <a:pt x="10092" y="20270"/>
                    <a:pt x="10284" y="20270"/>
                  </a:cubicBezTo>
                  <a:cubicBezTo>
                    <a:pt x="10476" y="20270"/>
                    <a:pt x="10630" y="20169"/>
                    <a:pt x="10630" y="20045"/>
                  </a:cubicBezTo>
                  <a:cubicBezTo>
                    <a:pt x="10630" y="19922"/>
                    <a:pt x="10476" y="19821"/>
                    <a:pt x="10284" y="19821"/>
                  </a:cubicBezTo>
                  <a:close/>
                  <a:moveTo>
                    <a:pt x="10284" y="20419"/>
                  </a:moveTo>
                  <a:cubicBezTo>
                    <a:pt x="10092" y="20419"/>
                    <a:pt x="9935" y="20520"/>
                    <a:pt x="9935" y="20644"/>
                  </a:cubicBezTo>
                  <a:cubicBezTo>
                    <a:pt x="9935" y="20767"/>
                    <a:pt x="10092" y="20868"/>
                    <a:pt x="10284" y="20868"/>
                  </a:cubicBezTo>
                  <a:cubicBezTo>
                    <a:pt x="10476" y="20868"/>
                    <a:pt x="10630" y="20767"/>
                    <a:pt x="10630" y="20644"/>
                  </a:cubicBezTo>
                  <a:cubicBezTo>
                    <a:pt x="10630" y="20520"/>
                    <a:pt x="10476" y="20419"/>
                    <a:pt x="10284" y="20419"/>
                  </a:cubicBezTo>
                  <a:close/>
                  <a:moveTo>
                    <a:pt x="14217" y="20552"/>
                  </a:moveTo>
                  <a:cubicBezTo>
                    <a:pt x="14025" y="20552"/>
                    <a:pt x="13867" y="20654"/>
                    <a:pt x="13867" y="20777"/>
                  </a:cubicBezTo>
                  <a:cubicBezTo>
                    <a:pt x="13867" y="20900"/>
                    <a:pt x="14025" y="21001"/>
                    <a:pt x="14217" y="21001"/>
                  </a:cubicBezTo>
                  <a:cubicBezTo>
                    <a:pt x="14409" y="21001"/>
                    <a:pt x="14563" y="20900"/>
                    <a:pt x="14563" y="20777"/>
                  </a:cubicBezTo>
                  <a:cubicBezTo>
                    <a:pt x="14563" y="20654"/>
                    <a:pt x="14409" y="20552"/>
                    <a:pt x="14217" y="20552"/>
                  </a:cubicBezTo>
                  <a:close/>
                  <a:moveTo>
                    <a:pt x="11216" y="21151"/>
                  </a:moveTo>
                  <a:cubicBezTo>
                    <a:pt x="11024" y="21151"/>
                    <a:pt x="10866" y="21252"/>
                    <a:pt x="10866" y="21376"/>
                  </a:cubicBezTo>
                  <a:cubicBezTo>
                    <a:pt x="10866" y="21499"/>
                    <a:pt x="11024" y="21600"/>
                    <a:pt x="11216" y="21600"/>
                  </a:cubicBezTo>
                  <a:cubicBezTo>
                    <a:pt x="11408" y="21600"/>
                    <a:pt x="11562" y="21499"/>
                    <a:pt x="11562" y="21376"/>
                  </a:cubicBezTo>
                  <a:cubicBezTo>
                    <a:pt x="11562" y="21252"/>
                    <a:pt x="11408" y="21151"/>
                    <a:pt x="11216" y="21151"/>
                  </a:cubicBezTo>
                  <a:close/>
                  <a:moveTo>
                    <a:pt x="12250" y="21151"/>
                  </a:moveTo>
                  <a:cubicBezTo>
                    <a:pt x="12059" y="21151"/>
                    <a:pt x="11901" y="21252"/>
                    <a:pt x="11901" y="21376"/>
                  </a:cubicBezTo>
                  <a:cubicBezTo>
                    <a:pt x="11901" y="21499"/>
                    <a:pt x="12059" y="21600"/>
                    <a:pt x="12250" y="21600"/>
                  </a:cubicBezTo>
                  <a:cubicBezTo>
                    <a:pt x="12443" y="21600"/>
                    <a:pt x="12596" y="21499"/>
                    <a:pt x="12596" y="21376"/>
                  </a:cubicBezTo>
                  <a:cubicBezTo>
                    <a:pt x="12596" y="21252"/>
                    <a:pt x="12443" y="21151"/>
                    <a:pt x="12250" y="21151"/>
                  </a:cubicBezTo>
                  <a:close/>
                </a:path>
              </a:pathLst>
            </a:custGeom>
            <a:grpFill/>
            <a:ln w="12700" cap="flat">
              <a:noFill/>
              <a:miter lim="400000"/>
            </a:ln>
            <a:effectLst/>
          </p:spPr>
          <p:txBody>
            <a:bodyPr wrap="square" lIns="19050" tIns="19050" rIns="19050" bIns="19050" numCol="1" anchor="ctr">
              <a:noAutofit/>
            </a:bodyP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grpSp>
      <p:sp>
        <p:nvSpPr>
          <p:cNvPr id="12" name="Oval 11"/>
          <p:cNvSpPr/>
          <p:nvPr/>
        </p:nvSpPr>
        <p:spPr>
          <a:xfrm>
            <a:off x="5390225" y="2723225"/>
            <a:ext cx="1411551" cy="1411551"/>
          </a:xfrm>
          <a:prstGeom prst="ellipse">
            <a:avLst/>
          </a:prstGeom>
          <a:solidFill>
            <a:schemeClr val="tx1">
              <a:lumMod val="75000"/>
              <a:lumOff val="25000"/>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hape 2807"/>
          <p:cNvSpPr/>
          <p:nvPr/>
        </p:nvSpPr>
        <p:spPr>
          <a:xfrm>
            <a:off x="5711101" y="3212554"/>
            <a:ext cx="656756" cy="477637"/>
          </a:xfrm>
          <a:custGeom>
            <a:avLst/>
            <a:gdLst/>
            <a:ahLst/>
            <a:cxnLst>
              <a:cxn ang="0">
                <a:pos x="wd2" y="hd2"/>
              </a:cxn>
              <a:cxn ang="5400000">
                <a:pos x="wd2" y="hd2"/>
              </a:cxn>
              <a:cxn ang="10800000">
                <a:pos x="wd2" y="hd2"/>
              </a:cxn>
              <a:cxn ang="16200000">
                <a:pos x="wd2" y="hd2"/>
              </a:cxn>
            </a:cxnLst>
            <a:rect l="0" t="0" r="r" b="b"/>
            <a:pathLst>
              <a:path w="21600" h="21600" extrusionOk="0">
                <a:moveTo>
                  <a:pt x="17075" y="12150"/>
                </a:moveTo>
                <a:lnTo>
                  <a:pt x="17294" y="9450"/>
                </a:lnTo>
                <a:lnTo>
                  <a:pt x="19843" y="9450"/>
                </a:lnTo>
                <a:lnTo>
                  <a:pt x="19406" y="12150"/>
                </a:lnTo>
                <a:cubicBezTo>
                  <a:pt x="19406" y="12150"/>
                  <a:pt x="17075" y="12150"/>
                  <a:pt x="17075" y="12150"/>
                </a:cubicBezTo>
                <a:close/>
                <a:moveTo>
                  <a:pt x="18752" y="16200"/>
                </a:moveTo>
                <a:lnTo>
                  <a:pt x="16748" y="16200"/>
                </a:lnTo>
                <a:lnTo>
                  <a:pt x="16967" y="13500"/>
                </a:lnTo>
                <a:lnTo>
                  <a:pt x="19188" y="13500"/>
                </a:lnTo>
                <a:cubicBezTo>
                  <a:pt x="19188" y="13500"/>
                  <a:pt x="18752" y="16200"/>
                  <a:pt x="18752" y="16200"/>
                </a:cubicBezTo>
                <a:close/>
                <a:moveTo>
                  <a:pt x="17673" y="20250"/>
                </a:moveTo>
                <a:cubicBezTo>
                  <a:pt x="17131" y="20250"/>
                  <a:pt x="16691" y="19645"/>
                  <a:pt x="16691" y="18900"/>
                </a:cubicBezTo>
                <a:cubicBezTo>
                  <a:pt x="16691" y="18155"/>
                  <a:pt x="17131" y="17550"/>
                  <a:pt x="17673" y="17550"/>
                </a:cubicBezTo>
                <a:cubicBezTo>
                  <a:pt x="18215" y="17550"/>
                  <a:pt x="18655" y="18155"/>
                  <a:pt x="18655" y="18900"/>
                </a:cubicBezTo>
                <a:cubicBezTo>
                  <a:pt x="18655" y="19645"/>
                  <a:pt x="18215" y="20250"/>
                  <a:pt x="17673" y="20250"/>
                </a:cubicBezTo>
                <a:moveTo>
                  <a:pt x="16415" y="8100"/>
                </a:moveTo>
                <a:lnTo>
                  <a:pt x="13745" y="8100"/>
                </a:lnTo>
                <a:lnTo>
                  <a:pt x="13745" y="5400"/>
                </a:lnTo>
                <a:lnTo>
                  <a:pt x="16633" y="5400"/>
                </a:lnTo>
                <a:cubicBezTo>
                  <a:pt x="16633" y="5400"/>
                  <a:pt x="16415" y="8100"/>
                  <a:pt x="16415" y="8100"/>
                </a:cubicBezTo>
                <a:close/>
                <a:moveTo>
                  <a:pt x="16088" y="12150"/>
                </a:moveTo>
                <a:lnTo>
                  <a:pt x="13745" y="12150"/>
                </a:lnTo>
                <a:lnTo>
                  <a:pt x="13745" y="9450"/>
                </a:lnTo>
                <a:lnTo>
                  <a:pt x="16306" y="9450"/>
                </a:lnTo>
                <a:cubicBezTo>
                  <a:pt x="16306" y="9450"/>
                  <a:pt x="16088" y="12150"/>
                  <a:pt x="16088" y="12150"/>
                </a:cubicBezTo>
                <a:close/>
                <a:moveTo>
                  <a:pt x="15761" y="16200"/>
                </a:moveTo>
                <a:lnTo>
                  <a:pt x="13745" y="16200"/>
                </a:lnTo>
                <a:lnTo>
                  <a:pt x="13745" y="13500"/>
                </a:lnTo>
                <a:lnTo>
                  <a:pt x="15979" y="13500"/>
                </a:lnTo>
                <a:cubicBezTo>
                  <a:pt x="15979" y="13500"/>
                  <a:pt x="15761" y="16200"/>
                  <a:pt x="15761" y="16200"/>
                </a:cubicBezTo>
                <a:close/>
                <a:moveTo>
                  <a:pt x="12764" y="8100"/>
                </a:moveTo>
                <a:lnTo>
                  <a:pt x="10094" y="8100"/>
                </a:lnTo>
                <a:lnTo>
                  <a:pt x="9876" y="5400"/>
                </a:lnTo>
                <a:lnTo>
                  <a:pt x="12764" y="5400"/>
                </a:lnTo>
                <a:cubicBezTo>
                  <a:pt x="12764" y="5400"/>
                  <a:pt x="12764" y="8100"/>
                  <a:pt x="12764" y="8100"/>
                </a:cubicBezTo>
                <a:close/>
                <a:moveTo>
                  <a:pt x="12764" y="12150"/>
                </a:moveTo>
                <a:lnTo>
                  <a:pt x="10421" y="12150"/>
                </a:lnTo>
                <a:lnTo>
                  <a:pt x="10203" y="9450"/>
                </a:lnTo>
                <a:lnTo>
                  <a:pt x="12764" y="9450"/>
                </a:lnTo>
                <a:cubicBezTo>
                  <a:pt x="12764" y="9450"/>
                  <a:pt x="12764" y="12150"/>
                  <a:pt x="12764" y="12150"/>
                </a:cubicBezTo>
                <a:close/>
                <a:moveTo>
                  <a:pt x="12764" y="16200"/>
                </a:moveTo>
                <a:lnTo>
                  <a:pt x="10748" y="16200"/>
                </a:lnTo>
                <a:lnTo>
                  <a:pt x="10531" y="13500"/>
                </a:lnTo>
                <a:lnTo>
                  <a:pt x="12764" y="13500"/>
                </a:lnTo>
                <a:cubicBezTo>
                  <a:pt x="12764" y="13500"/>
                  <a:pt x="12764" y="16200"/>
                  <a:pt x="12764" y="16200"/>
                </a:cubicBezTo>
                <a:close/>
                <a:moveTo>
                  <a:pt x="8836" y="20250"/>
                </a:moveTo>
                <a:cubicBezTo>
                  <a:pt x="8294" y="20250"/>
                  <a:pt x="7855" y="19645"/>
                  <a:pt x="7855" y="18900"/>
                </a:cubicBezTo>
                <a:cubicBezTo>
                  <a:pt x="7855" y="18155"/>
                  <a:pt x="8294" y="17550"/>
                  <a:pt x="8836" y="17550"/>
                </a:cubicBezTo>
                <a:cubicBezTo>
                  <a:pt x="9379" y="17550"/>
                  <a:pt x="9818" y="18155"/>
                  <a:pt x="9818" y="18900"/>
                </a:cubicBezTo>
                <a:cubicBezTo>
                  <a:pt x="9818" y="19645"/>
                  <a:pt x="9379" y="20250"/>
                  <a:pt x="8836" y="20250"/>
                </a:cubicBezTo>
                <a:moveTo>
                  <a:pt x="7213" y="13500"/>
                </a:moveTo>
                <a:lnTo>
                  <a:pt x="9543" y="13500"/>
                </a:lnTo>
                <a:lnTo>
                  <a:pt x="9761" y="16200"/>
                </a:lnTo>
                <a:lnTo>
                  <a:pt x="7740" y="16200"/>
                </a:lnTo>
                <a:cubicBezTo>
                  <a:pt x="7740" y="16200"/>
                  <a:pt x="7213" y="13500"/>
                  <a:pt x="7213" y="13500"/>
                </a:cubicBezTo>
                <a:close/>
                <a:moveTo>
                  <a:pt x="6950" y="12150"/>
                </a:moveTo>
                <a:lnTo>
                  <a:pt x="6423" y="9450"/>
                </a:lnTo>
                <a:lnTo>
                  <a:pt x="9215" y="9450"/>
                </a:lnTo>
                <a:lnTo>
                  <a:pt x="9434" y="12150"/>
                </a:lnTo>
                <a:cubicBezTo>
                  <a:pt x="9434" y="12150"/>
                  <a:pt x="6950" y="12150"/>
                  <a:pt x="6950" y="12150"/>
                </a:cubicBezTo>
                <a:close/>
                <a:moveTo>
                  <a:pt x="5633" y="5400"/>
                </a:moveTo>
                <a:lnTo>
                  <a:pt x="8888" y="5400"/>
                </a:lnTo>
                <a:lnTo>
                  <a:pt x="9106" y="8100"/>
                </a:lnTo>
                <a:lnTo>
                  <a:pt x="6160" y="8100"/>
                </a:lnTo>
                <a:cubicBezTo>
                  <a:pt x="6160" y="8100"/>
                  <a:pt x="5633" y="5400"/>
                  <a:pt x="5633" y="5400"/>
                </a:cubicBezTo>
                <a:close/>
                <a:moveTo>
                  <a:pt x="17621" y="5400"/>
                </a:moveTo>
                <a:lnTo>
                  <a:pt x="20497" y="5400"/>
                </a:lnTo>
                <a:lnTo>
                  <a:pt x="20061" y="8100"/>
                </a:lnTo>
                <a:lnTo>
                  <a:pt x="17403" y="8100"/>
                </a:lnTo>
                <a:cubicBezTo>
                  <a:pt x="17403" y="8100"/>
                  <a:pt x="17621" y="5400"/>
                  <a:pt x="17621" y="5400"/>
                </a:cubicBezTo>
                <a:close/>
                <a:moveTo>
                  <a:pt x="19619" y="17038"/>
                </a:moveTo>
                <a:lnTo>
                  <a:pt x="19622" y="17038"/>
                </a:lnTo>
                <a:lnTo>
                  <a:pt x="21586" y="4889"/>
                </a:lnTo>
                <a:lnTo>
                  <a:pt x="21577" y="4886"/>
                </a:lnTo>
                <a:cubicBezTo>
                  <a:pt x="21586" y="4833"/>
                  <a:pt x="21600" y="4782"/>
                  <a:pt x="21600" y="4725"/>
                </a:cubicBezTo>
                <a:cubicBezTo>
                  <a:pt x="21600" y="4352"/>
                  <a:pt x="21380" y="4050"/>
                  <a:pt x="21109" y="4050"/>
                </a:cubicBezTo>
                <a:lnTo>
                  <a:pt x="5370" y="4050"/>
                </a:lnTo>
                <a:lnTo>
                  <a:pt x="4674" y="481"/>
                </a:lnTo>
                <a:lnTo>
                  <a:pt x="4667" y="484"/>
                </a:lnTo>
                <a:cubicBezTo>
                  <a:pt x="4605" y="207"/>
                  <a:pt x="4425" y="0"/>
                  <a:pt x="4203" y="0"/>
                </a:cubicBezTo>
                <a:lnTo>
                  <a:pt x="491" y="0"/>
                </a:lnTo>
                <a:cubicBezTo>
                  <a:pt x="220" y="0"/>
                  <a:pt x="0" y="302"/>
                  <a:pt x="0" y="675"/>
                </a:cubicBezTo>
                <a:cubicBezTo>
                  <a:pt x="0" y="1048"/>
                  <a:pt x="220" y="1350"/>
                  <a:pt x="491" y="1350"/>
                </a:cubicBezTo>
                <a:lnTo>
                  <a:pt x="3827" y="1350"/>
                </a:lnTo>
                <a:lnTo>
                  <a:pt x="6893" y="17069"/>
                </a:lnTo>
                <a:lnTo>
                  <a:pt x="6894" y="17069"/>
                </a:lnTo>
                <a:cubicBezTo>
                  <a:pt x="6936" y="17259"/>
                  <a:pt x="7037" y="17414"/>
                  <a:pt x="7168" y="17493"/>
                </a:cubicBezTo>
                <a:cubicBezTo>
                  <a:pt x="6984" y="17903"/>
                  <a:pt x="6873" y="18383"/>
                  <a:pt x="6873" y="18900"/>
                </a:cubicBezTo>
                <a:cubicBezTo>
                  <a:pt x="6873" y="20391"/>
                  <a:pt x="7752" y="21600"/>
                  <a:pt x="8836" y="21600"/>
                </a:cubicBezTo>
                <a:cubicBezTo>
                  <a:pt x="9921" y="21600"/>
                  <a:pt x="10800" y="20391"/>
                  <a:pt x="10800" y="18900"/>
                </a:cubicBezTo>
                <a:cubicBezTo>
                  <a:pt x="10800" y="18406"/>
                  <a:pt x="10696" y="17949"/>
                  <a:pt x="10528" y="17550"/>
                </a:cubicBezTo>
                <a:lnTo>
                  <a:pt x="15981" y="17550"/>
                </a:lnTo>
                <a:cubicBezTo>
                  <a:pt x="15813" y="17949"/>
                  <a:pt x="15709" y="18406"/>
                  <a:pt x="15709" y="18900"/>
                </a:cubicBezTo>
                <a:cubicBezTo>
                  <a:pt x="15709" y="20391"/>
                  <a:pt x="16588" y="21600"/>
                  <a:pt x="17673" y="21600"/>
                </a:cubicBezTo>
                <a:cubicBezTo>
                  <a:pt x="18757" y="21600"/>
                  <a:pt x="19636" y="20391"/>
                  <a:pt x="19636" y="18900"/>
                </a:cubicBezTo>
                <a:cubicBezTo>
                  <a:pt x="19636" y="18383"/>
                  <a:pt x="19525" y="17903"/>
                  <a:pt x="19341" y="17493"/>
                </a:cubicBezTo>
                <a:cubicBezTo>
                  <a:pt x="19479" y="17410"/>
                  <a:pt x="19581" y="17242"/>
                  <a:pt x="19619" y="17038"/>
                </a:cubicBezTo>
              </a:path>
            </a:pathLst>
          </a:custGeom>
          <a:solidFill>
            <a:schemeClr val="bg1"/>
          </a:solidFill>
          <a:ln w="12700">
            <a:miter lim="400000"/>
          </a:ln>
        </p:spPr>
        <p:txBody>
          <a:bodyPr lIns="19050" tIns="19050" rIns="19050" bIns="19050" anchor="ctr"/>
          <a:lstStyle/>
          <a:p>
            <a:pPr defTabSz="228600">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17" name="Rectangle 16"/>
          <p:cNvSpPr/>
          <p:nvPr/>
        </p:nvSpPr>
        <p:spPr>
          <a:xfrm>
            <a:off x="1242161" y="2410400"/>
            <a:ext cx="2760956" cy="1654241"/>
          </a:xfrm>
          <a:prstGeom prst="rect">
            <a:avLst/>
          </a:prstGeom>
          <a:solidFill>
            <a:schemeClr val="bg1">
              <a:alpha val="72000"/>
            </a:schemeClr>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8649"/>
          <p:cNvGrpSpPr/>
          <p:nvPr/>
        </p:nvGrpSpPr>
        <p:grpSpPr>
          <a:xfrm>
            <a:off x="1501640" y="2632452"/>
            <a:ext cx="2167650" cy="1236955"/>
            <a:chOff x="0" y="-169634"/>
            <a:chExt cx="4335298" cy="2473908"/>
          </a:xfrm>
        </p:grpSpPr>
        <p:sp>
          <p:nvSpPr>
            <p:cNvPr id="15" name="Shape 18647"/>
            <p:cNvSpPr/>
            <p:nvPr/>
          </p:nvSpPr>
          <p:spPr>
            <a:xfrm>
              <a:off x="0" y="-169634"/>
              <a:ext cx="3475316" cy="975907"/>
            </a:xfrm>
            <a:prstGeom prst="rect">
              <a:avLst/>
            </a:prstGeom>
            <a:noFill/>
            <a:ln w="12700" cap="flat">
              <a:noFill/>
              <a:miter lim="400000"/>
            </a:ln>
            <a:effectLst/>
          </p:spPr>
          <p:txBody>
            <a:bodyPr wrap="square" lIns="25400" tIns="25400" rIns="25400" bIns="25400" numCol="1" anchor="t">
              <a:spAutoFit/>
            </a:bodyPr>
            <a:lstStyle>
              <a:lvl1pPr algn="l">
                <a:lnSpc>
                  <a:spcPct val="110000"/>
                </a:lnSpc>
                <a:defRPr sz="8500" b="1">
                  <a:solidFill>
                    <a:srgbClr val="0085AD"/>
                  </a:solidFill>
                  <a:latin typeface="Helvetica"/>
                  <a:ea typeface="Helvetica"/>
                  <a:cs typeface="Helvetica"/>
                  <a:sym typeface="Helvetica"/>
                </a:defRPr>
              </a:lvl1pPr>
            </a:lstStyle>
            <a:p>
              <a:r>
                <a:rPr sz="2800" dirty="0">
                  <a:solidFill>
                    <a:schemeClr val="accent1"/>
                  </a:solidFill>
                  <a:latin typeface="Playfair Display" panose="00000500000000000000" pitchFamily="2" charset="0"/>
                  <a:cs typeface="Lato" panose="020F0502020204030203" pitchFamily="34" charset="0"/>
                </a:rPr>
                <a:t>357m</a:t>
              </a:r>
              <a:endParaRPr sz="2800" dirty="0">
                <a:solidFill>
                  <a:schemeClr val="accent1"/>
                </a:solidFill>
                <a:latin typeface="Playfair Display" panose="00000500000000000000" pitchFamily="2" charset="0"/>
                <a:cs typeface="Lato" panose="020F0502020204030203" pitchFamily="34" charset="0"/>
              </a:endParaRPr>
            </a:p>
          </p:txBody>
        </p:sp>
        <p:sp>
          <p:nvSpPr>
            <p:cNvPr id="16" name="Shape 18648"/>
            <p:cNvSpPr/>
            <p:nvPr/>
          </p:nvSpPr>
          <p:spPr>
            <a:xfrm>
              <a:off x="0" y="1220645"/>
              <a:ext cx="4335298" cy="1083629"/>
            </a:xfrm>
            <a:prstGeom prst="rect">
              <a:avLst/>
            </a:prstGeom>
            <a:noFill/>
            <a:ln w="12700" cap="flat">
              <a:noFill/>
              <a:miter lim="400000"/>
            </a:ln>
            <a:effectLst/>
          </p:spPr>
          <p:txBody>
            <a:bodyPr wrap="square" lIns="25400" tIns="25400" rIns="25400" bIns="25400" numCol="1" anchor="t">
              <a:spAutoFit/>
            </a:bodyPr>
            <a:lstStyle/>
            <a:p>
              <a:pPr algn="l">
                <a:lnSpc>
                  <a:spcPct val="110000"/>
                </a:lnSpc>
                <a:defRPr sz="2000">
                  <a:solidFill>
                    <a:srgbClr val="4C6077"/>
                  </a:solidFill>
                  <a:latin typeface="Helvetica"/>
                  <a:ea typeface="Helvetica"/>
                  <a:cs typeface="Helvetica"/>
                  <a:sym typeface="Helvetica"/>
                </a:defRPr>
              </a:pPr>
              <a:r>
                <a:rPr sz="1000" dirty="0">
                  <a:solidFill>
                    <a:schemeClr val="tx1">
                      <a:lumMod val="85000"/>
                      <a:lumOff val="15000"/>
                    </a:schemeClr>
                  </a:solidFill>
                  <a:latin typeface="Playfair Display" panose="00000500000000000000" pitchFamily="2" charset="0"/>
                  <a:cs typeface="Lato" panose="020F0502020204030203" pitchFamily="34" charset="0"/>
                </a:rPr>
                <a:t>Lorem Ipsum is simply dummy text of the printing and typesetting industry. Lorem Ipsum has been.</a:t>
              </a:r>
              <a:endParaRPr sz="1000" dirty="0">
                <a:solidFill>
                  <a:schemeClr val="tx1">
                    <a:lumMod val="85000"/>
                    <a:lumOff val="15000"/>
                  </a:schemeClr>
                </a:solidFill>
                <a:latin typeface="Playfair Display" panose="00000500000000000000" pitchFamily="2" charset="0"/>
                <a:cs typeface="Lato" panose="020F0502020204030203" pitchFamily="34" charset="0"/>
              </a:endParaRPr>
            </a:p>
          </p:txBody>
        </p:sp>
      </p:grpSp>
      <p:sp>
        <p:nvSpPr>
          <p:cNvPr id="18" name="Title 18"/>
          <p:cNvSpPr txBox="1"/>
          <p:nvPr/>
        </p:nvSpPr>
        <p:spPr>
          <a:xfrm>
            <a:off x="1468630" y="3076600"/>
            <a:ext cx="1806941" cy="276999"/>
          </a:xfrm>
          <a:prstGeom prst="rect">
            <a:avLst/>
          </a:prstGeom>
        </p:spPr>
        <p:txBody>
          <a:bodyPr wrap="square" anchor="t">
            <a:spAutoFit/>
          </a:bodyPr>
          <a:lstStyle>
            <a:defPPr>
              <a:defRPr lang="en-US"/>
            </a:defPPr>
            <a:lvl1pPr algn="r">
              <a:buClr>
                <a:srgbClr val="E24848"/>
              </a:buClr>
              <a:defRPr sz="140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id-ID" sz="1200"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Target Market</a:t>
            </a:r>
            <a:endParaRPr lang="id-ID" sz="1200"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27" name="Rectangle 26"/>
          <p:cNvSpPr/>
          <p:nvPr/>
        </p:nvSpPr>
        <p:spPr>
          <a:xfrm>
            <a:off x="8171408" y="1088253"/>
            <a:ext cx="2760956" cy="1654241"/>
          </a:xfrm>
          <a:prstGeom prst="rect">
            <a:avLst/>
          </a:prstGeom>
          <a:solidFill>
            <a:schemeClr val="bg1">
              <a:alpha val="72000"/>
            </a:schemeClr>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18649"/>
          <p:cNvGrpSpPr/>
          <p:nvPr/>
        </p:nvGrpSpPr>
        <p:grpSpPr>
          <a:xfrm>
            <a:off x="8430887" y="1310305"/>
            <a:ext cx="2167650" cy="1236955"/>
            <a:chOff x="0" y="-169634"/>
            <a:chExt cx="4335298" cy="2473908"/>
          </a:xfrm>
        </p:grpSpPr>
        <p:sp>
          <p:nvSpPr>
            <p:cNvPr id="29" name="Shape 18647"/>
            <p:cNvSpPr/>
            <p:nvPr/>
          </p:nvSpPr>
          <p:spPr>
            <a:xfrm>
              <a:off x="0" y="-169634"/>
              <a:ext cx="3475316" cy="974111"/>
            </a:xfrm>
            <a:prstGeom prst="rect">
              <a:avLst/>
            </a:prstGeom>
            <a:noFill/>
            <a:ln w="12700" cap="flat">
              <a:noFill/>
              <a:miter lim="400000"/>
            </a:ln>
            <a:effectLst/>
          </p:spPr>
          <p:txBody>
            <a:bodyPr wrap="square" lIns="25400" tIns="25400" rIns="25400" bIns="25400" numCol="1" anchor="t">
              <a:spAutoFit/>
            </a:bodyPr>
            <a:lstStyle>
              <a:lvl1pPr algn="l">
                <a:lnSpc>
                  <a:spcPct val="110000"/>
                </a:lnSpc>
                <a:defRPr sz="8500" b="1">
                  <a:solidFill>
                    <a:srgbClr val="0085AD"/>
                  </a:solidFill>
                  <a:latin typeface="Helvetica"/>
                  <a:ea typeface="Helvetica"/>
                  <a:cs typeface="Helvetica"/>
                  <a:sym typeface="Helvetica"/>
                </a:defRPr>
              </a:lvl1pPr>
            </a:lstStyle>
            <a:p>
              <a:r>
                <a:rPr lang="en-US" sz="2800" dirty="0">
                  <a:solidFill>
                    <a:schemeClr val="accent1"/>
                  </a:solidFill>
                  <a:latin typeface="Playfair Display" panose="00000500000000000000" pitchFamily="2" charset="0"/>
                  <a:cs typeface="Lato" panose="020F0502020204030203" pitchFamily="34" charset="0"/>
                </a:rPr>
                <a:t>4584</a:t>
              </a:r>
              <a:r>
                <a:rPr sz="2800" dirty="0">
                  <a:solidFill>
                    <a:schemeClr val="accent1"/>
                  </a:solidFill>
                  <a:latin typeface="Playfair Display" panose="00000500000000000000" pitchFamily="2" charset="0"/>
                  <a:cs typeface="Lato" panose="020F0502020204030203" pitchFamily="34" charset="0"/>
                </a:rPr>
                <a:t>m</a:t>
              </a:r>
              <a:endParaRPr sz="2800" dirty="0">
                <a:solidFill>
                  <a:schemeClr val="accent1"/>
                </a:solidFill>
                <a:latin typeface="Playfair Display" panose="00000500000000000000" pitchFamily="2" charset="0"/>
                <a:cs typeface="Lato" panose="020F0502020204030203" pitchFamily="34" charset="0"/>
              </a:endParaRPr>
            </a:p>
          </p:txBody>
        </p:sp>
        <p:sp>
          <p:nvSpPr>
            <p:cNvPr id="30" name="Shape 18648"/>
            <p:cNvSpPr/>
            <p:nvPr/>
          </p:nvSpPr>
          <p:spPr>
            <a:xfrm>
              <a:off x="0" y="1220645"/>
              <a:ext cx="4335298" cy="1083629"/>
            </a:xfrm>
            <a:prstGeom prst="rect">
              <a:avLst/>
            </a:prstGeom>
            <a:noFill/>
            <a:ln w="12700" cap="flat">
              <a:noFill/>
              <a:miter lim="400000"/>
            </a:ln>
            <a:effectLst/>
          </p:spPr>
          <p:txBody>
            <a:bodyPr wrap="square" lIns="25400" tIns="25400" rIns="25400" bIns="25400" numCol="1" anchor="t">
              <a:spAutoFit/>
            </a:bodyPr>
            <a:lstStyle/>
            <a:p>
              <a:pPr algn="l">
                <a:lnSpc>
                  <a:spcPct val="110000"/>
                </a:lnSpc>
                <a:defRPr sz="2000">
                  <a:solidFill>
                    <a:srgbClr val="4C6077"/>
                  </a:solidFill>
                  <a:latin typeface="Helvetica"/>
                  <a:ea typeface="Helvetica"/>
                  <a:cs typeface="Helvetica"/>
                  <a:sym typeface="Helvetica"/>
                </a:defRPr>
              </a:pPr>
              <a:r>
                <a:rPr sz="1000" dirty="0">
                  <a:solidFill>
                    <a:schemeClr val="tx1">
                      <a:lumMod val="85000"/>
                      <a:lumOff val="15000"/>
                    </a:schemeClr>
                  </a:solidFill>
                  <a:latin typeface="Playfair Display" panose="00000500000000000000" pitchFamily="2" charset="0"/>
                  <a:cs typeface="Lato" panose="020F0502020204030203" pitchFamily="34" charset="0"/>
                </a:rPr>
                <a:t>Lorem Ipsum is simply dummy text of the printing and typesetting industry. Lorem Ipsum has been.</a:t>
              </a:r>
              <a:endParaRPr sz="1000" dirty="0">
                <a:solidFill>
                  <a:schemeClr val="tx1">
                    <a:lumMod val="85000"/>
                    <a:lumOff val="15000"/>
                  </a:schemeClr>
                </a:solidFill>
                <a:latin typeface="Playfair Display" panose="00000500000000000000" pitchFamily="2" charset="0"/>
                <a:cs typeface="Lato" panose="020F0502020204030203" pitchFamily="34" charset="0"/>
              </a:endParaRPr>
            </a:p>
          </p:txBody>
        </p:sp>
      </p:grpSp>
      <p:sp>
        <p:nvSpPr>
          <p:cNvPr id="31" name="Title 18"/>
          <p:cNvSpPr txBox="1"/>
          <p:nvPr/>
        </p:nvSpPr>
        <p:spPr>
          <a:xfrm>
            <a:off x="8397877" y="1754453"/>
            <a:ext cx="1806941" cy="276999"/>
          </a:xfrm>
          <a:prstGeom prst="rect">
            <a:avLst/>
          </a:prstGeom>
        </p:spPr>
        <p:txBody>
          <a:bodyPr wrap="square" anchor="t">
            <a:spAutoFit/>
          </a:bodyPr>
          <a:lstStyle>
            <a:defPPr>
              <a:defRPr lang="en-US"/>
            </a:defPPr>
            <a:lvl1pPr algn="r">
              <a:buClr>
                <a:srgbClr val="E24848"/>
              </a:buClr>
              <a:defRPr sz="140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id-ID" sz="1200"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Target Market</a:t>
            </a:r>
            <a:endParaRPr lang="id-ID" sz="1200"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32" name="Rectangle 31"/>
          <p:cNvSpPr/>
          <p:nvPr/>
        </p:nvSpPr>
        <p:spPr>
          <a:xfrm>
            <a:off x="6624657" y="4460337"/>
            <a:ext cx="2760956" cy="1654241"/>
          </a:xfrm>
          <a:prstGeom prst="rect">
            <a:avLst/>
          </a:prstGeom>
          <a:solidFill>
            <a:schemeClr val="bg1">
              <a:alpha val="72000"/>
            </a:schemeClr>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3" name="Group 18649"/>
          <p:cNvGrpSpPr/>
          <p:nvPr/>
        </p:nvGrpSpPr>
        <p:grpSpPr>
          <a:xfrm>
            <a:off x="6884136" y="4682389"/>
            <a:ext cx="2167650" cy="1236955"/>
            <a:chOff x="0" y="-169634"/>
            <a:chExt cx="4335298" cy="2473908"/>
          </a:xfrm>
        </p:grpSpPr>
        <p:sp>
          <p:nvSpPr>
            <p:cNvPr id="34" name="Shape 18647"/>
            <p:cNvSpPr/>
            <p:nvPr/>
          </p:nvSpPr>
          <p:spPr>
            <a:xfrm>
              <a:off x="0" y="-169634"/>
              <a:ext cx="3475316" cy="974111"/>
            </a:xfrm>
            <a:prstGeom prst="rect">
              <a:avLst/>
            </a:prstGeom>
            <a:noFill/>
            <a:ln w="12700" cap="flat">
              <a:noFill/>
              <a:miter lim="400000"/>
            </a:ln>
            <a:effectLst/>
          </p:spPr>
          <p:txBody>
            <a:bodyPr wrap="square" lIns="25400" tIns="25400" rIns="25400" bIns="25400" numCol="1" anchor="t">
              <a:spAutoFit/>
            </a:bodyPr>
            <a:lstStyle>
              <a:lvl1pPr algn="l">
                <a:lnSpc>
                  <a:spcPct val="110000"/>
                </a:lnSpc>
                <a:defRPr sz="8500" b="1">
                  <a:solidFill>
                    <a:srgbClr val="0085AD"/>
                  </a:solidFill>
                  <a:latin typeface="Helvetica"/>
                  <a:ea typeface="Helvetica"/>
                  <a:cs typeface="Helvetica"/>
                  <a:sym typeface="Helvetica"/>
                </a:defRPr>
              </a:lvl1pPr>
            </a:lstStyle>
            <a:p>
              <a:r>
                <a:rPr lang="en-US" sz="2800" dirty="0">
                  <a:solidFill>
                    <a:schemeClr val="accent1"/>
                  </a:solidFill>
                  <a:latin typeface="Playfair Display" panose="00000500000000000000" pitchFamily="2" charset="0"/>
                  <a:cs typeface="Lato" panose="020F0502020204030203" pitchFamily="34" charset="0"/>
                </a:rPr>
                <a:t>45</a:t>
              </a:r>
              <a:r>
                <a:rPr sz="2800" dirty="0">
                  <a:solidFill>
                    <a:schemeClr val="accent1"/>
                  </a:solidFill>
                  <a:latin typeface="Playfair Display" panose="00000500000000000000" pitchFamily="2" charset="0"/>
                  <a:cs typeface="Lato" panose="020F0502020204030203" pitchFamily="34" charset="0"/>
                </a:rPr>
                <a:t>m</a:t>
              </a:r>
              <a:endParaRPr sz="2800" dirty="0">
                <a:solidFill>
                  <a:schemeClr val="accent1"/>
                </a:solidFill>
                <a:latin typeface="Playfair Display" panose="00000500000000000000" pitchFamily="2" charset="0"/>
                <a:cs typeface="Lato" panose="020F0502020204030203" pitchFamily="34" charset="0"/>
              </a:endParaRPr>
            </a:p>
          </p:txBody>
        </p:sp>
        <p:sp>
          <p:nvSpPr>
            <p:cNvPr id="35" name="Shape 18648"/>
            <p:cNvSpPr/>
            <p:nvPr/>
          </p:nvSpPr>
          <p:spPr>
            <a:xfrm>
              <a:off x="0" y="1220645"/>
              <a:ext cx="4335298" cy="1083629"/>
            </a:xfrm>
            <a:prstGeom prst="rect">
              <a:avLst/>
            </a:prstGeom>
            <a:noFill/>
            <a:ln w="12700" cap="flat">
              <a:noFill/>
              <a:miter lim="400000"/>
            </a:ln>
            <a:effectLst/>
          </p:spPr>
          <p:txBody>
            <a:bodyPr wrap="square" lIns="25400" tIns="25400" rIns="25400" bIns="25400" numCol="1" anchor="t">
              <a:spAutoFit/>
            </a:bodyPr>
            <a:lstStyle/>
            <a:p>
              <a:pPr algn="l">
                <a:lnSpc>
                  <a:spcPct val="110000"/>
                </a:lnSpc>
                <a:defRPr sz="2000">
                  <a:solidFill>
                    <a:srgbClr val="4C6077"/>
                  </a:solidFill>
                  <a:latin typeface="Helvetica"/>
                  <a:ea typeface="Helvetica"/>
                  <a:cs typeface="Helvetica"/>
                  <a:sym typeface="Helvetica"/>
                </a:defRPr>
              </a:pPr>
              <a:r>
                <a:rPr sz="1000" dirty="0">
                  <a:solidFill>
                    <a:schemeClr val="tx1">
                      <a:lumMod val="85000"/>
                      <a:lumOff val="15000"/>
                    </a:schemeClr>
                  </a:solidFill>
                  <a:latin typeface="Playfair Display" panose="00000500000000000000" pitchFamily="2" charset="0"/>
                  <a:cs typeface="Lato" panose="020F0502020204030203" pitchFamily="34" charset="0"/>
                </a:rPr>
                <a:t>Lorem Ipsum is simply dummy text of the printing and typesetting industry. Lorem Ipsum has been.</a:t>
              </a:r>
              <a:endParaRPr sz="1000" dirty="0">
                <a:solidFill>
                  <a:schemeClr val="tx1">
                    <a:lumMod val="85000"/>
                    <a:lumOff val="15000"/>
                  </a:schemeClr>
                </a:solidFill>
                <a:latin typeface="Playfair Display" panose="00000500000000000000" pitchFamily="2" charset="0"/>
                <a:cs typeface="Lato" panose="020F0502020204030203" pitchFamily="34" charset="0"/>
              </a:endParaRPr>
            </a:p>
          </p:txBody>
        </p:sp>
      </p:grpSp>
      <p:sp>
        <p:nvSpPr>
          <p:cNvPr id="36" name="Title 18"/>
          <p:cNvSpPr txBox="1"/>
          <p:nvPr/>
        </p:nvSpPr>
        <p:spPr>
          <a:xfrm>
            <a:off x="6851126" y="5126537"/>
            <a:ext cx="1806941" cy="276999"/>
          </a:xfrm>
          <a:prstGeom prst="rect">
            <a:avLst/>
          </a:prstGeom>
        </p:spPr>
        <p:txBody>
          <a:bodyPr wrap="square" anchor="t">
            <a:spAutoFit/>
          </a:bodyPr>
          <a:lstStyle>
            <a:defPPr>
              <a:defRPr lang="en-US"/>
            </a:defPPr>
            <a:lvl1pPr algn="r">
              <a:buClr>
                <a:srgbClr val="E24848"/>
              </a:buClr>
              <a:defRPr sz="140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l"/>
            <a:r>
              <a:rPr lang="id-ID" sz="1200"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Target Market</a:t>
            </a:r>
            <a:endParaRPr lang="id-ID" sz="1200"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Tree>
  </p:cSld>
  <p:clrMapOvr>
    <a:masterClrMapping/>
  </p:clrMapOvr>
  <p:transition spd="slow" advClick="0" advTm="0">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Title 1"/>
          <p:cNvSpPr txBox="1"/>
          <p:nvPr/>
        </p:nvSpPr>
        <p:spPr>
          <a:xfrm>
            <a:off x="904902" y="644336"/>
            <a:ext cx="4352898"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3600" b="1" spc="-151" dirty="0">
                <a:solidFill>
                  <a:schemeClr val="bg1"/>
                </a:solidFill>
                <a:latin typeface="Playfair Display" panose="00000500000000000000" pitchFamily="2" charset="0"/>
                <a:ea typeface="Open Sans" panose="020B0606030504020204" pitchFamily="34" charset="0"/>
                <a:cs typeface="Lato" panose="020F0502020204030203" pitchFamily="34" charset="0"/>
              </a:rPr>
              <a:t>Target </a:t>
            </a:r>
            <a:r>
              <a:rPr lang="en-US" sz="3600" spc="-151" dirty="0">
                <a:solidFill>
                  <a:schemeClr val="bg1"/>
                </a:solidFill>
                <a:latin typeface="Playfair Display" panose="00000500000000000000" pitchFamily="2" charset="0"/>
                <a:ea typeface="Open Sans" panose="020B0606030504020204" pitchFamily="34" charset="0"/>
                <a:cs typeface="Lato" panose="020F0502020204030203" pitchFamily="34" charset="0"/>
              </a:rPr>
              <a:t>Market</a:t>
            </a:r>
            <a:endParaRPr lang="en-US" sz="3600" spc="-151" dirty="0">
              <a:solidFill>
                <a:schemeClr val="bg1"/>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4" name="Rectangle 3"/>
          <p:cNvSpPr/>
          <p:nvPr/>
        </p:nvSpPr>
        <p:spPr>
          <a:xfrm>
            <a:off x="958692" y="1290667"/>
            <a:ext cx="2156010" cy="261610"/>
          </a:xfrm>
          <a:prstGeom prst="rect">
            <a:avLst/>
          </a:prstGeom>
        </p:spPr>
        <p:txBody>
          <a:bodyPr wrap="square">
            <a:spAutoFit/>
          </a:bodyPr>
          <a:lstStyle/>
          <a:p>
            <a:pPr>
              <a:buClr>
                <a:srgbClr val="E24848"/>
              </a:buClr>
              <a:defRPr/>
            </a:pPr>
            <a:r>
              <a:rPr lang="en-US" sz="1100" noProof="1">
                <a:solidFill>
                  <a:schemeClr val="bg1"/>
                </a:solidFill>
                <a:latin typeface="+mj-lt"/>
                <a:ea typeface="Open Sans Light" panose="020B0306030504020204" pitchFamily="34" charset="0"/>
                <a:cs typeface="Open Sans Light" panose="020B0306030504020204" pitchFamily="34" charset="0"/>
              </a:rPr>
              <a:t>Insert  Your Great Subtitle Here</a:t>
            </a:r>
            <a:endParaRPr lang="en-US" sz="1100" noProof="1">
              <a:solidFill>
                <a:schemeClr val="bg1"/>
              </a:solidFill>
              <a:latin typeface="+mj-lt"/>
              <a:ea typeface="Open Sans Light" panose="020B0306030504020204" pitchFamily="34" charset="0"/>
              <a:cs typeface="Open Sans Light" panose="020B0306030504020204" pitchFamily="34" charset="0"/>
            </a:endParaRPr>
          </a:p>
        </p:txBody>
      </p:sp>
      <p:sp>
        <p:nvSpPr>
          <p:cNvPr id="2" name="Slide Number Placeholder 1"/>
          <p:cNvSpPr>
            <a:spLocks noGrp="1"/>
          </p:cNvSpPr>
          <p:nvPr>
            <p:ph type="sldNum" sz="quarter" idx="12"/>
          </p:nvPr>
        </p:nvSpPr>
        <p:spPr/>
        <p:txBody>
          <a:bodyPr/>
          <a:lstStyle/>
          <a:p>
            <a:fld id="{75F62417-4A12-46BB-B530-A96D3E44AFD3}" type="slidenum">
              <a:rPr lang="en-US" smtClean="0">
                <a:solidFill>
                  <a:schemeClr val="bg1"/>
                </a:solidFill>
              </a:rPr>
            </a:fld>
            <a:endParaRPr lang="en-US">
              <a:solidFill>
                <a:schemeClr val="bg1"/>
              </a:solidFill>
            </a:endParaRPr>
          </a:p>
        </p:txBody>
      </p:sp>
      <p:sp>
        <p:nvSpPr>
          <p:cNvPr id="37" name="AutoShape 1"/>
          <p:cNvSpPr/>
          <p:nvPr/>
        </p:nvSpPr>
        <p:spPr bwMode="auto">
          <a:xfrm>
            <a:off x="3386195" y="4143710"/>
            <a:ext cx="7737076" cy="1437684"/>
          </a:xfrm>
          <a:prstGeom prst="roundRect">
            <a:avLst>
              <a:gd name="adj" fmla="val 6301"/>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39" name="AutoShape 3"/>
          <p:cNvSpPr/>
          <p:nvPr/>
        </p:nvSpPr>
        <p:spPr bwMode="auto">
          <a:xfrm>
            <a:off x="2377399" y="4548437"/>
            <a:ext cx="1461847" cy="604069"/>
          </a:xfrm>
          <a:prstGeom prst="roundRect">
            <a:avLst>
              <a:gd name="adj" fmla="val 23056"/>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41" name="AutoShape 5"/>
          <p:cNvSpPr/>
          <p:nvPr/>
        </p:nvSpPr>
        <p:spPr bwMode="auto">
          <a:xfrm>
            <a:off x="3386195" y="2198608"/>
            <a:ext cx="7737076" cy="1437684"/>
          </a:xfrm>
          <a:prstGeom prst="roundRect">
            <a:avLst>
              <a:gd name="adj" fmla="val 6301"/>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43" name="AutoShape 7"/>
          <p:cNvSpPr/>
          <p:nvPr/>
        </p:nvSpPr>
        <p:spPr bwMode="auto">
          <a:xfrm>
            <a:off x="2377399" y="2603335"/>
            <a:ext cx="1461847" cy="604069"/>
          </a:xfrm>
          <a:prstGeom prst="roundRect">
            <a:avLst>
              <a:gd name="adj" fmla="val 23056"/>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44" name="Rectangle 8"/>
          <p:cNvSpPr/>
          <p:nvPr/>
        </p:nvSpPr>
        <p:spPr bwMode="auto">
          <a:xfrm>
            <a:off x="2882303" y="2750834"/>
            <a:ext cx="851737" cy="326197"/>
          </a:xfrm>
          <a:prstGeom prst="rect">
            <a:avLst/>
          </a:prstGeom>
          <a:no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lumMod val="85000"/>
                    <a:lumOff val="15000"/>
                  </a:schemeClr>
                </a:solidFill>
                <a:latin typeface="Playfair Display" panose="00000500000000000000" pitchFamily="2" charset="0"/>
                <a:cs typeface="Lato" panose="020F0502020204030203" pitchFamily="34" charset="0"/>
                <a:sym typeface="Bebas Neue" charset="0"/>
              </a:rPr>
              <a:t>253,120</a:t>
            </a:r>
            <a:endParaRPr lang="en-US" sz="1400" b="1" dirty="0">
              <a:solidFill>
                <a:schemeClr val="tx1">
                  <a:lumMod val="85000"/>
                  <a:lumOff val="15000"/>
                </a:schemeClr>
              </a:solidFill>
              <a:latin typeface="Playfair Display" panose="00000500000000000000" pitchFamily="2" charset="0"/>
              <a:cs typeface="Lato" panose="020F0502020204030203" pitchFamily="34" charset="0"/>
              <a:sym typeface="Bebas Neue" charset="0"/>
            </a:endParaRPr>
          </a:p>
        </p:txBody>
      </p:sp>
      <p:sp>
        <p:nvSpPr>
          <p:cNvPr id="46" name="Oval 12"/>
          <p:cNvSpPr/>
          <p:nvPr/>
        </p:nvSpPr>
        <p:spPr bwMode="auto">
          <a:xfrm>
            <a:off x="1531702" y="2283178"/>
            <a:ext cx="1232301" cy="1232301"/>
          </a:xfrm>
          <a:prstGeom prst="ellipse">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63" name="Rectangle 29"/>
          <p:cNvSpPr/>
          <p:nvPr/>
        </p:nvSpPr>
        <p:spPr bwMode="auto">
          <a:xfrm>
            <a:off x="6723675" y="2650150"/>
            <a:ext cx="972552" cy="477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ctr"/>
          <a:lstStyle/>
          <a:p>
            <a:r>
              <a:rPr lang="en-US" sz="2800" b="1" dirty="0">
                <a:solidFill>
                  <a:schemeClr val="tx1">
                    <a:lumMod val="85000"/>
                    <a:lumOff val="15000"/>
                  </a:schemeClr>
                </a:solidFill>
                <a:latin typeface="Playfair Display" panose="00000500000000000000" pitchFamily="2" charset="0"/>
                <a:ea typeface="MS PGothic" panose="020B0600070205080204" pitchFamily="-110" charset="-128"/>
                <a:cs typeface="Lato" panose="020F0502020204030203" pitchFamily="34" charset="0"/>
                <a:sym typeface="Bebas Neue" charset="0"/>
              </a:rPr>
              <a:t>60</a:t>
            </a:r>
            <a:r>
              <a:rPr lang="en-US" sz="1500" b="1" dirty="0">
                <a:solidFill>
                  <a:schemeClr val="tx1">
                    <a:lumMod val="85000"/>
                    <a:lumOff val="15000"/>
                  </a:schemeClr>
                </a:solidFill>
                <a:latin typeface="Playfair Display" panose="00000500000000000000" pitchFamily="2" charset="0"/>
                <a:ea typeface="MS PGothic" panose="020B0600070205080204" pitchFamily="-110" charset="-128"/>
                <a:cs typeface="Lato" panose="020F0502020204030203" pitchFamily="34" charset="0"/>
                <a:sym typeface="Bebas Neue" charset="0"/>
              </a:rPr>
              <a:t>/90%</a:t>
            </a:r>
            <a:endParaRPr lang="en-US" sz="1500" b="1" dirty="0">
              <a:solidFill>
                <a:schemeClr val="tx1">
                  <a:lumMod val="85000"/>
                  <a:lumOff val="15000"/>
                </a:schemeClr>
              </a:solidFill>
              <a:latin typeface="Playfair Display" panose="00000500000000000000" pitchFamily="2" charset="0"/>
              <a:ea typeface="MS PGothic" panose="020B0600070205080204" pitchFamily="-110" charset="-128"/>
              <a:cs typeface="Lato" panose="020F0502020204030203" pitchFamily="34" charset="0"/>
              <a:sym typeface="Bebas Neue" charset="0"/>
            </a:endParaRPr>
          </a:p>
        </p:txBody>
      </p:sp>
      <p:sp>
        <p:nvSpPr>
          <p:cNvPr id="65" name="Line 31"/>
          <p:cNvSpPr>
            <a:spLocks noChangeShapeType="1"/>
          </p:cNvSpPr>
          <p:nvPr/>
        </p:nvSpPr>
        <p:spPr bwMode="auto">
          <a:xfrm>
            <a:off x="7826100" y="2542927"/>
            <a:ext cx="0" cy="779250"/>
          </a:xfrm>
          <a:prstGeom prst="line">
            <a:avLst/>
          </a:prstGeom>
          <a:noFill/>
          <a:ln w="25400" cap="flat">
            <a:solidFill>
              <a:schemeClr val="tx1">
                <a:lumMod val="75000"/>
                <a:lumOff val="25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70" name="Oval 36"/>
          <p:cNvSpPr/>
          <p:nvPr/>
        </p:nvSpPr>
        <p:spPr bwMode="auto">
          <a:xfrm>
            <a:off x="1531702" y="4228280"/>
            <a:ext cx="1232301" cy="1232301"/>
          </a:xfrm>
          <a:prstGeom prst="ellipse">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85" name="Rectangle 51"/>
          <p:cNvSpPr/>
          <p:nvPr/>
        </p:nvSpPr>
        <p:spPr bwMode="auto">
          <a:xfrm>
            <a:off x="6723675" y="4595252"/>
            <a:ext cx="972552" cy="477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ctr"/>
          <a:lstStyle/>
          <a:p>
            <a:r>
              <a:rPr lang="en-US" sz="2800" b="1" dirty="0">
                <a:solidFill>
                  <a:schemeClr val="tx1">
                    <a:lumMod val="85000"/>
                    <a:lumOff val="15000"/>
                  </a:schemeClr>
                </a:solidFill>
                <a:latin typeface="Playfair Display" panose="00000500000000000000" pitchFamily="2" charset="0"/>
                <a:ea typeface="MS PGothic" panose="020B0600070205080204" pitchFamily="-110" charset="-128"/>
                <a:cs typeface="Lato" panose="020F0502020204030203" pitchFamily="34" charset="0"/>
                <a:sym typeface="Bebas Neue" charset="0"/>
              </a:rPr>
              <a:t>45</a:t>
            </a:r>
            <a:r>
              <a:rPr lang="en-US" sz="1500" b="1" dirty="0">
                <a:solidFill>
                  <a:schemeClr val="tx1">
                    <a:lumMod val="85000"/>
                    <a:lumOff val="15000"/>
                  </a:schemeClr>
                </a:solidFill>
                <a:latin typeface="Playfair Display" panose="00000500000000000000" pitchFamily="2" charset="0"/>
                <a:ea typeface="MS PGothic" panose="020B0600070205080204" pitchFamily="-110" charset="-128"/>
                <a:cs typeface="Lato" panose="020F0502020204030203" pitchFamily="34" charset="0"/>
                <a:sym typeface="Bebas Neue" charset="0"/>
              </a:rPr>
              <a:t>/70%</a:t>
            </a:r>
            <a:endParaRPr lang="en-US" sz="1500" b="1" dirty="0">
              <a:solidFill>
                <a:schemeClr val="tx1">
                  <a:lumMod val="85000"/>
                  <a:lumOff val="15000"/>
                </a:schemeClr>
              </a:solidFill>
              <a:latin typeface="Playfair Display" panose="00000500000000000000" pitchFamily="2" charset="0"/>
              <a:ea typeface="MS PGothic" panose="020B0600070205080204" pitchFamily="-110" charset="-128"/>
              <a:cs typeface="Lato" panose="020F0502020204030203" pitchFamily="34" charset="0"/>
              <a:sym typeface="Bebas Neue" charset="0"/>
            </a:endParaRPr>
          </a:p>
        </p:txBody>
      </p:sp>
      <p:sp>
        <p:nvSpPr>
          <p:cNvPr id="87" name="Line 53"/>
          <p:cNvSpPr>
            <a:spLocks noChangeShapeType="1"/>
          </p:cNvSpPr>
          <p:nvPr/>
        </p:nvSpPr>
        <p:spPr bwMode="auto">
          <a:xfrm>
            <a:off x="7826100" y="4488029"/>
            <a:ext cx="0" cy="779250"/>
          </a:xfrm>
          <a:prstGeom prst="line">
            <a:avLst/>
          </a:prstGeom>
          <a:noFill/>
          <a:ln w="25400" cap="flat">
            <a:solidFill>
              <a:schemeClr val="tx1">
                <a:lumMod val="75000"/>
                <a:lumOff val="25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1" name="Rectangle 10"/>
          <p:cNvSpPr>
            <a:spLocks noChangeArrowheads="1"/>
          </p:cNvSpPr>
          <p:nvPr/>
        </p:nvSpPr>
        <p:spPr bwMode="auto">
          <a:xfrm>
            <a:off x="8773112" y="6430516"/>
            <a:ext cx="1820233" cy="142945"/>
          </a:xfrm>
          <a:prstGeom prst="rect">
            <a:avLst/>
          </a:prstGeom>
          <a:noFill/>
          <a:ln>
            <a:noFill/>
          </a:ln>
        </p:spPr>
        <p:txBody>
          <a:bodyPr wrap="square" anchor="ctr">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defRPr/>
            </a:pPr>
            <a:r>
              <a:rPr lang="en-US" sz="1000" dirty="0">
                <a:solidFill>
                  <a:schemeClr val="bg1"/>
                </a:solidFill>
                <a:latin typeface="Calibri Light" panose="020F0302020204030204" pitchFamily="34" charset="0"/>
                <a:ea typeface="Roboto" panose="02000000000000000000" pitchFamily="2" charset="0"/>
                <a:cs typeface="Roboto" panose="02000000000000000000" pitchFamily="2" charset="0"/>
              </a:rPr>
              <a:t>www.yourcompanylogo.com</a:t>
            </a:r>
            <a:endParaRPr lang="en-US" sz="1000" dirty="0">
              <a:solidFill>
                <a:schemeClr val="bg1"/>
              </a:solidFill>
              <a:latin typeface="Calibri Light" panose="020F0302020204030204" pitchFamily="34" charset="0"/>
              <a:ea typeface="Roboto" panose="02000000000000000000" pitchFamily="2" charset="0"/>
              <a:cs typeface="Roboto" panose="02000000000000000000" pitchFamily="2" charset="0"/>
            </a:endParaRPr>
          </a:p>
        </p:txBody>
      </p:sp>
      <p:sp>
        <p:nvSpPr>
          <p:cNvPr id="93" name="Rectangle 92"/>
          <p:cNvSpPr/>
          <p:nvPr/>
        </p:nvSpPr>
        <p:spPr>
          <a:xfrm>
            <a:off x="11018886" y="6430516"/>
            <a:ext cx="946673" cy="1599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4"/>
          <p:cNvSpPr/>
          <p:nvPr/>
        </p:nvSpPr>
        <p:spPr bwMode="auto">
          <a:xfrm>
            <a:off x="2893878" y="4684868"/>
            <a:ext cx="851737" cy="326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ctr"/>
          <a:lstStyle/>
          <a:p>
            <a:pPr>
              <a:lnSpc>
                <a:spcPct val="65000"/>
              </a:lnSpc>
            </a:pPr>
            <a:r>
              <a:rPr lang="en-US" sz="1400" b="1" dirty="0">
                <a:solidFill>
                  <a:schemeClr val="tx1">
                    <a:lumMod val="85000"/>
                    <a:lumOff val="15000"/>
                  </a:schemeClr>
                </a:solidFill>
                <a:latin typeface="Playfair Display" panose="00000500000000000000" pitchFamily="2" charset="0"/>
                <a:ea typeface="MS PGothic" panose="020B0600070205080204" pitchFamily="-110" charset="-128"/>
                <a:cs typeface="Lato" panose="020F0502020204030203" pitchFamily="34" charset="0"/>
                <a:sym typeface="Bebas Neue" charset="0"/>
              </a:rPr>
              <a:t>253,120</a:t>
            </a:r>
            <a:endParaRPr lang="en-US" sz="1400" b="1" dirty="0">
              <a:solidFill>
                <a:schemeClr val="tx1">
                  <a:lumMod val="85000"/>
                  <a:lumOff val="15000"/>
                </a:schemeClr>
              </a:solidFill>
              <a:latin typeface="Playfair Display" panose="00000500000000000000" pitchFamily="2" charset="0"/>
              <a:ea typeface="MS PGothic" panose="020B0600070205080204" pitchFamily="-110" charset="-128"/>
              <a:cs typeface="Lato" panose="020F0502020204030203" pitchFamily="34" charset="0"/>
              <a:sym typeface="Bebas Neue" charset="0"/>
            </a:endParaRPr>
          </a:p>
        </p:txBody>
      </p:sp>
      <p:grpSp>
        <p:nvGrpSpPr>
          <p:cNvPr id="96" name="Group 95"/>
          <p:cNvGrpSpPr/>
          <p:nvPr/>
        </p:nvGrpSpPr>
        <p:grpSpPr>
          <a:xfrm>
            <a:off x="2053618" y="4525489"/>
            <a:ext cx="271137" cy="607684"/>
            <a:chOff x="3327401" y="4335463"/>
            <a:chExt cx="407988" cy="914400"/>
          </a:xfrm>
          <a:solidFill>
            <a:schemeClr val="tx1">
              <a:lumMod val="85000"/>
              <a:lumOff val="15000"/>
            </a:schemeClr>
          </a:solidFill>
        </p:grpSpPr>
        <p:sp>
          <p:nvSpPr>
            <p:cNvPr id="97" name="Freeform 58"/>
            <p:cNvSpPr/>
            <p:nvPr/>
          </p:nvSpPr>
          <p:spPr bwMode="auto">
            <a:xfrm>
              <a:off x="3455988" y="4335463"/>
              <a:ext cx="149225" cy="147638"/>
            </a:xfrm>
            <a:custGeom>
              <a:avLst/>
              <a:gdLst>
                <a:gd name="T0" fmla="*/ 283 w 283"/>
                <a:gd name="T1" fmla="*/ 144 h 278"/>
                <a:gd name="T2" fmla="*/ 280 w 283"/>
                <a:gd name="T3" fmla="*/ 111 h 278"/>
                <a:gd name="T4" fmla="*/ 270 w 283"/>
                <a:gd name="T5" fmla="*/ 80 h 278"/>
                <a:gd name="T6" fmla="*/ 251 w 283"/>
                <a:gd name="T7" fmla="*/ 52 h 278"/>
                <a:gd name="T8" fmla="*/ 227 w 283"/>
                <a:gd name="T9" fmla="*/ 29 h 278"/>
                <a:gd name="T10" fmla="*/ 197 w 283"/>
                <a:gd name="T11" fmla="*/ 12 h 278"/>
                <a:gd name="T12" fmla="*/ 165 w 283"/>
                <a:gd name="T13" fmla="*/ 1 h 278"/>
                <a:gd name="T14" fmla="*/ 132 w 283"/>
                <a:gd name="T15" fmla="*/ 0 h 278"/>
                <a:gd name="T16" fmla="*/ 97 w 283"/>
                <a:gd name="T17" fmla="*/ 6 h 278"/>
                <a:gd name="T18" fmla="*/ 66 w 283"/>
                <a:gd name="T19" fmla="*/ 24 h 278"/>
                <a:gd name="T20" fmla="*/ 39 w 283"/>
                <a:gd name="T21" fmla="*/ 46 h 278"/>
                <a:gd name="T22" fmla="*/ 19 w 283"/>
                <a:gd name="T23" fmla="*/ 76 h 278"/>
                <a:gd name="T24" fmla="*/ 6 w 283"/>
                <a:gd name="T25" fmla="*/ 108 h 278"/>
                <a:gd name="T26" fmla="*/ 0 w 283"/>
                <a:gd name="T27" fmla="*/ 142 h 278"/>
                <a:gd name="T28" fmla="*/ 4 w 283"/>
                <a:gd name="T29" fmla="*/ 177 h 278"/>
                <a:gd name="T30" fmla="*/ 14 w 283"/>
                <a:gd name="T31" fmla="*/ 201 h 278"/>
                <a:gd name="T32" fmla="*/ 23 w 283"/>
                <a:gd name="T33" fmla="*/ 217 h 278"/>
                <a:gd name="T34" fmla="*/ 35 w 283"/>
                <a:gd name="T35" fmla="*/ 233 h 278"/>
                <a:gd name="T36" fmla="*/ 50 w 283"/>
                <a:gd name="T37" fmla="*/ 248 h 278"/>
                <a:gd name="T38" fmla="*/ 67 w 283"/>
                <a:gd name="T39" fmla="*/ 260 h 278"/>
                <a:gd name="T40" fmla="*/ 86 w 283"/>
                <a:gd name="T41" fmla="*/ 268 h 278"/>
                <a:gd name="T42" fmla="*/ 105 w 283"/>
                <a:gd name="T43" fmla="*/ 274 h 278"/>
                <a:gd name="T44" fmla="*/ 125 w 283"/>
                <a:gd name="T45" fmla="*/ 278 h 278"/>
                <a:gd name="T46" fmla="*/ 157 w 283"/>
                <a:gd name="T47" fmla="*/ 278 h 278"/>
                <a:gd name="T48" fmla="*/ 187 w 283"/>
                <a:gd name="T49" fmla="*/ 272 h 278"/>
                <a:gd name="T50" fmla="*/ 207 w 283"/>
                <a:gd name="T51" fmla="*/ 265 h 278"/>
                <a:gd name="T52" fmla="*/ 224 w 283"/>
                <a:gd name="T53" fmla="*/ 256 h 278"/>
                <a:gd name="T54" fmla="*/ 240 w 283"/>
                <a:gd name="T55" fmla="*/ 244 h 278"/>
                <a:gd name="T56" fmla="*/ 255 w 283"/>
                <a:gd name="T57" fmla="*/ 229 h 278"/>
                <a:gd name="T58" fmla="*/ 266 w 283"/>
                <a:gd name="T59" fmla="*/ 213 h 278"/>
                <a:gd name="T60" fmla="*/ 275 w 283"/>
                <a:gd name="T61" fmla="*/ 194 h 278"/>
                <a:gd name="T62" fmla="*/ 280 w 283"/>
                <a:gd name="T63" fmla="*/ 17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3" h="278">
                  <a:moveTo>
                    <a:pt x="282" y="162"/>
                  </a:moveTo>
                  <a:lnTo>
                    <a:pt x="283" y="144"/>
                  </a:lnTo>
                  <a:lnTo>
                    <a:pt x="283" y="128"/>
                  </a:lnTo>
                  <a:lnTo>
                    <a:pt x="280" y="111"/>
                  </a:lnTo>
                  <a:lnTo>
                    <a:pt x="276" y="95"/>
                  </a:lnTo>
                  <a:lnTo>
                    <a:pt x="270" y="80"/>
                  </a:lnTo>
                  <a:lnTo>
                    <a:pt x="262" y="65"/>
                  </a:lnTo>
                  <a:lnTo>
                    <a:pt x="251" y="52"/>
                  </a:lnTo>
                  <a:lnTo>
                    <a:pt x="239" y="40"/>
                  </a:lnTo>
                  <a:lnTo>
                    <a:pt x="227" y="29"/>
                  </a:lnTo>
                  <a:lnTo>
                    <a:pt x="212" y="20"/>
                  </a:lnTo>
                  <a:lnTo>
                    <a:pt x="197" y="12"/>
                  </a:lnTo>
                  <a:lnTo>
                    <a:pt x="181" y="5"/>
                  </a:lnTo>
                  <a:lnTo>
                    <a:pt x="165" y="1"/>
                  </a:lnTo>
                  <a:lnTo>
                    <a:pt x="149" y="0"/>
                  </a:lnTo>
                  <a:lnTo>
                    <a:pt x="132" y="0"/>
                  </a:lnTo>
                  <a:lnTo>
                    <a:pt x="114" y="2"/>
                  </a:lnTo>
                  <a:lnTo>
                    <a:pt x="97" y="6"/>
                  </a:lnTo>
                  <a:lnTo>
                    <a:pt x="81" y="14"/>
                  </a:lnTo>
                  <a:lnTo>
                    <a:pt x="66" y="24"/>
                  </a:lnTo>
                  <a:lnTo>
                    <a:pt x="52" y="34"/>
                  </a:lnTo>
                  <a:lnTo>
                    <a:pt x="39" y="46"/>
                  </a:lnTo>
                  <a:lnTo>
                    <a:pt x="28" y="60"/>
                  </a:lnTo>
                  <a:lnTo>
                    <a:pt x="19" y="76"/>
                  </a:lnTo>
                  <a:lnTo>
                    <a:pt x="12" y="91"/>
                  </a:lnTo>
                  <a:lnTo>
                    <a:pt x="6" y="108"/>
                  </a:lnTo>
                  <a:lnTo>
                    <a:pt x="3" y="124"/>
                  </a:lnTo>
                  <a:lnTo>
                    <a:pt x="0" y="142"/>
                  </a:lnTo>
                  <a:lnTo>
                    <a:pt x="2" y="159"/>
                  </a:lnTo>
                  <a:lnTo>
                    <a:pt x="4" y="177"/>
                  </a:lnTo>
                  <a:lnTo>
                    <a:pt x="10" y="193"/>
                  </a:lnTo>
                  <a:lnTo>
                    <a:pt x="14" y="201"/>
                  </a:lnTo>
                  <a:lnTo>
                    <a:pt x="18" y="209"/>
                  </a:lnTo>
                  <a:lnTo>
                    <a:pt x="23" y="217"/>
                  </a:lnTo>
                  <a:lnTo>
                    <a:pt x="30" y="223"/>
                  </a:lnTo>
                  <a:lnTo>
                    <a:pt x="35" y="233"/>
                  </a:lnTo>
                  <a:lnTo>
                    <a:pt x="43" y="240"/>
                  </a:lnTo>
                  <a:lnTo>
                    <a:pt x="50" y="248"/>
                  </a:lnTo>
                  <a:lnTo>
                    <a:pt x="59" y="254"/>
                  </a:lnTo>
                  <a:lnTo>
                    <a:pt x="67" y="260"/>
                  </a:lnTo>
                  <a:lnTo>
                    <a:pt x="77" y="264"/>
                  </a:lnTo>
                  <a:lnTo>
                    <a:pt x="86" y="268"/>
                  </a:lnTo>
                  <a:lnTo>
                    <a:pt x="95" y="272"/>
                  </a:lnTo>
                  <a:lnTo>
                    <a:pt x="105" y="274"/>
                  </a:lnTo>
                  <a:lnTo>
                    <a:pt x="115" y="277"/>
                  </a:lnTo>
                  <a:lnTo>
                    <a:pt x="125" y="278"/>
                  </a:lnTo>
                  <a:lnTo>
                    <a:pt x="136" y="278"/>
                  </a:lnTo>
                  <a:lnTo>
                    <a:pt x="157" y="278"/>
                  </a:lnTo>
                  <a:lnTo>
                    <a:pt x="177" y="274"/>
                  </a:lnTo>
                  <a:lnTo>
                    <a:pt x="187" y="272"/>
                  </a:lnTo>
                  <a:lnTo>
                    <a:pt x="197" y="269"/>
                  </a:lnTo>
                  <a:lnTo>
                    <a:pt x="207" y="265"/>
                  </a:lnTo>
                  <a:lnTo>
                    <a:pt x="215" y="261"/>
                  </a:lnTo>
                  <a:lnTo>
                    <a:pt x="224" y="256"/>
                  </a:lnTo>
                  <a:lnTo>
                    <a:pt x="232" y="250"/>
                  </a:lnTo>
                  <a:lnTo>
                    <a:pt x="240" y="244"/>
                  </a:lnTo>
                  <a:lnTo>
                    <a:pt x="248" y="237"/>
                  </a:lnTo>
                  <a:lnTo>
                    <a:pt x="255" y="229"/>
                  </a:lnTo>
                  <a:lnTo>
                    <a:pt x="260" y="221"/>
                  </a:lnTo>
                  <a:lnTo>
                    <a:pt x="266" y="213"/>
                  </a:lnTo>
                  <a:lnTo>
                    <a:pt x="271" y="203"/>
                  </a:lnTo>
                  <a:lnTo>
                    <a:pt x="275" y="194"/>
                  </a:lnTo>
                  <a:lnTo>
                    <a:pt x="278" y="185"/>
                  </a:lnTo>
                  <a:lnTo>
                    <a:pt x="280" y="174"/>
                  </a:lnTo>
                  <a:lnTo>
                    <a:pt x="282" y="162"/>
                  </a:lnTo>
                  <a:close/>
                </a:path>
              </a:pathLst>
            </a:custGeom>
            <a:grpFill/>
            <a:ln w="9525">
              <a:noFill/>
              <a:round/>
            </a:ln>
          </p:spPr>
          <p:txBody>
            <a:bodyPr vert="horz" wrap="square" lIns="91440" tIns="45720" rIns="91440" bIns="45720" numCol="1" anchor="t" anchorCtr="0" compatLnSpc="1"/>
            <a:lstStyle/>
            <a:p>
              <a:endParaRPr lang="en-US"/>
            </a:p>
          </p:txBody>
        </p:sp>
        <p:sp>
          <p:nvSpPr>
            <p:cNvPr id="98" name="Freeform 59"/>
            <p:cNvSpPr/>
            <p:nvPr/>
          </p:nvSpPr>
          <p:spPr bwMode="auto">
            <a:xfrm>
              <a:off x="3327401" y="4506913"/>
              <a:ext cx="407988" cy="742950"/>
            </a:xfrm>
            <a:custGeom>
              <a:avLst/>
              <a:gdLst>
                <a:gd name="T0" fmla="*/ 690 w 770"/>
                <a:gd name="T1" fmla="*/ 245 h 1403"/>
                <a:gd name="T2" fmla="*/ 650 w 770"/>
                <a:gd name="T3" fmla="*/ 122 h 1403"/>
                <a:gd name="T4" fmla="*/ 616 w 770"/>
                <a:gd name="T5" fmla="*/ 60 h 1403"/>
                <a:gd name="T6" fmla="*/ 573 w 770"/>
                <a:gd name="T7" fmla="*/ 25 h 1403"/>
                <a:gd name="T8" fmla="*/ 521 w 770"/>
                <a:gd name="T9" fmla="*/ 6 h 1403"/>
                <a:gd name="T10" fmla="*/ 451 w 770"/>
                <a:gd name="T11" fmla="*/ 0 h 1403"/>
                <a:gd name="T12" fmla="*/ 323 w 770"/>
                <a:gd name="T13" fmla="*/ 0 h 1403"/>
                <a:gd name="T14" fmla="*/ 238 w 770"/>
                <a:gd name="T15" fmla="*/ 8 h 1403"/>
                <a:gd name="T16" fmla="*/ 178 w 770"/>
                <a:gd name="T17" fmla="*/ 36 h 1403"/>
                <a:gd name="T18" fmla="*/ 135 w 770"/>
                <a:gd name="T19" fmla="*/ 88 h 1403"/>
                <a:gd name="T20" fmla="*/ 95 w 770"/>
                <a:gd name="T21" fmla="*/ 197 h 1403"/>
                <a:gd name="T22" fmla="*/ 59 w 770"/>
                <a:gd name="T23" fmla="*/ 325 h 1403"/>
                <a:gd name="T24" fmla="*/ 20 w 770"/>
                <a:gd name="T25" fmla="*/ 457 h 1403"/>
                <a:gd name="T26" fmla="*/ 1 w 770"/>
                <a:gd name="T27" fmla="*/ 568 h 1403"/>
                <a:gd name="T28" fmla="*/ 24 w 770"/>
                <a:gd name="T29" fmla="*/ 596 h 1403"/>
                <a:gd name="T30" fmla="*/ 60 w 770"/>
                <a:gd name="T31" fmla="*/ 603 h 1403"/>
                <a:gd name="T32" fmla="*/ 95 w 770"/>
                <a:gd name="T33" fmla="*/ 590 h 1403"/>
                <a:gd name="T34" fmla="*/ 124 w 770"/>
                <a:gd name="T35" fmla="*/ 521 h 1403"/>
                <a:gd name="T36" fmla="*/ 175 w 770"/>
                <a:gd name="T37" fmla="*/ 342 h 1403"/>
                <a:gd name="T38" fmla="*/ 229 w 770"/>
                <a:gd name="T39" fmla="*/ 199 h 1403"/>
                <a:gd name="T40" fmla="*/ 181 w 770"/>
                <a:gd name="T41" fmla="*/ 437 h 1403"/>
                <a:gd name="T42" fmla="*/ 96 w 770"/>
                <a:gd name="T43" fmla="*/ 765 h 1403"/>
                <a:gd name="T44" fmla="*/ 202 w 770"/>
                <a:gd name="T45" fmla="*/ 848 h 1403"/>
                <a:gd name="T46" fmla="*/ 244 w 770"/>
                <a:gd name="T47" fmla="*/ 1035 h 1403"/>
                <a:gd name="T48" fmla="*/ 244 w 770"/>
                <a:gd name="T49" fmla="*/ 1284 h 1403"/>
                <a:gd name="T50" fmla="*/ 258 w 770"/>
                <a:gd name="T51" fmla="*/ 1379 h 1403"/>
                <a:gd name="T52" fmla="*/ 297 w 770"/>
                <a:gd name="T53" fmla="*/ 1401 h 1403"/>
                <a:gd name="T54" fmla="*/ 340 w 770"/>
                <a:gd name="T55" fmla="*/ 1394 h 1403"/>
                <a:gd name="T56" fmla="*/ 368 w 770"/>
                <a:gd name="T57" fmla="*/ 1359 h 1403"/>
                <a:gd name="T58" fmla="*/ 372 w 770"/>
                <a:gd name="T59" fmla="*/ 1159 h 1403"/>
                <a:gd name="T60" fmla="*/ 372 w 770"/>
                <a:gd name="T61" fmla="*/ 910 h 1403"/>
                <a:gd name="T62" fmla="*/ 412 w 770"/>
                <a:gd name="T63" fmla="*/ 907 h 1403"/>
                <a:gd name="T64" fmla="*/ 412 w 770"/>
                <a:gd name="T65" fmla="*/ 1149 h 1403"/>
                <a:gd name="T66" fmla="*/ 412 w 770"/>
                <a:gd name="T67" fmla="*/ 1336 h 1403"/>
                <a:gd name="T68" fmla="*/ 418 w 770"/>
                <a:gd name="T69" fmla="*/ 1363 h 1403"/>
                <a:gd name="T70" fmla="*/ 433 w 770"/>
                <a:gd name="T71" fmla="*/ 1386 h 1403"/>
                <a:gd name="T72" fmla="*/ 457 w 770"/>
                <a:gd name="T73" fmla="*/ 1401 h 1403"/>
                <a:gd name="T74" fmla="*/ 485 w 770"/>
                <a:gd name="T75" fmla="*/ 1403 h 1403"/>
                <a:gd name="T76" fmla="*/ 510 w 770"/>
                <a:gd name="T77" fmla="*/ 1393 h 1403"/>
                <a:gd name="T78" fmla="*/ 532 w 770"/>
                <a:gd name="T79" fmla="*/ 1367 h 1403"/>
                <a:gd name="T80" fmla="*/ 541 w 770"/>
                <a:gd name="T81" fmla="*/ 1267 h 1403"/>
                <a:gd name="T82" fmla="*/ 541 w 770"/>
                <a:gd name="T83" fmla="*/ 1028 h 1403"/>
                <a:gd name="T84" fmla="*/ 584 w 770"/>
                <a:gd name="T85" fmla="*/ 848 h 1403"/>
                <a:gd name="T86" fmla="*/ 686 w 770"/>
                <a:gd name="T87" fmla="*/ 764 h 1403"/>
                <a:gd name="T88" fmla="*/ 588 w 770"/>
                <a:gd name="T89" fmla="*/ 430 h 1403"/>
                <a:gd name="T90" fmla="*/ 532 w 770"/>
                <a:gd name="T91" fmla="*/ 189 h 1403"/>
                <a:gd name="T92" fmla="*/ 553 w 770"/>
                <a:gd name="T93" fmla="*/ 216 h 1403"/>
                <a:gd name="T94" fmla="*/ 596 w 770"/>
                <a:gd name="T95" fmla="*/ 352 h 1403"/>
                <a:gd name="T96" fmla="*/ 650 w 770"/>
                <a:gd name="T97" fmla="*/ 523 h 1403"/>
                <a:gd name="T98" fmla="*/ 678 w 770"/>
                <a:gd name="T99" fmla="*/ 584 h 1403"/>
                <a:gd name="T100" fmla="*/ 701 w 770"/>
                <a:gd name="T101" fmla="*/ 599 h 1403"/>
                <a:gd name="T102" fmla="*/ 752 w 770"/>
                <a:gd name="T103" fmla="*/ 599 h 1403"/>
                <a:gd name="T104" fmla="*/ 770 w 770"/>
                <a:gd name="T105" fmla="*/ 548 h 1403"/>
                <a:gd name="T106" fmla="*/ 762 w 770"/>
                <a:gd name="T107" fmla="*/ 486 h 1403"/>
                <a:gd name="T108" fmla="*/ 730 w 770"/>
                <a:gd name="T109" fmla="*/ 382 h 1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70" h="1403">
                  <a:moveTo>
                    <a:pt x="722" y="352"/>
                  </a:moveTo>
                  <a:lnTo>
                    <a:pt x="710" y="316"/>
                  </a:lnTo>
                  <a:lnTo>
                    <a:pt x="699" y="281"/>
                  </a:lnTo>
                  <a:lnTo>
                    <a:pt x="690" y="245"/>
                  </a:lnTo>
                  <a:lnTo>
                    <a:pt x="679" y="209"/>
                  </a:lnTo>
                  <a:lnTo>
                    <a:pt x="669" y="174"/>
                  </a:lnTo>
                  <a:lnTo>
                    <a:pt x="656" y="139"/>
                  </a:lnTo>
                  <a:lnTo>
                    <a:pt x="650" y="122"/>
                  </a:lnTo>
                  <a:lnTo>
                    <a:pt x="642" y="104"/>
                  </a:lnTo>
                  <a:lnTo>
                    <a:pt x="634" y="88"/>
                  </a:lnTo>
                  <a:lnTo>
                    <a:pt x="624" y="72"/>
                  </a:lnTo>
                  <a:lnTo>
                    <a:pt x="616" y="60"/>
                  </a:lnTo>
                  <a:lnTo>
                    <a:pt x="607" y="49"/>
                  </a:lnTo>
                  <a:lnTo>
                    <a:pt x="596" y="40"/>
                  </a:lnTo>
                  <a:lnTo>
                    <a:pt x="585" y="32"/>
                  </a:lnTo>
                  <a:lnTo>
                    <a:pt x="573" y="25"/>
                  </a:lnTo>
                  <a:lnTo>
                    <a:pt x="561" y="18"/>
                  </a:lnTo>
                  <a:lnTo>
                    <a:pt x="548" y="13"/>
                  </a:lnTo>
                  <a:lnTo>
                    <a:pt x="536" y="9"/>
                  </a:lnTo>
                  <a:lnTo>
                    <a:pt x="521" y="6"/>
                  </a:lnTo>
                  <a:lnTo>
                    <a:pt x="508" y="4"/>
                  </a:lnTo>
                  <a:lnTo>
                    <a:pt x="494" y="1"/>
                  </a:lnTo>
                  <a:lnTo>
                    <a:pt x="479" y="1"/>
                  </a:lnTo>
                  <a:lnTo>
                    <a:pt x="451" y="0"/>
                  </a:lnTo>
                  <a:lnTo>
                    <a:pt x="425" y="1"/>
                  </a:lnTo>
                  <a:lnTo>
                    <a:pt x="391" y="1"/>
                  </a:lnTo>
                  <a:lnTo>
                    <a:pt x="356" y="1"/>
                  </a:lnTo>
                  <a:lnTo>
                    <a:pt x="323" y="0"/>
                  </a:lnTo>
                  <a:lnTo>
                    <a:pt x="288" y="1"/>
                  </a:lnTo>
                  <a:lnTo>
                    <a:pt x="270" y="2"/>
                  </a:lnTo>
                  <a:lnTo>
                    <a:pt x="254" y="5"/>
                  </a:lnTo>
                  <a:lnTo>
                    <a:pt x="238" y="8"/>
                  </a:lnTo>
                  <a:lnTo>
                    <a:pt x="222" y="12"/>
                  </a:lnTo>
                  <a:lnTo>
                    <a:pt x="206" y="18"/>
                  </a:lnTo>
                  <a:lnTo>
                    <a:pt x="191" y="26"/>
                  </a:lnTo>
                  <a:lnTo>
                    <a:pt x="178" y="36"/>
                  </a:lnTo>
                  <a:lnTo>
                    <a:pt x="164" y="47"/>
                  </a:lnTo>
                  <a:lnTo>
                    <a:pt x="154" y="60"/>
                  </a:lnTo>
                  <a:lnTo>
                    <a:pt x="144" y="73"/>
                  </a:lnTo>
                  <a:lnTo>
                    <a:pt x="135" y="88"/>
                  </a:lnTo>
                  <a:lnTo>
                    <a:pt x="128" y="103"/>
                  </a:lnTo>
                  <a:lnTo>
                    <a:pt x="115" y="132"/>
                  </a:lnTo>
                  <a:lnTo>
                    <a:pt x="104" y="165"/>
                  </a:lnTo>
                  <a:lnTo>
                    <a:pt x="95" y="197"/>
                  </a:lnTo>
                  <a:lnTo>
                    <a:pt x="87" y="229"/>
                  </a:lnTo>
                  <a:lnTo>
                    <a:pt x="77" y="261"/>
                  </a:lnTo>
                  <a:lnTo>
                    <a:pt x="68" y="293"/>
                  </a:lnTo>
                  <a:lnTo>
                    <a:pt x="59" y="325"/>
                  </a:lnTo>
                  <a:lnTo>
                    <a:pt x="49" y="359"/>
                  </a:lnTo>
                  <a:lnTo>
                    <a:pt x="38" y="391"/>
                  </a:lnTo>
                  <a:lnTo>
                    <a:pt x="29" y="425"/>
                  </a:lnTo>
                  <a:lnTo>
                    <a:pt x="20" y="457"/>
                  </a:lnTo>
                  <a:lnTo>
                    <a:pt x="10" y="490"/>
                  </a:lnTo>
                  <a:lnTo>
                    <a:pt x="4" y="524"/>
                  </a:lnTo>
                  <a:lnTo>
                    <a:pt x="0" y="557"/>
                  </a:lnTo>
                  <a:lnTo>
                    <a:pt x="1" y="568"/>
                  </a:lnTo>
                  <a:lnTo>
                    <a:pt x="5" y="576"/>
                  </a:lnTo>
                  <a:lnTo>
                    <a:pt x="9" y="584"/>
                  </a:lnTo>
                  <a:lnTo>
                    <a:pt x="16" y="591"/>
                  </a:lnTo>
                  <a:lnTo>
                    <a:pt x="24" y="596"/>
                  </a:lnTo>
                  <a:lnTo>
                    <a:pt x="32" y="600"/>
                  </a:lnTo>
                  <a:lnTo>
                    <a:pt x="41" y="603"/>
                  </a:lnTo>
                  <a:lnTo>
                    <a:pt x="50" y="604"/>
                  </a:lnTo>
                  <a:lnTo>
                    <a:pt x="60" y="603"/>
                  </a:lnTo>
                  <a:lnTo>
                    <a:pt x="69" y="602"/>
                  </a:lnTo>
                  <a:lnTo>
                    <a:pt x="79" y="599"/>
                  </a:lnTo>
                  <a:lnTo>
                    <a:pt x="87" y="595"/>
                  </a:lnTo>
                  <a:lnTo>
                    <a:pt x="95" y="590"/>
                  </a:lnTo>
                  <a:lnTo>
                    <a:pt x="101" y="583"/>
                  </a:lnTo>
                  <a:lnTo>
                    <a:pt x="107" y="575"/>
                  </a:lnTo>
                  <a:lnTo>
                    <a:pt x="109" y="565"/>
                  </a:lnTo>
                  <a:lnTo>
                    <a:pt x="124" y="521"/>
                  </a:lnTo>
                  <a:lnTo>
                    <a:pt x="138" y="477"/>
                  </a:lnTo>
                  <a:lnTo>
                    <a:pt x="151" y="431"/>
                  </a:lnTo>
                  <a:lnTo>
                    <a:pt x="163" y="387"/>
                  </a:lnTo>
                  <a:lnTo>
                    <a:pt x="175" y="342"/>
                  </a:lnTo>
                  <a:lnTo>
                    <a:pt x="189" y="296"/>
                  </a:lnTo>
                  <a:lnTo>
                    <a:pt x="202" y="252"/>
                  </a:lnTo>
                  <a:lnTo>
                    <a:pt x="217" y="207"/>
                  </a:lnTo>
                  <a:lnTo>
                    <a:pt x="229" y="199"/>
                  </a:lnTo>
                  <a:lnTo>
                    <a:pt x="242" y="190"/>
                  </a:lnTo>
                  <a:lnTo>
                    <a:pt x="222" y="273"/>
                  </a:lnTo>
                  <a:lnTo>
                    <a:pt x="202" y="355"/>
                  </a:lnTo>
                  <a:lnTo>
                    <a:pt x="181" y="437"/>
                  </a:lnTo>
                  <a:lnTo>
                    <a:pt x="159" y="519"/>
                  </a:lnTo>
                  <a:lnTo>
                    <a:pt x="138" y="600"/>
                  </a:lnTo>
                  <a:lnTo>
                    <a:pt x="118" y="683"/>
                  </a:lnTo>
                  <a:lnTo>
                    <a:pt x="96" y="765"/>
                  </a:lnTo>
                  <a:lnTo>
                    <a:pt x="76" y="847"/>
                  </a:lnTo>
                  <a:lnTo>
                    <a:pt x="118" y="848"/>
                  </a:lnTo>
                  <a:lnTo>
                    <a:pt x="159" y="848"/>
                  </a:lnTo>
                  <a:lnTo>
                    <a:pt x="202" y="848"/>
                  </a:lnTo>
                  <a:lnTo>
                    <a:pt x="244" y="848"/>
                  </a:lnTo>
                  <a:lnTo>
                    <a:pt x="244" y="910"/>
                  </a:lnTo>
                  <a:lnTo>
                    <a:pt x="244" y="973"/>
                  </a:lnTo>
                  <a:lnTo>
                    <a:pt x="244" y="1035"/>
                  </a:lnTo>
                  <a:lnTo>
                    <a:pt x="244" y="1098"/>
                  </a:lnTo>
                  <a:lnTo>
                    <a:pt x="244" y="1159"/>
                  </a:lnTo>
                  <a:lnTo>
                    <a:pt x="244" y="1221"/>
                  </a:lnTo>
                  <a:lnTo>
                    <a:pt x="244" y="1284"/>
                  </a:lnTo>
                  <a:lnTo>
                    <a:pt x="245" y="1346"/>
                  </a:lnTo>
                  <a:lnTo>
                    <a:pt x="248" y="1359"/>
                  </a:lnTo>
                  <a:lnTo>
                    <a:pt x="252" y="1370"/>
                  </a:lnTo>
                  <a:lnTo>
                    <a:pt x="258" y="1379"/>
                  </a:lnTo>
                  <a:lnTo>
                    <a:pt x="266" y="1387"/>
                  </a:lnTo>
                  <a:lnTo>
                    <a:pt x="276" y="1394"/>
                  </a:lnTo>
                  <a:lnTo>
                    <a:pt x="286" y="1398"/>
                  </a:lnTo>
                  <a:lnTo>
                    <a:pt x="297" y="1401"/>
                  </a:lnTo>
                  <a:lnTo>
                    <a:pt x="308" y="1402"/>
                  </a:lnTo>
                  <a:lnTo>
                    <a:pt x="319" y="1401"/>
                  </a:lnTo>
                  <a:lnTo>
                    <a:pt x="329" y="1398"/>
                  </a:lnTo>
                  <a:lnTo>
                    <a:pt x="340" y="1394"/>
                  </a:lnTo>
                  <a:lnTo>
                    <a:pt x="349" y="1389"/>
                  </a:lnTo>
                  <a:lnTo>
                    <a:pt x="357" y="1381"/>
                  </a:lnTo>
                  <a:lnTo>
                    <a:pt x="363" y="1371"/>
                  </a:lnTo>
                  <a:lnTo>
                    <a:pt x="368" y="1359"/>
                  </a:lnTo>
                  <a:lnTo>
                    <a:pt x="370" y="1347"/>
                  </a:lnTo>
                  <a:lnTo>
                    <a:pt x="372" y="1284"/>
                  </a:lnTo>
                  <a:lnTo>
                    <a:pt x="372" y="1222"/>
                  </a:lnTo>
                  <a:lnTo>
                    <a:pt x="372" y="1159"/>
                  </a:lnTo>
                  <a:lnTo>
                    <a:pt x="372" y="1098"/>
                  </a:lnTo>
                  <a:lnTo>
                    <a:pt x="372" y="1035"/>
                  </a:lnTo>
                  <a:lnTo>
                    <a:pt x="372" y="973"/>
                  </a:lnTo>
                  <a:lnTo>
                    <a:pt x="372" y="910"/>
                  </a:lnTo>
                  <a:lnTo>
                    <a:pt x="372" y="848"/>
                  </a:lnTo>
                  <a:lnTo>
                    <a:pt x="392" y="847"/>
                  </a:lnTo>
                  <a:lnTo>
                    <a:pt x="411" y="847"/>
                  </a:lnTo>
                  <a:lnTo>
                    <a:pt x="412" y="907"/>
                  </a:lnTo>
                  <a:lnTo>
                    <a:pt x="412" y="968"/>
                  </a:lnTo>
                  <a:lnTo>
                    <a:pt x="412" y="1028"/>
                  </a:lnTo>
                  <a:lnTo>
                    <a:pt x="412" y="1088"/>
                  </a:lnTo>
                  <a:lnTo>
                    <a:pt x="412" y="1149"/>
                  </a:lnTo>
                  <a:lnTo>
                    <a:pt x="412" y="1209"/>
                  </a:lnTo>
                  <a:lnTo>
                    <a:pt x="412" y="1269"/>
                  </a:lnTo>
                  <a:lnTo>
                    <a:pt x="412" y="1330"/>
                  </a:lnTo>
                  <a:lnTo>
                    <a:pt x="412" y="1336"/>
                  </a:lnTo>
                  <a:lnTo>
                    <a:pt x="412" y="1343"/>
                  </a:lnTo>
                  <a:lnTo>
                    <a:pt x="414" y="1350"/>
                  </a:lnTo>
                  <a:lnTo>
                    <a:pt x="415" y="1357"/>
                  </a:lnTo>
                  <a:lnTo>
                    <a:pt x="418" y="1363"/>
                  </a:lnTo>
                  <a:lnTo>
                    <a:pt x="420" y="1370"/>
                  </a:lnTo>
                  <a:lnTo>
                    <a:pt x="425" y="1375"/>
                  </a:lnTo>
                  <a:lnTo>
                    <a:pt x="429" y="1381"/>
                  </a:lnTo>
                  <a:lnTo>
                    <a:pt x="433" y="1386"/>
                  </a:lnTo>
                  <a:lnTo>
                    <a:pt x="438" y="1391"/>
                  </a:lnTo>
                  <a:lnTo>
                    <a:pt x="443" y="1394"/>
                  </a:lnTo>
                  <a:lnTo>
                    <a:pt x="450" y="1398"/>
                  </a:lnTo>
                  <a:lnTo>
                    <a:pt x="457" y="1401"/>
                  </a:lnTo>
                  <a:lnTo>
                    <a:pt x="463" y="1402"/>
                  </a:lnTo>
                  <a:lnTo>
                    <a:pt x="470" y="1403"/>
                  </a:lnTo>
                  <a:lnTo>
                    <a:pt x="477" y="1403"/>
                  </a:lnTo>
                  <a:lnTo>
                    <a:pt x="485" y="1403"/>
                  </a:lnTo>
                  <a:lnTo>
                    <a:pt x="492" y="1402"/>
                  </a:lnTo>
                  <a:lnTo>
                    <a:pt x="498" y="1399"/>
                  </a:lnTo>
                  <a:lnTo>
                    <a:pt x="504" y="1397"/>
                  </a:lnTo>
                  <a:lnTo>
                    <a:pt x="510" y="1393"/>
                  </a:lnTo>
                  <a:lnTo>
                    <a:pt x="516" y="1389"/>
                  </a:lnTo>
                  <a:lnTo>
                    <a:pt x="520" y="1385"/>
                  </a:lnTo>
                  <a:lnTo>
                    <a:pt x="524" y="1379"/>
                  </a:lnTo>
                  <a:lnTo>
                    <a:pt x="532" y="1367"/>
                  </a:lnTo>
                  <a:lnTo>
                    <a:pt x="537" y="1354"/>
                  </a:lnTo>
                  <a:lnTo>
                    <a:pt x="540" y="1340"/>
                  </a:lnTo>
                  <a:lnTo>
                    <a:pt x="540" y="1327"/>
                  </a:lnTo>
                  <a:lnTo>
                    <a:pt x="541" y="1267"/>
                  </a:lnTo>
                  <a:lnTo>
                    <a:pt x="542" y="1208"/>
                  </a:lnTo>
                  <a:lnTo>
                    <a:pt x="542" y="1147"/>
                  </a:lnTo>
                  <a:lnTo>
                    <a:pt x="541" y="1087"/>
                  </a:lnTo>
                  <a:lnTo>
                    <a:pt x="541" y="1028"/>
                  </a:lnTo>
                  <a:lnTo>
                    <a:pt x="541" y="968"/>
                  </a:lnTo>
                  <a:lnTo>
                    <a:pt x="541" y="907"/>
                  </a:lnTo>
                  <a:lnTo>
                    <a:pt x="542" y="848"/>
                  </a:lnTo>
                  <a:lnTo>
                    <a:pt x="584" y="848"/>
                  </a:lnTo>
                  <a:lnTo>
                    <a:pt x="626" y="848"/>
                  </a:lnTo>
                  <a:lnTo>
                    <a:pt x="667" y="848"/>
                  </a:lnTo>
                  <a:lnTo>
                    <a:pt x="709" y="848"/>
                  </a:lnTo>
                  <a:lnTo>
                    <a:pt x="686" y="764"/>
                  </a:lnTo>
                  <a:lnTo>
                    <a:pt x="662" y="681"/>
                  </a:lnTo>
                  <a:lnTo>
                    <a:pt x="636" y="598"/>
                  </a:lnTo>
                  <a:lnTo>
                    <a:pt x="612" y="515"/>
                  </a:lnTo>
                  <a:lnTo>
                    <a:pt x="588" y="430"/>
                  </a:lnTo>
                  <a:lnTo>
                    <a:pt x="564" y="347"/>
                  </a:lnTo>
                  <a:lnTo>
                    <a:pt x="541" y="264"/>
                  </a:lnTo>
                  <a:lnTo>
                    <a:pt x="521" y="179"/>
                  </a:lnTo>
                  <a:lnTo>
                    <a:pt x="532" y="189"/>
                  </a:lnTo>
                  <a:lnTo>
                    <a:pt x="542" y="198"/>
                  </a:lnTo>
                  <a:lnTo>
                    <a:pt x="547" y="203"/>
                  </a:lnTo>
                  <a:lnTo>
                    <a:pt x="551" y="210"/>
                  </a:lnTo>
                  <a:lnTo>
                    <a:pt x="553" y="216"/>
                  </a:lnTo>
                  <a:lnTo>
                    <a:pt x="556" y="224"/>
                  </a:lnTo>
                  <a:lnTo>
                    <a:pt x="571" y="265"/>
                  </a:lnTo>
                  <a:lnTo>
                    <a:pt x="584" y="308"/>
                  </a:lnTo>
                  <a:lnTo>
                    <a:pt x="596" y="352"/>
                  </a:lnTo>
                  <a:lnTo>
                    <a:pt x="610" y="395"/>
                  </a:lnTo>
                  <a:lnTo>
                    <a:pt x="623" y="438"/>
                  </a:lnTo>
                  <a:lnTo>
                    <a:pt x="636" y="481"/>
                  </a:lnTo>
                  <a:lnTo>
                    <a:pt x="650" y="523"/>
                  </a:lnTo>
                  <a:lnTo>
                    <a:pt x="664" y="565"/>
                  </a:lnTo>
                  <a:lnTo>
                    <a:pt x="669" y="572"/>
                  </a:lnTo>
                  <a:lnTo>
                    <a:pt x="673" y="579"/>
                  </a:lnTo>
                  <a:lnTo>
                    <a:pt x="678" y="584"/>
                  </a:lnTo>
                  <a:lnTo>
                    <a:pt x="683" y="590"/>
                  </a:lnTo>
                  <a:lnTo>
                    <a:pt x="689" y="592"/>
                  </a:lnTo>
                  <a:lnTo>
                    <a:pt x="695" y="596"/>
                  </a:lnTo>
                  <a:lnTo>
                    <a:pt x="701" y="599"/>
                  </a:lnTo>
                  <a:lnTo>
                    <a:pt x="709" y="600"/>
                  </a:lnTo>
                  <a:lnTo>
                    <a:pt x="722" y="602"/>
                  </a:lnTo>
                  <a:lnTo>
                    <a:pt x="737" y="602"/>
                  </a:lnTo>
                  <a:lnTo>
                    <a:pt x="752" y="599"/>
                  </a:lnTo>
                  <a:lnTo>
                    <a:pt x="765" y="595"/>
                  </a:lnTo>
                  <a:lnTo>
                    <a:pt x="769" y="579"/>
                  </a:lnTo>
                  <a:lnTo>
                    <a:pt x="770" y="564"/>
                  </a:lnTo>
                  <a:lnTo>
                    <a:pt x="770" y="548"/>
                  </a:lnTo>
                  <a:lnTo>
                    <a:pt x="769" y="533"/>
                  </a:lnTo>
                  <a:lnTo>
                    <a:pt x="768" y="517"/>
                  </a:lnTo>
                  <a:lnTo>
                    <a:pt x="765" y="502"/>
                  </a:lnTo>
                  <a:lnTo>
                    <a:pt x="762" y="486"/>
                  </a:lnTo>
                  <a:lnTo>
                    <a:pt x="758" y="472"/>
                  </a:lnTo>
                  <a:lnTo>
                    <a:pt x="749" y="442"/>
                  </a:lnTo>
                  <a:lnTo>
                    <a:pt x="740" y="411"/>
                  </a:lnTo>
                  <a:lnTo>
                    <a:pt x="730" y="382"/>
                  </a:lnTo>
                  <a:lnTo>
                    <a:pt x="722" y="352"/>
                  </a:lnTo>
                  <a:close/>
                </a:path>
              </a:pathLst>
            </a:custGeom>
            <a:grpFill/>
            <a:ln w="9525">
              <a:noFill/>
              <a:round/>
            </a:ln>
          </p:spPr>
          <p:txBody>
            <a:bodyPr vert="horz" wrap="square" lIns="91440" tIns="45720" rIns="91440" bIns="45720" numCol="1" anchor="t" anchorCtr="0" compatLnSpc="1"/>
            <a:lstStyle/>
            <a:p>
              <a:endParaRPr lang="en-US"/>
            </a:p>
          </p:txBody>
        </p:sp>
      </p:grpSp>
      <p:grpSp>
        <p:nvGrpSpPr>
          <p:cNvPr id="99" name="Group 98"/>
          <p:cNvGrpSpPr/>
          <p:nvPr/>
        </p:nvGrpSpPr>
        <p:grpSpPr>
          <a:xfrm>
            <a:off x="2049364" y="2635121"/>
            <a:ext cx="231047" cy="591857"/>
            <a:chOff x="3647164" y="2464482"/>
            <a:chExt cx="231047" cy="591857"/>
          </a:xfrm>
          <a:solidFill>
            <a:schemeClr val="tx1">
              <a:lumMod val="85000"/>
              <a:lumOff val="15000"/>
            </a:schemeClr>
          </a:solidFill>
        </p:grpSpPr>
        <p:sp>
          <p:nvSpPr>
            <p:cNvPr id="100" name="Freeform 56"/>
            <p:cNvSpPr/>
            <p:nvPr/>
          </p:nvSpPr>
          <p:spPr bwMode="auto">
            <a:xfrm>
              <a:off x="3716795" y="2464482"/>
              <a:ext cx="96006" cy="96006"/>
            </a:xfrm>
            <a:custGeom>
              <a:avLst/>
              <a:gdLst>
                <a:gd name="T0" fmla="*/ 262 w 273"/>
                <a:gd name="T1" fmla="*/ 182 h 271"/>
                <a:gd name="T2" fmla="*/ 266 w 273"/>
                <a:gd name="T3" fmla="*/ 173 h 271"/>
                <a:gd name="T4" fmla="*/ 269 w 273"/>
                <a:gd name="T5" fmla="*/ 165 h 271"/>
                <a:gd name="T6" fmla="*/ 272 w 273"/>
                <a:gd name="T7" fmla="*/ 155 h 271"/>
                <a:gd name="T8" fmla="*/ 273 w 273"/>
                <a:gd name="T9" fmla="*/ 146 h 271"/>
                <a:gd name="T10" fmla="*/ 273 w 273"/>
                <a:gd name="T11" fmla="*/ 137 h 271"/>
                <a:gd name="T12" fmla="*/ 273 w 273"/>
                <a:gd name="T13" fmla="*/ 127 h 271"/>
                <a:gd name="T14" fmla="*/ 272 w 273"/>
                <a:gd name="T15" fmla="*/ 119 h 271"/>
                <a:gd name="T16" fmla="*/ 270 w 273"/>
                <a:gd name="T17" fmla="*/ 110 h 271"/>
                <a:gd name="T18" fmla="*/ 265 w 273"/>
                <a:gd name="T19" fmla="*/ 92 h 271"/>
                <a:gd name="T20" fmla="*/ 257 w 273"/>
                <a:gd name="T21" fmla="*/ 76 h 271"/>
                <a:gd name="T22" fmla="*/ 246 w 273"/>
                <a:gd name="T23" fmla="*/ 60 h 271"/>
                <a:gd name="T24" fmla="*/ 236 w 273"/>
                <a:gd name="T25" fmla="*/ 45 h 271"/>
                <a:gd name="T26" fmla="*/ 222 w 273"/>
                <a:gd name="T27" fmla="*/ 33 h 271"/>
                <a:gd name="T28" fmla="*/ 207 w 273"/>
                <a:gd name="T29" fmla="*/ 23 h 271"/>
                <a:gd name="T30" fmla="*/ 191 w 273"/>
                <a:gd name="T31" fmla="*/ 13 h 271"/>
                <a:gd name="T32" fmla="*/ 174 w 273"/>
                <a:gd name="T33" fmla="*/ 6 h 271"/>
                <a:gd name="T34" fmla="*/ 165 w 273"/>
                <a:gd name="T35" fmla="*/ 4 h 271"/>
                <a:gd name="T36" fmla="*/ 157 w 273"/>
                <a:gd name="T37" fmla="*/ 1 h 271"/>
                <a:gd name="T38" fmla="*/ 147 w 273"/>
                <a:gd name="T39" fmla="*/ 0 h 271"/>
                <a:gd name="T40" fmla="*/ 138 w 273"/>
                <a:gd name="T41" fmla="*/ 0 h 271"/>
                <a:gd name="T42" fmla="*/ 128 w 273"/>
                <a:gd name="T43" fmla="*/ 0 h 271"/>
                <a:gd name="T44" fmla="*/ 119 w 273"/>
                <a:gd name="T45" fmla="*/ 1 h 271"/>
                <a:gd name="T46" fmla="*/ 110 w 273"/>
                <a:gd name="T47" fmla="*/ 2 h 271"/>
                <a:gd name="T48" fmla="*/ 100 w 273"/>
                <a:gd name="T49" fmla="*/ 5 h 271"/>
                <a:gd name="T50" fmla="*/ 92 w 273"/>
                <a:gd name="T51" fmla="*/ 6 h 271"/>
                <a:gd name="T52" fmla="*/ 84 w 273"/>
                <a:gd name="T53" fmla="*/ 9 h 271"/>
                <a:gd name="T54" fmla="*/ 76 w 273"/>
                <a:gd name="T55" fmla="*/ 13 h 271"/>
                <a:gd name="T56" fmla="*/ 68 w 273"/>
                <a:gd name="T57" fmla="*/ 17 h 271"/>
                <a:gd name="T58" fmla="*/ 53 w 273"/>
                <a:gd name="T59" fmla="*/ 27 h 271"/>
                <a:gd name="T60" fmla="*/ 41 w 273"/>
                <a:gd name="T61" fmla="*/ 37 h 271"/>
                <a:gd name="T62" fmla="*/ 29 w 273"/>
                <a:gd name="T63" fmla="*/ 49 h 271"/>
                <a:gd name="T64" fmla="*/ 20 w 273"/>
                <a:gd name="T65" fmla="*/ 64 h 271"/>
                <a:gd name="T66" fmla="*/ 12 w 273"/>
                <a:gd name="T67" fmla="*/ 79 h 271"/>
                <a:gd name="T68" fmla="*/ 6 w 273"/>
                <a:gd name="T69" fmla="*/ 95 h 271"/>
                <a:gd name="T70" fmla="*/ 2 w 273"/>
                <a:gd name="T71" fmla="*/ 112 h 271"/>
                <a:gd name="T72" fmla="*/ 0 w 273"/>
                <a:gd name="T73" fmla="*/ 129 h 271"/>
                <a:gd name="T74" fmla="*/ 0 w 273"/>
                <a:gd name="T75" fmla="*/ 146 h 271"/>
                <a:gd name="T76" fmla="*/ 2 w 273"/>
                <a:gd name="T77" fmla="*/ 163 h 271"/>
                <a:gd name="T78" fmla="*/ 6 w 273"/>
                <a:gd name="T79" fmla="*/ 179 h 271"/>
                <a:gd name="T80" fmla="*/ 12 w 273"/>
                <a:gd name="T81" fmla="*/ 196 h 271"/>
                <a:gd name="T82" fmla="*/ 21 w 273"/>
                <a:gd name="T83" fmla="*/ 210 h 271"/>
                <a:gd name="T84" fmla="*/ 32 w 273"/>
                <a:gd name="T85" fmla="*/ 224 h 271"/>
                <a:gd name="T86" fmla="*/ 39 w 273"/>
                <a:gd name="T87" fmla="*/ 232 h 271"/>
                <a:gd name="T88" fmla="*/ 44 w 273"/>
                <a:gd name="T89" fmla="*/ 238 h 271"/>
                <a:gd name="T90" fmla="*/ 51 w 273"/>
                <a:gd name="T91" fmla="*/ 244 h 271"/>
                <a:gd name="T92" fmla="*/ 59 w 273"/>
                <a:gd name="T93" fmla="*/ 249 h 271"/>
                <a:gd name="T94" fmla="*/ 73 w 273"/>
                <a:gd name="T95" fmla="*/ 259 h 271"/>
                <a:gd name="T96" fmla="*/ 89 w 273"/>
                <a:gd name="T97" fmla="*/ 264 h 271"/>
                <a:gd name="T98" fmla="*/ 107 w 273"/>
                <a:gd name="T99" fmla="*/ 269 h 271"/>
                <a:gd name="T100" fmla="*/ 124 w 273"/>
                <a:gd name="T101" fmla="*/ 271 h 271"/>
                <a:gd name="T102" fmla="*/ 142 w 273"/>
                <a:gd name="T103" fmla="*/ 271 h 271"/>
                <a:gd name="T104" fmla="*/ 159 w 273"/>
                <a:gd name="T105" fmla="*/ 269 h 271"/>
                <a:gd name="T106" fmla="*/ 177 w 273"/>
                <a:gd name="T107" fmla="*/ 265 h 271"/>
                <a:gd name="T108" fmla="*/ 193 w 273"/>
                <a:gd name="T109" fmla="*/ 259 h 271"/>
                <a:gd name="T110" fmla="*/ 209 w 273"/>
                <a:gd name="T111" fmla="*/ 251 h 271"/>
                <a:gd name="T112" fmla="*/ 224 w 273"/>
                <a:gd name="T113" fmla="*/ 240 h 271"/>
                <a:gd name="T114" fmla="*/ 236 w 273"/>
                <a:gd name="T115" fmla="*/ 229 h 271"/>
                <a:gd name="T116" fmla="*/ 248 w 273"/>
                <a:gd name="T117" fmla="*/ 214 h 271"/>
                <a:gd name="T118" fmla="*/ 252 w 273"/>
                <a:gd name="T119" fmla="*/ 208 h 271"/>
                <a:gd name="T120" fmla="*/ 256 w 273"/>
                <a:gd name="T121" fmla="*/ 200 h 271"/>
                <a:gd name="T122" fmla="*/ 260 w 273"/>
                <a:gd name="T123" fmla="*/ 192 h 271"/>
                <a:gd name="T124" fmla="*/ 262 w 273"/>
                <a:gd name="T125" fmla="*/ 18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3" h="271">
                  <a:moveTo>
                    <a:pt x="262" y="182"/>
                  </a:moveTo>
                  <a:lnTo>
                    <a:pt x="266" y="173"/>
                  </a:lnTo>
                  <a:lnTo>
                    <a:pt x="269" y="165"/>
                  </a:lnTo>
                  <a:lnTo>
                    <a:pt x="272" y="155"/>
                  </a:lnTo>
                  <a:lnTo>
                    <a:pt x="273" y="146"/>
                  </a:lnTo>
                  <a:lnTo>
                    <a:pt x="273" y="137"/>
                  </a:lnTo>
                  <a:lnTo>
                    <a:pt x="273" y="127"/>
                  </a:lnTo>
                  <a:lnTo>
                    <a:pt x="272" y="119"/>
                  </a:lnTo>
                  <a:lnTo>
                    <a:pt x="270" y="110"/>
                  </a:lnTo>
                  <a:lnTo>
                    <a:pt x="265" y="92"/>
                  </a:lnTo>
                  <a:lnTo>
                    <a:pt x="257" y="76"/>
                  </a:lnTo>
                  <a:lnTo>
                    <a:pt x="246" y="60"/>
                  </a:lnTo>
                  <a:lnTo>
                    <a:pt x="236" y="45"/>
                  </a:lnTo>
                  <a:lnTo>
                    <a:pt x="222" y="33"/>
                  </a:lnTo>
                  <a:lnTo>
                    <a:pt x="207" y="23"/>
                  </a:lnTo>
                  <a:lnTo>
                    <a:pt x="191" y="13"/>
                  </a:lnTo>
                  <a:lnTo>
                    <a:pt x="174" y="6"/>
                  </a:lnTo>
                  <a:lnTo>
                    <a:pt x="165" y="4"/>
                  </a:lnTo>
                  <a:lnTo>
                    <a:pt x="157" y="1"/>
                  </a:lnTo>
                  <a:lnTo>
                    <a:pt x="147" y="0"/>
                  </a:lnTo>
                  <a:lnTo>
                    <a:pt x="138" y="0"/>
                  </a:lnTo>
                  <a:lnTo>
                    <a:pt x="128" y="0"/>
                  </a:lnTo>
                  <a:lnTo>
                    <a:pt x="119" y="1"/>
                  </a:lnTo>
                  <a:lnTo>
                    <a:pt x="110" y="2"/>
                  </a:lnTo>
                  <a:lnTo>
                    <a:pt x="100" y="5"/>
                  </a:lnTo>
                  <a:lnTo>
                    <a:pt x="92" y="6"/>
                  </a:lnTo>
                  <a:lnTo>
                    <a:pt x="84" y="9"/>
                  </a:lnTo>
                  <a:lnTo>
                    <a:pt x="76" y="13"/>
                  </a:lnTo>
                  <a:lnTo>
                    <a:pt x="68" y="17"/>
                  </a:lnTo>
                  <a:lnTo>
                    <a:pt x="53" y="27"/>
                  </a:lnTo>
                  <a:lnTo>
                    <a:pt x="41" y="37"/>
                  </a:lnTo>
                  <a:lnTo>
                    <a:pt x="29" y="49"/>
                  </a:lnTo>
                  <a:lnTo>
                    <a:pt x="20" y="64"/>
                  </a:lnTo>
                  <a:lnTo>
                    <a:pt x="12" y="79"/>
                  </a:lnTo>
                  <a:lnTo>
                    <a:pt x="6" y="95"/>
                  </a:lnTo>
                  <a:lnTo>
                    <a:pt x="2" y="112"/>
                  </a:lnTo>
                  <a:lnTo>
                    <a:pt x="0" y="129"/>
                  </a:lnTo>
                  <a:lnTo>
                    <a:pt x="0" y="146"/>
                  </a:lnTo>
                  <a:lnTo>
                    <a:pt x="2" y="163"/>
                  </a:lnTo>
                  <a:lnTo>
                    <a:pt x="6" y="179"/>
                  </a:lnTo>
                  <a:lnTo>
                    <a:pt x="12" y="196"/>
                  </a:lnTo>
                  <a:lnTo>
                    <a:pt x="21" y="210"/>
                  </a:lnTo>
                  <a:lnTo>
                    <a:pt x="32" y="224"/>
                  </a:lnTo>
                  <a:lnTo>
                    <a:pt x="39" y="232"/>
                  </a:lnTo>
                  <a:lnTo>
                    <a:pt x="44" y="238"/>
                  </a:lnTo>
                  <a:lnTo>
                    <a:pt x="51" y="244"/>
                  </a:lnTo>
                  <a:lnTo>
                    <a:pt x="59" y="249"/>
                  </a:lnTo>
                  <a:lnTo>
                    <a:pt x="73" y="259"/>
                  </a:lnTo>
                  <a:lnTo>
                    <a:pt x="89" y="264"/>
                  </a:lnTo>
                  <a:lnTo>
                    <a:pt x="107" y="269"/>
                  </a:lnTo>
                  <a:lnTo>
                    <a:pt x="124" y="271"/>
                  </a:lnTo>
                  <a:lnTo>
                    <a:pt x="142" y="271"/>
                  </a:lnTo>
                  <a:lnTo>
                    <a:pt x="159" y="269"/>
                  </a:lnTo>
                  <a:lnTo>
                    <a:pt x="177" y="265"/>
                  </a:lnTo>
                  <a:lnTo>
                    <a:pt x="193" y="259"/>
                  </a:lnTo>
                  <a:lnTo>
                    <a:pt x="209" y="251"/>
                  </a:lnTo>
                  <a:lnTo>
                    <a:pt x="224" y="240"/>
                  </a:lnTo>
                  <a:lnTo>
                    <a:pt x="236" y="229"/>
                  </a:lnTo>
                  <a:lnTo>
                    <a:pt x="248" y="214"/>
                  </a:lnTo>
                  <a:lnTo>
                    <a:pt x="252" y="208"/>
                  </a:lnTo>
                  <a:lnTo>
                    <a:pt x="256" y="200"/>
                  </a:lnTo>
                  <a:lnTo>
                    <a:pt x="260" y="192"/>
                  </a:lnTo>
                  <a:lnTo>
                    <a:pt x="262" y="182"/>
                  </a:lnTo>
                  <a:close/>
                </a:path>
              </a:pathLst>
            </a:custGeom>
            <a:grpFill/>
            <a:ln w="9525">
              <a:noFill/>
              <a:round/>
            </a:ln>
          </p:spPr>
          <p:txBody>
            <a:bodyPr vert="horz" wrap="square" lIns="91440" tIns="45720" rIns="91440" bIns="45720" numCol="1" anchor="t" anchorCtr="0" compatLnSpc="1"/>
            <a:lstStyle/>
            <a:p>
              <a:endParaRPr lang="en-US"/>
            </a:p>
          </p:txBody>
        </p:sp>
        <p:sp>
          <p:nvSpPr>
            <p:cNvPr id="101" name="Freeform 57"/>
            <p:cNvSpPr/>
            <p:nvPr/>
          </p:nvSpPr>
          <p:spPr bwMode="auto">
            <a:xfrm>
              <a:off x="3647164" y="2569982"/>
              <a:ext cx="231047" cy="486357"/>
            </a:xfrm>
            <a:custGeom>
              <a:avLst/>
              <a:gdLst>
                <a:gd name="T0" fmla="*/ 566 w 658"/>
                <a:gd name="T1" fmla="*/ 20 h 1383"/>
                <a:gd name="T2" fmla="*/ 506 w 658"/>
                <a:gd name="T3" fmla="*/ 4 h 1383"/>
                <a:gd name="T4" fmla="*/ 396 w 658"/>
                <a:gd name="T5" fmla="*/ 0 h 1383"/>
                <a:gd name="T6" fmla="*/ 259 w 658"/>
                <a:gd name="T7" fmla="*/ 0 h 1383"/>
                <a:gd name="T8" fmla="*/ 136 w 658"/>
                <a:gd name="T9" fmla="*/ 8 h 1383"/>
                <a:gd name="T10" fmla="*/ 74 w 658"/>
                <a:gd name="T11" fmla="*/ 27 h 1383"/>
                <a:gd name="T12" fmla="*/ 40 w 658"/>
                <a:gd name="T13" fmla="*/ 53 h 1383"/>
                <a:gd name="T14" fmla="*/ 16 w 658"/>
                <a:gd name="T15" fmla="*/ 90 h 1383"/>
                <a:gd name="T16" fmla="*/ 4 w 658"/>
                <a:gd name="T17" fmla="*/ 131 h 1383"/>
                <a:gd name="T18" fmla="*/ 2 w 658"/>
                <a:gd name="T19" fmla="*/ 220 h 1383"/>
                <a:gd name="T20" fmla="*/ 0 w 658"/>
                <a:gd name="T21" fmla="*/ 448 h 1383"/>
                <a:gd name="T22" fmla="*/ 2 w 658"/>
                <a:gd name="T23" fmla="*/ 629 h 1383"/>
                <a:gd name="T24" fmla="*/ 19 w 658"/>
                <a:gd name="T25" fmla="*/ 665 h 1383"/>
                <a:gd name="T26" fmla="*/ 42 w 658"/>
                <a:gd name="T27" fmla="*/ 676 h 1383"/>
                <a:gd name="T28" fmla="*/ 73 w 658"/>
                <a:gd name="T29" fmla="*/ 676 h 1383"/>
                <a:gd name="T30" fmla="*/ 97 w 658"/>
                <a:gd name="T31" fmla="*/ 657 h 1383"/>
                <a:gd name="T32" fmla="*/ 117 w 658"/>
                <a:gd name="T33" fmla="*/ 602 h 1383"/>
                <a:gd name="T34" fmla="*/ 118 w 658"/>
                <a:gd name="T35" fmla="*/ 452 h 1383"/>
                <a:gd name="T36" fmla="*/ 118 w 658"/>
                <a:gd name="T37" fmla="*/ 273 h 1383"/>
                <a:gd name="T38" fmla="*/ 153 w 658"/>
                <a:gd name="T39" fmla="*/ 296 h 1383"/>
                <a:gd name="T40" fmla="*/ 153 w 658"/>
                <a:gd name="T41" fmla="*/ 566 h 1383"/>
                <a:gd name="T42" fmla="*/ 153 w 658"/>
                <a:gd name="T43" fmla="*/ 836 h 1383"/>
                <a:gd name="T44" fmla="*/ 153 w 658"/>
                <a:gd name="T45" fmla="*/ 1107 h 1383"/>
                <a:gd name="T46" fmla="*/ 154 w 658"/>
                <a:gd name="T47" fmla="*/ 1323 h 1383"/>
                <a:gd name="T48" fmla="*/ 175 w 658"/>
                <a:gd name="T49" fmla="*/ 1363 h 1383"/>
                <a:gd name="T50" fmla="*/ 215 w 658"/>
                <a:gd name="T51" fmla="*/ 1382 h 1383"/>
                <a:gd name="T52" fmla="*/ 262 w 658"/>
                <a:gd name="T53" fmla="*/ 1379 h 1383"/>
                <a:gd name="T54" fmla="*/ 299 w 658"/>
                <a:gd name="T55" fmla="*/ 1349 h 1383"/>
                <a:gd name="T56" fmla="*/ 311 w 658"/>
                <a:gd name="T57" fmla="*/ 1272 h 1383"/>
                <a:gd name="T58" fmla="*/ 311 w 658"/>
                <a:gd name="T59" fmla="*/ 1030 h 1383"/>
                <a:gd name="T60" fmla="*/ 313 w 658"/>
                <a:gd name="T61" fmla="*/ 745 h 1383"/>
                <a:gd name="T62" fmla="*/ 347 w 658"/>
                <a:gd name="T63" fmla="*/ 756 h 1383"/>
                <a:gd name="T64" fmla="*/ 347 w 658"/>
                <a:gd name="T65" fmla="*/ 1082 h 1383"/>
                <a:gd name="T66" fmla="*/ 350 w 658"/>
                <a:gd name="T67" fmla="*/ 1333 h 1383"/>
                <a:gd name="T68" fmla="*/ 361 w 658"/>
                <a:gd name="T69" fmla="*/ 1359 h 1383"/>
                <a:gd name="T70" fmla="*/ 388 w 658"/>
                <a:gd name="T71" fmla="*/ 1378 h 1383"/>
                <a:gd name="T72" fmla="*/ 444 w 658"/>
                <a:gd name="T73" fmla="*/ 1379 h 1383"/>
                <a:gd name="T74" fmla="*/ 484 w 658"/>
                <a:gd name="T75" fmla="*/ 1355 h 1383"/>
                <a:gd name="T76" fmla="*/ 496 w 658"/>
                <a:gd name="T77" fmla="*/ 1331 h 1383"/>
                <a:gd name="T78" fmla="*/ 499 w 658"/>
                <a:gd name="T79" fmla="*/ 1240 h 1383"/>
                <a:gd name="T80" fmla="*/ 499 w 658"/>
                <a:gd name="T81" fmla="*/ 971 h 1383"/>
                <a:gd name="T82" fmla="*/ 499 w 658"/>
                <a:gd name="T83" fmla="*/ 700 h 1383"/>
                <a:gd name="T84" fmla="*/ 499 w 658"/>
                <a:gd name="T85" fmla="*/ 429 h 1383"/>
                <a:gd name="T86" fmla="*/ 510 w 658"/>
                <a:gd name="T87" fmla="*/ 226 h 1383"/>
                <a:gd name="T88" fmla="*/ 542 w 658"/>
                <a:gd name="T89" fmla="*/ 273 h 1383"/>
                <a:gd name="T90" fmla="*/ 542 w 658"/>
                <a:gd name="T91" fmla="*/ 461 h 1383"/>
                <a:gd name="T92" fmla="*/ 543 w 658"/>
                <a:gd name="T93" fmla="*/ 617 h 1383"/>
                <a:gd name="T94" fmla="*/ 565 w 658"/>
                <a:gd name="T95" fmla="*/ 662 h 1383"/>
                <a:gd name="T96" fmla="*/ 589 w 658"/>
                <a:gd name="T97" fmla="*/ 676 h 1383"/>
                <a:gd name="T98" fmla="*/ 618 w 658"/>
                <a:gd name="T99" fmla="*/ 676 h 1383"/>
                <a:gd name="T100" fmla="*/ 638 w 658"/>
                <a:gd name="T101" fmla="*/ 665 h 1383"/>
                <a:gd name="T102" fmla="*/ 653 w 658"/>
                <a:gd name="T103" fmla="*/ 639 h 1383"/>
                <a:gd name="T104" fmla="*/ 658 w 658"/>
                <a:gd name="T105" fmla="*/ 555 h 1383"/>
                <a:gd name="T106" fmla="*/ 658 w 658"/>
                <a:gd name="T107" fmla="*/ 360 h 1383"/>
                <a:gd name="T108" fmla="*/ 658 w 658"/>
                <a:gd name="T109" fmla="*/ 192 h 1383"/>
                <a:gd name="T110" fmla="*/ 648 w 658"/>
                <a:gd name="T111" fmla="*/ 111 h 1383"/>
                <a:gd name="T112" fmla="*/ 629 w 658"/>
                <a:gd name="T113" fmla="*/ 71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8" h="1383">
                  <a:moveTo>
                    <a:pt x="605" y="45"/>
                  </a:moveTo>
                  <a:lnTo>
                    <a:pt x="593" y="36"/>
                  </a:lnTo>
                  <a:lnTo>
                    <a:pt x="579" y="27"/>
                  </a:lnTo>
                  <a:lnTo>
                    <a:pt x="566" y="20"/>
                  </a:lnTo>
                  <a:lnTo>
                    <a:pt x="551" y="15"/>
                  </a:lnTo>
                  <a:lnTo>
                    <a:pt x="536" y="11"/>
                  </a:lnTo>
                  <a:lnTo>
                    <a:pt x="522" y="6"/>
                  </a:lnTo>
                  <a:lnTo>
                    <a:pt x="506" y="4"/>
                  </a:lnTo>
                  <a:lnTo>
                    <a:pt x="491" y="2"/>
                  </a:lnTo>
                  <a:lnTo>
                    <a:pt x="459" y="0"/>
                  </a:lnTo>
                  <a:lnTo>
                    <a:pt x="427" y="0"/>
                  </a:lnTo>
                  <a:lnTo>
                    <a:pt x="396" y="0"/>
                  </a:lnTo>
                  <a:lnTo>
                    <a:pt x="365" y="0"/>
                  </a:lnTo>
                  <a:lnTo>
                    <a:pt x="330" y="1"/>
                  </a:lnTo>
                  <a:lnTo>
                    <a:pt x="294" y="0"/>
                  </a:lnTo>
                  <a:lnTo>
                    <a:pt x="259" y="0"/>
                  </a:lnTo>
                  <a:lnTo>
                    <a:pt x="223" y="0"/>
                  </a:lnTo>
                  <a:lnTo>
                    <a:pt x="188" y="1"/>
                  </a:lnTo>
                  <a:lnTo>
                    <a:pt x="153" y="4"/>
                  </a:lnTo>
                  <a:lnTo>
                    <a:pt x="136" y="8"/>
                  </a:lnTo>
                  <a:lnTo>
                    <a:pt x="118" y="12"/>
                  </a:lnTo>
                  <a:lnTo>
                    <a:pt x="101" y="16"/>
                  </a:lnTo>
                  <a:lnTo>
                    <a:pt x="85" y="23"/>
                  </a:lnTo>
                  <a:lnTo>
                    <a:pt x="74" y="27"/>
                  </a:lnTo>
                  <a:lnTo>
                    <a:pt x="65" y="32"/>
                  </a:lnTo>
                  <a:lnTo>
                    <a:pt x="55" y="39"/>
                  </a:lnTo>
                  <a:lnTo>
                    <a:pt x="47" y="45"/>
                  </a:lnTo>
                  <a:lnTo>
                    <a:pt x="40" y="53"/>
                  </a:lnTo>
                  <a:lnTo>
                    <a:pt x="32" y="61"/>
                  </a:lnTo>
                  <a:lnTo>
                    <a:pt x="27" y="70"/>
                  </a:lnTo>
                  <a:lnTo>
                    <a:pt x="22" y="79"/>
                  </a:lnTo>
                  <a:lnTo>
                    <a:pt x="16" y="90"/>
                  </a:lnTo>
                  <a:lnTo>
                    <a:pt x="12" y="99"/>
                  </a:lnTo>
                  <a:lnTo>
                    <a:pt x="8" y="110"/>
                  </a:lnTo>
                  <a:lnTo>
                    <a:pt x="6" y="120"/>
                  </a:lnTo>
                  <a:lnTo>
                    <a:pt x="4" y="131"/>
                  </a:lnTo>
                  <a:lnTo>
                    <a:pt x="2" y="142"/>
                  </a:lnTo>
                  <a:lnTo>
                    <a:pt x="2" y="153"/>
                  </a:lnTo>
                  <a:lnTo>
                    <a:pt x="2" y="163"/>
                  </a:lnTo>
                  <a:lnTo>
                    <a:pt x="2" y="220"/>
                  </a:lnTo>
                  <a:lnTo>
                    <a:pt x="2" y="277"/>
                  </a:lnTo>
                  <a:lnTo>
                    <a:pt x="0" y="334"/>
                  </a:lnTo>
                  <a:lnTo>
                    <a:pt x="0" y="390"/>
                  </a:lnTo>
                  <a:lnTo>
                    <a:pt x="0" y="448"/>
                  </a:lnTo>
                  <a:lnTo>
                    <a:pt x="2" y="504"/>
                  </a:lnTo>
                  <a:lnTo>
                    <a:pt x="2" y="562"/>
                  </a:lnTo>
                  <a:lnTo>
                    <a:pt x="2" y="618"/>
                  </a:lnTo>
                  <a:lnTo>
                    <a:pt x="2" y="629"/>
                  </a:lnTo>
                  <a:lnTo>
                    <a:pt x="4" y="638"/>
                  </a:lnTo>
                  <a:lnTo>
                    <a:pt x="7" y="649"/>
                  </a:lnTo>
                  <a:lnTo>
                    <a:pt x="12" y="658"/>
                  </a:lnTo>
                  <a:lnTo>
                    <a:pt x="19" y="665"/>
                  </a:lnTo>
                  <a:lnTo>
                    <a:pt x="28" y="672"/>
                  </a:lnTo>
                  <a:lnTo>
                    <a:pt x="32" y="673"/>
                  </a:lnTo>
                  <a:lnTo>
                    <a:pt x="38" y="676"/>
                  </a:lnTo>
                  <a:lnTo>
                    <a:pt x="42" y="676"/>
                  </a:lnTo>
                  <a:lnTo>
                    <a:pt x="47" y="676"/>
                  </a:lnTo>
                  <a:lnTo>
                    <a:pt x="57" y="677"/>
                  </a:lnTo>
                  <a:lnTo>
                    <a:pt x="65" y="677"/>
                  </a:lnTo>
                  <a:lnTo>
                    <a:pt x="73" y="676"/>
                  </a:lnTo>
                  <a:lnTo>
                    <a:pt x="79" y="672"/>
                  </a:lnTo>
                  <a:lnTo>
                    <a:pt x="86" y="667"/>
                  </a:lnTo>
                  <a:lnTo>
                    <a:pt x="91" y="663"/>
                  </a:lnTo>
                  <a:lnTo>
                    <a:pt x="97" y="657"/>
                  </a:lnTo>
                  <a:lnTo>
                    <a:pt x="101" y="650"/>
                  </a:lnTo>
                  <a:lnTo>
                    <a:pt x="109" y="635"/>
                  </a:lnTo>
                  <a:lnTo>
                    <a:pt x="114" y="619"/>
                  </a:lnTo>
                  <a:lnTo>
                    <a:pt x="117" y="602"/>
                  </a:lnTo>
                  <a:lnTo>
                    <a:pt x="117" y="587"/>
                  </a:lnTo>
                  <a:lnTo>
                    <a:pt x="118" y="541"/>
                  </a:lnTo>
                  <a:lnTo>
                    <a:pt x="118" y="497"/>
                  </a:lnTo>
                  <a:lnTo>
                    <a:pt x="118" y="452"/>
                  </a:lnTo>
                  <a:lnTo>
                    <a:pt x="117" y="407"/>
                  </a:lnTo>
                  <a:lnTo>
                    <a:pt x="117" y="362"/>
                  </a:lnTo>
                  <a:lnTo>
                    <a:pt x="117" y="318"/>
                  </a:lnTo>
                  <a:lnTo>
                    <a:pt x="118" y="273"/>
                  </a:lnTo>
                  <a:lnTo>
                    <a:pt x="118" y="228"/>
                  </a:lnTo>
                  <a:lnTo>
                    <a:pt x="136" y="228"/>
                  </a:lnTo>
                  <a:lnTo>
                    <a:pt x="152" y="228"/>
                  </a:lnTo>
                  <a:lnTo>
                    <a:pt x="153" y="296"/>
                  </a:lnTo>
                  <a:lnTo>
                    <a:pt x="153" y="363"/>
                  </a:lnTo>
                  <a:lnTo>
                    <a:pt x="153" y="430"/>
                  </a:lnTo>
                  <a:lnTo>
                    <a:pt x="153" y="499"/>
                  </a:lnTo>
                  <a:lnTo>
                    <a:pt x="153" y="566"/>
                  </a:lnTo>
                  <a:lnTo>
                    <a:pt x="153" y="634"/>
                  </a:lnTo>
                  <a:lnTo>
                    <a:pt x="153" y="701"/>
                  </a:lnTo>
                  <a:lnTo>
                    <a:pt x="153" y="769"/>
                  </a:lnTo>
                  <a:lnTo>
                    <a:pt x="153" y="836"/>
                  </a:lnTo>
                  <a:lnTo>
                    <a:pt x="153" y="903"/>
                  </a:lnTo>
                  <a:lnTo>
                    <a:pt x="153" y="972"/>
                  </a:lnTo>
                  <a:lnTo>
                    <a:pt x="153" y="1039"/>
                  </a:lnTo>
                  <a:lnTo>
                    <a:pt x="153" y="1107"/>
                  </a:lnTo>
                  <a:lnTo>
                    <a:pt x="153" y="1174"/>
                  </a:lnTo>
                  <a:lnTo>
                    <a:pt x="153" y="1243"/>
                  </a:lnTo>
                  <a:lnTo>
                    <a:pt x="154" y="1310"/>
                  </a:lnTo>
                  <a:lnTo>
                    <a:pt x="154" y="1323"/>
                  </a:lnTo>
                  <a:lnTo>
                    <a:pt x="157" y="1335"/>
                  </a:lnTo>
                  <a:lnTo>
                    <a:pt x="161" y="1346"/>
                  </a:lnTo>
                  <a:lnTo>
                    <a:pt x="168" y="1355"/>
                  </a:lnTo>
                  <a:lnTo>
                    <a:pt x="175" y="1363"/>
                  </a:lnTo>
                  <a:lnTo>
                    <a:pt x="184" y="1370"/>
                  </a:lnTo>
                  <a:lnTo>
                    <a:pt x="193" y="1375"/>
                  </a:lnTo>
                  <a:lnTo>
                    <a:pt x="204" y="1379"/>
                  </a:lnTo>
                  <a:lnTo>
                    <a:pt x="215" y="1382"/>
                  </a:lnTo>
                  <a:lnTo>
                    <a:pt x="227" y="1383"/>
                  </a:lnTo>
                  <a:lnTo>
                    <a:pt x="239" y="1383"/>
                  </a:lnTo>
                  <a:lnTo>
                    <a:pt x="251" y="1382"/>
                  </a:lnTo>
                  <a:lnTo>
                    <a:pt x="262" y="1379"/>
                  </a:lnTo>
                  <a:lnTo>
                    <a:pt x="274" y="1375"/>
                  </a:lnTo>
                  <a:lnTo>
                    <a:pt x="283" y="1370"/>
                  </a:lnTo>
                  <a:lnTo>
                    <a:pt x="294" y="1363"/>
                  </a:lnTo>
                  <a:lnTo>
                    <a:pt x="299" y="1349"/>
                  </a:lnTo>
                  <a:lnTo>
                    <a:pt x="303" y="1334"/>
                  </a:lnTo>
                  <a:lnTo>
                    <a:pt x="306" y="1319"/>
                  </a:lnTo>
                  <a:lnTo>
                    <a:pt x="309" y="1303"/>
                  </a:lnTo>
                  <a:lnTo>
                    <a:pt x="311" y="1272"/>
                  </a:lnTo>
                  <a:lnTo>
                    <a:pt x="313" y="1241"/>
                  </a:lnTo>
                  <a:lnTo>
                    <a:pt x="313" y="1170"/>
                  </a:lnTo>
                  <a:lnTo>
                    <a:pt x="311" y="1101"/>
                  </a:lnTo>
                  <a:lnTo>
                    <a:pt x="311" y="1030"/>
                  </a:lnTo>
                  <a:lnTo>
                    <a:pt x="311" y="958"/>
                  </a:lnTo>
                  <a:lnTo>
                    <a:pt x="311" y="887"/>
                  </a:lnTo>
                  <a:lnTo>
                    <a:pt x="313" y="816"/>
                  </a:lnTo>
                  <a:lnTo>
                    <a:pt x="313" y="745"/>
                  </a:lnTo>
                  <a:lnTo>
                    <a:pt x="313" y="674"/>
                  </a:lnTo>
                  <a:lnTo>
                    <a:pt x="330" y="674"/>
                  </a:lnTo>
                  <a:lnTo>
                    <a:pt x="347" y="674"/>
                  </a:lnTo>
                  <a:lnTo>
                    <a:pt x="347" y="756"/>
                  </a:lnTo>
                  <a:lnTo>
                    <a:pt x="347" y="838"/>
                  </a:lnTo>
                  <a:lnTo>
                    <a:pt x="347" y="918"/>
                  </a:lnTo>
                  <a:lnTo>
                    <a:pt x="347" y="1000"/>
                  </a:lnTo>
                  <a:lnTo>
                    <a:pt x="347" y="1082"/>
                  </a:lnTo>
                  <a:lnTo>
                    <a:pt x="347" y="1162"/>
                  </a:lnTo>
                  <a:lnTo>
                    <a:pt x="347" y="1244"/>
                  </a:lnTo>
                  <a:lnTo>
                    <a:pt x="349" y="1324"/>
                  </a:lnTo>
                  <a:lnTo>
                    <a:pt x="350" y="1333"/>
                  </a:lnTo>
                  <a:lnTo>
                    <a:pt x="351" y="1341"/>
                  </a:lnTo>
                  <a:lnTo>
                    <a:pt x="354" y="1347"/>
                  </a:lnTo>
                  <a:lnTo>
                    <a:pt x="357" y="1354"/>
                  </a:lnTo>
                  <a:lnTo>
                    <a:pt x="361" y="1359"/>
                  </a:lnTo>
                  <a:lnTo>
                    <a:pt x="366" y="1363"/>
                  </a:lnTo>
                  <a:lnTo>
                    <a:pt x="370" y="1369"/>
                  </a:lnTo>
                  <a:lnTo>
                    <a:pt x="377" y="1373"/>
                  </a:lnTo>
                  <a:lnTo>
                    <a:pt x="388" y="1378"/>
                  </a:lnTo>
                  <a:lnTo>
                    <a:pt x="401" y="1382"/>
                  </a:lnTo>
                  <a:lnTo>
                    <a:pt x="416" y="1383"/>
                  </a:lnTo>
                  <a:lnTo>
                    <a:pt x="429" y="1382"/>
                  </a:lnTo>
                  <a:lnTo>
                    <a:pt x="444" y="1379"/>
                  </a:lnTo>
                  <a:lnTo>
                    <a:pt x="457" y="1375"/>
                  </a:lnTo>
                  <a:lnTo>
                    <a:pt x="469" y="1369"/>
                  </a:lnTo>
                  <a:lnTo>
                    <a:pt x="480" y="1359"/>
                  </a:lnTo>
                  <a:lnTo>
                    <a:pt x="484" y="1355"/>
                  </a:lnTo>
                  <a:lnTo>
                    <a:pt x="488" y="1350"/>
                  </a:lnTo>
                  <a:lnTo>
                    <a:pt x="492" y="1343"/>
                  </a:lnTo>
                  <a:lnTo>
                    <a:pt x="495" y="1338"/>
                  </a:lnTo>
                  <a:lnTo>
                    <a:pt x="496" y="1331"/>
                  </a:lnTo>
                  <a:lnTo>
                    <a:pt x="498" y="1323"/>
                  </a:lnTo>
                  <a:lnTo>
                    <a:pt x="499" y="1316"/>
                  </a:lnTo>
                  <a:lnTo>
                    <a:pt x="498" y="1308"/>
                  </a:lnTo>
                  <a:lnTo>
                    <a:pt x="499" y="1240"/>
                  </a:lnTo>
                  <a:lnTo>
                    <a:pt x="499" y="1173"/>
                  </a:lnTo>
                  <a:lnTo>
                    <a:pt x="499" y="1106"/>
                  </a:lnTo>
                  <a:lnTo>
                    <a:pt x="499" y="1038"/>
                  </a:lnTo>
                  <a:lnTo>
                    <a:pt x="499" y="971"/>
                  </a:lnTo>
                  <a:lnTo>
                    <a:pt x="499" y="902"/>
                  </a:lnTo>
                  <a:lnTo>
                    <a:pt x="499" y="835"/>
                  </a:lnTo>
                  <a:lnTo>
                    <a:pt x="499" y="767"/>
                  </a:lnTo>
                  <a:lnTo>
                    <a:pt x="499" y="700"/>
                  </a:lnTo>
                  <a:lnTo>
                    <a:pt x="499" y="633"/>
                  </a:lnTo>
                  <a:lnTo>
                    <a:pt x="499" y="564"/>
                  </a:lnTo>
                  <a:lnTo>
                    <a:pt x="499" y="497"/>
                  </a:lnTo>
                  <a:lnTo>
                    <a:pt x="499" y="429"/>
                  </a:lnTo>
                  <a:lnTo>
                    <a:pt x="499" y="362"/>
                  </a:lnTo>
                  <a:lnTo>
                    <a:pt x="499" y="293"/>
                  </a:lnTo>
                  <a:lnTo>
                    <a:pt x="499" y="226"/>
                  </a:lnTo>
                  <a:lnTo>
                    <a:pt x="510" y="226"/>
                  </a:lnTo>
                  <a:lnTo>
                    <a:pt x="520" y="226"/>
                  </a:lnTo>
                  <a:lnTo>
                    <a:pt x="532" y="226"/>
                  </a:lnTo>
                  <a:lnTo>
                    <a:pt x="542" y="225"/>
                  </a:lnTo>
                  <a:lnTo>
                    <a:pt x="542" y="273"/>
                  </a:lnTo>
                  <a:lnTo>
                    <a:pt x="542" y="320"/>
                  </a:lnTo>
                  <a:lnTo>
                    <a:pt x="542" y="367"/>
                  </a:lnTo>
                  <a:lnTo>
                    <a:pt x="542" y="414"/>
                  </a:lnTo>
                  <a:lnTo>
                    <a:pt x="542" y="461"/>
                  </a:lnTo>
                  <a:lnTo>
                    <a:pt x="542" y="508"/>
                  </a:lnTo>
                  <a:lnTo>
                    <a:pt x="542" y="556"/>
                  </a:lnTo>
                  <a:lnTo>
                    <a:pt x="542" y="603"/>
                  </a:lnTo>
                  <a:lnTo>
                    <a:pt x="543" y="617"/>
                  </a:lnTo>
                  <a:lnTo>
                    <a:pt x="546" y="631"/>
                  </a:lnTo>
                  <a:lnTo>
                    <a:pt x="553" y="645"/>
                  </a:lnTo>
                  <a:lnTo>
                    <a:pt x="561" y="657"/>
                  </a:lnTo>
                  <a:lnTo>
                    <a:pt x="565" y="662"/>
                  </a:lnTo>
                  <a:lnTo>
                    <a:pt x="570" y="667"/>
                  </a:lnTo>
                  <a:lnTo>
                    <a:pt x="577" y="670"/>
                  </a:lnTo>
                  <a:lnTo>
                    <a:pt x="582" y="674"/>
                  </a:lnTo>
                  <a:lnTo>
                    <a:pt x="589" y="676"/>
                  </a:lnTo>
                  <a:lnTo>
                    <a:pt x="597" y="677"/>
                  </a:lnTo>
                  <a:lnTo>
                    <a:pt x="604" y="677"/>
                  </a:lnTo>
                  <a:lnTo>
                    <a:pt x="612" y="676"/>
                  </a:lnTo>
                  <a:lnTo>
                    <a:pt x="618" y="676"/>
                  </a:lnTo>
                  <a:lnTo>
                    <a:pt x="624" y="674"/>
                  </a:lnTo>
                  <a:lnTo>
                    <a:pt x="629" y="672"/>
                  </a:lnTo>
                  <a:lnTo>
                    <a:pt x="634" y="669"/>
                  </a:lnTo>
                  <a:lnTo>
                    <a:pt x="638" y="665"/>
                  </a:lnTo>
                  <a:lnTo>
                    <a:pt x="642" y="661"/>
                  </a:lnTo>
                  <a:lnTo>
                    <a:pt x="645" y="655"/>
                  </a:lnTo>
                  <a:lnTo>
                    <a:pt x="649" y="650"/>
                  </a:lnTo>
                  <a:lnTo>
                    <a:pt x="653" y="639"/>
                  </a:lnTo>
                  <a:lnTo>
                    <a:pt x="656" y="627"/>
                  </a:lnTo>
                  <a:lnTo>
                    <a:pt x="658" y="615"/>
                  </a:lnTo>
                  <a:lnTo>
                    <a:pt x="658" y="603"/>
                  </a:lnTo>
                  <a:lnTo>
                    <a:pt x="658" y="555"/>
                  </a:lnTo>
                  <a:lnTo>
                    <a:pt x="658" y="505"/>
                  </a:lnTo>
                  <a:lnTo>
                    <a:pt x="658" y="457"/>
                  </a:lnTo>
                  <a:lnTo>
                    <a:pt x="658" y="409"/>
                  </a:lnTo>
                  <a:lnTo>
                    <a:pt x="658" y="360"/>
                  </a:lnTo>
                  <a:lnTo>
                    <a:pt x="658" y="311"/>
                  </a:lnTo>
                  <a:lnTo>
                    <a:pt x="658" y="263"/>
                  </a:lnTo>
                  <a:lnTo>
                    <a:pt x="658" y="214"/>
                  </a:lnTo>
                  <a:lnTo>
                    <a:pt x="658" y="192"/>
                  </a:lnTo>
                  <a:lnTo>
                    <a:pt x="657" y="169"/>
                  </a:lnTo>
                  <a:lnTo>
                    <a:pt x="654" y="146"/>
                  </a:lnTo>
                  <a:lnTo>
                    <a:pt x="650" y="123"/>
                  </a:lnTo>
                  <a:lnTo>
                    <a:pt x="648" y="111"/>
                  </a:lnTo>
                  <a:lnTo>
                    <a:pt x="644" y="100"/>
                  </a:lnTo>
                  <a:lnTo>
                    <a:pt x="640" y="90"/>
                  </a:lnTo>
                  <a:lnTo>
                    <a:pt x="634" y="80"/>
                  </a:lnTo>
                  <a:lnTo>
                    <a:pt x="629" y="71"/>
                  </a:lnTo>
                  <a:lnTo>
                    <a:pt x="622" y="61"/>
                  </a:lnTo>
                  <a:lnTo>
                    <a:pt x="614" y="53"/>
                  </a:lnTo>
                  <a:lnTo>
                    <a:pt x="605" y="45"/>
                  </a:lnTo>
                  <a:close/>
                </a:path>
              </a:pathLst>
            </a:custGeom>
            <a:grpFill/>
            <a:ln w="9525">
              <a:noFill/>
              <a:round/>
            </a:ln>
          </p:spPr>
          <p:txBody>
            <a:bodyPr vert="horz" wrap="square" lIns="91440" tIns="45720" rIns="91440" bIns="45720" numCol="1" anchor="t" anchorCtr="0" compatLnSpc="1"/>
            <a:lstStyle/>
            <a:p>
              <a:endParaRPr lang="en-US"/>
            </a:p>
          </p:txBody>
        </p:sp>
      </p:grpSp>
      <p:grpSp>
        <p:nvGrpSpPr>
          <p:cNvPr id="106" name="Group 105"/>
          <p:cNvGrpSpPr/>
          <p:nvPr/>
        </p:nvGrpSpPr>
        <p:grpSpPr>
          <a:xfrm>
            <a:off x="4237932" y="4525489"/>
            <a:ext cx="271137" cy="607684"/>
            <a:chOff x="3327401" y="4335463"/>
            <a:chExt cx="407988" cy="914400"/>
          </a:xfrm>
          <a:solidFill>
            <a:schemeClr val="accent1"/>
          </a:solidFill>
        </p:grpSpPr>
        <p:sp>
          <p:nvSpPr>
            <p:cNvPr id="107" name="Freeform 58"/>
            <p:cNvSpPr/>
            <p:nvPr/>
          </p:nvSpPr>
          <p:spPr bwMode="auto">
            <a:xfrm>
              <a:off x="3455988" y="4335463"/>
              <a:ext cx="149225" cy="147638"/>
            </a:xfrm>
            <a:custGeom>
              <a:avLst/>
              <a:gdLst>
                <a:gd name="T0" fmla="*/ 283 w 283"/>
                <a:gd name="T1" fmla="*/ 144 h 278"/>
                <a:gd name="T2" fmla="*/ 280 w 283"/>
                <a:gd name="T3" fmla="*/ 111 h 278"/>
                <a:gd name="T4" fmla="*/ 270 w 283"/>
                <a:gd name="T5" fmla="*/ 80 h 278"/>
                <a:gd name="T6" fmla="*/ 251 w 283"/>
                <a:gd name="T7" fmla="*/ 52 h 278"/>
                <a:gd name="T8" fmla="*/ 227 w 283"/>
                <a:gd name="T9" fmla="*/ 29 h 278"/>
                <a:gd name="T10" fmla="*/ 197 w 283"/>
                <a:gd name="T11" fmla="*/ 12 h 278"/>
                <a:gd name="T12" fmla="*/ 165 w 283"/>
                <a:gd name="T13" fmla="*/ 1 h 278"/>
                <a:gd name="T14" fmla="*/ 132 w 283"/>
                <a:gd name="T15" fmla="*/ 0 h 278"/>
                <a:gd name="T16" fmla="*/ 97 w 283"/>
                <a:gd name="T17" fmla="*/ 6 h 278"/>
                <a:gd name="T18" fmla="*/ 66 w 283"/>
                <a:gd name="T19" fmla="*/ 24 h 278"/>
                <a:gd name="T20" fmla="*/ 39 w 283"/>
                <a:gd name="T21" fmla="*/ 46 h 278"/>
                <a:gd name="T22" fmla="*/ 19 w 283"/>
                <a:gd name="T23" fmla="*/ 76 h 278"/>
                <a:gd name="T24" fmla="*/ 6 w 283"/>
                <a:gd name="T25" fmla="*/ 108 h 278"/>
                <a:gd name="T26" fmla="*/ 0 w 283"/>
                <a:gd name="T27" fmla="*/ 142 h 278"/>
                <a:gd name="T28" fmla="*/ 4 w 283"/>
                <a:gd name="T29" fmla="*/ 177 h 278"/>
                <a:gd name="T30" fmla="*/ 14 w 283"/>
                <a:gd name="T31" fmla="*/ 201 h 278"/>
                <a:gd name="T32" fmla="*/ 23 w 283"/>
                <a:gd name="T33" fmla="*/ 217 h 278"/>
                <a:gd name="T34" fmla="*/ 35 w 283"/>
                <a:gd name="T35" fmla="*/ 233 h 278"/>
                <a:gd name="T36" fmla="*/ 50 w 283"/>
                <a:gd name="T37" fmla="*/ 248 h 278"/>
                <a:gd name="T38" fmla="*/ 67 w 283"/>
                <a:gd name="T39" fmla="*/ 260 h 278"/>
                <a:gd name="T40" fmla="*/ 86 w 283"/>
                <a:gd name="T41" fmla="*/ 268 h 278"/>
                <a:gd name="T42" fmla="*/ 105 w 283"/>
                <a:gd name="T43" fmla="*/ 274 h 278"/>
                <a:gd name="T44" fmla="*/ 125 w 283"/>
                <a:gd name="T45" fmla="*/ 278 h 278"/>
                <a:gd name="T46" fmla="*/ 157 w 283"/>
                <a:gd name="T47" fmla="*/ 278 h 278"/>
                <a:gd name="T48" fmla="*/ 187 w 283"/>
                <a:gd name="T49" fmla="*/ 272 h 278"/>
                <a:gd name="T50" fmla="*/ 207 w 283"/>
                <a:gd name="T51" fmla="*/ 265 h 278"/>
                <a:gd name="T52" fmla="*/ 224 w 283"/>
                <a:gd name="T53" fmla="*/ 256 h 278"/>
                <a:gd name="T54" fmla="*/ 240 w 283"/>
                <a:gd name="T55" fmla="*/ 244 h 278"/>
                <a:gd name="T56" fmla="*/ 255 w 283"/>
                <a:gd name="T57" fmla="*/ 229 h 278"/>
                <a:gd name="T58" fmla="*/ 266 w 283"/>
                <a:gd name="T59" fmla="*/ 213 h 278"/>
                <a:gd name="T60" fmla="*/ 275 w 283"/>
                <a:gd name="T61" fmla="*/ 194 h 278"/>
                <a:gd name="T62" fmla="*/ 280 w 283"/>
                <a:gd name="T63" fmla="*/ 17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3" h="278">
                  <a:moveTo>
                    <a:pt x="282" y="162"/>
                  </a:moveTo>
                  <a:lnTo>
                    <a:pt x="283" y="144"/>
                  </a:lnTo>
                  <a:lnTo>
                    <a:pt x="283" y="128"/>
                  </a:lnTo>
                  <a:lnTo>
                    <a:pt x="280" y="111"/>
                  </a:lnTo>
                  <a:lnTo>
                    <a:pt x="276" y="95"/>
                  </a:lnTo>
                  <a:lnTo>
                    <a:pt x="270" y="80"/>
                  </a:lnTo>
                  <a:lnTo>
                    <a:pt x="262" y="65"/>
                  </a:lnTo>
                  <a:lnTo>
                    <a:pt x="251" y="52"/>
                  </a:lnTo>
                  <a:lnTo>
                    <a:pt x="239" y="40"/>
                  </a:lnTo>
                  <a:lnTo>
                    <a:pt x="227" y="29"/>
                  </a:lnTo>
                  <a:lnTo>
                    <a:pt x="212" y="20"/>
                  </a:lnTo>
                  <a:lnTo>
                    <a:pt x="197" y="12"/>
                  </a:lnTo>
                  <a:lnTo>
                    <a:pt x="181" y="5"/>
                  </a:lnTo>
                  <a:lnTo>
                    <a:pt x="165" y="1"/>
                  </a:lnTo>
                  <a:lnTo>
                    <a:pt x="149" y="0"/>
                  </a:lnTo>
                  <a:lnTo>
                    <a:pt x="132" y="0"/>
                  </a:lnTo>
                  <a:lnTo>
                    <a:pt x="114" y="2"/>
                  </a:lnTo>
                  <a:lnTo>
                    <a:pt x="97" y="6"/>
                  </a:lnTo>
                  <a:lnTo>
                    <a:pt x="81" y="14"/>
                  </a:lnTo>
                  <a:lnTo>
                    <a:pt x="66" y="24"/>
                  </a:lnTo>
                  <a:lnTo>
                    <a:pt x="52" y="34"/>
                  </a:lnTo>
                  <a:lnTo>
                    <a:pt x="39" y="46"/>
                  </a:lnTo>
                  <a:lnTo>
                    <a:pt x="28" y="60"/>
                  </a:lnTo>
                  <a:lnTo>
                    <a:pt x="19" y="76"/>
                  </a:lnTo>
                  <a:lnTo>
                    <a:pt x="12" y="91"/>
                  </a:lnTo>
                  <a:lnTo>
                    <a:pt x="6" y="108"/>
                  </a:lnTo>
                  <a:lnTo>
                    <a:pt x="3" y="124"/>
                  </a:lnTo>
                  <a:lnTo>
                    <a:pt x="0" y="142"/>
                  </a:lnTo>
                  <a:lnTo>
                    <a:pt x="2" y="159"/>
                  </a:lnTo>
                  <a:lnTo>
                    <a:pt x="4" y="177"/>
                  </a:lnTo>
                  <a:lnTo>
                    <a:pt x="10" y="193"/>
                  </a:lnTo>
                  <a:lnTo>
                    <a:pt x="14" y="201"/>
                  </a:lnTo>
                  <a:lnTo>
                    <a:pt x="18" y="209"/>
                  </a:lnTo>
                  <a:lnTo>
                    <a:pt x="23" y="217"/>
                  </a:lnTo>
                  <a:lnTo>
                    <a:pt x="30" y="223"/>
                  </a:lnTo>
                  <a:lnTo>
                    <a:pt x="35" y="233"/>
                  </a:lnTo>
                  <a:lnTo>
                    <a:pt x="43" y="240"/>
                  </a:lnTo>
                  <a:lnTo>
                    <a:pt x="50" y="248"/>
                  </a:lnTo>
                  <a:lnTo>
                    <a:pt x="59" y="254"/>
                  </a:lnTo>
                  <a:lnTo>
                    <a:pt x="67" y="260"/>
                  </a:lnTo>
                  <a:lnTo>
                    <a:pt x="77" y="264"/>
                  </a:lnTo>
                  <a:lnTo>
                    <a:pt x="86" y="268"/>
                  </a:lnTo>
                  <a:lnTo>
                    <a:pt x="95" y="272"/>
                  </a:lnTo>
                  <a:lnTo>
                    <a:pt x="105" y="274"/>
                  </a:lnTo>
                  <a:lnTo>
                    <a:pt x="115" y="277"/>
                  </a:lnTo>
                  <a:lnTo>
                    <a:pt x="125" y="278"/>
                  </a:lnTo>
                  <a:lnTo>
                    <a:pt x="136" y="278"/>
                  </a:lnTo>
                  <a:lnTo>
                    <a:pt x="157" y="278"/>
                  </a:lnTo>
                  <a:lnTo>
                    <a:pt x="177" y="274"/>
                  </a:lnTo>
                  <a:lnTo>
                    <a:pt x="187" y="272"/>
                  </a:lnTo>
                  <a:lnTo>
                    <a:pt x="197" y="269"/>
                  </a:lnTo>
                  <a:lnTo>
                    <a:pt x="207" y="265"/>
                  </a:lnTo>
                  <a:lnTo>
                    <a:pt x="215" y="261"/>
                  </a:lnTo>
                  <a:lnTo>
                    <a:pt x="224" y="256"/>
                  </a:lnTo>
                  <a:lnTo>
                    <a:pt x="232" y="250"/>
                  </a:lnTo>
                  <a:lnTo>
                    <a:pt x="240" y="244"/>
                  </a:lnTo>
                  <a:lnTo>
                    <a:pt x="248" y="237"/>
                  </a:lnTo>
                  <a:lnTo>
                    <a:pt x="255" y="229"/>
                  </a:lnTo>
                  <a:lnTo>
                    <a:pt x="260" y="221"/>
                  </a:lnTo>
                  <a:lnTo>
                    <a:pt x="266" y="213"/>
                  </a:lnTo>
                  <a:lnTo>
                    <a:pt x="271" y="203"/>
                  </a:lnTo>
                  <a:lnTo>
                    <a:pt x="275" y="194"/>
                  </a:lnTo>
                  <a:lnTo>
                    <a:pt x="278" y="185"/>
                  </a:lnTo>
                  <a:lnTo>
                    <a:pt x="280" y="174"/>
                  </a:lnTo>
                  <a:lnTo>
                    <a:pt x="282" y="162"/>
                  </a:lnTo>
                  <a:close/>
                </a:path>
              </a:pathLst>
            </a:custGeom>
            <a:grpFill/>
            <a:ln w="9525">
              <a:noFill/>
              <a:round/>
            </a:ln>
          </p:spPr>
          <p:txBody>
            <a:bodyPr vert="horz" wrap="square" lIns="91440" tIns="45720" rIns="91440" bIns="45720" numCol="1" anchor="t" anchorCtr="0" compatLnSpc="1"/>
            <a:lstStyle/>
            <a:p>
              <a:endParaRPr lang="en-US"/>
            </a:p>
          </p:txBody>
        </p:sp>
        <p:sp>
          <p:nvSpPr>
            <p:cNvPr id="108" name="Freeform 59"/>
            <p:cNvSpPr/>
            <p:nvPr/>
          </p:nvSpPr>
          <p:spPr bwMode="auto">
            <a:xfrm>
              <a:off x="3327401" y="4506913"/>
              <a:ext cx="407988" cy="742950"/>
            </a:xfrm>
            <a:custGeom>
              <a:avLst/>
              <a:gdLst>
                <a:gd name="T0" fmla="*/ 690 w 770"/>
                <a:gd name="T1" fmla="*/ 245 h 1403"/>
                <a:gd name="T2" fmla="*/ 650 w 770"/>
                <a:gd name="T3" fmla="*/ 122 h 1403"/>
                <a:gd name="T4" fmla="*/ 616 w 770"/>
                <a:gd name="T5" fmla="*/ 60 h 1403"/>
                <a:gd name="T6" fmla="*/ 573 w 770"/>
                <a:gd name="T7" fmla="*/ 25 h 1403"/>
                <a:gd name="T8" fmla="*/ 521 w 770"/>
                <a:gd name="T9" fmla="*/ 6 h 1403"/>
                <a:gd name="T10" fmla="*/ 451 w 770"/>
                <a:gd name="T11" fmla="*/ 0 h 1403"/>
                <a:gd name="T12" fmla="*/ 323 w 770"/>
                <a:gd name="T13" fmla="*/ 0 h 1403"/>
                <a:gd name="T14" fmla="*/ 238 w 770"/>
                <a:gd name="T15" fmla="*/ 8 h 1403"/>
                <a:gd name="T16" fmla="*/ 178 w 770"/>
                <a:gd name="T17" fmla="*/ 36 h 1403"/>
                <a:gd name="T18" fmla="*/ 135 w 770"/>
                <a:gd name="T19" fmla="*/ 88 h 1403"/>
                <a:gd name="T20" fmla="*/ 95 w 770"/>
                <a:gd name="T21" fmla="*/ 197 h 1403"/>
                <a:gd name="T22" fmla="*/ 59 w 770"/>
                <a:gd name="T23" fmla="*/ 325 h 1403"/>
                <a:gd name="T24" fmla="*/ 20 w 770"/>
                <a:gd name="T25" fmla="*/ 457 h 1403"/>
                <a:gd name="T26" fmla="*/ 1 w 770"/>
                <a:gd name="T27" fmla="*/ 568 h 1403"/>
                <a:gd name="T28" fmla="*/ 24 w 770"/>
                <a:gd name="T29" fmla="*/ 596 h 1403"/>
                <a:gd name="T30" fmla="*/ 60 w 770"/>
                <a:gd name="T31" fmla="*/ 603 h 1403"/>
                <a:gd name="T32" fmla="*/ 95 w 770"/>
                <a:gd name="T33" fmla="*/ 590 h 1403"/>
                <a:gd name="T34" fmla="*/ 124 w 770"/>
                <a:gd name="T35" fmla="*/ 521 h 1403"/>
                <a:gd name="T36" fmla="*/ 175 w 770"/>
                <a:gd name="T37" fmla="*/ 342 h 1403"/>
                <a:gd name="T38" fmla="*/ 229 w 770"/>
                <a:gd name="T39" fmla="*/ 199 h 1403"/>
                <a:gd name="T40" fmla="*/ 181 w 770"/>
                <a:gd name="T41" fmla="*/ 437 h 1403"/>
                <a:gd name="T42" fmla="*/ 96 w 770"/>
                <a:gd name="T43" fmla="*/ 765 h 1403"/>
                <a:gd name="T44" fmla="*/ 202 w 770"/>
                <a:gd name="T45" fmla="*/ 848 h 1403"/>
                <a:gd name="T46" fmla="*/ 244 w 770"/>
                <a:gd name="T47" fmla="*/ 1035 h 1403"/>
                <a:gd name="T48" fmla="*/ 244 w 770"/>
                <a:gd name="T49" fmla="*/ 1284 h 1403"/>
                <a:gd name="T50" fmla="*/ 258 w 770"/>
                <a:gd name="T51" fmla="*/ 1379 h 1403"/>
                <a:gd name="T52" fmla="*/ 297 w 770"/>
                <a:gd name="T53" fmla="*/ 1401 h 1403"/>
                <a:gd name="T54" fmla="*/ 340 w 770"/>
                <a:gd name="T55" fmla="*/ 1394 h 1403"/>
                <a:gd name="T56" fmla="*/ 368 w 770"/>
                <a:gd name="T57" fmla="*/ 1359 h 1403"/>
                <a:gd name="T58" fmla="*/ 372 w 770"/>
                <a:gd name="T59" fmla="*/ 1159 h 1403"/>
                <a:gd name="T60" fmla="*/ 372 w 770"/>
                <a:gd name="T61" fmla="*/ 910 h 1403"/>
                <a:gd name="T62" fmla="*/ 412 w 770"/>
                <a:gd name="T63" fmla="*/ 907 h 1403"/>
                <a:gd name="T64" fmla="*/ 412 w 770"/>
                <a:gd name="T65" fmla="*/ 1149 h 1403"/>
                <a:gd name="T66" fmla="*/ 412 w 770"/>
                <a:gd name="T67" fmla="*/ 1336 h 1403"/>
                <a:gd name="T68" fmla="*/ 418 w 770"/>
                <a:gd name="T69" fmla="*/ 1363 h 1403"/>
                <a:gd name="T70" fmla="*/ 433 w 770"/>
                <a:gd name="T71" fmla="*/ 1386 h 1403"/>
                <a:gd name="T72" fmla="*/ 457 w 770"/>
                <a:gd name="T73" fmla="*/ 1401 h 1403"/>
                <a:gd name="T74" fmla="*/ 485 w 770"/>
                <a:gd name="T75" fmla="*/ 1403 h 1403"/>
                <a:gd name="T76" fmla="*/ 510 w 770"/>
                <a:gd name="T77" fmla="*/ 1393 h 1403"/>
                <a:gd name="T78" fmla="*/ 532 w 770"/>
                <a:gd name="T79" fmla="*/ 1367 h 1403"/>
                <a:gd name="T80" fmla="*/ 541 w 770"/>
                <a:gd name="T81" fmla="*/ 1267 h 1403"/>
                <a:gd name="T82" fmla="*/ 541 w 770"/>
                <a:gd name="T83" fmla="*/ 1028 h 1403"/>
                <a:gd name="T84" fmla="*/ 584 w 770"/>
                <a:gd name="T85" fmla="*/ 848 h 1403"/>
                <a:gd name="T86" fmla="*/ 686 w 770"/>
                <a:gd name="T87" fmla="*/ 764 h 1403"/>
                <a:gd name="T88" fmla="*/ 588 w 770"/>
                <a:gd name="T89" fmla="*/ 430 h 1403"/>
                <a:gd name="T90" fmla="*/ 532 w 770"/>
                <a:gd name="T91" fmla="*/ 189 h 1403"/>
                <a:gd name="T92" fmla="*/ 553 w 770"/>
                <a:gd name="T93" fmla="*/ 216 h 1403"/>
                <a:gd name="T94" fmla="*/ 596 w 770"/>
                <a:gd name="T95" fmla="*/ 352 h 1403"/>
                <a:gd name="T96" fmla="*/ 650 w 770"/>
                <a:gd name="T97" fmla="*/ 523 h 1403"/>
                <a:gd name="T98" fmla="*/ 678 w 770"/>
                <a:gd name="T99" fmla="*/ 584 h 1403"/>
                <a:gd name="T100" fmla="*/ 701 w 770"/>
                <a:gd name="T101" fmla="*/ 599 h 1403"/>
                <a:gd name="T102" fmla="*/ 752 w 770"/>
                <a:gd name="T103" fmla="*/ 599 h 1403"/>
                <a:gd name="T104" fmla="*/ 770 w 770"/>
                <a:gd name="T105" fmla="*/ 548 h 1403"/>
                <a:gd name="T106" fmla="*/ 762 w 770"/>
                <a:gd name="T107" fmla="*/ 486 h 1403"/>
                <a:gd name="T108" fmla="*/ 730 w 770"/>
                <a:gd name="T109" fmla="*/ 382 h 1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70" h="1403">
                  <a:moveTo>
                    <a:pt x="722" y="352"/>
                  </a:moveTo>
                  <a:lnTo>
                    <a:pt x="710" y="316"/>
                  </a:lnTo>
                  <a:lnTo>
                    <a:pt x="699" y="281"/>
                  </a:lnTo>
                  <a:lnTo>
                    <a:pt x="690" y="245"/>
                  </a:lnTo>
                  <a:lnTo>
                    <a:pt x="679" y="209"/>
                  </a:lnTo>
                  <a:lnTo>
                    <a:pt x="669" y="174"/>
                  </a:lnTo>
                  <a:lnTo>
                    <a:pt x="656" y="139"/>
                  </a:lnTo>
                  <a:lnTo>
                    <a:pt x="650" y="122"/>
                  </a:lnTo>
                  <a:lnTo>
                    <a:pt x="642" y="104"/>
                  </a:lnTo>
                  <a:lnTo>
                    <a:pt x="634" y="88"/>
                  </a:lnTo>
                  <a:lnTo>
                    <a:pt x="624" y="72"/>
                  </a:lnTo>
                  <a:lnTo>
                    <a:pt x="616" y="60"/>
                  </a:lnTo>
                  <a:lnTo>
                    <a:pt x="607" y="49"/>
                  </a:lnTo>
                  <a:lnTo>
                    <a:pt x="596" y="40"/>
                  </a:lnTo>
                  <a:lnTo>
                    <a:pt x="585" y="32"/>
                  </a:lnTo>
                  <a:lnTo>
                    <a:pt x="573" y="25"/>
                  </a:lnTo>
                  <a:lnTo>
                    <a:pt x="561" y="18"/>
                  </a:lnTo>
                  <a:lnTo>
                    <a:pt x="548" y="13"/>
                  </a:lnTo>
                  <a:lnTo>
                    <a:pt x="536" y="9"/>
                  </a:lnTo>
                  <a:lnTo>
                    <a:pt x="521" y="6"/>
                  </a:lnTo>
                  <a:lnTo>
                    <a:pt x="508" y="4"/>
                  </a:lnTo>
                  <a:lnTo>
                    <a:pt x="494" y="1"/>
                  </a:lnTo>
                  <a:lnTo>
                    <a:pt x="479" y="1"/>
                  </a:lnTo>
                  <a:lnTo>
                    <a:pt x="451" y="0"/>
                  </a:lnTo>
                  <a:lnTo>
                    <a:pt x="425" y="1"/>
                  </a:lnTo>
                  <a:lnTo>
                    <a:pt x="391" y="1"/>
                  </a:lnTo>
                  <a:lnTo>
                    <a:pt x="356" y="1"/>
                  </a:lnTo>
                  <a:lnTo>
                    <a:pt x="323" y="0"/>
                  </a:lnTo>
                  <a:lnTo>
                    <a:pt x="288" y="1"/>
                  </a:lnTo>
                  <a:lnTo>
                    <a:pt x="270" y="2"/>
                  </a:lnTo>
                  <a:lnTo>
                    <a:pt x="254" y="5"/>
                  </a:lnTo>
                  <a:lnTo>
                    <a:pt x="238" y="8"/>
                  </a:lnTo>
                  <a:lnTo>
                    <a:pt x="222" y="12"/>
                  </a:lnTo>
                  <a:lnTo>
                    <a:pt x="206" y="18"/>
                  </a:lnTo>
                  <a:lnTo>
                    <a:pt x="191" y="26"/>
                  </a:lnTo>
                  <a:lnTo>
                    <a:pt x="178" y="36"/>
                  </a:lnTo>
                  <a:lnTo>
                    <a:pt x="164" y="47"/>
                  </a:lnTo>
                  <a:lnTo>
                    <a:pt x="154" y="60"/>
                  </a:lnTo>
                  <a:lnTo>
                    <a:pt x="144" y="73"/>
                  </a:lnTo>
                  <a:lnTo>
                    <a:pt x="135" y="88"/>
                  </a:lnTo>
                  <a:lnTo>
                    <a:pt x="128" y="103"/>
                  </a:lnTo>
                  <a:lnTo>
                    <a:pt x="115" y="132"/>
                  </a:lnTo>
                  <a:lnTo>
                    <a:pt x="104" y="165"/>
                  </a:lnTo>
                  <a:lnTo>
                    <a:pt x="95" y="197"/>
                  </a:lnTo>
                  <a:lnTo>
                    <a:pt x="87" y="229"/>
                  </a:lnTo>
                  <a:lnTo>
                    <a:pt x="77" y="261"/>
                  </a:lnTo>
                  <a:lnTo>
                    <a:pt x="68" y="293"/>
                  </a:lnTo>
                  <a:lnTo>
                    <a:pt x="59" y="325"/>
                  </a:lnTo>
                  <a:lnTo>
                    <a:pt x="49" y="359"/>
                  </a:lnTo>
                  <a:lnTo>
                    <a:pt x="38" y="391"/>
                  </a:lnTo>
                  <a:lnTo>
                    <a:pt x="29" y="425"/>
                  </a:lnTo>
                  <a:lnTo>
                    <a:pt x="20" y="457"/>
                  </a:lnTo>
                  <a:lnTo>
                    <a:pt x="10" y="490"/>
                  </a:lnTo>
                  <a:lnTo>
                    <a:pt x="4" y="524"/>
                  </a:lnTo>
                  <a:lnTo>
                    <a:pt x="0" y="557"/>
                  </a:lnTo>
                  <a:lnTo>
                    <a:pt x="1" y="568"/>
                  </a:lnTo>
                  <a:lnTo>
                    <a:pt x="5" y="576"/>
                  </a:lnTo>
                  <a:lnTo>
                    <a:pt x="9" y="584"/>
                  </a:lnTo>
                  <a:lnTo>
                    <a:pt x="16" y="591"/>
                  </a:lnTo>
                  <a:lnTo>
                    <a:pt x="24" y="596"/>
                  </a:lnTo>
                  <a:lnTo>
                    <a:pt x="32" y="600"/>
                  </a:lnTo>
                  <a:lnTo>
                    <a:pt x="41" y="603"/>
                  </a:lnTo>
                  <a:lnTo>
                    <a:pt x="50" y="604"/>
                  </a:lnTo>
                  <a:lnTo>
                    <a:pt x="60" y="603"/>
                  </a:lnTo>
                  <a:lnTo>
                    <a:pt x="69" y="602"/>
                  </a:lnTo>
                  <a:lnTo>
                    <a:pt x="79" y="599"/>
                  </a:lnTo>
                  <a:lnTo>
                    <a:pt x="87" y="595"/>
                  </a:lnTo>
                  <a:lnTo>
                    <a:pt x="95" y="590"/>
                  </a:lnTo>
                  <a:lnTo>
                    <a:pt x="101" y="583"/>
                  </a:lnTo>
                  <a:lnTo>
                    <a:pt x="107" y="575"/>
                  </a:lnTo>
                  <a:lnTo>
                    <a:pt x="109" y="565"/>
                  </a:lnTo>
                  <a:lnTo>
                    <a:pt x="124" y="521"/>
                  </a:lnTo>
                  <a:lnTo>
                    <a:pt x="138" y="477"/>
                  </a:lnTo>
                  <a:lnTo>
                    <a:pt x="151" y="431"/>
                  </a:lnTo>
                  <a:lnTo>
                    <a:pt x="163" y="387"/>
                  </a:lnTo>
                  <a:lnTo>
                    <a:pt x="175" y="342"/>
                  </a:lnTo>
                  <a:lnTo>
                    <a:pt x="189" y="296"/>
                  </a:lnTo>
                  <a:lnTo>
                    <a:pt x="202" y="252"/>
                  </a:lnTo>
                  <a:lnTo>
                    <a:pt x="217" y="207"/>
                  </a:lnTo>
                  <a:lnTo>
                    <a:pt x="229" y="199"/>
                  </a:lnTo>
                  <a:lnTo>
                    <a:pt x="242" y="190"/>
                  </a:lnTo>
                  <a:lnTo>
                    <a:pt x="222" y="273"/>
                  </a:lnTo>
                  <a:lnTo>
                    <a:pt x="202" y="355"/>
                  </a:lnTo>
                  <a:lnTo>
                    <a:pt x="181" y="437"/>
                  </a:lnTo>
                  <a:lnTo>
                    <a:pt x="159" y="519"/>
                  </a:lnTo>
                  <a:lnTo>
                    <a:pt x="138" y="600"/>
                  </a:lnTo>
                  <a:lnTo>
                    <a:pt x="118" y="683"/>
                  </a:lnTo>
                  <a:lnTo>
                    <a:pt x="96" y="765"/>
                  </a:lnTo>
                  <a:lnTo>
                    <a:pt x="76" y="847"/>
                  </a:lnTo>
                  <a:lnTo>
                    <a:pt x="118" y="848"/>
                  </a:lnTo>
                  <a:lnTo>
                    <a:pt x="159" y="848"/>
                  </a:lnTo>
                  <a:lnTo>
                    <a:pt x="202" y="848"/>
                  </a:lnTo>
                  <a:lnTo>
                    <a:pt x="244" y="848"/>
                  </a:lnTo>
                  <a:lnTo>
                    <a:pt x="244" y="910"/>
                  </a:lnTo>
                  <a:lnTo>
                    <a:pt x="244" y="973"/>
                  </a:lnTo>
                  <a:lnTo>
                    <a:pt x="244" y="1035"/>
                  </a:lnTo>
                  <a:lnTo>
                    <a:pt x="244" y="1098"/>
                  </a:lnTo>
                  <a:lnTo>
                    <a:pt x="244" y="1159"/>
                  </a:lnTo>
                  <a:lnTo>
                    <a:pt x="244" y="1221"/>
                  </a:lnTo>
                  <a:lnTo>
                    <a:pt x="244" y="1284"/>
                  </a:lnTo>
                  <a:lnTo>
                    <a:pt x="245" y="1346"/>
                  </a:lnTo>
                  <a:lnTo>
                    <a:pt x="248" y="1359"/>
                  </a:lnTo>
                  <a:lnTo>
                    <a:pt x="252" y="1370"/>
                  </a:lnTo>
                  <a:lnTo>
                    <a:pt x="258" y="1379"/>
                  </a:lnTo>
                  <a:lnTo>
                    <a:pt x="266" y="1387"/>
                  </a:lnTo>
                  <a:lnTo>
                    <a:pt x="276" y="1394"/>
                  </a:lnTo>
                  <a:lnTo>
                    <a:pt x="286" y="1398"/>
                  </a:lnTo>
                  <a:lnTo>
                    <a:pt x="297" y="1401"/>
                  </a:lnTo>
                  <a:lnTo>
                    <a:pt x="308" y="1402"/>
                  </a:lnTo>
                  <a:lnTo>
                    <a:pt x="319" y="1401"/>
                  </a:lnTo>
                  <a:lnTo>
                    <a:pt x="329" y="1398"/>
                  </a:lnTo>
                  <a:lnTo>
                    <a:pt x="340" y="1394"/>
                  </a:lnTo>
                  <a:lnTo>
                    <a:pt x="349" y="1389"/>
                  </a:lnTo>
                  <a:lnTo>
                    <a:pt x="357" y="1381"/>
                  </a:lnTo>
                  <a:lnTo>
                    <a:pt x="363" y="1371"/>
                  </a:lnTo>
                  <a:lnTo>
                    <a:pt x="368" y="1359"/>
                  </a:lnTo>
                  <a:lnTo>
                    <a:pt x="370" y="1347"/>
                  </a:lnTo>
                  <a:lnTo>
                    <a:pt x="372" y="1284"/>
                  </a:lnTo>
                  <a:lnTo>
                    <a:pt x="372" y="1222"/>
                  </a:lnTo>
                  <a:lnTo>
                    <a:pt x="372" y="1159"/>
                  </a:lnTo>
                  <a:lnTo>
                    <a:pt x="372" y="1098"/>
                  </a:lnTo>
                  <a:lnTo>
                    <a:pt x="372" y="1035"/>
                  </a:lnTo>
                  <a:lnTo>
                    <a:pt x="372" y="973"/>
                  </a:lnTo>
                  <a:lnTo>
                    <a:pt x="372" y="910"/>
                  </a:lnTo>
                  <a:lnTo>
                    <a:pt x="372" y="848"/>
                  </a:lnTo>
                  <a:lnTo>
                    <a:pt x="392" y="847"/>
                  </a:lnTo>
                  <a:lnTo>
                    <a:pt x="411" y="847"/>
                  </a:lnTo>
                  <a:lnTo>
                    <a:pt x="412" y="907"/>
                  </a:lnTo>
                  <a:lnTo>
                    <a:pt x="412" y="968"/>
                  </a:lnTo>
                  <a:lnTo>
                    <a:pt x="412" y="1028"/>
                  </a:lnTo>
                  <a:lnTo>
                    <a:pt x="412" y="1088"/>
                  </a:lnTo>
                  <a:lnTo>
                    <a:pt x="412" y="1149"/>
                  </a:lnTo>
                  <a:lnTo>
                    <a:pt x="412" y="1209"/>
                  </a:lnTo>
                  <a:lnTo>
                    <a:pt x="412" y="1269"/>
                  </a:lnTo>
                  <a:lnTo>
                    <a:pt x="412" y="1330"/>
                  </a:lnTo>
                  <a:lnTo>
                    <a:pt x="412" y="1336"/>
                  </a:lnTo>
                  <a:lnTo>
                    <a:pt x="412" y="1343"/>
                  </a:lnTo>
                  <a:lnTo>
                    <a:pt x="414" y="1350"/>
                  </a:lnTo>
                  <a:lnTo>
                    <a:pt x="415" y="1357"/>
                  </a:lnTo>
                  <a:lnTo>
                    <a:pt x="418" y="1363"/>
                  </a:lnTo>
                  <a:lnTo>
                    <a:pt x="420" y="1370"/>
                  </a:lnTo>
                  <a:lnTo>
                    <a:pt x="425" y="1375"/>
                  </a:lnTo>
                  <a:lnTo>
                    <a:pt x="429" y="1381"/>
                  </a:lnTo>
                  <a:lnTo>
                    <a:pt x="433" y="1386"/>
                  </a:lnTo>
                  <a:lnTo>
                    <a:pt x="438" y="1391"/>
                  </a:lnTo>
                  <a:lnTo>
                    <a:pt x="443" y="1394"/>
                  </a:lnTo>
                  <a:lnTo>
                    <a:pt x="450" y="1398"/>
                  </a:lnTo>
                  <a:lnTo>
                    <a:pt x="457" y="1401"/>
                  </a:lnTo>
                  <a:lnTo>
                    <a:pt x="463" y="1402"/>
                  </a:lnTo>
                  <a:lnTo>
                    <a:pt x="470" y="1403"/>
                  </a:lnTo>
                  <a:lnTo>
                    <a:pt x="477" y="1403"/>
                  </a:lnTo>
                  <a:lnTo>
                    <a:pt x="485" y="1403"/>
                  </a:lnTo>
                  <a:lnTo>
                    <a:pt x="492" y="1402"/>
                  </a:lnTo>
                  <a:lnTo>
                    <a:pt x="498" y="1399"/>
                  </a:lnTo>
                  <a:lnTo>
                    <a:pt x="504" y="1397"/>
                  </a:lnTo>
                  <a:lnTo>
                    <a:pt x="510" y="1393"/>
                  </a:lnTo>
                  <a:lnTo>
                    <a:pt x="516" y="1389"/>
                  </a:lnTo>
                  <a:lnTo>
                    <a:pt x="520" y="1385"/>
                  </a:lnTo>
                  <a:lnTo>
                    <a:pt x="524" y="1379"/>
                  </a:lnTo>
                  <a:lnTo>
                    <a:pt x="532" y="1367"/>
                  </a:lnTo>
                  <a:lnTo>
                    <a:pt x="537" y="1354"/>
                  </a:lnTo>
                  <a:lnTo>
                    <a:pt x="540" y="1340"/>
                  </a:lnTo>
                  <a:lnTo>
                    <a:pt x="540" y="1327"/>
                  </a:lnTo>
                  <a:lnTo>
                    <a:pt x="541" y="1267"/>
                  </a:lnTo>
                  <a:lnTo>
                    <a:pt x="542" y="1208"/>
                  </a:lnTo>
                  <a:lnTo>
                    <a:pt x="542" y="1147"/>
                  </a:lnTo>
                  <a:lnTo>
                    <a:pt x="541" y="1087"/>
                  </a:lnTo>
                  <a:lnTo>
                    <a:pt x="541" y="1028"/>
                  </a:lnTo>
                  <a:lnTo>
                    <a:pt x="541" y="968"/>
                  </a:lnTo>
                  <a:lnTo>
                    <a:pt x="541" y="907"/>
                  </a:lnTo>
                  <a:lnTo>
                    <a:pt x="542" y="848"/>
                  </a:lnTo>
                  <a:lnTo>
                    <a:pt x="584" y="848"/>
                  </a:lnTo>
                  <a:lnTo>
                    <a:pt x="626" y="848"/>
                  </a:lnTo>
                  <a:lnTo>
                    <a:pt x="667" y="848"/>
                  </a:lnTo>
                  <a:lnTo>
                    <a:pt x="709" y="848"/>
                  </a:lnTo>
                  <a:lnTo>
                    <a:pt x="686" y="764"/>
                  </a:lnTo>
                  <a:lnTo>
                    <a:pt x="662" y="681"/>
                  </a:lnTo>
                  <a:lnTo>
                    <a:pt x="636" y="598"/>
                  </a:lnTo>
                  <a:lnTo>
                    <a:pt x="612" y="515"/>
                  </a:lnTo>
                  <a:lnTo>
                    <a:pt x="588" y="430"/>
                  </a:lnTo>
                  <a:lnTo>
                    <a:pt x="564" y="347"/>
                  </a:lnTo>
                  <a:lnTo>
                    <a:pt x="541" y="264"/>
                  </a:lnTo>
                  <a:lnTo>
                    <a:pt x="521" y="179"/>
                  </a:lnTo>
                  <a:lnTo>
                    <a:pt x="532" y="189"/>
                  </a:lnTo>
                  <a:lnTo>
                    <a:pt x="542" y="198"/>
                  </a:lnTo>
                  <a:lnTo>
                    <a:pt x="547" y="203"/>
                  </a:lnTo>
                  <a:lnTo>
                    <a:pt x="551" y="210"/>
                  </a:lnTo>
                  <a:lnTo>
                    <a:pt x="553" y="216"/>
                  </a:lnTo>
                  <a:lnTo>
                    <a:pt x="556" y="224"/>
                  </a:lnTo>
                  <a:lnTo>
                    <a:pt x="571" y="265"/>
                  </a:lnTo>
                  <a:lnTo>
                    <a:pt x="584" y="308"/>
                  </a:lnTo>
                  <a:lnTo>
                    <a:pt x="596" y="352"/>
                  </a:lnTo>
                  <a:lnTo>
                    <a:pt x="610" y="395"/>
                  </a:lnTo>
                  <a:lnTo>
                    <a:pt x="623" y="438"/>
                  </a:lnTo>
                  <a:lnTo>
                    <a:pt x="636" y="481"/>
                  </a:lnTo>
                  <a:lnTo>
                    <a:pt x="650" y="523"/>
                  </a:lnTo>
                  <a:lnTo>
                    <a:pt x="664" y="565"/>
                  </a:lnTo>
                  <a:lnTo>
                    <a:pt x="669" y="572"/>
                  </a:lnTo>
                  <a:lnTo>
                    <a:pt x="673" y="579"/>
                  </a:lnTo>
                  <a:lnTo>
                    <a:pt x="678" y="584"/>
                  </a:lnTo>
                  <a:lnTo>
                    <a:pt x="683" y="590"/>
                  </a:lnTo>
                  <a:lnTo>
                    <a:pt x="689" y="592"/>
                  </a:lnTo>
                  <a:lnTo>
                    <a:pt x="695" y="596"/>
                  </a:lnTo>
                  <a:lnTo>
                    <a:pt x="701" y="599"/>
                  </a:lnTo>
                  <a:lnTo>
                    <a:pt x="709" y="600"/>
                  </a:lnTo>
                  <a:lnTo>
                    <a:pt x="722" y="602"/>
                  </a:lnTo>
                  <a:lnTo>
                    <a:pt x="737" y="602"/>
                  </a:lnTo>
                  <a:lnTo>
                    <a:pt x="752" y="599"/>
                  </a:lnTo>
                  <a:lnTo>
                    <a:pt x="765" y="595"/>
                  </a:lnTo>
                  <a:lnTo>
                    <a:pt x="769" y="579"/>
                  </a:lnTo>
                  <a:lnTo>
                    <a:pt x="770" y="564"/>
                  </a:lnTo>
                  <a:lnTo>
                    <a:pt x="770" y="548"/>
                  </a:lnTo>
                  <a:lnTo>
                    <a:pt x="769" y="533"/>
                  </a:lnTo>
                  <a:lnTo>
                    <a:pt x="768" y="517"/>
                  </a:lnTo>
                  <a:lnTo>
                    <a:pt x="765" y="502"/>
                  </a:lnTo>
                  <a:lnTo>
                    <a:pt x="762" y="486"/>
                  </a:lnTo>
                  <a:lnTo>
                    <a:pt x="758" y="472"/>
                  </a:lnTo>
                  <a:lnTo>
                    <a:pt x="749" y="442"/>
                  </a:lnTo>
                  <a:lnTo>
                    <a:pt x="740" y="411"/>
                  </a:lnTo>
                  <a:lnTo>
                    <a:pt x="730" y="382"/>
                  </a:lnTo>
                  <a:lnTo>
                    <a:pt x="722" y="352"/>
                  </a:lnTo>
                  <a:close/>
                </a:path>
              </a:pathLst>
            </a:custGeom>
            <a:grpFill/>
            <a:ln w="9525">
              <a:noFill/>
              <a:round/>
            </a:ln>
          </p:spPr>
          <p:txBody>
            <a:bodyPr vert="horz" wrap="square" lIns="91440" tIns="45720" rIns="91440" bIns="45720" numCol="1" anchor="t" anchorCtr="0" compatLnSpc="1"/>
            <a:lstStyle/>
            <a:p>
              <a:endParaRPr lang="en-US"/>
            </a:p>
          </p:txBody>
        </p:sp>
      </p:grpSp>
      <p:grpSp>
        <p:nvGrpSpPr>
          <p:cNvPr id="109" name="Group 108"/>
          <p:cNvGrpSpPr/>
          <p:nvPr/>
        </p:nvGrpSpPr>
        <p:grpSpPr>
          <a:xfrm>
            <a:off x="4233678" y="2635121"/>
            <a:ext cx="231047" cy="591857"/>
            <a:chOff x="3647164" y="2464482"/>
            <a:chExt cx="231047" cy="591857"/>
          </a:xfrm>
          <a:solidFill>
            <a:schemeClr val="accent1"/>
          </a:solidFill>
        </p:grpSpPr>
        <p:sp>
          <p:nvSpPr>
            <p:cNvPr id="110" name="Freeform 56"/>
            <p:cNvSpPr/>
            <p:nvPr/>
          </p:nvSpPr>
          <p:spPr bwMode="auto">
            <a:xfrm>
              <a:off x="3716795" y="2464482"/>
              <a:ext cx="96006" cy="96006"/>
            </a:xfrm>
            <a:custGeom>
              <a:avLst/>
              <a:gdLst>
                <a:gd name="T0" fmla="*/ 262 w 273"/>
                <a:gd name="T1" fmla="*/ 182 h 271"/>
                <a:gd name="T2" fmla="*/ 266 w 273"/>
                <a:gd name="T3" fmla="*/ 173 h 271"/>
                <a:gd name="T4" fmla="*/ 269 w 273"/>
                <a:gd name="T5" fmla="*/ 165 h 271"/>
                <a:gd name="T6" fmla="*/ 272 w 273"/>
                <a:gd name="T7" fmla="*/ 155 h 271"/>
                <a:gd name="T8" fmla="*/ 273 w 273"/>
                <a:gd name="T9" fmla="*/ 146 h 271"/>
                <a:gd name="T10" fmla="*/ 273 w 273"/>
                <a:gd name="T11" fmla="*/ 137 h 271"/>
                <a:gd name="T12" fmla="*/ 273 w 273"/>
                <a:gd name="T13" fmla="*/ 127 h 271"/>
                <a:gd name="T14" fmla="*/ 272 w 273"/>
                <a:gd name="T15" fmla="*/ 119 h 271"/>
                <a:gd name="T16" fmla="*/ 270 w 273"/>
                <a:gd name="T17" fmla="*/ 110 h 271"/>
                <a:gd name="T18" fmla="*/ 265 w 273"/>
                <a:gd name="T19" fmla="*/ 92 h 271"/>
                <a:gd name="T20" fmla="*/ 257 w 273"/>
                <a:gd name="T21" fmla="*/ 76 h 271"/>
                <a:gd name="T22" fmla="*/ 246 w 273"/>
                <a:gd name="T23" fmla="*/ 60 h 271"/>
                <a:gd name="T24" fmla="*/ 236 w 273"/>
                <a:gd name="T25" fmla="*/ 45 h 271"/>
                <a:gd name="T26" fmla="*/ 222 w 273"/>
                <a:gd name="T27" fmla="*/ 33 h 271"/>
                <a:gd name="T28" fmla="*/ 207 w 273"/>
                <a:gd name="T29" fmla="*/ 23 h 271"/>
                <a:gd name="T30" fmla="*/ 191 w 273"/>
                <a:gd name="T31" fmla="*/ 13 h 271"/>
                <a:gd name="T32" fmla="*/ 174 w 273"/>
                <a:gd name="T33" fmla="*/ 6 h 271"/>
                <a:gd name="T34" fmla="*/ 165 w 273"/>
                <a:gd name="T35" fmla="*/ 4 h 271"/>
                <a:gd name="T36" fmla="*/ 157 w 273"/>
                <a:gd name="T37" fmla="*/ 1 h 271"/>
                <a:gd name="T38" fmla="*/ 147 w 273"/>
                <a:gd name="T39" fmla="*/ 0 h 271"/>
                <a:gd name="T40" fmla="*/ 138 w 273"/>
                <a:gd name="T41" fmla="*/ 0 h 271"/>
                <a:gd name="T42" fmla="*/ 128 w 273"/>
                <a:gd name="T43" fmla="*/ 0 h 271"/>
                <a:gd name="T44" fmla="*/ 119 w 273"/>
                <a:gd name="T45" fmla="*/ 1 h 271"/>
                <a:gd name="T46" fmla="*/ 110 w 273"/>
                <a:gd name="T47" fmla="*/ 2 h 271"/>
                <a:gd name="T48" fmla="*/ 100 w 273"/>
                <a:gd name="T49" fmla="*/ 5 h 271"/>
                <a:gd name="T50" fmla="*/ 92 w 273"/>
                <a:gd name="T51" fmla="*/ 6 h 271"/>
                <a:gd name="T52" fmla="*/ 84 w 273"/>
                <a:gd name="T53" fmla="*/ 9 h 271"/>
                <a:gd name="T54" fmla="*/ 76 w 273"/>
                <a:gd name="T55" fmla="*/ 13 h 271"/>
                <a:gd name="T56" fmla="*/ 68 w 273"/>
                <a:gd name="T57" fmla="*/ 17 h 271"/>
                <a:gd name="T58" fmla="*/ 53 w 273"/>
                <a:gd name="T59" fmla="*/ 27 h 271"/>
                <a:gd name="T60" fmla="*/ 41 w 273"/>
                <a:gd name="T61" fmla="*/ 37 h 271"/>
                <a:gd name="T62" fmla="*/ 29 w 273"/>
                <a:gd name="T63" fmla="*/ 49 h 271"/>
                <a:gd name="T64" fmla="*/ 20 w 273"/>
                <a:gd name="T65" fmla="*/ 64 h 271"/>
                <a:gd name="T66" fmla="*/ 12 w 273"/>
                <a:gd name="T67" fmla="*/ 79 h 271"/>
                <a:gd name="T68" fmla="*/ 6 w 273"/>
                <a:gd name="T69" fmla="*/ 95 h 271"/>
                <a:gd name="T70" fmla="*/ 2 w 273"/>
                <a:gd name="T71" fmla="*/ 112 h 271"/>
                <a:gd name="T72" fmla="*/ 0 w 273"/>
                <a:gd name="T73" fmla="*/ 129 h 271"/>
                <a:gd name="T74" fmla="*/ 0 w 273"/>
                <a:gd name="T75" fmla="*/ 146 h 271"/>
                <a:gd name="T76" fmla="*/ 2 w 273"/>
                <a:gd name="T77" fmla="*/ 163 h 271"/>
                <a:gd name="T78" fmla="*/ 6 w 273"/>
                <a:gd name="T79" fmla="*/ 179 h 271"/>
                <a:gd name="T80" fmla="*/ 12 w 273"/>
                <a:gd name="T81" fmla="*/ 196 h 271"/>
                <a:gd name="T82" fmla="*/ 21 w 273"/>
                <a:gd name="T83" fmla="*/ 210 h 271"/>
                <a:gd name="T84" fmla="*/ 32 w 273"/>
                <a:gd name="T85" fmla="*/ 224 h 271"/>
                <a:gd name="T86" fmla="*/ 39 w 273"/>
                <a:gd name="T87" fmla="*/ 232 h 271"/>
                <a:gd name="T88" fmla="*/ 44 w 273"/>
                <a:gd name="T89" fmla="*/ 238 h 271"/>
                <a:gd name="T90" fmla="*/ 51 w 273"/>
                <a:gd name="T91" fmla="*/ 244 h 271"/>
                <a:gd name="T92" fmla="*/ 59 w 273"/>
                <a:gd name="T93" fmla="*/ 249 h 271"/>
                <a:gd name="T94" fmla="*/ 73 w 273"/>
                <a:gd name="T95" fmla="*/ 259 h 271"/>
                <a:gd name="T96" fmla="*/ 89 w 273"/>
                <a:gd name="T97" fmla="*/ 264 h 271"/>
                <a:gd name="T98" fmla="*/ 107 w 273"/>
                <a:gd name="T99" fmla="*/ 269 h 271"/>
                <a:gd name="T100" fmla="*/ 124 w 273"/>
                <a:gd name="T101" fmla="*/ 271 h 271"/>
                <a:gd name="T102" fmla="*/ 142 w 273"/>
                <a:gd name="T103" fmla="*/ 271 h 271"/>
                <a:gd name="T104" fmla="*/ 159 w 273"/>
                <a:gd name="T105" fmla="*/ 269 h 271"/>
                <a:gd name="T106" fmla="*/ 177 w 273"/>
                <a:gd name="T107" fmla="*/ 265 h 271"/>
                <a:gd name="T108" fmla="*/ 193 w 273"/>
                <a:gd name="T109" fmla="*/ 259 h 271"/>
                <a:gd name="T110" fmla="*/ 209 w 273"/>
                <a:gd name="T111" fmla="*/ 251 h 271"/>
                <a:gd name="T112" fmla="*/ 224 w 273"/>
                <a:gd name="T113" fmla="*/ 240 h 271"/>
                <a:gd name="T114" fmla="*/ 236 w 273"/>
                <a:gd name="T115" fmla="*/ 229 h 271"/>
                <a:gd name="T116" fmla="*/ 248 w 273"/>
                <a:gd name="T117" fmla="*/ 214 h 271"/>
                <a:gd name="T118" fmla="*/ 252 w 273"/>
                <a:gd name="T119" fmla="*/ 208 h 271"/>
                <a:gd name="T120" fmla="*/ 256 w 273"/>
                <a:gd name="T121" fmla="*/ 200 h 271"/>
                <a:gd name="T122" fmla="*/ 260 w 273"/>
                <a:gd name="T123" fmla="*/ 192 h 271"/>
                <a:gd name="T124" fmla="*/ 262 w 273"/>
                <a:gd name="T125" fmla="*/ 18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3" h="271">
                  <a:moveTo>
                    <a:pt x="262" y="182"/>
                  </a:moveTo>
                  <a:lnTo>
                    <a:pt x="266" y="173"/>
                  </a:lnTo>
                  <a:lnTo>
                    <a:pt x="269" y="165"/>
                  </a:lnTo>
                  <a:lnTo>
                    <a:pt x="272" y="155"/>
                  </a:lnTo>
                  <a:lnTo>
                    <a:pt x="273" y="146"/>
                  </a:lnTo>
                  <a:lnTo>
                    <a:pt x="273" y="137"/>
                  </a:lnTo>
                  <a:lnTo>
                    <a:pt x="273" y="127"/>
                  </a:lnTo>
                  <a:lnTo>
                    <a:pt x="272" y="119"/>
                  </a:lnTo>
                  <a:lnTo>
                    <a:pt x="270" y="110"/>
                  </a:lnTo>
                  <a:lnTo>
                    <a:pt x="265" y="92"/>
                  </a:lnTo>
                  <a:lnTo>
                    <a:pt x="257" y="76"/>
                  </a:lnTo>
                  <a:lnTo>
                    <a:pt x="246" y="60"/>
                  </a:lnTo>
                  <a:lnTo>
                    <a:pt x="236" y="45"/>
                  </a:lnTo>
                  <a:lnTo>
                    <a:pt x="222" y="33"/>
                  </a:lnTo>
                  <a:lnTo>
                    <a:pt x="207" y="23"/>
                  </a:lnTo>
                  <a:lnTo>
                    <a:pt x="191" y="13"/>
                  </a:lnTo>
                  <a:lnTo>
                    <a:pt x="174" y="6"/>
                  </a:lnTo>
                  <a:lnTo>
                    <a:pt x="165" y="4"/>
                  </a:lnTo>
                  <a:lnTo>
                    <a:pt x="157" y="1"/>
                  </a:lnTo>
                  <a:lnTo>
                    <a:pt x="147" y="0"/>
                  </a:lnTo>
                  <a:lnTo>
                    <a:pt x="138" y="0"/>
                  </a:lnTo>
                  <a:lnTo>
                    <a:pt x="128" y="0"/>
                  </a:lnTo>
                  <a:lnTo>
                    <a:pt x="119" y="1"/>
                  </a:lnTo>
                  <a:lnTo>
                    <a:pt x="110" y="2"/>
                  </a:lnTo>
                  <a:lnTo>
                    <a:pt x="100" y="5"/>
                  </a:lnTo>
                  <a:lnTo>
                    <a:pt x="92" y="6"/>
                  </a:lnTo>
                  <a:lnTo>
                    <a:pt x="84" y="9"/>
                  </a:lnTo>
                  <a:lnTo>
                    <a:pt x="76" y="13"/>
                  </a:lnTo>
                  <a:lnTo>
                    <a:pt x="68" y="17"/>
                  </a:lnTo>
                  <a:lnTo>
                    <a:pt x="53" y="27"/>
                  </a:lnTo>
                  <a:lnTo>
                    <a:pt x="41" y="37"/>
                  </a:lnTo>
                  <a:lnTo>
                    <a:pt x="29" y="49"/>
                  </a:lnTo>
                  <a:lnTo>
                    <a:pt x="20" y="64"/>
                  </a:lnTo>
                  <a:lnTo>
                    <a:pt x="12" y="79"/>
                  </a:lnTo>
                  <a:lnTo>
                    <a:pt x="6" y="95"/>
                  </a:lnTo>
                  <a:lnTo>
                    <a:pt x="2" y="112"/>
                  </a:lnTo>
                  <a:lnTo>
                    <a:pt x="0" y="129"/>
                  </a:lnTo>
                  <a:lnTo>
                    <a:pt x="0" y="146"/>
                  </a:lnTo>
                  <a:lnTo>
                    <a:pt x="2" y="163"/>
                  </a:lnTo>
                  <a:lnTo>
                    <a:pt x="6" y="179"/>
                  </a:lnTo>
                  <a:lnTo>
                    <a:pt x="12" y="196"/>
                  </a:lnTo>
                  <a:lnTo>
                    <a:pt x="21" y="210"/>
                  </a:lnTo>
                  <a:lnTo>
                    <a:pt x="32" y="224"/>
                  </a:lnTo>
                  <a:lnTo>
                    <a:pt x="39" y="232"/>
                  </a:lnTo>
                  <a:lnTo>
                    <a:pt x="44" y="238"/>
                  </a:lnTo>
                  <a:lnTo>
                    <a:pt x="51" y="244"/>
                  </a:lnTo>
                  <a:lnTo>
                    <a:pt x="59" y="249"/>
                  </a:lnTo>
                  <a:lnTo>
                    <a:pt x="73" y="259"/>
                  </a:lnTo>
                  <a:lnTo>
                    <a:pt x="89" y="264"/>
                  </a:lnTo>
                  <a:lnTo>
                    <a:pt x="107" y="269"/>
                  </a:lnTo>
                  <a:lnTo>
                    <a:pt x="124" y="271"/>
                  </a:lnTo>
                  <a:lnTo>
                    <a:pt x="142" y="271"/>
                  </a:lnTo>
                  <a:lnTo>
                    <a:pt x="159" y="269"/>
                  </a:lnTo>
                  <a:lnTo>
                    <a:pt x="177" y="265"/>
                  </a:lnTo>
                  <a:lnTo>
                    <a:pt x="193" y="259"/>
                  </a:lnTo>
                  <a:lnTo>
                    <a:pt x="209" y="251"/>
                  </a:lnTo>
                  <a:lnTo>
                    <a:pt x="224" y="240"/>
                  </a:lnTo>
                  <a:lnTo>
                    <a:pt x="236" y="229"/>
                  </a:lnTo>
                  <a:lnTo>
                    <a:pt x="248" y="214"/>
                  </a:lnTo>
                  <a:lnTo>
                    <a:pt x="252" y="208"/>
                  </a:lnTo>
                  <a:lnTo>
                    <a:pt x="256" y="200"/>
                  </a:lnTo>
                  <a:lnTo>
                    <a:pt x="260" y="192"/>
                  </a:lnTo>
                  <a:lnTo>
                    <a:pt x="262" y="182"/>
                  </a:lnTo>
                  <a:close/>
                </a:path>
              </a:pathLst>
            </a:custGeom>
            <a:grpFill/>
            <a:ln w="9525">
              <a:noFill/>
              <a:round/>
            </a:ln>
          </p:spPr>
          <p:txBody>
            <a:bodyPr vert="horz" wrap="square" lIns="91440" tIns="45720" rIns="91440" bIns="45720" numCol="1" anchor="t" anchorCtr="0" compatLnSpc="1"/>
            <a:lstStyle/>
            <a:p>
              <a:endParaRPr lang="en-US"/>
            </a:p>
          </p:txBody>
        </p:sp>
        <p:sp>
          <p:nvSpPr>
            <p:cNvPr id="111" name="Freeform 57"/>
            <p:cNvSpPr/>
            <p:nvPr/>
          </p:nvSpPr>
          <p:spPr bwMode="auto">
            <a:xfrm>
              <a:off x="3647164" y="2569982"/>
              <a:ext cx="231047" cy="486357"/>
            </a:xfrm>
            <a:custGeom>
              <a:avLst/>
              <a:gdLst>
                <a:gd name="T0" fmla="*/ 566 w 658"/>
                <a:gd name="T1" fmla="*/ 20 h 1383"/>
                <a:gd name="T2" fmla="*/ 506 w 658"/>
                <a:gd name="T3" fmla="*/ 4 h 1383"/>
                <a:gd name="T4" fmla="*/ 396 w 658"/>
                <a:gd name="T5" fmla="*/ 0 h 1383"/>
                <a:gd name="T6" fmla="*/ 259 w 658"/>
                <a:gd name="T7" fmla="*/ 0 h 1383"/>
                <a:gd name="T8" fmla="*/ 136 w 658"/>
                <a:gd name="T9" fmla="*/ 8 h 1383"/>
                <a:gd name="T10" fmla="*/ 74 w 658"/>
                <a:gd name="T11" fmla="*/ 27 h 1383"/>
                <a:gd name="T12" fmla="*/ 40 w 658"/>
                <a:gd name="T13" fmla="*/ 53 h 1383"/>
                <a:gd name="T14" fmla="*/ 16 w 658"/>
                <a:gd name="T15" fmla="*/ 90 h 1383"/>
                <a:gd name="T16" fmla="*/ 4 w 658"/>
                <a:gd name="T17" fmla="*/ 131 h 1383"/>
                <a:gd name="T18" fmla="*/ 2 w 658"/>
                <a:gd name="T19" fmla="*/ 220 h 1383"/>
                <a:gd name="T20" fmla="*/ 0 w 658"/>
                <a:gd name="T21" fmla="*/ 448 h 1383"/>
                <a:gd name="T22" fmla="*/ 2 w 658"/>
                <a:gd name="T23" fmla="*/ 629 h 1383"/>
                <a:gd name="T24" fmla="*/ 19 w 658"/>
                <a:gd name="T25" fmla="*/ 665 h 1383"/>
                <a:gd name="T26" fmla="*/ 42 w 658"/>
                <a:gd name="T27" fmla="*/ 676 h 1383"/>
                <a:gd name="T28" fmla="*/ 73 w 658"/>
                <a:gd name="T29" fmla="*/ 676 h 1383"/>
                <a:gd name="T30" fmla="*/ 97 w 658"/>
                <a:gd name="T31" fmla="*/ 657 h 1383"/>
                <a:gd name="T32" fmla="*/ 117 w 658"/>
                <a:gd name="T33" fmla="*/ 602 h 1383"/>
                <a:gd name="T34" fmla="*/ 118 w 658"/>
                <a:gd name="T35" fmla="*/ 452 h 1383"/>
                <a:gd name="T36" fmla="*/ 118 w 658"/>
                <a:gd name="T37" fmla="*/ 273 h 1383"/>
                <a:gd name="T38" fmla="*/ 153 w 658"/>
                <a:gd name="T39" fmla="*/ 296 h 1383"/>
                <a:gd name="T40" fmla="*/ 153 w 658"/>
                <a:gd name="T41" fmla="*/ 566 h 1383"/>
                <a:gd name="T42" fmla="*/ 153 w 658"/>
                <a:gd name="T43" fmla="*/ 836 h 1383"/>
                <a:gd name="T44" fmla="*/ 153 w 658"/>
                <a:gd name="T45" fmla="*/ 1107 h 1383"/>
                <a:gd name="T46" fmla="*/ 154 w 658"/>
                <a:gd name="T47" fmla="*/ 1323 h 1383"/>
                <a:gd name="T48" fmla="*/ 175 w 658"/>
                <a:gd name="T49" fmla="*/ 1363 h 1383"/>
                <a:gd name="T50" fmla="*/ 215 w 658"/>
                <a:gd name="T51" fmla="*/ 1382 h 1383"/>
                <a:gd name="T52" fmla="*/ 262 w 658"/>
                <a:gd name="T53" fmla="*/ 1379 h 1383"/>
                <a:gd name="T54" fmla="*/ 299 w 658"/>
                <a:gd name="T55" fmla="*/ 1349 h 1383"/>
                <a:gd name="T56" fmla="*/ 311 w 658"/>
                <a:gd name="T57" fmla="*/ 1272 h 1383"/>
                <a:gd name="T58" fmla="*/ 311 w 658"/>
                <a:gd name="T59" fmla="*/ 1030 h 1383"/>
                <a:gd name="T60" fmla="*/ 313 w 658"/>
                <a:gd name="T61" fmla="*/ 745 h 1383"/>
                <a:gd name="T62" fmla="*/ 347 w 658"/>
                <a:gd name="T63" fmla="*/ 756 h 1383"/>
                <a:gd name="T64" fmla="*/ 347 w 658"/>
                <a:gd name="T65" fmla="*/ 1082 h 1383"/>
                <a:gd name="T66" fmla="*/ 350 w 658"/>
                <a:gd name="T67" fmla="*/ 1333 h 1383"/>
                <a:gd name="T68" fmla="*/ 361 w 658"/>
                <a:gd name="T69" fmla="*/ 1359 h 1383"/>
                <a:gd name="T70" fmla="*/ 388 w 658"/>
                <a:gd name="T71" fmla="*/ 1378 h 1383"/>
                <a:gd name="T72" fmla="*/ 444 w 658"/>
                <a:gd name="T73" fmla="*/ 1379 h 1383"/>
                <a:gd name="T74" fmla="*/ 484 w 658"/>
                <a:gd name="T75" fmla="*/ 1355 h 1383"/>
                <a:gd name="T76" fmla="*/ 496 w 658"/>
                <a:gd name="T77" fmla="*/ 1331 h 1383"/>
                <a:gd name="T78" fmla="*/ 499 w 658"/>
                <a:gd name="T79" fmla="*/ 1240 h 1383"/>
                <a:gd name="T80" fmla="*/ 499 w 658"/>
                <a:gd name="T81" fmla="*/ 971 h 1383"/>
                <a:gd name="T82" fmla="*/ 499 w 658"/>
                <a:gd name="T83" fmla="*/ 700 h 1383"/>
                <a:gd name="T84" fmla="*/ 499 w 658"/>
                <a:gd name="T85" fmla="*/ 429 h 1383"/>
                <a:gd name="T86" fmla="*/ 510 w 658"/>
                <a:gd name="T87" fmla="*/ 226 h 1383"/>
                <a:gd name="T88" fmla="*/ 542 w 658"/>
                <a:gd name="T89" fmla="*/ 273 h 1383"/>
                <a:gd name="T90" fmla="*/ 542 w 658"/>
                <a:gd name="T91" fmla="*/ 461 h 1383"/>
                <a:gd name="T92" fmla="*/ 543 w 658"/>
                <a:gd name="T93" fmla="*/ 617 h 1383"/>
                <a:gd name="T94" fmla="*/ 565 w 658"/>
                <a:gd name="T95" fmla="*/ 662 h 1383"/>
                <a:gd name="T96" fmla="*/ 589 w 658"/>
                <a:gd name="T97" fmla="*/ 676 h 1383"/>
                <a:gd name="T98" fmla="*/ 618 w 658"/>
                <a:gd name="T99" fmla="*/ 676 h 1383"/>
                <a:gd name="T100" fmla="*/ 638 w 658"/>
                <a:gd name="T101" fmla="*/ 665 h 1383"/>
                <a:gd name="T102" fmla="*/ 653 w 658"/>
                <a:gd name="T103" fmla="*/ 639 h 1383"/>
                <a:gd name="T104" fmla="*/ 658 w 658"/>
                <a:gd name="T105" fmla="*/ 555 h 1383"/>
                <a:gd name="T106" fmla="*/ 658 w 658"/>
                <a:gd name="T107" fmla="*/ 360 h 1383"/>
                <a:gd name="T108" fmla="*/ 658 w 658"/>
                <a:gd name="T109" fmla="*/ 192 h 1383"/>
                <a:gd name="T110" fmla="*/ 648 w 658"/>
                <a:gd name="T111" fmla="*/ 111 h 1383"/>
                <a:gd name="T112" fmla="*/ 629 w 658"/>
                <a:gd name="T113" fmla="*/ 71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8" h="1383">
                  <a:moveTo>
                    <a:pt x="605" y="45"/>
                  </a:moveTo>
                  <a:lnTo>
                    <a:pt x="593" y="36"/>
                  </a:lnTo>
                  <a:lnTo>
                    <a:pt x="579" y="27"/>
                  </a:lnTo>
                  <a:lnTo>
                    <a:pt x="566" y="20"/>
                  </a:lnTo>
                  <a:lnTo>
                    <a:pt x="551" y="15"/>
                  </a:lnTo>
                  <a:lnTo>
                    <a:pt x="536" y="11"/>
                  </a:lnTo>
                  <a:lnTo>
                    <a:pt x="522" y="6"/>
                  </a:lnTo>
                  <a:lnTo>
                    <a:pt x="506" y="4"/>
                  </a:lnTo>
                  <a:lnTo>
                    <a:pt x="491" y="2"/>
                  </a:lnTo>
                  <a:lnTo>
                    <a:pt x="459" y="0"/>
                  </a:lnTo>
                  <a:lnTo>
                    <a:pt x="427" y="0"/>
                  </a:lnTo>
                  <a:lnTo>
                    <a:pt x="396" y="0"/>
                  </a:lnTo>
                  <a:lnTo>
                    <a:pt x="365" y="0"/>
                  </a:lnTo>
                  <a:lnTo>
                    <a:pt x="330" y="1"/>
                  </a:lnTo>
                  <a:lnTo>
                    <a:pt x="294" y="0"/>
                  </a:lnTo>
                  <a:lnTo>
                    <a:pt x="259" y="0"/>
                  </a:lnTo>
                  <a:lnTo>
                    <a:pt x="223" y="0"/>
                  </a:lnTo>
                  <a:lnTo>
                    <a:pt x="188" y="1"/>
                  </a:lnTo>
                  <a:lnTo>
                    <a:pt x="153" y="4"/>
                  </a:lnTo>
                  <a:lnTo>
                    <a:pt x="136" y="8"/>
                  </a:lnTo>
                  <a:lnTo>
                    <a:pt x="118" y="12"/>
                  </a:lnTo>
                  <a:lnTo>
                    <a:pt x="101" y="16"/>
                  </a:lnTo>
                  <a:lnTo>
                    <a:pt x="85" y="23"/>
                  </a:lnTo>
                  <a:lnTo>
                    <a:pt x="74" y="27"/>
                  </a:lnTo>
                  <a:lnTo>
                    <a:pt x="65" y="32"/>
                  </a:lnTo>
                  <a:lnTo>
                    <a:pt x="55" y="39"/>
                  </a:lnTo>
                  <a:lnTo>
                    <a:pt x="47" y="45"/>
                  </a:lnTo>
                  <a:lnTo>
                    <a:pt x="40" y="53"/>
                  </a:lnTo>
                  <a:lnTo>
                    <a:pt x="32" y="61"/>
                  </a:lnTo>
                  <a:lnTo>
                    <a:pt x="27" y="70"/>
                  </a:lnTo>
                  <a:lnTo>
                    <a:pt x="22" y="79"/>
                  </a:lnTo>
                  <a:lnTo>
                    <a:pt x="16" y="90"/>
                  </a:lnTo>
                  <a:lnTo>
                    <a:pt x="12" y="99"/>
                  </a:lnTo>
                  <a:lnTo>
                    <a:pt x="8" y="110"/>
                  </a:lnTo>
                  <a:lnTo>
                    <a:pt x="6" y="120"/>
                  </a:lnTo>
                  <a:lnTo>
                    <a:pt x="4" y="131"/>
                  </a:lnTo>
                  <a:lnTo>
                    <a:pt x="2" y="142"/>
                  </a:lnTo>
                  <a:lnTo>
                    <a:pt x="2" y="153"/>
                  </a:lnTo>
                  <a:lnTo>
                    <a:pt x="2" y="163"/>
                  </a:lnTo>
                  <a:lnTo>
                    <a:pt x="2" y="220"/>
                  </a:lnTo>
                  <a:lnTo>
                    <a:pt x="2" y="277"/>
                  </a:lnTo>
                  <a:lnTo>
                    <a:pt x="0" y="334"/>
                  </a:lnTo>
                  <a:lnTo>
                    <a:pt x="0" y="390"/>
                  </a:lnTo>
                  <a:lnTo>
                    <a:pt x="0" y="448"/>
                  </a:lnTo>
                  <a:lnTo>
                    <a:pt x="2" y="504"/>
                  </a:lnTo>
                  <a:lnTo>
                    <a:pt x="2" y="562"/>
                  </a:lnTo>
                  <a:lnTo>
                    <a:pt x="2" y="618"/>
                  </a:lnTo>
                  <a:lnTo>
                    <a:pt x="2" y="629"/>
                  </a:lnTo>
                  <a:lnTo>
                    <a:pt x="4" y="638"/>
                  </a:lnTo>
                  <a:lnTo>
                    <a:pt x="7" y="649"/>
                  </a:lnTo>
                  <a:lnTo>
                    <a:pt x="12" y="658"/>
                  </a:lnTo>
                  <a:lnTo>
                    <a:pt x="19" y="665"/>
                  </a:lnTo>
                  <a:lnTo>
                    <a:pt x="28" y="672"/>
                  </a:lnTo>
                  <a:lnTo>
                    <a:pt x="32" y="673"/>
                  </a:lnTo>
                  <a:lnTo>
                    <a:pt x="38" y="676"/>
                  </a:lnTo>
                  <a:lnTo>
                    <a:pt x="42" y="676"/>
                  </a:lnTo>
                  <a:lnTo>
                    <a:pt x="47" y="676"/>
                  </a:lnTo>
                  <a:lnTo>
                    <a:pt x="57" y="677"/>
                  </a:lnTo>
                  <a:lnTo>
                    <a:pt x="65" y="677"/>
                  </a:lnTo>
                  <a:lnTo>
                    <a:pt x="73" y="676"/>
                  </a:lnTo>
                  <a:lnTo>
                    <a:pt x="79" y="672"/>
                  </a:lnTo>
                  <a:lnTo>
                    <a:pt x="86" y="667"/>
                  </a:lnTo>
                  <a:lnTo>
                    <a:pt x="91" y="663"/>
                  </a:lnTo>
                  <a:lnTo>
                    <a:pt x="97" y="657"/>
                  </a:lnTo>
                  <a:lnTo>
                    <a:pt x="101" y="650"/>
                  </a:lnTo>
                  <a:lnTo>
                    <a:pt x="109" y="635"/>
                  </a:lnTo>
                  <a:lnTo>
                    <a:pt x="114" y="619"/>
                  </a:lnTo>
                  <a:lnTo>
                    <a:pt x="117" y="602"/>
                  </a:lnTo>
                  <a:lnTo>
                    <a:pt x="117" y="587"/>
                  </a:lnTo>
                  <a:lnTo>
                    <a:pt x="118" y="541"/>
                  </a:lnTo>
                  <a:lnTo>
                    <a:pt x="118" y="497"/>
                  </a:lnTo>
                  <a:lnTo>
                    <a:pt x="118" y="452"/>
                  </a:lnTo>
                  <a:lnTo>
                    <a:pt x="117" y="407"/>
                  </a:lnTo>
                  <a:lnTo>
                    <a:pt x="117" y="362"/>
                  </a:lnTo>
                  <a:lnTo>
                    <a:pt x="117" y="318"/>
                  </a:lnTo>
                  <a:lnTo>
                    <a:pt x="118" y="273"/>
                  </a:lnTo>
                  <a:lnTo>
                    <a:pt x="118" y="228"/>
                  </a:lnTo>
                  <a:lnTo>
                    <a:pt x="136" y="228"/>
                  </a:lnTo>
                  <a:lnTo>
                    <a:pt x="152" y="228"/>
                  </a:lnTo>
                  <a:lnTo>
                    <a:pt x="153" y="296"/>
                  </a:lnTo>
                  <a:lnTo>
                    <a:pt x="153" y="363"/>
                  </a:lnTo>
                  <a:lnTo>
                    <a:pt x="153" y="430"/>
                  </a:lnTo>
                  <a:lnTo>
                    <a:pt x="153" y="499"/>
                  </a:lnTo>
                  <a:lnTo>
                    <a:pt x="153" y="566"/>
                  </a:lnTo>
                  <a:lnTo>
                    <a:pt x="153" y="634"/>
                  </a:lnTo>
                  <a:lnTo>
                    <a:pt x="153" y="701"/>
                  </a:lnTo>
                  <a:lnTo>
                    <a:pt x="153" y="769"/>
                  </a:lnTo>
                  <a:lnTo>
                    <a:pt x="153" y="836"/>
                  </a:lnTo>
                  <a:lnTo>
                    <a:pt x="153" y="903"/>
                  </a:lnTo>
                  <a:lnTo>
                    <a:pt x="153" y="972"/>
                  </a:lnTo>
                  <a:lnTo>
                    <a:pt x="153" y="1039"/>
                  </a:lnTo>
                  <a:lnTo>
                    <a:pt x="153" y="1107"/>
                  </a:lnTo>
                  <a:lnTo>
                    <a:pt x="153" y="1174"/>
                  </a:lnTo>
                  <a:lnTo>
                    <a:pt x="153" y="1243"/>
                  </a:lnTo>
                  <a:lnTo>
                    <a:pt x="154" y="1310"/>
                  </a:lnTo>
                  <a:lnTo>
                    <a:pt x="154" y="1323"/>
                  </a:lnTo>
                  <a:lnTo>
                    <a:pt x="157" y="1335"/>
                  </a:lnTo>
                  <a:lnTo>
                    <a:pt x="161" y="1346"/>
                  </a:lnTo>
                  <a:lnTo>
                    <a:pt x="168" y="1355"/>
                  </a:lnTo>
                  <a:lnTo>
                    <a:pt x="175" y="1363"/>
                  </a:lnTo>
                  <a:lnTo>
                    <a:pt x="184" y="1370"/>
                  </a:lnTo>
                  <a:lnTo>
                    <a:pt x="193" y="1375"/>
                  </a:lnTo>
                  <a:lnTo>
                    <a:pt x="204" y="1379"/>
                  </a:lnTo>
                  <a:lnTo>
                    <a:pt x="215" y="1382"/>
                  </a:lnTo>
                  <a:lnTo>
                    <a:pt x="227" y="1383"/>
                  </a:lnTo>
                  <a:lnTo>
                    <a:pt x="239" y="1383"/>
                  </a:lnTo>
                  <a:lnTo>
                    <a:pt x="251" y="1382"/>
                  </a:lnTo>
                  <a:lnTo>
                    <a:pt x="262" y="1379"/>
                  </a:lnTo>
                  <a:lnTo>
                    <a:pt x="274" y="1375"/>
                  </a:lnTo>
                  <a:lnTo>
                    <a:pt x="283" y="1370"/>
                  </a:lnTo>
                  <a:lnTo>
                    <a:pt x="294" y="1363"/>
                  </a:lnTo>
                  <a:lnTo>
                    <a:pt x="299" y="1349"/>
                  </a:lnTo>
                  <a:lnTo>
                    <a:pt x="303" y="1334"/>
                  </a:lnTo>
                  <a:lnTo>
                    <a:pt x="306" y="1319"/>
                  </a:lnTo>
                  <a:lnTo>
                    <a:pt x="309" y="1303"/>
                  </a:lnTo>
                  <a:lnTo>
                    <a:pt x="311" y="1272"/>
                  </a:lnTo>
                  <a:lnTo>
                    <a:pt x="313" y="1241"/>
                  </a:lnTo>
                  <a:lnTo>
                    <a:pt x="313" y="1170"/>
                  </a:lnTo>
                  <a:lnTo>
                    <a:pt x="311" y="1101"/>
                  </a:lnTo>
                  <a:lnTo>
                    <a:pt x="311" y="1030"/>
                  </a:lnTo>
                  <a:lnTo>
                    <a:pt x="311" y="958"/>
                  </a:lnTo>
                  <a:lnTo>
                    <a:pt x="311" y="887"/>
                  </a:lnTo>
                  <a:lnTo>
                    <a:pt x="313" y="816"/>
                  </a:lnTo>
                  <a:lnTo>
                    <a:pt x="313" y="745"/>
                  </a:lnTo>
                  <a:lnTo>
                    <a:pt x="313" y="674"/>
                  </a:lnTo>
                  <a:lnTo>
                    <a:pt x="330" y="674"/>
                  </a:lnTo>
                  <a:lnTo>
                    <a:pt x="347" y="674"/>
                  </a:lnTo>
                  <a:lnTo>
                    <a:pt x="347" y="756"/>
                  </a:lnTo>
                  <a:lnTo>
                    <a:pt x="347" y="838"/>
                  </a:lnTo>
                  <a:lnTo>
                    <a:pt x="347" y="918"/>
                  </a:lnTo>
                  <a:lnTo>
                    <a:pt x="347" y="1000"/>
                  </a:lnTo>
                  <a:lnTo>
                    <a:pt x="347" y="1082"/>
                  </a:lnTo>
                  <a:lnTo>
                    <a:pt x="347" y="1162"/>
                  </a:lnTo>
                  <a:lnTo>
                    <a:pt x="347" y="1244"/>
                  </a:lnTo>
                  <a:lnTo>
                    <a:pt x="349" y="1324"/>
                  </a:lnTo>
                  <a:lnTo>
                    <a:pt x="350" y="1333"/>
                  </a:lnTo>
                  <a:lnTo>
                    <a:pt x="351" y="1341"/>
                  </a:lnTo>
                  <a:lnTo>
                    <a:pt x="354" y="1347"/>
                  </a:lnTo>
                  <a:lnTo>
                    <a:pt x="357" y="1354"/>
                  </a:lnTo>
                  <a:lnTo>
                    <a:pt x="361" y="1359"/>
                  </a:lnTo>
                  <a:lnTo>
                    <a:pt x="366" y="1363"/>
                  </a:lnTo>
                  <a:lnTo>
                    <a:pt x="370" y="1369"/>
                  </a:lnTo>
                  <a:lnTo>
                    <a:pt x="377" y="1373"/>
                  </a:lnTo>
                  <a:lnTo>
                    <a:pt x="388" y="1378"/>
                  </a:lnTo>
                  <a:lnTo>
                    <a:pt x="401" y="1382"/>
                  </a:lnTo>
                  <a:lnTo>
                    <a:pt x="416" y="1383"/>
                  </a:lnTo>
                  <a:lnTo>
                    <a:pt x="429" y="1382"/>
                  </a:lnTo>
                  <a:lnTo>
                    <a:pt x="444" y="1379"/>
                  </a:lnTo>
                  <a:lnTo>
                    <a:pt x="457" y="1375"/>
                  </a:lnTo>
                  <a:lnTo>
                    <a:pt x="469" y="1369"/>
                  </a:lnTo>
                  <a:lnTo>
                    <a:pt x="480" y="1359"/>
                  </a:lnTo>
                  <a:lnTo>
                    <a:pt x="484" y="1355"/>
                  </a:lnTo>
                  <a:lnTo>
                    <a:pt x="488" y="1350"/>
                  </a:lnTo>
                  <a:lnTo>
                    <a:pt x="492" y="1343"/>
                  </a:lnTo>
                  <a:lnTo>
                    <a:pt x="495" y="1338"/>
                  </a:lnTo>
                  <a:lnTo>
                    <a:pt x="496" y="1331"/>
                  </a:lnTo>
                  <a:lnTo>
                    <a:pt x="498" y="1323"/>
                  </a:lnTo>
                  <a:lnTo>
                    <a:pt x="499" y="1316"/>
                  </a:lnTo>
                  <a:lnTo>
                    <a:pt x="498" y="1308"/>
                  </a:lnTo>
                  <a:lnTo>
                    <a:pt x="499" y="1240"/>
                  </a:lnTo>
                  <a:lnTo>
                    <a:pt x="499" y="1173"/>
                  </a:lnTo>
                  <a:lnTo>
                    <a:pt x="499" y="1106"/>
                  </a:lnTo>
                  <a:lnTo>
                    <a:pt x="499" y="1038"/>
                  </a:lnTo>
                  <a:lnTo>
                    <a:pt x="499" y="971"/>
                  </a:lnTo>
                  <a:lnTo>
                    <a:pt x="499" y="902"/>
                  </a:lnTo>
                  <a:lnTo>
                    <a:pt x="499" y="835"/>
                  </a:lnTo>
                  <a:lnTo>
                    <a:pt x="499" y="767"/>
                  </a:lnTo>
                  <a:lnTo>
                    <a:pt x="499" y="700"/>
                  </a:lnTo>
                  <a:lnTo>
                    <a:pt x="499" y="633"/>
                  </a:lnTo>
                  <a:lnTo>
                    <a:pt x="499" y="564"/>
                  </a:lnTo>
                  <a:lnTo>
                    <a:pt x="499" y="497"/>
                  </a:lnTo>
                  <a:lnTo>
                    <a:pt x="499" y="429"/>
                  </a:lnTo>
                  <a:lnTo>
                    <a:pt x="499" y="362"/>
                  </a:lnTo>
                  <a:lnTo>
                    <a:pt x="499" y="293"/>
                  </a:lnTo>
                  <a:lnTo>
                    <a:pt x="499" y="226"/>
                  </a:lnTo>
                  <a:lnTo>
                    <a:pt x="510" y="226"/>
                  </a:lnTo>
                  <a:lnTo>
                    <a:pt x="520" y="226"/>
                  </a:lnTo>
                  <a:lnTo>
                    <a:pt x="532" y="226"/>
                  </a:lnTo>
                  <a:lnTo>
                    <a:pt x="542" y="225"/>
                  </a:lnTo>
                  <a:lnTo>
                    <a:pt x="542" y="273"/>
                  </a:lnTo>
                  <a:lnTo>
                    <a:pt x="542" y="320"/>
                  </a:lnTo>
                  <a:lnTo>
                    <a:pt x="542" y="367"/>
                  </a:lnTo>
                  <a:lnTo>
                    <a:pt x="542" y="414"/>
                  </a:lnTo>
                  <a:lnTo>
                    <a:pt x="542" y="461"/>
                  </a:lnTo>
                  <a:lnTo>
                    <a:pt x="542" y="508"/>
                  </a:lnTo>
                  <a:lnTo>
                    <a:pt x="542" y="556"/>
                  </a:lnTo>
                  <a:lnTo>
                    <a:pt x="542" y="603"/>
                  </a:lnTo>
                  <a:lnTo>
                    <a:pt x="543" y="617"/>
                  </a:lnTo>
                  <a:lnTo>
                    <a:pt x="546" y="631"/>
                  </a:lnTo>
                  <a:lnTo>
                    <a:pt x="553" y="645"/>
                  </a:lnTo>
                  <a:lnTo>
                    <a:pt x="561" y="657"/>
                  </a:lnTo>
                  <a:lnTo>
                    <a:pt x="565" y="662"/>
                  </a:lnTo>
                  <a:lnTo>
                    <a:pt x="570" y="667"/>
                  </a:lnTo>
                  <a:lnTo>
                    <a:pt x="577" y="670"/>
                  </a:lnTo>
                  <a:lnTo>
                    <a:pt x="582" y="674"/>
                  </a:lnTo>
                  <a:lnTo>
                    <a:pt x="589" y="676"/>
                  </a:lnTo>
                  <a:lnTo>
                    <a:pt x="597" y="677"/>
                  </a:lnTo>
                  <a:lnTo>
                    <a:pt x="604" y="677"/>
                  </a:lnTo>
                  <a:lnTo>
                    <a:pt x="612" y="676"/>
                  </a:lnTo>
                  <a:lnTo>
                    <a:pt x="618" y="676"/>
                  </a:lnTo>
                  <a:lnTo>
                    <a:pt x="624" y="674"/>
                  </a:lnTo>
                  <a:lnTo>
                    <a:pt x="629" y="672"/>
                  </a:lnTo>
                  <a:lnTo>
                    <a:pt x="634" y="669"/>
                  </a:lnTo>
                  <a:lnTo>
                    <a:pt x="638" y="665"/>
                  </a:lnTo>
                  <a:lnTo>
                    <a:pt x="642" y="661"/>
                  </a:lnTo>
                  <a:lnTo>
                    <a:pt x="645" y="655"/>
                  </a:lnTo>
                  <a:lnTo>
                    <a:pt x="649" y="650"/>
                  </a:lnTo>
                  <a:lnTo>
                    <a:pt x="653" y="639"/>
                  </a:lnTo>
                  <a:lnTo>
                    <a:pt x="656" y="627"/>
                  </a:lnTo>
                  <a:lnTo>
                    <a:pt x="658" y="615"/>
                  </a:lnTo>
                  <a:lnTo>
                    <a:pt x="658" y="603"/>
                  </a:lnTo>
                  <a:lnTo>
                    <a:pt x="658" y="555"/>
                  </a:lnTo>
                  <a:lnTo>
                    <a:pt x="658" y="505"/>
                  </a:lnTo>
                  <a:lnTo>
                    <a:pt x="658" y="457"/>
                  </a:lnTo>
                  <a:lnTo>
                    <a:pt x="658" y="409"/>
                  </a:lnTo>
                  <a:lnTo>
                    <a:pt x="658" y="360"/>
                  </a:lnTo>
                  <a:lnTo>
                    <a:pt x="658" y="311"/>
                  </a:lnTo>
                  <a:lnTo>
                    <a:pt x="658" y="263"/>
                  </a:lnTo>
                  <a:lnTo>
                    <a:pt x="658" y="214"/>
                  </a:lnTo>
                  <a:lnTo>
                    <a:pt x="658" y="192"/>
                  </a:lnTo>
                  <a:lnTo>
                    <a:pt x="657" y="169"/>
                  </a:lnTo>
                  <a:lnTo>
                    <a:pt x="654" y="146"/>
                  </a:lnTo>
                  <a:lnTo>
                    <a:pt x="650" y="123"/>
                  </a:lnTo>
                  <a:lnTo>
                    <a:pt x="648" y="111"/>
                  </a:lnTo>
                  <a:lnTo>
                    <a:pt x="644" y="100"/>
                  </a:lnTo>
                  <a:lnTo>
                    <a:pt x="640" y="90"/>
                  </a:lnTo>
                  <a:lnTo>
                    <a:pt x="634" y="80"/>
                  </a:lnTo>
                  <a:lnTo>
                    <a:pt x="629" y="71"/>
                  </a:lnTo>
                  <a:lnTo>
                    <a:pt x="622" y="61"/>
                  </a:lnTo>
                  <a:lnTo>
                    <a:pt x="614" y="53"/>
                  </a:lnTo>
                  <a:lnTo>
                    <a:pt x="605" y="45"/>
                  </a:lnTo>
                  <a:close/>
                </a:path>
              </a:pathLst>
            </a:custGeom>
            <a:grpFill/>
            <a:ln w="9525">
              <a:noFill/>
              <a:round/>
            </a:ln>
          </p:spPr>
          <p:txBody>
            <a:bodyPr vert="horz" wrap="square" lIns="91440" tIns="45720" rIns="91440" bIns="45720" numCol="1" anchor="t" anchorCtr="0" compatLnSpc="1"/>
            <a:lstStyle/>
            <a:p>
              <a:endParaRPr lang="en-US"/>
            </a:p>
          </p:txBody>
        </p:sp>
      </p:grpSp>
      <p:grpSp>
        <p:nvGrpSpPr>
          <p:cNvPr id="113" name="Group 112"/>
          <p:cNvGrpSpPr/>
          <p:nvPr/>
        </p:nvGrpSpPr>
        <p:grpSpPr>
          <a:xfrm>
            <a:off x="4532000" y="4525489"/>
            <a:ext cx="271137" cy="607684"/>
            <a:chOff x="3327401" y="4335463"/>
            <a:chExt cx="407988" cy="914400"/>
          </a:xfrm>
          <a:solidFill>
            <a:schemeClr val="accent1"/>
          </a:solidFill>
        </p:grpSpPr>
        <p:sp>
          <p:nvSpPr>
            <p:cNvPr id="114" name="Freeform 58"/>
            <p:cNvSpPr/>
            <p:nvPr/>
          </p:nvSpPr>
          <p:spPr bwMode="auto">
            <a:xfrm>
              <a:off x="3455988" y="4335463"/>
              <a:ext cx="149225" cy="147638"/>
            </a:xfrm>
            <a:custGeom>
              <a:avLst/>
              <a:gdLst>
                <a:gd name="T0" fmla="*/ 283 w 283"/>
                <a:gd name="T1" fmla="*/ 144 h 278"/>
                <a:gd name="T2" fmla="*/ 280 w 283"/>
                <a:gd name="T3" fmla="*/ 111 h 278"/>
                <a:gd name="T4" fmla="*/ 270 w 283"/>
                <a:gd name="T5" fmla="*/ 80 h 278"/>
                <a:gd name="T6" fmla="*/ 251 w 283"/>
                <a:gd name="T7" fmla="*/ 52 h 278"/>
                <a:gd name="T8" fmla="*/ 227 w 283"/>
                <a:gd name="T9" fmla="*/ 29 h 278"/>
                <a:gd name="T10" fmla="*/ 197 w 283"/>
                <a:gd name="T11" fmla="*/ 12 h 278"/>
                <a:gd name="T12" fmla="*/ 165 w 283"/>
                <a:gd name="T13" fmla="*/ 1 h 278"/>
                <a:gd name="T14" fmla="*/ 132 w 283"/>
                <a:gd name="T15" fmla="*/ 0 h 278"/>
                <a:gd name="T16" fmla="*/ 97 w 283"/>
                <a:gd name="T17" fmla="*/ 6 h 278"/>
                <a:gd name="T18" fmla="*/ 66 w 283"/>
                <a:gd name="T19" fmla="*/ 24 h 278"/>
                <a:gd name="T20" fmla="*/ 39 w 283"/>
                <a:gd name="T21" fmla="*/ 46 h 278"/>
                <a:gd name="T22" fmla="*/ 19 w 283"/>
                <a:gd name="T23" fmla="*/ 76 h 278"/>
                <a:gd name="T24" fmla="*/ 6 w 283"/>
                <a:gd name="T25" fmla="*/ 108 h 278"/>
                <a:gd name="T26" fmla="*/ 0 w 283"/>
                <a:gd name="T27" fmla="*/ 142 h 278"/>
                <a:gd name="T28" fmla="*/ 4 w 283"/>
                <a:gd name="T29" fmla="*/ 177 h 278"/>
                <a:gd name="T30" fmla="*/ 14 w 283"/>
                <a:gd name="T31" fmla="*/ 201 h 278"/>
                <a:gd name="T32" fmla="*/ 23 w 283"/>
                <a:gd name="T33" fmla="*/ 217 h 278"/>
                <a:gd name="T34" fmla="*/ 35 w 283"/>
                <a:gd name="T35" fmla="*/ 233 h 278"/>
                <a:gd name="T36" fmla="*/ 50 w 283"/>
                <a:gd name="T37" fmla="*/ 248 h 278"/>
                <a:gd name="T38" fmla="*/ 67 w 283"/>
                <a:gd name="T39" fmla="*/ 260 h 278"/>
                <a:gd name="T40" fmla="*/ 86 w 283"/>
                <a:gd name="T41" fmla="*/ 268 h 278"/>
                <a:gd name="T42" fmla="*/ 105 w 283"/>
                <a:gd name="T43" fmla="*/ 274 h 278"/>
                <a:gd name="T44" fmla="*/ 125 w 283"/>
                <a:gd name="T45" fmla="*/ 278 h 278"/>
                <a:gd name="T46" fmla="*/ 157 w 283"/>
                <a:gd name="T47" fmla="*/ 278 h 278"/>
                <a:gd name="T48" fmla="*/ 187 w 283"/>
                <a:gd name="T49" fmla="*/ 272 h 278"/>
                <a:gd name="T50" fmla="*/ 207 w 283"/>
                <a:gd name="T51" fmla="*/ 265 h 278"/>
                <a:gd name="T52" fmla="*/ 224 w 283"/>
                <a:gd name="T53" fmla="*/ 256 h 278"/>
                <a:gd name="T54" fmla="*/ 240 w 283"/>
                <a:gd name="T55" fmla="*/ 244 h 278"/>
                <a:gd name="T56" fmla="*/ 255 w 283"/>
                <a:gd name="T57" fmla="*/ 229 h 278"/>
                <a:gd name="T58" fmla="*/ 266 w 283"/>
                <a:gd name="T59" fmla="*/ 213 h 278"/>
                <a:gd name="T60" fmla="*/ 275 w 283"/>
                <a:gd name="T61" fmla="*/ 194 h 278"/>
                <a:gd name="T62" fmla="*/ 280 w 283"/>
                <a:gd name="T63" fmla="*/ 17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3" h="278">
                  <a:moveTo>
                    <a:pt x="282" y="162"/>
                  </a:moveTo>
                  <a:lnTo>
                    <a:pt x="283" y="144"/>
                  </a:lnTo>
                  <a:lnTo>
                    <a:pt x="283" y="128"/>
                  </a:lnTo>
                  <a:lnTo>
                    <a:pt x="280" y="111"/>
                  </a:lnTo>
                  <a:lnTo>
                    <a:pt x="276" y="95"/>
                  </a:lnTo>
                  <a:lnTo>
                    <a:pt x="270" y="80"/>
                  </a:lnTo>
                  <a:lnTo>
                    <a:pt x="262" y="65"/>
                  </a:lnTo>
                  <a:lnTo>
                    <a:pt x="251" y="52"/>
                  </a:lnTo>
                  <a:lnTo>
                    <a:pt x="239" y="40"/>
                  </a:lnTo>
                  <a:lnTo>
                    <a:pt x="227" y="29"/>
                  </a:lnTo>
                  <a:lnTo>
                    <a:pt x="212" y="20"/>
                  </a:lnTo>
                  <a:lnTo>
                    <a:pt x="197" y="12"/>
                  </a:lnTo>
                  <a:lnTo>
                    <a:pt x="181" y="5"/>
                  </a:lnTo>
                  <a:lnTo>
                    <a:pt x="165" y="1"/>
                  </a:lnTo>
                  <a:lnTo>
                    <a:pt x="149" y="0"/>
                  </a:lnTo>
                  <a:lnTo>
                    <a:pt x="132" y="0"/>
                  </a:lnTo>
                  <a:lnTo>
                    <a:pt x="114" y="2"/>
                  </a:lnTo>
                  <a:lnTo>
                    <a:pt x="97" y="6"/>
                  </a:lnTo>
                  <a:lnTo>
                    <a:pt x="81" y="14"/>
                  </a:lnTo>
                  <a:lnTo>
                    <a:pt x="66" y="24"/>
                  </a:lnTo>
                  <a:lnTo>
                    <a:pt x="52" y="34"/>
                  </a:lnTo>
                  <a:lnTo>
                    <a:pt x="39" y="46"/>
                  </a:lnTo>
                  <a:lnTo>
                    <a:pt x="28" y="60"/>
                  </a:lnTo>
                  <a:lnTo>
                    <a:pt x="19" y="76"/>
                  </a:lnTo>
                  <a:lnTo>
                    <a:pt x="12" y="91"/>
                  </a:lnTo>
                  <a:lnTo>
                    <a:pt x="6" y="108"/>
                  </a:lnTo>
                  <a:lnTo>
                    <a:pt x="3" y="124"/>
                  </a:lnTo>
                  <a:lnTo>
                    <a:pt x="0" y="142"/>
                  </a:lnTo>
                  <a:lnTo>
                    <a:pt x="2" y="159"/>
                  </a:lnTo>
                  <a:lnTo>
                    <a:pt x="4" y="177"/>
                  </a:lnTo>
                  <a:lnTo>
                    <a:pt x="10" y="193"/>
                  </a:lnTo>
                  <a:lnTo>
                    <a:pt x="14" y="201"/>
                  </a:lnTo>
                  <a:lnTo>
                    <a:pt x="18" y="209"/>
                  </a:lnTo>
                  <a:lnTo>
                    <a:pt x="23" y="217"/>
                  </a:lnTo>
                  <a:lnTo>
                    <a:pt x="30" y="223"/>
                  </a:lnTo>
                  <a:lnTo>
                    <a:pt x="35" y="233"/>
                  </a:lnTo>
                  <a:lnTo>
                    <a:pt x="43" y="240"/>
                  </a:lnTo>
                  <a:lnTo>
                    <a:pt x="50" y="248"/>
                  </a:lnTo>
                  <a:lnTo>
                    <a:pt x="59" y="254"/>
                  </a:lnTo>
                  <a:lnTo>
                    <a:pt x="67" y="260"/>
                  </a:lnTo>
                  <a:lnTo>
                    <a:pt x="77" y="264"/>
                  </a:lnTo>
                  <a:lnTo>
                    <a:pt x="86" y="268"/>
                  </a:lnTo>
                  <a:lnTo>
                    <a:pt x="95" y="272"/>
                  </a:lnTo>
                  <a:lnTo>
                    <a:pt x="105" y="274"/>
                  </a:lnTo>
                  <a:lnTo>
                    <a:pt x="115" y="277"/>
                  </a:lnTo>
                  <a:lnTo>
                    <a:pt x="125" y="278"/>
                  </a:lnTo>
                  <a:lnTo>
                    <a:pt x="136" y="278"/>
                  </a:lnTo>
                  <a:lnTo>
                    <a:pt x="157" y="278"/>
                  </a:lnTo>
                  <a:lnTo>
                    <a:pt x="177" y="274"/>
                  </a:lnTo>
                  <a:lnTo>
                    <a:pt x="187" y="272"/>
                  </a:lnTo>
                  <a:lnTo>
                    <a:pt x="197" y="269"/>
                  </a:lnTo>
                  <a:lnTo>
                    <a:pt x="207" y="265"/>
                  </a:lnTo>
                  <a:lnTo>
                    <a:pt x="215" y="261"/>
                  </a:lnTo>
                  <a:lnTo>
                    <a:pt x="224" y="256"/>
                  </a:lnTo>
                  <a:lnTo>
                    <a:pt x="232" y="250"/>
                  </a:lnTo>
                  <a:lnTo>
                    <a:pt x="240" y="244"/>
                  </a:lnTo>
                  <a:lnTo>
                    <a:pt x="248" y="237"/>
                  </a:lnTo>
                  <a:lnTo>
                    <a:pt x="255" y="229"/>
                  </a:lnTo>
                  <a:lnTo>
                    <a:pt x="260" y="221"/>
                  </a:lnTo>
                  <a:lnTo>
                    <a:pt x="266" y="213"/>
                  </a:lnTo>
                  <a:lnTo>
                    <a:pt x="271" y="203"/>
                  </a:lnTo>
                  <a:lnTo>
                    <a:pt x="275" y="194"/>
                  </a:lnTo>
                  <a:lnTo>
                    <a:pt x="278" y="185"/>
                  </a:lnTo>
                  <a:lnTo>
                    <a:pt x="280" y="174"/>
                  </a:lnTo>
                  <a:lnTo>
                    <a:pt x="282" y="162"/>
                  </a:lnTo>
                  <a:close/>
                </a:path>
              </a:pathLst>
            </a:custGeom>
            <a:grpFill/>
            <a:ln w="9525">
              <a:noFill/>
              <a:round/>
            </a:ln>
          </p:spPr>
          <p:txBody>
            <a:bodyPr vert="horz" wrap="square" lIns="91440" tIns="45720" rIns="91440" bIns="45720" numCol="1" anchor="t" anchorCtr="0" compatLnSpc="1"/>
            <a:lstStyle/>
            <a:p>
              <a:endParaRPr lang="en-US"/>
            </a:p>
          </p:txBody>
        </p:sp>
        <p:sp>
          <p:nvSpPr>
            <p:cNvPr id="115" name="Freeform 59"/>
            <p:cNvSpPr/>
            <p:nvPr/>
          </p:nvSpPr>
          <p:spPr bwMode="auto">
            <a:xfrm>
              <a:off x="3327401" y="4506913"/>
              <a:ext cx="407988" cy="742950"/>
            </a:xfrm>
            <a:custGeom>
              <a:avLst/>
              <a:gdLst>
                <a:gd name="T0" fmla="*/ 690 w 770"/>
                <a:gd name="T1" fmla="*/ 245 h 1403"/>
                <a:gd name="T2" fmla="*/ 650 w 770"/>
                <a:gd name="T3" fmla="*/ 122 h 1403"/>
                <a:gd name="T4" fmla="*/ 616 w 770"/>
                <a:gd name="T5" fmla="*/ 60 h 1403"/>
                <a:gd name="T6" fmla="*/ 573 w 770"/>
                <a:gd name="T7" fmla="*/ 25 h 1403"/>
                <a:gd name="T8" fmla="*/ 521 w 770"/>
                <a:gd name="T9" fmla="*/ 6 h 1403"/>
                <a:gd name="T10" fmla="*/ 451 w 770"/>
                <a:gd name="T11" fmla="*/ 0 h 1403"/>
                <a:gd name="T12" fmla="*/ 323 w 770"/>
                <a:gd name="T13" fmla="*/ 0 h 1403"/>
                <a:gd name="T14" fmla="*/ 238 w 770"/>
                <a:gd name="T15" fmla="*/ 8 h 1403"/>
                <a:gd name="T16" fmla="*/ 178 w 770"/>
                <a:gd name="T17" fmla="*/ 36 h 1403"/>
                <a:gd name="T18" fmla="*/ 135 w 770"/>
                <a:gd name="T19" fmla="*/ 88 h 1403"/>
                <a:gd name="T20" fmla="*/ 95 w 770"/>
                <a:gd name="T21" fmla="*/ 197 h 1403"/>
                <a:gd name="T22" fmla="*/ 59 w 770"/>
                <a:gd name="T23" fmla="*/ 325 h 1403"/>
                <a:gd name="T24" fmla="*/ 20 w 770"/>
                <a:gd name="T25" fmla="*/ 457 h 1403"/>
                <a:gd name="T26" fmla="*/ 1 w 770"/>
                <a:gd name="T27" fmla="*/ 568 h 1403"/>
                <a:gd name="T28" fmla="*/ 24 w 770"/>
                <a:gd name="T29" fmla="*/ 596 h 1403"/>
                <a:gd name="T30" fmla="*/ 60 w 770"/>
                <a:gd name="T31" fmla="*/ 603 h 1403"/>
                <a:gd name="T32" fmla="*/ 95 w 770"/>
                <a:gd name="T33" fmla="*/ 590 h 1403"/>
                <a:gd name="T34" fmla="*/ 124 w 770"/>
                <a:gd name="T35" fmla="*/ 521 h 1403"/>
                <a:gd name="T36" fmla="*/ 175 w 770"/>
                <a:gd name="T37" fmla="*/ 342 h 1403"/>
                <a:gd name="T38" fmla="*/ 229 w 770"/>
                <a:gd name="T39" fmla="*/ 199 h 1403"/>
                <a:gd name="T40" fmla="*/ 181 w 770"/>
                <a:gd name="T41" fmla="*/ 437 h 1403"/>
                <a:gd name="T42" fmla="*/ 96 w 770"/>
                <a:gd name="T43" fmla="*/ 765 h 1403"/>
                <a:gd name="T44" fmla="*/ 202 w 770"/>
                <a:gd name="T45" fmla="*/ 848 h 1403"/>
                <a:gd name="T46" fmla="*/ 244 w 770"/>
                <a:gd name="T47" fmla="*/ 1035 h 1403"/>
                <a:gd name="T48" fmla="*/ 244 w 770"/>
                <a:gd name="T49" fmla="*/ 1284 h 1403"/>
                <a:gd name="T50" fmla="*/ 258 w 770"/>
                <a:gd name="T51" fmla="*/ 1379 h 1403"/>
                <a:gd name="T52" fmla="*/ 297 w 770"/>
                <a:gd name="T53" fmla="*/ 1401 h 1403"/>
                <a:gd name="T54" fmla="*/ 340 w 770"/>
                <a:gd name="T55" fmla="*/ 1394 h 1403"/>
                <a:gd name="T56" fmla="*/ 368 w 770"/>
                <a:gd name="T57" fmla="*/ 1359 h 1403"/>
                <a:gd name="T58" fmla="*/ 372 w 770"/>
                <a:gd name="T59" fmla="*/ 1159 h 1403"/>
                <a:gd name="T60" fmla="*/ 372 w 770"/>
                <a:gd name="T61" fmla="*/ 910 h 1403"/>
                <a:gd name="T62" fmla="*/ 412 w 770"/>
                <a:gd name="T63" fmla="*/ 907 h 1403"/>
                <a:gd name="T64" fmla="*/ 412 w 770"/>
                <a:gd name="T65" fmla="*/ 1149 h 1403"/>
                <a:gd name="T66" fmla="*/ 412 w 770"/>
                <a:gd name="T67" fmla="*/ 1336 h 1403"/>
                <a:gd name="T68" fmla="*/ 418 w 770"/>
                <a:gd name="T69" fmla="*/ 1363 h 1403"/>
                <a:gd name="T70" fmla="*/ 433 w 770"/>
                <a:gd name="T71" fmla="*/ 1386 h 1403"/>
                <a:gd name="T72" fmla="*/ 457 w 770"/>
                <a:gd name="T73" fmla="*/ 1401 h 1403"/>
                <a:gd name="T74" fmla="*/ 485 w 770"/>
                <a:gd name="T75" fmla="*/ 1403 h 1403"/>
                <a:gd name="T76" fmla="*/ 510 w 770"/>
                <a:gd name="T77" fmla="*/ 1393 h 1403"/>
                <a:gd name="T78" fmla="*/ 532 w 770"/>
                <a:gd name="T79" fmla="*/ 1367 h 1403"/>
                <a:gd name="T80" fmla="*/ 541 w 770"/>
                <a:gd name="T81" fmla="*/ 1267 h 1403"/>
                <a:gd name="T82" fmla="*/ 541 w 770"/>
                <a:gd name="T83" fmla="*/ 1028 h 1403"/>
                <a:gd name="T84" fmla="*/ 584 w 770"/>
                <a:gd name="T85" fmla="*/ 848 h 1403"/>
                <a:gd name="T86" fmla="*/ 686 w 770"/>
                <a:gd name="T87" fmla="*/ 764 h 1403"/>
                <a:gd name="T88" fmla="*/ 588 w 770"/>
                <a:gd name="T89" fmla="*/ 430 h 1403"/>
                <a:gd name="T90" fmla="*/ 532 w 770"/>
                <a:gd name="T91" fmla="*/ 189 h 1403"/>
                <a:gd name="T92" fmla="*/ 553 w 770"/>
                <a:gd name="T93" fmla="*/ 216 h 1403"/>
                <a:gd name="T94" fmla="*/ 596 w 770"/>
                <a:gd name="T95" fmla="*/ 352 h 1403"/>
                <a:gd name="T96" fmla="*/ 650 w 770"/>
                <a:gd name="T97" fmla="*/ 523 h 1403"/>
                <a:gd name="T98" fmla="*/ 678 w 770"/>
                <a:gd name="T99" fmla="*/ 584 h 1403"/>
                <a:gd name="T100" fmla="*/ 701 w 770"/>
                <a:gd name="T101" fmla="*/ 599 h 1403"/>
                <a:gd name="T102" fmla="*/ 752 w 770"/>
                <a:gd name="T103" fmla="*/ 599 h 1403"/>
                <a:gd name="T104" fmla="*/ 770 w 770"/>
                <a:gd name="T105" fmla="*/ 548 h 1403"/>
                <a:gd name="T106" fmla="*/ 762 w 770"/>
                <a:gd name="T107" fmla="*/ 486 h 1403"/>
                <a:gd name="T108" fmla="*/ 730 w 770"/>
                <a:gd name="T109" fmla="*/ 382 h 1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70" h="1403">
                  <a:moveTo>
                    <a:pt x="722" y="352"/>
                  </a:moveTo>
                  <a:lnTo>
                    <a:pt x="710" y="316"/>
                  </a:lnTo>
                  <a:lnTo>
                    <a:pt x="699" y="281"/>
                  </a:lnTo>
                  <a:lnTo>
                    <a:pt x="690" y="245"/>
                  </a:lnTo>
                  <a:lnTo>
                    <a:pt x="679" y="209"/>
                  </a:lnTo>
                  <a:lnTo>
                    <a:pt x="669" y="174"/>
                  </a:lnTo>
                  <a:lnTo>
                    <a:pt x="656" y="139"/>
                  </a:lnTo>
                  <a:lnTo>
                    <a:pt x="650" y="122"/>
                  </a:lnTo>
                  <a:lnTo>
                    <a:pt x="642" y="104"/>
                  </a:lnTo>
                  <a:lnTo>
                    <a:pt x="634" y="88"/>
                  </a:lnTo>
                  <a:lnTo>
                    <a:pt x="624" y="72"/>
                  </a:lnTo>
                  <a:lnTo>
                    <a:pt x="616" y="60"/>
                  </a:lnTo>
                  <a:lnTo>
                    <a:pt x="607" y="49"/>
                  </a:lnTo>
                  <a:lnTo>
                    <a:pt x="596" y="40"/>
                  </a:lnTo>
                  <a:lnTo>
                    <a:pt x="585" y="32"/>
                  </a:lnTo>
                  <a:lnTo>
                    <a:pt x="573" y="25"/>
                  </a:lnTo>
                  <a:lnTo>
                    <a:pt x="561" y="18"/>
                  </a:lnTo>
                  <a:lnTo>
                    <a:pt x="548" y="13"/>
                  </a:lnTo>
                  <a:lnTo>
                    <a:pt x="536" y="9"/>
                  </a:lnTo>
                  <a:lnTo>
                    <a:pt x="521" y="6"/>
                  </a:lnTo>
                  <a:lnTo>
                    <a:pt x="508" y="4"/>
                  </a:lnTo>
                  <a:lnTo>
                    <a:pt x="494" y="1"/>
                  </a:lnTo>
                  <a:lnTo>
                    <a:pt x="479" y="1"/>
                  </a:lnTo>
                  <a:lnTo>
                    <a:pt x="451" y="0"/>
                  </a:lnTo>
                  <a:lnTo>
                    <a:pt x="425" y="1"/>
                  </a:lnTo>
                  <a:lnTo>
                    <a:pt x="391" y="1"/>
                  </a:lnTo>
                  <a:lnTo>
                    <a:pt x="356" y="1"/>
                  </a:lnTo>
                  <a:lnTo>
                    <a:pt x="323" y="0"/>
                  </a:lnTo>
                  <a:lnTo>
                    <a:pt x="288" y="1"/>
                  </a:lnTo>
                  <a:lnTo>
                    <a:pt x="270" y="2"/>
                  </a:lnTo>
                  <a:lnTo>
                    <a:pt x="254" y="5"/>
                  </a:lnTo>
                  <a:lnTo>
                    <a:pt x="238" y="8"/>
                  </a:lnTo>
                  <a:lnTo>
                    <a:pt x="222" y="12"/>
                  </a:lnTo>
                  <a:lnTo>
                    <a:pt x="206" y="18"/>
                  </a:lnTo>
                  <a:lnTo>
                    <a:pt x="191" y="26"/>
                  </a:lnTo>
                  <a:lnTo>
                    <a:pt x="178" y="36"/>
                  </a:lnTo>
                  <a:lnTo>
                    <a:pt x="164" y="47"/>
                  </a:lnTo>
                  <a:lnTo>
                    <a:pt x="154" y="60"/>
                  </a:lnTo>
                  <a:lnTo>
                    <a:pt x="144" y="73"/>
                  </a:lnTo>
                  <a:lnTo>
                    <a:pt x="135" y="88"/>
                  </a:lnTo>
                  <a:lnTo>
                    <a:pt x="128" y="103"/>
                  </a:lnTo>
                  <a:lnTo>
                    <a:pt x="115" y="132"/>
                  </a:lnTo>
                  <a:lnTo>
                    <a:pt x="104" y="165"/>
                  </a:lnTo>
                  <a:lnTo>
                    <a:pt x="95" y="197"/>
                  </a:lnTo>
                  <a:lnTo>
                    <a:pt x="87" y="229"/>
                  </a:lnTo>
                  <a:lnTo>
                    <a:pt x="77" y="261"/>
                  </a:lnTo>
                  <a:lnTo>
                    <a:pt x="68" y="293"/>
                  </a:lnTo>
                  <a:lnTo>
                    <a:pt x="59" y="325"/>
                  </a:lnTo>
                  <a:lnTo>
                    <a:pt x="49" y="359"/>
                  </a:lnTo>
                  <a:lnTo>
                    <a:pt x="38" y="391"/>
                  </a:lnTo>
                  <a:lnTo>
                    <a:pt x="29" y="425"/>
                  </a:lnTo>
                  <a:lnTo>
                    <a:pt x="20" y="457"/>
                  </a:lnTo>
                  <a:lnTo>
                    <a:pt x="10" y="490"/>
                  </a:lnTo>
                  <a:lnTo>
                    <a:pt x="4" y="524"/>
                  </a:lnTo>
                  <a:lnTo>
                    <a:pt x="0" y="557"/>
                  </a:lnTo>
                  <a:lnTo>
                    <a:pt x="1" y="568"/>
                  </a:lnTo>
                  <a:lnTo>
                    <a:pt x="5" y="576"/>
                  </a:lnTo>
                  <a:lnTo>
                    <a:pt x="9" y="584"/>
                  </a:lnTo>
                  <a:lnTo>
                    <a:pt x="16" y="591"/>
                  </a:lnTo>
                  <a:lnTo>
                    <a:pt x="24" y="596"/>
                  </a:lnTo>
                  <a:lnTo>
                    <a:pt x="32" y="600"/>
                  </a:lnTo>
                  <a:lnTo>
                    <a:pt x="41" y="603"/>
                  </a:lnTo>
                  <a:lnTo>
                    <a:pt x="50" y="604"/>
                  </a:lnTo>
                  <a:lnTo>
                    <a:pt x="60" y="603"/>
                  </a:lnTo>
                  <a:lnTo>
                    <a:pt x="69" y="602"/>
                  </a:lnTo>
                  <a:lnTo>
                    <a:pt x="79" y="599"/>
                  </a:lnTo>
                  <a:lnTo>
                    <a:pt x="87" y="595"/>
                  </a:lnTo>
                  <a:lnTo>
                    <a:pt x="95" y="590"/>
                  </a:lnTo>
                  <a:lnTo>
                    <a:pt x="101" y="583"/>
                  </a:lnTo>
                  <a:lnTo>
                    <a:pt x="107" y="575"/>
                  </a:lnTo>
                  <a:lnTo>
                    <a:pt x="109" y="565"/>
                  </a:lnTo>
                  <a:lnTo>
                    <a:pt x="124" y="521"/>
                  </a:lnTo>
                  <a:lnTo>
                    <a:pt x="138" y="477"/>
                  </a:lnTo>
                  <a:lnTo>
                    <a:pt x="151" y="431"/>
                  </a:lnTo>
                  <a:lnTo>
                    <a:pt x="163" y="387"/>
                  </a:lnTo>
                  <a:lnTo>
                    <a:pt x="175" y="342"/>
                  </a:lnTo>
                  <a:lnTo>
                    <a:pt x="189" y="296"/>
                  </a:lnTo>
                  <a:lnTo>
                    <a:pt x="202" y="252"/>
                  </a:lnTo>
                  <a:lnTo>
                    <a:pt x="217" y="207"/>
                  </a:lnTo>
                  <a:lnTo>
                    <a:pt x="229" y="199"/>
                  </a:lnTo>
                  <a:lnTo>
                    <a:pt x="242" y="190"/>
                  </a:lnTo>
                  <a:lnTo>
                    <a:pt x="222" y="273"/>
                  </a:lnTo>
                  <a:lnTo>
                    <a:pt x="202" y="355"/>
                  </a:lnTo>
                  <a:lnTo>
                    <a:pt x="181" y="437"/>
                  </a:lnTo>
                  <a:lnTo>
                    <a:pt x="159" y="519"/>
                  </a:lnTo>
                  <a:lnTo>
                    <a:pt x="138" y="600"/>
                  </a:lnTo>
                  <a:lnTo>
                    <a:pt x="118" y="683"/>
                  </a:lnTo>
                  <a:lnTo>
                    <a:pt x="96" y="765"/>
                  </a:lnTo>
                  <a:lnTo>
                    <a:pt x="76" y="847"/>
                  </a:lnTo>
                  <a:lnTo>
                    <a:pt x="118" y="848"/>
                  </a:lnTo>
                  <a:lnTo>
                    <a:pt x="159" y="848"/>
                  </a:lnTo>
                  <a:lnTo>
                    <a:pt x="202" y="848"/>
                  </a:lnTo>
                  <a:lnTo>
                    <a:pt x="244" y="848"/>
                  </a:lnTo>
                  <a:lnTo>
                    <a:pt x="244" y="910"/>
                  </a:lnTo>
                  <a:lnTo>
                    <a:pt x="244" y="973"/>
                  </a:lnTo>
                  <a:lnTo>
                    <a:pt x="244" y="1035"/>
                  </a:lnTo>
                  <a:lnTo>
                    <a:pt x="244" y="1098"/>
                  </a:lnTo>
                  <a:lnTo>
                    <a:pt x="244" y="1159"/>
                  </a:lnTo>
                  <a:lnTo>
                    <a:pt x="244" y="1221"/>
                  </a:lnTo>
                  <a:lnTo>
                    <a:pt x="244" y="1284"/>
                  </a:lnTo>
                  <a:lnTo>
                    <a:pt x="245" y="1346"/>
                  </a:lnTo>
                  <a:lnTo>
                    <a:pt x="248" y="1359"/>
                  </a:lnTo>
                  <a:lnTo>
                    <a:pt x="252" y="1370"/>
                  </a:lnTo>
                  <a:lnTo>
                    <a:pt x="258" y="1379"/>
                  </a:lnTo>
                  <a:lnTo>
                    <a:pt x="266" y="1387"/>
                  </a:lnTo>
                  <a:lnTo>
                    <a:pt x="276" y="1394"/>
                  </a:lnTo>
                  <a:lnTo>
                    <a:pt x="286" y="1398"/>
                  </a:lnTo>
                  <a:lnTo>
                    <a:pt x="297" y="1401"/>
                  </a:lnTo>
                  <a:lnTo>
                    <a:pt x="308" y="1402"/>
                  </a:lnTo>
                  <a:lnTo>
                    <a:pt x="319" y="1401"/>
                  </a:lnTo>
                  <a:lnTo>
                    <a:pt x="329" y="1398"/>
                  </a:lnTo>
                  <a:lnTo>
                    <a:pt x="340" y="1394"/>
                  </a:lnTo>
                  <a:lnTo>
                    <a:pt x="349" y="1389"/>
                  </a:lnTo>
                  <a:lnTo>
                    <a:pt x="357" y="1381"/>
                  </a:lnTo>
                  <a:lnTo>
                    <a:pt x="363" y="1371"/>
                  </a:lnTo>
                  <a:lnTo>
                    <a:pt x="368" y="1359"/>
                  </a:lnTo>
                  <a:lnTo>
                    <a:pt x="370" y="1347"/>
                  </a:lnTo>
                  <a:lnTo>
                    <a:pt x="372" y="1284"/>
                  </a:lnTo>
                  <a:lnTo>
                    <a:pt x="372" y="1222"/>
                  </a:lnTo>
                  <a:lnTo>
                    <a:pt x="372" y="1159"/>
                  </a:lnTo>
                  <a:lnTo>
                    <a:pt x="372" y="1098"/>
                  </a:lnTo>
                  <a:lnTo>
                    <a:pt x="372" y="1035"/>
                  </a:lnTo>
                  <a:lnTo>
                    <a:pt x="372" y="973"/>
                  </a:lnTo>
                  <a:lnTo>
                    <a:pt x="372" y="910"/>
                  </a:lnTo>
                  <a:lnTo>
                    <a:pt x="372" y="848"/>
                  </a:lnTo>
                  <a:lnTo>
                    <a:pt x="392" y="847"/>
                  </a:lnTo>
                  <a:lnTo>
                    <a:pt x="411" y="847"/>
                  </a:lnTo>
                  <a:lnTo>
                    <a:pt x="412" y="907"/>
                  </a:lnTo>
                  <a:lnTo>
                    <a:pt x="412" y="968"/>
                  </a:lnTo>
                  <a:lnTo>
                    <a:pt x="412" y="1028"/>
                  </a:lnTo>
                  <a:lnTo>
                    <a:pt x="412" y="1088"/>
                  </a:lnTo>
                  <a:lnTo>
                    <a:pt x="412" y="1149"/>
                  </a:lnTo>
                  <a:lnTo>
                    <a:pt x="412" y="1209"/>
                  </a:lnTo>
                  <a:lnTo>
                    <a:pt x="412" y="1269"/>
                  </a:lnTo>
                  <a:lnTo>
                    <a:pt x="412" y="1330"/>
                  </a:lnTo>
                  <a:lnTo>
                    <a:pt x="412" y="1336"/>
                  </a:lnTo>
                  <a:lnTo>
                    <a:pt x="412" y="1343"/>
                  </a:lnTo>
                  <a:lnTo>
                    <a:pt x="414" y="1350"/>
                  </a:lnTo>
                  <a:lnTo>
                    <a:pt x="415" y="1357"/>
                  </a:lnTo>
                  <a:lnTo>
                    <a:pt x="418" y="1363"/>
                  </a:lnTo>
                  <a:lnTo>
                    <a:pt x="420" y="1370"/>
                  </a:lnTo>
                  <a:lnTo>
                    <a:pt x="425" y="1375"/>
                  </a:lnTo>
                  <a:lnTo>
                    <a:pt x="429" y="1381"/>
                  </a:lnTo>
                  <a:lnTo>
                    <a:pt x="433" y="1386"/>
                  </a:lnTo>
                  <a:lnTo>
                    <a:pt x="438" y="1391"/>
                  </a:lnTo>
                  <a:lnTo>
                    <a:pt x="443" y="1394"/>
                  </a:lnTo>
                  <a:lnTo>
                    <a:pt x="450" y="1398"/>
                  </a:lnTo>
                  <a:lnTo>
                    <a:pt x="457" y="1401"/>
                  </a:lnTo>
                  <a:lnTo>
                    <a:pt x="463" y="1402"/>
                  </a:lnTo>
                  <a:lnTo>
                    <a:pt x="470" y="1403"/>
                  </a:lnTo>
                  <a:lnTo>
                    <a:pt x="477" y="1403"/>
                  </a:lnTo>
                  <a:lnTo>
                    <a:pt x="485" y="1403"/>
                  </a:lnTo>
                  <a:lnTo>
                    <a:pt x="492" y="1402"/>
                  </a:lnTo>
                  <a:lnTo>
                    <a:pt x="498" y="1399"/>
                  </a:lnTo>
                  <a:lnTo>
                    <a:pt x="504" y="1397"/>
                  </a:lnTo>
                  <a:lnTo>
                    <a:pt x="510" y="1393"/>
                  </a:lnTo>
                  <a:lnTo>
                    <a:pt x="516" y="1389"/>
                  </a:lnTo>
                  <a:lnTo>
                    <a:pt x="520" y="1385"/>
                  </a:lnTo>
                  <a:lnTo>
                    <a:pt x="524" y="1379"/>
                  </a:lnTo>
                  <a:lnTo>
                    <a:pt x="532" y="1367"/>
                  </a:lnTo>
                  <a:lnTo>
                    <a:pt x="537" y="1354"/>
                  </a:lnTo>
                  <a:lnTo>
                    <a:pt x="540" y="1340"/>
                  </a:lnTo>
                  <a:lnTo>
                    <a:pt x="540" y="1327"/>
                  </a:lnTo>
                  <a:lnTo>
                    <a:pt x="541" y="1267"/>
                  </a:lnTo>
                  <a:lnTo>
                    <a:pt x="542" y="1208"/>
                  </a:lnTo>
                  <a:lnTo>
                    <a:pt x="542" y="1147"/>
                  </a:lnTo>
                  <a:lnTo>
                    <a:pt x="541" y="1087"/>
                  </a:lnTo>
                  <a:lnTo>
                    <a:pt x="541" y="1028"/>
                  </a:lnTo>
                  <a:lnTo>
                    <a:pt x="541" y="968"/>
                  </a:lnTo>
                  <a:lnTo>
                    <a:pt x="541" y="907"/>
                  </a:lnTo>
                  <a:lnTo>
                    <a:pt x="542" y="848"/>
                  </a:lnTo>
                  <a:lnTo>
                    <a:pt x="584" y="848"/>
                  </a:lnTo>
                  <a:lnTo>
                    <a:pt x="626" y="848"/>
                  </a:lnTo>
                  <a:lnTo>
                    <a:pt x="667" y="848"/>
                  </a:lnTo>
                  <a:lnTo>
                    <a:pt x="709" y="848"/>
                  </a:lnTo>
                  <a:lnTo>
                    <a:pt x="686" y="764"/>
                  </a:lnTo>
                  <a:lnTo>
                    <a:pt x="662" y="681"/>
                  </a:lnTo>
                  <a:lnTo>
                    <a:pt x="636" y="598"/>
                  </a:lnTo>
                  <a:lnTo>
                    <a:pt x="612" y="515"/>
                  </a:lnTo>
                  <a:lnTo>
                    <a:pt x="588" y="430"/>
                  </a:lnTo>
                  <a:lnTo>
                    <a:pt x="564" y="347"/>
                  </a:lnTo>
                  <a:lnTo>
                    <a:pt x="541" y="264"/>
                  </a:lnTo>
                  <a:lnTo>
                    <a:pt x="521" y="179"/>
                  </a:lnTo>
                  <a:lnTo>
                    <a:pt x="532" y="189"/>
                  </a:lnTo>
                  <a:lnTo>
                    <a:pt x="542" y="198"/>
                  </a:lnTo>
                  <a:lnTo>
                    <a:pt x="547" y="203"/>
                  </a:lnTo>
                  <a:lnTo>
                    <a:pt x="551" y="210"/>
                  </a:lnTo>
                  <a:lnTo>
                    <a:pt x="553" y="216"/>
                  </a:lnTo>
                  <a:lnTo>
                    <a:pt x="556" y="224"/>
                  </a:lnTo>
                  <a:lnTo>
                    <a:pt x="571" y="265"/>
                  </a:lnTo>
                  <a:lnTo>
                    <a:pt x="584" y="308"/>
                  </a:lnTo>
                  <a:lnTo>
                    <a:pt x="596" y="352"/>
                  </a:lnTo>
                  <a:lnTo>
                    <a:pt x="610" y="395"/>
                  </a:lnTo>
                  <a:lnTo>
                    <a:pt x="623" y="438"/>
                  </a:lnTo>
                  <a:lnTo>
                    <a:pt x="636" y="481"/>
                  </a:lnTo>
                  <a:lnTo>
                    <a:pt x="650" y="523"/>
                  </a:lnTo>
                  <a:lnTo>
                    <a:pt x="664" y="565"/>
                  </a:lnTo>
                  <a:lnTo>
                    <a:pt x="669" y="572"/>
                  </a:lnTo>
                  <a:lnTo>
                    <a:pt x="673" y="579"/>
                  </a:lnTo>
                  <a:lnTo>
                    <a:pt x="678" y="584"/>
                  </a:lnTo>
                  <a:lnTo>
                    <a:pt x="683" y="590"/>
                  </a:lnTo>
                  <a:lnTo>
                    <a:pt x="689" y="592"/>
                  </a:lnTo>
                  <a:lnTo>
                    <a:pt x="695" y="596"/>
                  </a:lnTo>
                  <a:lnTo>
                    <a:pt x="701" y="599"/>
                  </a:lnTo>
                  <a:lnTo>
                    <a:pt x="709" y="600"/>
                  </a:lnTo>
                  <a:lnTo>
                    <a:pt x="722" y="602"/>
                  </a:lnTo>
                  <a:lnTo>
                    <a:pt x="737" y="602"/>
                  </a:lnTo>
                  <a:lnTo>
                    <a:pt x="752" y="599"/>
                  </a:lnTo>
                  <a:lnTo>
                    <a:pt x="765" y="595"/>
                  </a:lnTo>
                  <a:lnTo>
                    <a:pt x="769" y="579"/>
                  </a:lnTo>
                  <a:lnTo>
                    <a:pt x="770" y="564"/>
                  </a:lnTo>
                  <a:lnTo>
                    <a:pt x="770" y="548"/>
                  </a:lnTo>
                  <a:lnTo>
                    <a:pt x="769" y="533"/>
                  </a:lnTo>
                  <a:lnTo>
                    <a:pt x="768" y="517"/>
                  </a:lnTo>
                  <a:lnTo>
                    <a:pt x="765" y="502"/>
                  </a:lnTo>
                  <a:lnTo>
                    <a:pt x="762" y="486"/>
                  </a:lnTo>
                  <a:lnTo>
                    <a:pt x="758" y="472"/>
                  </a:lnTo>
                  <a:lnTo>
                    <a:pt x="749" y="442"/>
                  </a:lnTo>
                  <a:lnTo>
                    <a:pt x="740" y="411"/>
                  </a:lnTo>
                  <a:lnTo>
                    <a:pt x="730" y="382"/>
                  </a:lnTo>
                  <a:lnTo>
                    <a:pt x="722" y="352"/>
                  </a:lnTo>
                  <a:close/>
                </a:path>
              </a:pathLst>
            </a:custGeom>
            <a:grpFill/>
            <a:ln w="9525">
              <a:noFill/>
              <a:round/>
            </a:ln>
          </p:spPr>
          <p:txBody>
            <a:bodyPr vert="horz" wrap="square" lIns="91440" tIns="45720" rIns="91440" bIns="45720" numCol="1" anchor="t" anchorCtr="0" compatLnSpc="1"/>
            <a:lstStyle/>
            <a:p>
              <a:endParaRPr lang="en-US"/>
            </a:p>
          </p:txBody>
        </p:sp>
      </p:grpSp>
      <p:grpSp>
        <p:nvGrpSpPr>
          <p:cNvPr id="116" name="Group 115"/>
          <p:cNvGrpSpPr/>
          <p:nvPr/>
        </p:nvGrpSpPr>
        <p:grpSpPr>
          <a:xfrm>
            <a:off x="4527746" y="2635121"/>
            <a:ext cx="231047" cy="591857"/>
            <a:chOff x="3647164" y="2464482"/>
            <a:chExt cx="231047" cy="591857"/>
          </a:xfrm>
          <a:solidFill>
            <a:schemeClr val="accent1"/>
          </a:solidFill>
        </p:grpSpPr>
        <p:sp>
          <p:nvSpPr>
            <p:cNvPr id="117" name="Freeform 56"/>
            <p:cNvSpPr/>
            <p:nvPr/>
          </p:nvSpPr>
          <p:spPr bwMode="auto">
            <a:xfrm>
              <a:off x="3716795" y="2464482"/>
              <a:ext cx="96006" cy="96006"/>
            </a:xfrm>
            <a:custGeom>
              <a:avLst/>
              <a:gdLst>
                <a:gd name="T0" fmla="*/ 262 w 273"/>
                <a:gd name="T1" fmla="*/ 182 h 271"/>
                <a:gd name="T2" fmla="*/ 266 w 273"/>
                <a:gd name="T3" fmla="*/ 173 h 271"/>
                <a:gd name="T4" fmla="*/ 269 w 273"/>
                <a:gd name="T5" fmla="*/ 165 h 271"/>
                <a:gd name="T6" fmla="*/ 272 w 273"/>
                <a:gd name="T7" fmla="*/ 155 h 271"/>
                <a:gd name="T8" fmla="*/ 273 w 273"/>
                <a:gd name="T9" fmla="*/ 146 h 271"/>
                <a:gd name="T10" fmla="*/ 273 w 273"/>
                <a:gd name="T11" fmla="*/ 137 h 271"/>
                <a:gd name="T12" fmla="*/ 273 w 273"/>
                <a:gd name="T13" fmla="*/ 127 h 271"/>
                <a:gd name="T14" fmla="*/ 272 w 273"/>
                <a:gd name="T15" fmla="*/ 119 h 271"/>
                <a:gd name="T16" fmla="*/ 270 w 273"/>
                <a:gd name="T17" fmla="*/ 110 h 271"/>
                <a:gd name="T18" fmla="*/ 265 w 273"/>
                <a:gd name="T19" fmla="*/ 92 h 271"/>
                <a:gd name="T20" fmla="*/ 257 w 273"/>
                <a:gd name="T21" fmla="*/ 76 h 271"/>
                <a:gd name="T22" fmla="*/ 246 w 273"/>
                <a:gd name="T23" fmla="*/ 60 h 271"/>
                <a:gd name="T24" fmla="*/ 236 w 273"/>
                <a:gd name="T25" fmla="*/ 45 h 271"/>
                <a:gd name="T26" fmla="*/ 222 w 273"/>
                <a:gd name="T27" fmla="*/ 33 h 271"/>
                <a:gd name="T28" fmla="*/ 207 w 273"/>
                <a:gd name="T29" fmla="*/ 23 h 271"/>
                <a:gd name="T30" fmla="*/ 191 w 273"/>
                <a:gd name="T31" fmla="*/ 13 h 271"/>
                <a:gd name="T32" fmla="*/ 174 w 273"/>
                <a:gd name="T33" fmla="*/ 6 h 271"/>
                <a:gd name="T34" fmla="*/ 165 w 273"/>
                <a:gd name="T35" fmla="*/ 4 h 271"/>
                <a:gd name="T36" fmla="*/ 157 w 273"/>
                <a:gd name="T37" fmla="*/ 1 h 271"/>
                <a:gd name="T38" fmla="*/ 147 w 273"/>
                <a:gd name="T39" fmla="*/ 0 h 271"/>
                <a:gd name="T40" fmla="*/ 138 w 273"/>
                <a:gd name="T41" fmla="*/ 0 h 271"/>
                <a:gd name="T42" fmla="*/ 128 w 273"/>
                <a:gd name="T43" fmla="*/ 0 h 271"/>
                <a:gd name="T44" fmla="*/ 119 w 273"/>
                <a:gd name="T45" fmla="*/ 1 h 271"/>
                <a:gd name="T46" fmla="*/ 110 w 273"/>
                <a:gd name="T47" fmla="*/ 2 h 271"/>
                <a:gd name="T48" fmla="*/ 100 w 273"/>
                <a:gd name="T49" fmla="*/ 5 h 271"/>
                <a:gd name="T50" fmla="*/ 92 w 273"/>
                <a:gd name="T51" fmla="*/ 6 h 271"/>
                <a:gd name="T52" fmla="*/ 84 w 273"/>
                <a:gd name="T53" fmla="*/ 9 h 271"/>
                <a:gd name="T54" fmla="*/ 76 w 273"/>
                <a:gd name="T55" fmla="*/ 13 h 271"/>
                <a:gd name="T56" fmla="*/ 68 w 273"/>
                <a:gd name="T57" fmla="*/ 17 h 271"/>
                <a:gd name="T58" fmla="*/ 53 w 273"/>
                <a:gd name="T59" fmla="*/ 27 h 271"/>
                <a:gd name="T60" fmla="*/ 41 w 273"/>
                <a:gd name="T61" fmla="*/ 37 h 271"/>
                <a:gd name="T62" fmla="*/ 29 w 273"/>
                <a:gd name="T63" fmla="*/ 49 h 271"/>
                <a:gd name="T64" fmla="*/ 20 w 273"/>
                <a:gd name="T65" fmla="*/ 64 h 271"/>
                <a:gd name="T66" fmla="*/ 12 w 273"/>
                <a:gd name="T67" fmla="*/ 79 h 271"/>
                <a:gd name="T68" fmla="*/ 6 w 273"/>
                <a:gd name="T69" fmla="*/ 95 h 271"/>
                <a:gd name="T70" fmla="*/ 2 w 273"/>
                <a:gd name="T71" fmla="*/ 112 h 271"/>
                <a:gd name="T72" fmla="*/ 0 w 273"/>
                <a:gd name="T73" fmla="*/ 129 h 271"/>
                <a:gd name="T74" fmla="*/ 0 w 273"/>
                <a:gd name="T75" fmla="*/ 146 h 271"/>
                <a:gd name="T76" fmla="*/ 2 w 273"/>
                <a:gd name="T77" fmla="*/ 163 h 271"/>
                <a:gd name="T78" fmla="*/ 6 w 273"/>
                <a:gd name="T79" fmla="*/ 179 h 271"/>
                <a:gd name="T80" fmla="*/ 12 w 273"/>
                <a:gd name="T81" fmla="*/ 196 h 271"/>
                <a:gd name="T82" fmla="*/ 21 w 273"/>
                <a:gd name="T83" fmla="*/ 210 h 271"/>
                <a:gd name="T84" fmla="*/ 32 w 273"/>
                <a:gd name="T85" fmla="*/ 224 h 271"/>
                <a:gd name="T86" fmla="*/ 39 w 273"/>
                <a:gd name="T87" fmla="*/ 232 h 271"/>
                <a:gd name="T88" fmla="*/ 44 w 273"/>
                <a:gd name="T89" fmla="*/ 238 h 271"/>
                <a:gd name="T90" fmla="*/ 51 w 273"/>
                <a:gd name="T91" fmla="*/ 244 h 271"/>
                <a:gd name="T92" fmla="*/ 59 w 273"/>
                <a:gd name="T93" fmla="*/ 249 h 271"/>
                <a:gd name="T94" fmla="*/ 73 w 273"/>
                <a:gd name="T95" fmla="*/ 259 h 271"/>
                <a:gd name="T96" fmla="*/ 89 w 273"/>
                <a:gd name="T97" fmla="*/ 264 h 271"/>
                <a:gd name="T98" fmla="*/ 107 w 273"/>
                <a:gd name="T99" fmla="*/ 269 h 271"/>
                <a:gd name="T100" fmla="*/ 124 w 273"/>
                <a:gd name="T101" fmla="*/ 271 h 271"/>
                <a:gd name="T102" fmla="*/ 142 w 273"/>
                <a:gd name="T103" fmla="*/ 271 h 271"/>
                <a:gd name="T104" fmla="*/ 159 w 273"/>
                <a:gd name="T105" fmla="*/ 269 h 271"/>
                <a:gd name="T106" fmla="*/ 177 w 273"/>
                <a:gd name="T107" fmla="*/ 265 h 271"/>
                <a:gd name="T108" fmla="*/ 193 w 273"/>
                <a:gd name="T109" fmla="*/ 259 h 271"/>
                <a:gd name="T110" fmla="*/ 209 w 273"/>
                <a:gd name="T111" fmla="*/ 251 h 271"/>
                <a:gd name="T112" fmla="*/ 224 w 273"/>
                <a:gd name="T113" fmla="*/ 240 h 271"/>
                <a:gd name="T114" fmla="*/ 236 w 273"/>
                <a:gd name="T115" fmla="*/ 229 h 271"/>
                <a:gd name="T116" fmla="*/ 248 w 273"/>
                <a:gd name="T117" fmla="*/ 214 h 271"/>
                <a:gd name="T118" fmla="*/ 252 w 273"/>
                <a:gd name="T119" fmla="*/ 208 h 271"/>
                <a:gd name="T120" fmla="*/ 256 w 273"/>
                <a:gd name="T121" fmla="*/ 200 h 271"/>
                <a:gd name="T122" fmla="*/ 260 w 273"/>
                <a:gd name="T123" fmla="*/ 192 h 271"/>
                <a:gd name="T124" fmla="*/ 262 w 273"/>
                <a:gd name="T125" fmla="*/ 18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3" h="271">
                  <a:moveTo>
                    <a:pt x="262" y="182"/>
                  </a:moveTo>
                  <a:lnTo>
                    <a:pt x="266" y="173"/>
                  </a:lnTo>
                  <a:lnTo>
                    <a:pt x="269" y="165"/>
                  </a:lnTo>
                  <a:lnTo>
                    <a:pt x="272" y="155"/>
                  </a:lnTo>
                  <a:lnTo>
                    <a:pt x="273" y="146"/>
                  </a:lnTo>
                  <a:lnTo>
                    <a:pt x="273" y="137"/>
                  </a:lnTo>
                  <a:lnTo>
                    <a:pt x="273" y="127"/>
                  </a:lnTo>
                  <a:lnTo>
                    <a:pt x="272" y="119"/>
                  </a:lnTo>
                  <a:lnTo>
                    <a:pt x="270" y="110"/>
                  </a:lnTo>
                  <a:lnTo>
                    <a:pt x="265" y="92"/>
                  </a:lnTo>
                  <a:lnTo>
                    <a:pt x="257" y="76"/>
                  </a:lnTo>
                  <a:lnTo>
                    <a:pt x="246" y="60"/>
                  </a:lnTo>
                  <a:lnTo>
                    <a:pt x="236" y="45"/>
                  </a:lnTo>
                  <a:lnTo>
                    <a:pt x="222" y="33"/>
                  </a:lnTo>
                  <a:lnTo>
                    <a:pt x="207" y="23"/>
                  </a:lnTo>
                  <a:lnTo>
                    <a:pt x="191" y="13"/>
                  </a:lnTo>
                  <a:lnTo>
                    <a:pt x="174" y="6"/>
                  </a:lnTo>
                  <a:lnTo>
                    <a:pt x="165" y="4"/>
                  </a:lnTo>
                  <a:lnTo>
                    <a:pt x="157" y="1"/>
                  </a:lnTo>
                  <a:lnTo>
                    <a:pt x="147" y="0"/>
                  </a:lnTo>
                  <a:lnTo>
                    <a:pt x="138" y="0"/>
                  </a:lnTo>
                  <a:lnTo>
                    <a:pt x="128" y="0"/>
                  </a:lnTo>
                  <a:lnTo>
                    <a:pt x="119" y="1"/>
                  </a:lnTo>
                  <a:lnTo>
                    <a:pt x="110" y="2"/>
                  </a:lnTo>
                  <a:lnTo>
                    <a:pt x="100" y="5"/>
                  </a:lnTo>
                  <a:lnTo>
                    <a:pt x="92" y="6"/>
                  </a:lnTo>
                  <a:lnTo>
                    <a:pt x="84" y="9"/>
                  </a:lnTo>
                  <a:lnTo>
                    <a:pt x="76" y="13"/>
                  </a:lnTo>
                  <a:lnTo>
                    <a:pt x="68" y="17"/>
                  </a:lnTo>
                  <a:lnTo>
                    <a:pt x="53" y="27"/>
                  </a:lnTo>
                  <a:lnTo>
                    <a:pt x="41" y="37"/>
                  </a:lnTo>
                  <a:lnTo>
                    <a:pt x="29" y="49"/>
                  </a:lnTo>
                  <a:lnTo>
                    <a:pt x="20" y="64"/>
                  </a:lnTo>
                  <a:lnTo>
                    <a:pt x="12" y="79"/>
                  </a:lnTo>
                  <a:lnTo>
                    <a:pt x="6" y="95"/>
                  </a:lnTo>
                  <a:lnTo>
                    <a:pt x="2" y="112"/>
                  </a:lnTo>
                  <a:lnTo>
                    <a:pt x="0" y="129"/>
                  </a:lnTo>
                  <a:lnTo>
                    <a:pt x="0" y="146"/>
                  </a:lnTo>
                  <a:lnTo>
                    <a:pt x="2" y="163"/>
                  </a:lnTo>
                  <a:lnTo>
                    <a:pt x="6" y="179"/>
                  </a:lnTo>
                  <a:lnTo>
                    <a:pt x="12" y="196"/>
                  </a:lnTo>
                  <a:lnTo>
                    <a:pt x="21" y="210"/>
                  </a:lnTo>
                  <a:lnTo>
                    <a:pt x="32" y="224"/>
                  </a:lnTo>
                  <a:lnTo>
                    <a:pt x="39" y="232"/>
                  </a:lnTo>
                  <a:lnTo>
                    <a:pt x="44" y="238"/>
                  </a:lnTo>
                  <a:lnTo>
                    <a:pt x="51" y="244"/>
                  </a:lnTo>
                  <a:lnTo>
                    <a:pt x="59" y="249"/>
                  </a:lnTo>
                  <a:lnTo>
                    <a:pt x="73" y="259"/>
                  </a:lnTo>
                  <a:lnTo>
                    <a:pt x="89" y="264"/>
                  </a:lnTo>
                  <a:lnTo>
                    <a:pt x="107" y="269"/>
                  </a:lnTo>
                  <a:lnTo>
                    <a:pt x="124" y="271"/>
                  </a:lnTo>
                  <a:lnTo>
                    <a:pt x="142" y="271"/>
                  </a:lnTo>
                  <a:lnTo>
                    <a:pt x="159" y="269"/>
                  </a:lnTo>
                  <a:lnTo>
                    <a:pt x="177" y="265"/>
                  </a:lnTo>
                  <a:lnTo>
                    <a:pt x="193" y="259"/>
                  </a:lnTo>
                  <a:lnTo>
                    <a:pt x="209" y="251"/>
                  </a:lnTo>
                  <a:lnTo>
                    <a:pt x="224" y="240"/>
                  </a:lnTo>
                  <a:lnTo>
                    <a:pt x="236" y="229"/>
                  </a:lnTo>
                  <a:lnTo>
                    <a:pt x="248" y="214"/>
                  </a:lnTo>
                  <a:lnTo>
                    <a:pt x="252" y="208"/>
                  </a:lnTo>
                  <a:lnTo>
                    <a:pt x="256" y="200"/>
                  </a:lnTo>
                  <a:lnTo>
                    <a:pt x="260" y="192"/>
                  </a:lnTo>
                  <a:lnTo>
                    <a:pt x="262" y="182"/>
                  </a:lnTo>
                  <a:close/>
                </a:path>
              </a:pathLst>
            </a:custGeom>
            <a:grpFill/>
            <a:ln w="9525">
              <a:noFill/>
              <a:round/>
            </a:ln>
          </p:spPr>
          <p:txBody>
            <a:bodyPr vert="horz" wrap="square" lIns="91440" tIns="45720" rIns="91440" bIns="45720" numCol="1" anchor="t" anchorCtr="0" compatLnSpc="1"/>
            <a:lstStyle/>
            <a:p>
              <a:endParaRPr lang="en-US"/>
            </a:p>
          </p:txBody>
        </p:sp>
        <p:sp>
          <p:nvSpPr>
            <p:cNvPr id="118" name="Freeform 57"/>
            <p:cNvSpPr/>
            <p:nvPr/>
          </p:nvSpPr>
          <p:spPr bwMode="auto">
            <a:xfrm>
              <a:off x="3647164" y="2569982"/>
              <a:ext cx="231047" cy="486357"/>
            </a:xfrm>
            <a:custGeom>
              <a:avLst/>
              <a:gdLst>
                <a:gd name="T0" fmla="*/ 566 w 658"/>
                <a:gd name="T1" fmla="*/ 20 h 1383"/>
                <a:gd name="T2" fmla="*/ 506 w 658"/>
                <a:gd name="T3" fmla="*/ 4 h 1383"/>
                <a:gd name="T4" fmla="*/ 396 w 658"/>
                <a:gd name="T5" fmla="*/ 0 h 1383"/>
                <a:gd name="T6" fmla="*/ 259 w 658"/>
                <a:gd name="T7" fmla="*/ 0 h 1383"/>
                <a:gd name="T8" fmla="*/ 136 w 658"/>
                <a:gd name="T9" fmla="*/ 8 h 1383"/>
                <a:gd name="T10" fmla="*/ 74 w 658"/>
                <a:gd name="T11" fmla="*/ 27 h 1383"/>
                <a:gd name="T12" fmla="*/ 40 w 658"/>
                <a:gd name="T13" fmla="*/ 53 h 1383"/>
                <a:gd name="T14" fmla="*/ 16 w 658"/>
                <a:gd name="T15" fmla="*/ 90 h 1383"/>
                <a:gd name="T16" fmla="*/ 4 w 658"/>
                <a:gd name="T17" fmla="*/ 131 h 1383"/>
                <a:gd name="T18" fmla="*/ 2 w 658"/>
                <a:gd name="T19" fmla="*/ 220 h 1383"/>
                <a:gd name="T20" fmla="*/ 0 w 658"/>
                <a:gd name="T21" fmla="*/ 448 h 1383"/>
                <a:gd name="T22" fmla="*/ 2 w 658"/>
                <a:gd name="T23" fmla="*/ 629 h 1383"/>
                <a:gd name="T24" fmla="*/ 19 w 658"/>
                <a:gd name="T25" fmla="*/ 665 h 1383"/>
                <a:gd name="T26" fmla="*/ 42 w 658"/>
                <a:gd name="T27" fmla="*/ 676 h 1383"/>
                <a:gd name="T28" fmla="*/ 73 w 658"/>
                <a:gd name="T29" fmla="*/ 676 h 1383"/>
                <a:gd name="T30" fmla="*/ 97 w 658"/>
                <a:gd name="T31" fmla="*/ 657 h 1383"/>
                <a:gd name="T32" fmla="*/ 117 w 658"/>
                <a:gd name="T33" fmla="*/ 602 h 1383"/>
                <a:gd name="T34" fmla="*/ 118 w 658"/>
                <a:gd name="T35" fmla="*/ 452 h 1383"/>
                <a:gd name="T36" fmla="*/ 118 w 658"/>
                <a:gd name="T37" fmla="*/ 273 h 1383"/>
                <a:gd name="T38" fmla="*/ 153 w 658"/>
                <a:gd name="T39" fmla="*/ 296 h 1383"/>
                <a:gd name="T40" fmla="*/ 153 w 658"/>
                <a:gd name="T41" fmla="*/ 566 h 1383"/>
                <a:gd name="T42" fmla="*/ 153 w 658"/>
                <a:gd name="T43" fmla="*/ 836 h 1383"/>
                <a:gd name="T44" fmla="*/ 153 w 658"/>
                <a:gd name="T45" fmla="*/ 1107 h 1383"/>
                <a:gd name="T46" fmla="*/ 154 w 658"/>
                <a:gd name="T47" fmla="*/ 1323 h 1383"/>
                <a:gd name="T48" fmla="*/ 175 w 658"/>
                <a:gd name="T49" fmla="*/ 1363 h 1383"/>
                <a:gd name="T50" fmla="*/ 215 w 658"/>
                <a:gd name="T51" fmla="*/ 1382 h 1383"/>
                <a:gd name="T52" fmla="*/ 262 w 658"/>
                <a:gd name="T53" fmla="*/ 1379 h 1383"/>
                <a:gd name="T54" fmla="*/ 299 w 658"/>
                <a:gd name="T55" fmla="*/ 1349 h 1383"/>
                <a:gd name="T56" fmla="*/ 311 w 658"/>
                <a:gd name="T57" fmla="*/ 1272 h 1383"/>
                <a:gd name="T58" fmla="*/ 311 w 658"/>
                <a:gd name="T59" fmla="*/ 1030 h 1383"/>
                <a:gd name="T60" fmla="*/ 313 w 658"/>
                <a:gd name="T61" fmla="*/ 745 h 1383"/>
                <a:gd name="T62" fmla="*/ 347 w 658"/>
                <a:gd name="T63" fmla="*/ 756 h 1383"/>
                <a:gd name="T64" fmla="*/ 347 w 658"/>
                <a:gd name="T65" fmla="*/ 1082 h 1383"/>
                <a:gd name="T66" fmla="*/ 350 w 658"/>
                <a:gd name="T67" fmla="*/ 1333 h 1383"/>
                <a:gd name="T68" fmla="*/ 361 w 658"/>
                <a:gd name="T69" fmla="*/ 1359 h 1383"/>
                <a:gd name="T70" fmla="*/ 388 w 658"/>
                <a:gd name="T71" fmla="*/ 1378 h 1383"/>
                <a:gd name="T72" fmla="*/ 444 w 658"/>
                <a:gd name="T73" fmla="*/ 1379 h 1383"/>
                <a:gd name="T74" fmla="*/ 484 w 658"/>
                <a:gd name="T75" fmla="*/ 1355 h 1383"/>
                <a:gd name="T76" fmla="*/ 496 w 658"/>
                <a:gd name="T77" fmla="*/ 1331 h 1383"/>
                <a:gd name="T78" fmla="*/ 499 w 658"/>
                <a:gd name="T79" fmla="*/ 1240 h 1383"/>
                <a:gd name="T80" fmla="*/ 499 w 658"/>
                <a:gd name="T81" fmla="*/ 971 h 1383"/>
                <a:gd name="T82" fmla="*/ 499 w 658"/>
                <a:gd name="T83" fmla="*/ 700 h 1383"/>
                <a:gd name="T84" fmla="*/ 499 w 658"/>
                <a:gd name="T85" fmla="*/ 429 h 1383"/>
                <a:gd name="T86" fmla="*/ 510 w 658"/>
                <a:gd name="T87" fmla="*/ 226 h 1383"/>
                <a:gd name="T88" fmla="*/ 542 w 658"/>
                <a:gd name="T89" fmla="*/ 273 h 1383"/>
                <a:gd name="T90" fmla="*/ 542 w 658"/>
                <a:gd name="T91" fmla="*/ 461 h 1383"/>
                <a:gd name="T92" fmla="*/ 543 w 658"/>
                <a:gd name="T93" fmla="*/ 617 h 1383"/>
                <a:gd name="T94" fmla="*/ 565 w 658"/>
                <a:gd name="T95" fmla="*/ 662 h 1383"/>
                <a:gd name="T96" fmla="*/ 589 w 658"/>
                <a:gd name="T97" fmla="*/ 676 h 1383"/>
                <a:gd name="T98" fmla="*/ 618 w 658"/>
                <a:gd name="T99" fmla="*/ 676 h 1383"/>
                <a:gd name="T100" fmla="*/ 638 w 658"/>
                <a:gd name="T101" fmla="*/ 665 h 1383"/>
                <a:gd name="T102" fmla="*/ 653 w 658"/>
                <a:gd name="T103" fmla="*/ 639 h 1383"/>
                <a:gd name="T104" fmla="*/ 658 w 658"/>
                <a:gd name="T105" fmla="*/ 555 h 1383"/>
                <a:gd name="T106" fmla="*/ 658 w 658"/>
                <a:gd name="T107" fmla="*/ 360 h 1383"/>
                <a:gd name="T108" fmla="*/ 658 w 658"/>
                <a:gd name="T109" fmla="*/ 192 h 1383"/>
                <a:gd name="T110" fmla="*/ 648 w 658"/>
                <a:gd name="T111" fmla="*/ 111 h 1383"/>
                <a:gd name="T112" fmla="*/ 629 w 658"/>
                <a:gd name="T113" fmla="*/ 71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8" h="1383">
                  <a:moveTo>
                    <a:pt x="605" y="45"/>
                  </a:moveTo>
                  <a:lnTo>
                    <a:pt x="593" y="36"/>
                  </a:lnTo>
                  <a:lnTo>
                    <a:pt x="579" y="27"/>
                  </a:lnTo>
                  <a:lnTo>
                    <a:pt x="566" y="20"/>
                  </a:lnTo>
                  <a:lnTo>
                    <a:pt x="551" y="15"/>
                  </a:lnTo>
                  <a:lnTo>
                    <a:pt x="536" y="11"/>
                  </a:lnTo>
                  <a:lnTo>
                    <a:pt x="522" y="6"/>
                  </a:lnTo>
                  <a:lnTo>
                    <a:pt x="506" y="4"/>
                  </a:lnTo>
                  <a:lnTo>
                    <a:pt x="491" y="2"/>
                  </a:lnTo>
                  <a:lnTo>
                    <a:pt x="459" y="0"/>
                  </a:lnTo>
                  <a:lnTo>
                    <a:pt x="427" y="0"/>
                  </a:lnTo>
                  <a:lnTo>
                    <a:pt x="396" y="0"/>
                  </a:lnTo>
                  <a:lnTo>
                    <a:pt x="365" y="0"/>
                  </a:lnTo>
                  <a:lnTo>
                    <a:pt x="330" y="1"/>
                  </a:lnTo>
                  <a:lnTo>
                    <a:pt x="294" y="0"/>
                  </a:lnTo>
                  <a:lnTo>
                    <a:pt x="259" y="0"/>
                  </a:lnTo>
                  <a:lnTo>
                    <a:pt x="223" y="0"/>
                  </a:lnTo>
                  <a:lnTo>
                    <a:pt x="188" y="1"/>
                  </a:lnTo>
                  <a:lnTo>
                    <a:pt x="153" y="4"/>
                  </a:lnTo>
                  <a:lnTo>
                    <a:pt x="136" y="8"/>
                  </a:lnTo>
                  <a:lnTo>
                    <a:pt x="118" y="12"/>
                  </a:lnTo>
                  <a:lnTo>
                    <a:pt x="101" y="16"/>
                  </a:lnTo>
                  <a:lnTo>
                    <a:pt x="85" y="23"/>
                  </a:lnTo>
                  <a:lnTo>
                    <a:pt x="74" y="27"/>
                  </a:lnTo>
                  <a:lnTo>
                    <a:pt x="65" y="32"/>
                  </a:lnTo>
                  <a:lnTo>
                    <a:pt x="55" y="39"/>
                  </a:lnTo>
                  <a:lnTo>
                    <a:pt x="47" y="45"/>
                  </a:lnTo>
                  <a:lnTo>
                    <a:pt x="40" y="53"/>
                  </a:lnTo>
                  <a:lnTo>
                    <a:pt x="32" y="61"/>
                  </a:lnTo>
                  <a:lnTo>
                    <a:pt x="27" y="70"/>
                  </a:lnTo>
                  <a:lnTo>
                    <a:pt x="22" y="79"/>
                  </a:lnTo>
                  <a:lnTo>
                    <a:pt x="16" y="90"/>
                  </a:lnTo>
                  <a:lnTo>
                    <a:pt x="12" y="99"/>
                  </a:lnTo>
                  <a:lnTo>
                    <a:pt x="8" y="110"/>
                  </a:lnTo>
                  <a:lnTo>
                    <a:pt x="6" y="120"/>
                  </a:lnTo>
                  <a:lnTo>
                    <a:pt x="4" y="131"/>
                  </a:lnTo>
                  <a:lnTo>
                    <a:pt x="2" y="142"/>
                  </a:lnTo>
                  <a:lnTo>
                    <a:pt x="2" y="153"/>
                  </a:lnTo>
                  <a:lnTo>
                    <a:pt x="2" y="163"/>
                  </a:lnTo>
                  <a:lnTo>
                    <a:pt x="2" y="220"/>
                  </a:lnTo>
                  <a:lnTo>
                    <a:pt x="2" y="277"/>
                  </a:lnTo>
                  <a:lnTo>
                    <a:pt x="0" y="334"/>
                  </a:lnTo>
                  <a:lnTo>
                    <a:pt x="0" y="390"/>
                  </a:lnTo>
                  <a:lnTo>
                    <a:pt x="0" y="448"/>
                  </a:lnTo>
                  <a:lnTo>
                    <a:pt x="2" y="504"/>
                  </a:lnTo>
                  <a:lnTo>
                    <a:pt x="2" y="562"/>
                  </a:lnTo>
                  <a:lnTo>
                    <a:pt x="2" y="618"/>
                  </a:lnTo>
                  <a:lnTo>
                    <a:pt x="2" y="629"/>
                  </a:lnTo>
                  <a:lnTo>
                    <a:pt x="4" y="638"/>
                  </a:lnTo>
                  <a:lnTo>
                    <a:pt x="7" y="649"/>
                  </a:lnTo>
                  <a:lnTo>
                    <a:pt x="12" y="658"/>
                  </a:lnTo>
                  <a:lnTo>
                    <a:pt x="19" y="665"/>
                  </a:lnTo>
                  <a:lnTo>
                    <a:pt x="28" y="672"/>
                  </a:lnTo>
                  <a:lnTo>
                    <a:pt x="32" y="673"/>
                  </a:lnTo>
                  <a:lnTo>
                    <a:pt x="38" y="676"/>
                  </a:lnTo>
                  <a:lnTo>
                    <a:pt x="42" y="676"/>
                  </a:lnTo>
                  <a:lnTo>
                    <a:pt x="47" y="676"/>
                  </a:lnTo>
                  <a:lnTo>
                    <a:pt x="57" y="677"/>
                  </a:lnTo>
                  <a:lnTo>
                    <a:pt x="65" y="677"/>
                  </a:lnTo>
                  <a:lnTo>
                    <a:pt x="73" y="676"/>
                  </a:lnTo>
                  <a:lnTo>
                    <a:pt x="79" y="672"/>
                  </a:lnTo>
                  <a:lnTo>
                    <a:pt x="86" y="667"/>
                  </a:lnTo>
                  <a:lnTo>
                    <a:pt x="91" y="663"/>
                  </a:lnTo>
                  <a:lnTo>
                    <a:pt x="97" y="657"/>
                  </a:lnTo>
                  <a:lnTo>
                    <a:pt x="101" y="650"/>
                  </a:lnTo>
                  <a:lnTo>
                    <a:pt x="109" y="635"/>
                  </a:lnTo>
                  <a:lnTo>
                    <a:pt x="114" y="619"/>
                  </a:lnTo>
                  <a:lnTo>
                    <a:pt x="117" y="602"/>
                  </a:lnTo>
                  <a:lnTo>
                    <a:pt x="117" y="587"/>
                  </a:lnTo>
                  <a:lnTo>
                    <a:pt x="118" y="541"/>
                  </a:lnTo>
                  <a:lnTo>
                    <a:pt x="118" y="497"/>
                  </a:lnTo>
                  <a:lnTo>
                    <a:pt x="118" y="452"/>
                  </a:lnTo>
                  <a:lnTo>
                    <a:pt x="117" y="407"/>
                  </a:lnTo>
                  <a:lnTo>
                    <a:pt x="117" y="362"/>
                  </a:lnTo>
                  <a:lnTo>
                    <a:pt x="117" y="318"/>
                  </a:lnTo>
                  <a:lnTo>
                    <a:pt x="118" y="273"/>
                  </a:lnTo>
                  <a:lnTo>
                    <a:pt x="118" y="228"/>
                  </a:lnTo>
                  <a:lnTo>
                    <a:pt x="136" y="228"/>
                  </a:lnTo>
                  <a:lnTo>
                    <a:pt x="152" y="228"/>
                  </a:lnTo>
                  <a:lnTo>
                    <a:pt x="153" y="296"/>
                  </a:lnTo>
                  <a:lnTo>
                    <a:pt x="153" y="363"/>
                  </a:lnTo>
                  <a:lnTo>
                    <a:pt x="153" y="430"/>
                  </a:lnTo>
                  <a:lnTo>
                    <a:pt x="153" y="499"/>
                  </a:lnTo>
                  <a:lnTo>
                    <a:pt x="153" y="566"/>
                  </a:lnTo>
                  <a:lnTo>
                    <a:pt x="153" y="634"/>
                  </a:lnTo>
                  <a:lnTo>
                    <a:pt x="153" y="701"/>
                  </a:lnTo>
                  <a:lnTo>
                    <a:pt x="153" y="769"/>
                  </a:lnTo>
                  <a:lnTo>
                    <a:pt x="153" y="836"/>
                  </a:lnTo>
                  <a:lnTo>
                    <a:pt x="153" y="903"/>
                  </a:lnTo>
                  <a:lnTo>
                    <a:pt x="153" y="972"/>
                  </a:lnTo>
                  <a:lnTo>
                    <a:pt x="153" y="1039"/>
                  </a:lnTo>
                  <a:lnTo>
                    <a:pt x="153" y="1107"/>
                  </a:lnTo>
                  <a:lnTo>
                    <a:pt x="153" y="1174"/>
                  </a:lnTo>
                  <a:lnTo>
                    <a:pt x="153" y="1243"/>
                  </a:lnTo>
                  <a:lnTo>
                    <a:pt x="154" y="1310"/>
                  </a:lnTo>
                  <a:lnTo>
                    <a:pt x="154" y="1323"/>
                  </a:lnTo>
                  <a:lnTo>
                    <a:pt x="157" y="1335"/>
                  </a:lnTo>
                  <a:lnTo>
                    <a:pt x="161" y="1346"/>
                  </a:lnTo>
                  <a:lnTo>
                    <a:pt x="168" y="1355"/>
                  </a:lnTo>
                  <a:lnTo>
                    <a:pt x="175" y="1363"/>
                  </a:lnTo>
                  <a:lnTo>
                    <a:pt x="184" y="1370"/>
                  </a:lnTo>
                  <a:lnTo>
                    <a:pt x="193" y="1375"/>
                  </a:lnTo>
                  <a:lnTo>
                    <a:pt x="204" y="1379"/>
                  </a:lnTo>
                  <a:lnTo>
                    <a:pt x="215" y="1382"/>
                  </a:lnTo>
                  <a:lnTo>
                    <a:pt x="227" y="1383"/>
                  </a:lnTo>
                  <a:lnTo>
                    <a:pt x="239" y="1383"/>
                  </a:lnTo>
                  <a:lnTo>
                    <a:pt x="251" y="1382"/>
                  </a:lnTo>
                  <a:lnTo>
                    <a:pt x="262" y="1379"/>
                  </a:lnTo>
                  <a:lnTo>
                    <a:pt x="274" y="1375"/>
                  </a:lnTo>
                  <a:lnTo>
                    <a:pt x="283" y="1370"/>
                  </a:lnTo>
                  <a:lnTo>
                    <a:pt x="294" y="1363"/>
                  </a:lnTo>
                  <a:lnTo>
                    <a:pt x="299" y="1349"/>
                  </a:lnTo>
                  <a:lnTo>
                    <a:pt x="303" y="1334"/>
                  </a:lnTo>
                  <a:lnTo>
                    <a:pt x="306" y="1319"/>
                  </a:lnTo>
                  <a:lnTo>
                    <a:pt x="309" y="1303"/>
                  </a:lnTo>
                  <a:lnTo>
                    <a:pt x="311" y="1272"/>
                  </a:lnTo>
                  <a:lnTo>
                    <a:pt x="313" y="1241"/>
                  </a:lnTo>
                  <a:lnTo>
                    <a:pt x="313" y="1170"/>
                  </a:lnTo>
                  <a:lnTo>
                    <a:pt x="311" y="1101"/>
                  </a:lnTo>
                  <a:lnTo>
                    <a:pt x="311" y="1030"/>
                  </a:lnTo>
                  <a:lnTo>
                    <a:pt x="311" y="958"/>
                  </a:lnTo>
                  <a:lnTo>
                    <a:pt x="311" y="887"/>
                  </a:lnTo>
                  <a:lnTo>
                    <a:pt x="313" y="816"/>
                  </a:lnTo>
                  <a:lnTo>
                    <a:pt x="313" y="745"/>
                  </a:lnTo>
                  <a:lnTo>
                    <a:pt x="313" y="674"/>
                  </a:lnTo>
                  <a:lnTo>
                    <a:pt x="330" y="674"/>
                  </a:lnTo>
                  <a:lnTo>
                    <a:pt x="347" y="674"/>
                  </a:lnTo>
                  <a:lnTo>
                    <a:pt x="347" y="756"/>
                  </a:lnTo>
                  <a:lnTo>
                    <a:pt x="347" y="838"/>
                  </a:lnTo>
                  <a:lnTo>
                    <a:pt x="347" y="918"/>
                  </a:lnTo>
                  <a:lnTo>
                    <a:pt x="347" y="1000"/>
                  </a:lnTo>
                  <a:lnTo>
                    <a:pt x="347" y="1082"/>
                  </a:lnTo>
                  <a:lnTo>
                    <a:pt x="347" y="1162"/>
                  </a:lnTo>
                  <a:lnTo>
                    <a:pt x="347" y="1244"/>
                  </a:lnTo>
                  <a:lnTo>
                    <a:pt x="349" y="1324"/>
                  </a:lnTo>
                  <a:lnTo>
                    <a:pt x="350" y="1333"/>
                  </a:lnTo>
                  <a:lnTo>
                    <a:pt x="351" y="1341"/>
                  </a:lnTo>
                  <a:lnTo>
                    <a:pt x="354" y="1347"/>
                  </a:lnTo>
                  <a:lnTo>
                    <a:pt x="357" y="1354"/>
                  </a:lnTo>
                  <a:lnTo>
                    <a:pt x="361" y="1359"/>
                  </a:lnTo>
                  <a:lnTo>
                    <a:pt x="366" y="1363"/>
                  </a:lnTo>
                  <a:lnTo>
                    <a:pt x="370" y="1369"/>
                  </a:lnTo>
                  <a:lnTo>
                    <a:pt x="377" y="1373"/>
                  </a:lnTo>
                  <a:lnTo>
                    <a:pt x="388" y="1378"/>
                  </a:lnTo>
                  <a:lnTo>
                    <a:pt x="401" y="1382"/>
                  </a:lnTo>
                  <a:lnTo>
                    <a:pt x="416" y="1383"/>
                  </a:lnTo>
                  <a:lnTo>
                    <a:pt x="429" y="1382"/>
                  </a:lnTo>
                  <a:lnTo>
                    <a:pt x="444" y="1379"/>
                  </a:lnTo>
                  <a:lnTo>
                    <a:pt x="457" y="1375"/>
                  </a:lnTo>
                  <a:lnTo>
                    <a:pt x="469" y="1369"/>
                  </a:lnTo>
                  <a:lnTo>
                    <a:pt x="480" y="1359"/>
                  </a:lnTo>
                  <a:lnTo>
                    <a:pt x="484" y="1355"/>
                  </a:lnTo>
                  <a:lnTo>
                    <a:pt x="488" y="1350"/>
                  </a:lnTo>
                  <a:lnTo>
                    <a:pt x="492" y="1343"/>
                  </a:lnTo>
                  <a:lnTo>
                    <a:pt x="495" y="1338"/>
                  </a:lnTo>
                  <a:lnTo>
                    <a:pt x="496" y="1331"/>
                  </a:lnTo>
                  <a:lnTo>
                    <a:pt x="498" y="1323"/>
                  </a:lnTo>
                  <a:lnTo>
                    <a:pt x="499" y="1316"/>
                  </a:lnTo>
                  <a:lnTo>
                    <a:pt x="498" y="1308"/>
                  </a:lnTo>
                  <a:lnTo>
                    <a:pt x="499" y="1240"/>
                  </a:lnTo>
                  <a:lnTo>
                    <a:pt x="499" y="1173"/>
                  </a:lnTo>
                  <a:lnTo>
                    <a:pt x="499" y="1106"/>
                  </a:lnTo>
                  <a:lnTo>
                    <a:pt x="499" y="1038"/>
                  </a:lnTo>
                  <a:lnTo>
                    <a:pt x="499" y="971"/>
                  </a:lnTo>
                  <a:lnTo>
                    <a:pt x="499" y="902"/>
                  </a:lnTo>
                  <a:lnTo>
                    <a:pt x="499" y="835"/>
                  </a:lnTo>
                  <a:lnTo>
                    <a:pt x="499" y="767"/>
                  </a:lnTo>
                  <a:lnTo>
                    <a:pt x="499" y="700"/>
                  </a:lnTo>
                  <a:lnTo>
                    <a:pt x="499" y="633"/>
                  </a:lnTo>
                  <a:lnTo>
                    <a:pt x="499" y="564"/>
                  </a:lnTo>
                  <a:lnTo>
                    <a:pt x="499" y="497"/>
                  </a:lnTo>
                  <a:lnTo>
                    <a:pt x="499" y="429"/>
                  </a:lnTo>
                  <a:lnTo>
                    <a:pt x="499" y="362"/>
                  </a:lnTo>
                  <a:lnTo>
                    <a:pt x="499" y="293"/>
                  </a:lnTo>
                  <a:lnTo>
                    <a:pt x="499" y="226"/>
                  </a:lnTo>
                  <a:lnTo>
                    <a:pt x="510" y="226"/>
                  </a:lnTo>
                  <a:lnTo>
                    <a:pt x="520" y="226"/>
                  </a:lnTo>
                  <a:lnTo>
                    <a:pt x="532" y="226"/>
                  </a:lnTo>
                  <a:lnTo>
                    <a:pt x="542" y="225"/>
                  </a:lnTo>
                  <a:lnTo>
                    <a:pt x="542" y="273"/>
                  </a:lnTo>
                  <a:lnTo>
                    <a:pt x="542" y="320"/>
                  </a:lnTo>
                  <a:lnTo>
                    <a:pt x="542" y="367"/>
                  </a:lnTo>
                  <a:lnTo>
                    <a:pt x="542" y="414"/>
                  </a:lnTo>
                  <a:lnTo>
                    <a:pt x="542" y="461"/>
                  </a:lnTo>
                  <a:lnTo>
                    <a:pt x="542" y="508"/>
                  </a:lnTo>
                  <a:lnTo>
                    <a:pt x="542" y="556"/>
                  </a:lnTo>
                  <a:lnTo>
                    <a:pt x="542" y="603"/>
                  </a:lnTo>
                  <a:lnTo>
                    <a:pt x="543" y="617"/>
                  </a:lnTo>
                  <a:lnTo>
                    <a:pt x="546" y="631"/>
                  </a:lnTo>
                  <a:lnTo>
                    <a:pt x="553" y="645"/>
                  </a:lnTo>
                  <a:lnTo>
                    <a:pt x="561" y="657"/>
                  </a:lnTo>
                  <a:lnTo>
                    <a:pt x="565" y="662"/>
                  </a:lnTo>
                  <a:lnTo>
                    <a:pt x="570" y="667"/>
                  </a:lnTo>
                  <a:lnTo>
                    <a:pt x="577" y="670"/>
                  </a:lnTo>
                  <a:lnTo>
                    <a:pt x="582" y="674"/>
                  </a:lnTo>
                  <a:lnTo>
                    <a:pt x="589" y="676"/>
                  </a:lnTo>
                  <a:lnTo>
                    <a:pt x="597" y="677"/>
                  </a:lnTo>
                  <a:lnTo>
                    <a:pt x="604" y="677"/>
                  </a:lnTo>
                  <a:lnTo>
                    <a:pt x="612" y="676"/>
                  </a:lnTo>
                  <a:lnTo>
                    <a:pt x="618" y="676"/>
                  </a:lnTo>
                  <a:lnTo>
                    <a:pt x="624" y="674"/>
                  </a:lnTo>
                  <a:lnTo>
                    <a:pt x="629" y="672"/>
                  </a:lnTo>
                  <a:lnTo>
                    <a:pt x="634" y="669"/>
                  </a:lnTo>
                  <a:lnTo>
                    <a:pt x="638" y="665"/>
                  </a:lnTo>
                  <a:lnTo>
                    <a:pt x="642" y="661"/>
                  </a:lnTo>
                  <a:lnTo>
                    <a:pt x="645" y="655"/>
                  </a:lnTo>
                  <a:lnTo>
                    <a:pt x="649" y="650"/>
                  </a:lnTo>
                  <a:lnTo>
                    <a:pt x="653" y="639"/>
                  </a:lnTo>
                  <a:lnTo>
                    <a:pt x="656" y="627"/>
                  </a:lnTo>
                  <a:lnTo>
                    <a:pt x="658" y="615"/>
                  </a:lnTo>
                  <a:lnTo>
                    <a:pt x="658" y="603"/>
                  </a:lnTo>
                  <a:lnTo>
                    <a:pt x="658" y="555"/>
                  </a:lnTo>
                  <a:lnTo>
                    <a:pt x="658" y="505"/>
                  </a:lnTo>
                  <a:lnTo>
                    <a:pt x="658" y="457"/>
                  </a:lnTo>
                  <a:lnTo>
                    <a:pt x="658" y="409"/>
                  </a:lnTo>
                  <a:lnTo>
                    <a:pt x="658" y="360"/>
                  </a:lnTo>
                  <a:lnTo>
                    <a:pt x="658" y="311"/>
                  </a:lnTo>
                  <a:lnTo>
                    <a:pt x="658" y="263"/>
                  </a:lnTo>
                  <a:lnTo>
                    <a:pt x="658" y="214"/>
                  </a:lnTo>
                  <a:lnTo>
                    <a:pt x="658" y="192"/>
                  </a:lnTo>
                  <a:lnTo>
                    <a:pt x="657" y="169"/>
                  </a:lnTo>
                  <a:lnTo>
                    <a:pt x="654" y="146"/>
                  </a:lnTo>
                  <a:lnTo>
                    <a:pt x="650" y="123"/>
                  </a:lnTo>
                  <a:lnTo>
                    <a:pt x="648" y="111"/>
                  </a:lnTo>
                  <a:lnTo>
                    <a:pt x="644" y="100"/>
                  </a:lnTo>
                  <a:lnTo>
                    <a:pt x="640" y="90"/>
                  </a:lnTo>
                  <a:lnTo>
                    <a:pt x="634" y="80"/>
                  </a:lnTo>
                  <a:lnTo>
                    <a:pt x="629" y="71"/>
                  </a:lnTo>
                  <a:lnTo>
                    <a:pt x="622" y="61"/>
                  </a:lnTo>
                  <a:lnTo>
                    <a:pt x="614" y="53"/>
                  </a:lnTo>
                  <a:lnTo>
                    <a:pt x="605" y="45"/>
                  </a:lnTo>
                  <a:close/>
                </a:path>
              </a:pathLst>
            </a:custGeom>
            <a:grpFill/>
            <a:ln w="9525">
              <a:noFill/>
              <a:round/>
            </a:ln>
          </p:spPr>
          <p:txBody>
            <a:bodyPr vert="horz" wrap="square" lIns="91440" tIns="45720" rIns="91440" bIns="45720" numCol="1" anchor="t" anchorCtr="0" compatLnSpc="1"/>
            <a:lstStyle/>
            <a:p>
              <a:endParaRPr lang="en-US"/>
            </a:p>
          </p:txBody>
        </p:sp>
      </p:grpSp>
      <p:grpSp>
        <p:nvGrpSpPr>
          <p:cNvPr id="119" name="Group 118"/>
          <p:cNvGrpSpPr/>
          <p:nvPr/>
        </p:nvGrpSpPr>
        <p:grpSpPr>
          <a:xfrm>
            <a:off x="4857641" y="4525489"/>
            <a:ext cx="271137" cy="607684"/>
            <a:chOff x="3327401" y="4335463"/>
            <a:chExt cx="407988" cy="914400"/>
          </a:xfrm>
          <a:solidFill>
            <a:schemeClr val="accent1"/>
          </a:solidFill>
        </p:grpSpPr>
        <p:sp>
          <p:nvSpPr>
            <p:cNvPr id="120" name="Freeform 58"/>
            <p:cNvSpPr/>
            <p:nvPr/>
          </p:nvSpPr>
          <p:spPr bwMode="auto">
            <a:xfrm>
              <a:off x="3455988" y="4335463"/>
              <a:ext cx="149225" cy="147638"/>
            </a:xfrm>
            <a:custGeom>
              <a:avLst/>
              <a:gdLst>
                <a:gd name="T0" fmla="*/ 283 w 283"/>
                <a:gd name="T1" fmla="*/ 144 h 278"/>
                <a:gd name="T2" fmla="*/ 280 w 283"/>
                <a:gd name="T3" fmla="*/ 111 h 278"/>
                <a:gd name="T4" fmla="*/ 270 w 283"/>
                <a:gd name="T5" fmla="*/ 80 h 278"/>
                <a:gd name="T6" fmla="*/ 251 w 283"/>
                <a:gd name="T7" fmla="*/ 52 h 278"/>
                <a:gd name="T8" fmla="*/ 227 w 283"/>
                <a:gd name="T9" fmla="*/ 29 h 278"/>
                <a:gd name="T10" fmla="*/ 197 w 283"/>
                <a:gd name="T11" fmla="*/ 12 h 278"/>
                <a:gd name="T12" fmla="*/ 165 w 283"/>
                <a:gd name="T13" fmla="*/ 1 h 278"/>
                <a:gd name="T14" fmla="*/ 132 w 283"/>
                <a:gd name="T15" fmla="*/ 0 h 278"/>
                <a:gd name="T16" fmla="*/ 97 w 283"/>
                <a:gd name="T17" fmla="*/ 6 h 278"/>
                <a:gd name="T18" fmla="*/ 66 w 283"/>
                <a:gd name="T19" fmla="*/ 24 h 278"/>
                <a:gd name="T20" fmla="*/ 39 w 283"/>
                <a:gd name="T21" fmla="*/ 46 h 278"/>
                <a:gd name="T22" fmla="*/ 19 w 283"/>
                <a:gd name="T23" fmla="*/ 76 h 278"/>
                <a:gd name="T24" fmla="*/ 6 w 283"/>
                <a:gd name="T25" fmla="*/ 108 h 278"/>
                <a:gd name="T26" fmla="*/ 0 w 283"/>
                <a:gd name="T27" fmla="*/ 142 h 278"/>
                <a:gd name="T28" fmla="*/ 4 w 283"/>
                <a:gd name="T29" fmla="*/ 177 h 278"/>
                <a:gd name="T30" fmla="*/ 14 w 283"/>
                <a:gd name="T31" fmla="*/ 201 h 278"/>
                <a:gd name="T32" fmla="*/ 23 w 283"/>
                <a:gd name="T33" fmla="*/ 217 h 278"/>
                <a:gd name="T34" fmla="*/ 35 w 283"/>
                <a:gd name="T35" fmla="*/ 233 h 278"/>
                <a:gd name="T36" fmla="*/ 50 w 283"/>
                <a:gd name="T37" fmla="*/ 248 h 278"/>
                <a:gd name="T38" fmla="*/ 67 w 283"/>
                <a:gd name="T39" fmla="*/ 260 h 278"/>
                <a:gd name="T40" fmla="*/ 86 w 283"/>
                <a:gd name="T41" fmla="*/ 268 h 278"/>
                <a:gd name="T42" fmla="*/ 105 w 283"/>
                <a:gd name="T43" fmla="*/ 274 h 278"/>
                <a:gd name="T44" fmla="*/ 125 w 283"/>
                <a:gd name="T45" fmla="*/ 278 h 278"/>
                <a:gd name="T46" fmla="*/ 157 w 283"/>
                <a:gd name="T47" fmla="*/ 278 h 278"/>
                <a:gd name="T48" fmla="*/ 187 w 283"/>
                <a:gd name="T49" fmla="*/ 272 h 278"/>
                <a:gd name="T50" fmla="*/ 207 w 283"/>
                <a:gd name="T51" fmla="*/ 265 h 278"/>
                <a:gd name="T52" fmla="*/ 224 w 283"/>
                <a:gd name="T53" fmla="*/ 256 h 278"/>
                <a:gd name="T54" fmla="*/ 240 w 283"/>
                <a:gd name="T55" fmla="*/ 244 h 278"/>
                <a:gd name="T56" fmla="*/ 255 w 283"/>
                <a:gd name="T57" fmla="*/ 229 h 278"/>
                <a:gd name="T58" fmla="*/ 266 w 283"/>
                <a:gd name="T59" fmla="*/ 213 h 278"/>
                <a:gd name="T60" fmla="*/ 275 w 283"/>
                <a:gd name="T61" fmla="*/ 194 h 278"/>
                <a:gd name="T62" fmla="*/ 280 w 283"/>
                <a:gd name="T63" fmla="*/ 17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3" h="278">
                  <a:moveTo>
                    <a:pt x="282" y="162"/>
                  </a:moveTo>
                  <a:lnTo>
                    <a:pt x="283" y="144"/>
                  </a:lnTo>
                  <a:lnTo>
                    <a:pt x="283" y="128"/>
                  </a:lnTo>
                  <a:lnTo>
                    <a:pt x="280" y="111"/>
                  </a:lnTo>
                  <a:lnTo>
                    <a:pt x="276" y="95"/>
                  </a:lnTo>
                  <a:lnTo>
                    <a:pt x="270" y="80"/>
                  </a:lnTo>
                  <a:lnTo>
                    <a:pt x="262" y="65"/>
                  </a:lnTo>
                  <a:lnTo>
                    <a:pt x="251" y="52"/>
                  </a:lnTo>
                  <a:lnTo>
                    <a:pt x="239" y="40"/>
                  </a:lnTo>
                  <a:lnTo>
                    <a:pt x="227" y="29"/>
                  </a:lnTo>
                  <a:lnTo>
                    <a:pt x="212" y="20"/>
                  </a:lnTo>
                  <a:lnTo>
                    <a:pt x="197" y="12"/>
                  </a:lnTo>
                  <a:lnTo>
                    <a:pt x="181" y="5"/>
                  </a:lnTo>
                  <a:lnTo>
                    <a:pt x="165" y="1"/>
                  </a:lnTo>
                  <a:lnTo>
                    <a:pt x="149" y="0"/>
                  </a:lnTo>
                  <a:lnTo>
                    <a:pt x="132" y="0"/>
                  </a:lnTo>
                  <a:lnTo>
                    <a:pt x="114" y="2"/>
                  </a:lnTo>
                  <a:lnTo>
                    <a:pt x="97" y="6"/>
                  </a:lnTo>
                  <a:lnTo>
                    <a:pt x="81" y="14"/>
                  </a:lnTo>
                  <a:lnTo>
                    <a:pt x="66" y="24"/>
                  </a:lnTo>
                  <a:lnTo>
                    <a:pt x="52" y="34"/>
                  </a:lnTo>
                  <a:lnTo>
                    <a:pt x="39" y="46"/>
                  </a:lnTo>
                  <a:lnTo>
                    <a:pt x="28" y="60"/>
                  </a:lnTo>
                  <a:lnTo>
                    <a:pt x="19" y="76"/>
                  </a:lnTo>
                  <a:lnTo>
                    <a:pt x="12" y="91"/>
                  </a:lnTo>
                  <a:lnTo>
                    <a:pt x="6" y="108"/>
                  </a:lnTo>
                  <a:lnTo>
                    <a:pt x="3" y="124"/>
                  </a:lnTo>
                  <a:lnTo>
                    <a:pt x="0" y="142"/>
                  </a:lnTo>
                  <a:lnTo>
                    <a:pt x="2" y="159"/>
                  </a:lnTo>
                  <a:lnTo>
                    <a:pt x="4" y="177"/>
                  </a:lnTo>
                  <a:lnTo>
                    <a:pt x="10" y="193"/>
                  </a:lnTo>
                  <a:lnTo>
                    <a:pt x="14" y="201"/>
                  </a:lnTo>
                  <a:lnTo>
                    <a:pt x="18" y="209"/>
                  </a:lnTo>
                  <a:lnTo>
                    <a:pt x="23" y="217"/>
                  </a:lnTo>
                  <a:lnTo>
                    <a:pt x="30" y="223"/>
                  </a:lnTo>
                  <a:lnTo>
                    <a:pt x="35" y="233"/>
                  </a:lnTo>
                  <a:lnTo>
                    <a:pt x="43" y="240"/>
                  </a:lnTo>
                  <a:lnTo>
                    <a:pt x="50" y="248"/>
                  </a:lnTo>
                  <a:lnTo>
                    <a:pt x="59" y="254"/>
                  </a:lnTo>
                  <a:lnTo>
                    <a:pt x="67" y="260"/>
                  </a:lnTo>
                  <a:lnTo>
                    <a:pt x="77" y="264"/>
                  </a:lnTo>
                  <a:lnTo>
                    <a:pt x="86" y="268"/>
                  </a:lnTo>
                  <a:lnTo>
                    <a:pt x="95" y="272"/>
                  </a:lnTo>
                  <a:lnTo>
                    <a:pt x="105" y="274"/>
                  </a:lnTo>
                  <a:lnTo>
                    <a:pt x="115" y="277"/>
                  </a:lnTo>
                  <a:lnTo>
                    <a:pt x="125" y="278"/>
                  </a:lnTo>
                  <a:lnTo>
                    <a:pt x="136" y="278"/>
                  </a:lnTo>
                  <a:lnTo>
                    <a:pt x="157" y="278"/>
                  </a:lnTo>
                  <a:lnTo>
                    <a:pt x="177" y="274"/>
                  </a:lnTo>
                  <a:lnTo>
                    <a:pt x="187" y="272"/>
                  </a:lnTo>
                  <a:lnTo>
                    <a:pt x="197" y="269"/>
                  </a:lnTo>
                  <a:lnTo>
                    <a:pt x="207" y="265"/>
                  </a:lnTo>
                  <a:lnTo>
                    <a:pt x="215" y="261"/>
                  </a:lnTo>
                  <a:lnTo>
                    <a:pt x="224" y="256"/>
                  </a:lnTo>
                  <a:lnTo>
                    <a:pt x="232" y="250"/>
                  </a:lnTo>
                  <a:lnTo>
                    <a:pt x="240" y="244"/>
                  </a:lnTo>
                  <a:lnTo>
                    <a:pt x="248" y="237"/>
                  </a:lnTo>
                  <a:lnTo>
                    <a:pt x="255" y="229"/>
                  </a:lnTo>
                  <a:lnTo>
                    <a:pt x="260" y="221"/>
                  </a:lnTo>
                  <a:lnTo>
                    <a:pt x="266" y="213"/>
                  </a:lnTo>
                  <a:lnTo>
                    <a:pt x="271" y="203"/>
                  </a:lnTo>
                  <a:lnTo>
                    <a:pt x="275" y="194"/>
                  </a:lnTo>
                  <a:lnTo>
                    <a:pt x="278" y="185"/>
                  </a:lnTo>
                  <a:lnTo>
                    <a:pt x="280" y="174"/>
                  </a:lnTo>
                  <a:lnTo>
                    <a:pt x="282" y="162"/>
                  </a:lnTo>
                  <a:close/>
                </a:path>
              </a:pathLst>
            </a:custGeom>
            <a:grpFill/>
            <a:ln w="9525">
              <a:noFill/>
              <a:round/>
            </a:ln>
          </p:spPr>
          <p:txBody>
            <a:bodyPr vert="horz" wrap="square" lIns="91440" tIns="45720" rIns="91440" bIns="45720" numCol="1" anchor="t" anchorCtr="0" compatLnSpc="1"/>
            <a:lstStyle/>
            <a:p>
              <a:endParaRPr lang="en-US"/>
            </a:p>
          </p:txBody>
        </p:sp>
        <p:sp>
          <p:nvSpPr>
            <p:cNvPr id="121" name="Freeform 59"/>
            <p:cNvSpPr/>
            <p:nvPr/>
          </p:nvSpPr>
          <p:spPr bwMode="auto">
            <a:xfrm>
              <a:off x="3327401" y="4506913"/>
              <a:ext cx="407988" cy="742950"/>
            </a:xfrm>
            <a:custGeom>
              <a:avLst/>
              <a:gdLst>
                <a:gd name="T0" fmla="*/ 690 w 770"/>
                <a:gd name="T1" fmla="*/ 245 h 1403"/>
                <a:gd name="T2" fmla="*/ 650 w 770"/>
                <a:gd name="T3" fmla="*/ 122 h 1403"/>
                <a:gd name="T4" fmla="*/ 616 w 770"/>
                <a:gd name="T5" fmla="*/ 60 h 1403"/>
                <a:gd name="T6" fmla="*/ 573 w 770"/>
                <a:gd name="T7" fmla="*/ 25 h 1403"/>
                <a:gd name="T8" fmla="*/ 521 w 770"/>
                <a:gd name="T9" fmla="*/ 6 h 1403"/>
                <a:gd name="T10" fmla="*/ 451 w 770"/>
                <a:gd name="T11" fmla="*/ 0 h 1403"/>
                <a:gd name="T12" fmla="*/ 323 w 770"/>
                <a:gd name="T13" fmla="*/ 0 h 1403"/>
                <a:gd name="T14" fmla="*/ 238 w 770"/>
                <a:gd name="T15" fmla="*/ 8 h 1403"/>
                <a:gd name="T16" fmla="*/ 178 w 770"/>
                <a:gd name="T17" fmla="*/ 36 h 1403"/>
                <a:gd name="T18" fmla="*/ 135 w 770"/>
                <a:gd name="T19" fmla="*/ 88 h 1403"/>
                <a:gd name="T20" fmla="*/ 95 w 770"/>
                <a:gd name="T21" fmla="*/ 197 h 1403"/>
                <a:gd name="T22" fmla="*/ 59 w 770"/>
                <a:gd name="T23" fmla="*/ 325 h 1403"/>
                <a:gd name="T24" fmla="*/ 20 w 770"/>
                <a:gd name="T25" fmla="*/ 457 h 1403"/>
                <a:gd name="T26" fmla="*/ 1 w 770"/>
                <a:gd name="T27" fmla="*/ 568 h 1403"/>
                <a:gd name="T28" fmla="*/ 24 w 770"/>
                <a:gd name="T29" fmla="*/ 596 h 1403"/>
                <a:gd name="T30" fmla="*/ 60 w 770"/>
                <a:gd name="T31" fmla="*/ 603 h 1403"/>
                <a:gd name="T32" fmla="*/ 95 w 770"/>
                <a:gd name="T33" fmla="*/ 590 h 1403"/>
                <a:gd name="T34" fmla="*/ 124 w 770"/>
                <a:gd name="T35" fmla="*/ 521 h 1403"/>
                <a:gd name="T36" fmla="*/ 175 w 770"/>
                <a:gd name="T37" fmla="*/ 342 h 1403"/>
                <a:gd name="T38" fmla="*/ 229 w 770"/>
                <a:gd name="T39" fmla="*/ 199 h 1403"/>
                <a:gd name="T40" fmla="*/ 181 w 770"/>
                <a:gd name="T41" fmla="*/ 437 h 1403"/>
                <a:gd name="T42" fmla="*/ 96 w 770"/>
                <a:gd name="T43" fmla="*/ 765 h 1403"/>
                <a:gd name="T44" fmla="*/ 202 w 770"/>
                <a:gd name="T45" fmla="*/ 848 h 1403"/>
                <a:gd name="T46" fmla="*/ 244 w 770"/>
                <a:gd name="T47" fmla="*/ 1035 h 1403"/>
                <a:gd name="T48" fmla="*/ 244 w 770"/>
                <a:gd name="T49" fmla="*/ 1284 h 1403"/>
                <a:gd name="T50" fmla="*/ 258 w 770"/>
                <a:gd name="T51" fmla="*/ 1379 h 1403"/>
                <a:gd name="T52" fmla="*/ 297 w 770"/>
                <a:gd name="T53" fmla="*/ 1401 h 1403"/>
                <a:gd name="T54" fmla="*/ 340 w 770"/>
                <a:gd name="T55" fmla="*/ 1394 h 1403"/>
                <a:gd name="T56" fmla="*/ 368 w 770"/>
                <a:gd name="T57" fmla="*/ 1359 h 1403"/>
                <a:gd name="T58" fmla="*/ 372 w 770"/>
                <a:gd name="T59" fmla="*/ 1159 h 1403"/>
                <a:gd name="T60" fmla="*/ 372 w 770"/>
                <a:gd name="T61" fmla="*/ 910 h 1403"/>
                <a:gd name="T62" fmla="*/ 412 w 770"/>
                <a:gd name="T63" fmla="*/ 907 h 1403"/>
                <a:gd name="T64" fmla="*/ 412 w 770"/>
                <a:gd name="T65" fmla="*/ 1149 h 1403"/>
                <a:gd name="T66" fmla="*/ 412 w 770"/>
                <a:gd name="T67" fmla="*/ 1336 h 1403"/>
                <a:gd name="T68" fmla="*/ 418 w 770"/>
                <a:gd name="T69" fmla="*/ 1363 h 1403"/>
                <a:gd name="T70" fmla="*/ 433 w 770"/>
                <a:gd name="T71" fmla="*/ 1386 h 1403"/>
                <a:gd name="T72" fmla="*/ 457 w 770"/>
                <a:gd name="T73" fmla="*/ 1401 h 1403"/>
                <a:gd name="T74" fmla="*/ 485 w 770"/>
                <a:gd name="T75" fmla="*/ 1403 h 1403"/>
                <a:gd name="T76" fmla="*/ 510 w 770"/>
                <a:gd name="T77" fmla="*/ 1393 h 1403"/>
                <a:gd name="T78" fmla="*/ 532 w 770"/>
                <a:gd name="T79" fmla="*/ 1367 h 1403"/>
                <a:gd name="T80" fmla="*/ 541 w 770"/>
                <a:gd name="T81" fmla="*/ 1267 h 1403"/>
                <a:gd name="T82" fmla="*/ 541 w 770"/>
                <a:gd name="T83" fmla="*/ 1028 h 1403"/>
                <a:gd name="T84" fmla="*/ 584 w 770"/>
                <a:gd name="T85" fmla="*/ 848 h 1403"/>
                <a:gd name="T86" fmla="*/ 686 w 770"/>
                <a:gd name="T87" fmla="*/ 764 h 1403"/>
                <a:gd name="T88" fmla="*/ 588 w 770"/>
                <a:gd name="T89" fmla="*/ 430 h 1403"/>
                <a:gd name="T90" fmla="*/ 532 w 770"/>
                <a:gd name="T91" fmla="*/ 189 h 1403"/>
                <a:gd name="T92" fmla="*/ 553 w 770"/>
                <a:gd name="T93" fmla="*/ 216 h 1403"/>
                <a:gd name="T94" fmla="*/ 596 w 770"/>
                <a:gd name="T95" fmla="*/ 352 h 1403"/>
                <a:gd name="T96" fmla="*/ 650 w 770"/>
                <a:gd name="T97" fmla="*/ 523 h 1403"/>
                <a:gd name="T98" fmla="*/ 678 w 770"/>
                <a:gd name="T99" fmla="*/ 584 h 1403"/>
                <a:gd name="T100" fmla="*/ 701 w 770"/>
                <a:gd name="T101" fmla="*/ 599 h 1403"/>
                <a:gd name="T102" fmla="*/ 752 w 770"/>
                <a:gd name="T103" fmla="*/ 599 h 1403"/>
                <a:gd name="T104" fmla="*/ 770 w 770"/>
                <a:gd name="T105" fmla="*/ 548 h 1403"/>
                <a:gd name="T106" fmla="*/ 762 w 770"/>
                <a:gd name="T107" fmla="*/ 486 h 1403"/>
                <a:gd name="T108" fmla="*/ 730 w 770"/>
                <a:gd name="T109" fmla="*/ 382 h 1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70" h="1403">
                  <a:moveTo>
                    <a:pt x="722" y="352"/>
                  </a:moveTo>
                  <a:lnTo>
                    <a:pt x="710" y="316"/>
                  </a:lnTo>
                  <a:lnTo>
                    <a:pt x="699" y="281"/>
                  </a:lnTo>
                  <a:lnTo>
                    <a:pt x="690" y="245"/>
                  </a:lnTo>
                  <a:lnTo>
                    <a:pt x="679" y="209"/>
                  </a:lnTo>
                  <a:lnTo>
                    <a:pt x="669" y="174"/>
                  </a:lnTo>
                  <a:lnTo>
                    <a:pt x="656" y="139"/>
                  </a:lnTo>
                  <a:lnTo>
                    <a:pt x="650" y="122"/>
                  </a:lnTo>
                  <a:lnTo>
                    <a:pt x="642" y="104"/>
                  </a:lnTo>
                  <a:lnTo>
                    <a:pt x="634" y="88"/>
                  </a:lnTo>
                  <a:lnTo>
                    <a:pt x="624" y="72"/>
                  </a:lnTo>
                  <a:lnTo>
                    <a:pt x="616" y="60"/>
                  </a:lnTo>
                  <a:lnTo>
                    <a:pt x="607" y="49"/>
                  </a:lnTo>
                  <a:lnTo>
                    <a:pt x="596" y="40"/>
                  </a:lnTo>
                  <a:lnTo>
                    <a:pt x="585" y="32"/>
                  </a:lnTo>
                  <a:lnTo>
                    <a:pt x="573" y="25"/>
                  </a:lnTo>
                  <a:lnTo>
                    <a:pt x="561" y="18"/>
                  </a:lnTo>
                  <a:lnTo>
                    <a:pt x="548" y="13"/>
                  </a:lnTo>
                  <a:lnTo>
                    <a:pt x="536" y="9"/>
                  </a:lnTo>
                  <a:lnTo>
                    <a:pt x="521" y="6"/>
                  </a:lnTo>
                  <a:lnTo>
                    <a:pt x="508" y="4"/>
                  </a:lnTo>
                  <a:lnTo>
                    <a:pt x="494" y="1"/>
                  </a:lnTo>
                  <a:lnTo>
                    <a:pt x="479" y="1"/>
                  </a:lnTo>
                  <a:lnTo>
                    <a:pt x="451" y="0"/>
                  </a:lnTo>
                  <a:lnTo>
                    <a:pt x="425" y="1"/>
                  </a:lnTo>
                  <a:lnTo>
                    <a:pt x="391" y="1"/>
                  </a:lnTo>
                  <a:lnTo>
                    <a:pt x="356" y="1"/>
                  </a:lnTo>
                  <a:lnTo>
                    <a:pt x="323" y="0"/>
                  </a:lnTo>
                  <a:lnTo>
                    <a:pt x="288" y="1"/>
                  </a:lnTo>
                  <a:lnTo>
                    <a:pt x="270" y="2"/>
                  </a:lnTo>
                  <a:lnTo>
                    <a:pt x="254" y="5"/>
                  </a:lnTo>
                  <a:lnTo>
                    <a:pt x="238" y="8"/>
                  </a:lnTo>
                  <a:lnTo>
                    <a:pt x="222" y="12"/>
                  </a:lnTo>
                  <a:lnTo>
                    <a:pt x="206" y="18"/>
                  </a:lnTo>
                  <a:lnTo>
                    <a:pt x="191" y="26"/>
                  </a:lnTo>
                  <a:lnTo>
                    <a:pt x="178" y="36"/>
                  </a:lnTo>
                  <a:lnTo>
                    <a:pt x="164" y="47"/>
                  </a:lnTo>
                  <a:lnTo>
                    <a:pt x="154" y="60"/>
                  </a:lnTo>
                  <a:lnTo>
                    <a:pt x="144" y="73"/>
                  </a:lnTo>
                  <a:lnTo>
                    <a:pt x="135" y="88"/>
                  </a:lnTo>
                  <a:lnTo>
                    <a:pt x="128" y="103"/>
                  </a:lnTo>
                  <a:lnTo>
                    <a:pt x="115" y="132"/>
                  </a:lnTo>
                  <a:lnTo>
                    <a:pt x="104" y="165"/>
                  </a:lnTo>
                  <a:lnTo>
                    <a:pt x="95" y="197"/>
                  </a:lnTo>
                  <a:lnTo>
                    <a:pt x="87" y="229"/>
                  </a:lnTo>
                  <a:lnTo>
                    <a:pt x="77" y="261"/>
                  </a:lnTo>
                  <a:lnTo>
                    <a:pt x="68" y="293"/>
                  </a:lnTo>
                  <a:lnTo>
                    <a:pt x="59" y="325"/>
                  </a:lnTo>
                  <a:lnTo>
                    <a:pt x="49" y="359"/>
                  </a:lnTo>
                  <a:lnTo>
                    <a:pt x="38" y="391"/>
                  </a:lnTo>
                  <a:lnTo>
                    <a:pt x="29" y="425"/>
                  </a:lnTo>
                  <a:lnTo>
                    <a:pt x="20" y="457"/>
                  </a:lnTo>
                  <a:lnTo>
                    <a:pt x="10" y="490"/>
                  </a:lnTo>
                  <a:lnTo>
                    <a:pt x="4" y="524"/>
                  </a:lnTo>
                  <a:lnTo>
                    <a:pt x="0" y="557"/>
                  </a:lnTo>
                  <a:lnTo>
                    <a:pt x="1" y="568"/>
                  </a:lnTo>
                  <a:lnTo>
                    <a:pt x="5" y="576"/>
                  </a:lnTo>
                  <a:lnTo>
                    <a:pt x="9" y="584"/>
                  </a:lnTo>
                  <a:lnTo>
                    <a:pt x="16" y="591"/>
                  </a:lnTo>
                  <a:lnTo>
                    <a:pt x="24" y="596"/>
                  </a:lnTo>
                  <a:lnTo>
                    <a:pt x="32" y="600"/>
                  </a:lnTo>
                  <a:lnTo>
                    <a:pt x="41" y="603"/>
                  </a:lnTo>
                  <a:lnTo>
                    <a:pt x="50" y="604"/>
                  </a:lnTo>
                  <a:lnTo>
                    <a:pt x="60" y="603"/>
                  </a:lnTo>
                  <a:lnTo>
                    <a:pt x="69" y="602"/>
                  </a:lnTo>
                  <a:lnTo>
                    <a:pt x="79" y="599"/>
                  </a:lnTo>
                  <a:lnTo>
                    <a:pt x="87" y="595"/>
                  </a:lnTo>
                  <a:lnTo>
                    <a:pt x="95" y="590"/>
                  </a:lnTo>
                  <a:lnTo>
                    <a:pt x="101" y="583"/>
                  </a:lnTo>
                  <a:lnTo>
                    <a:pt x="107" y="575"/>
                  </a:lnTo>
                  <a:lnTo>
                    <a:pt x="109" y="565"/>
                  </a:lnTo>
                  <a:lnTo>
                    <a:pt x="124" y="521"/>
                  </a:lnTo>
                  <a:lnTo>
                    <a:pt x="138" y="477"/>
                  </a:lnTo>
                  <a:lnTo>
                    <a:pt x="151" y="431"/>
                  </a:lnTo>
                  <a:lnTo>
                    <a:pt x="163" y="387"/>
                  </a:lnTo>
                  <a:lnTo>
                    <a:pt x="175" y="342"/>
                  </a:lnTo>
                  <a:lnTo>
                    <a:pt x="189" y="296"/>
                  </a:lnTo>
                  <a:lnTo>
                    <a:pt x="202" y="252"/>
                  </a:lnTo>
                  <a:lnTo>
                    <a:pt x="217" y="207"/>
                  </a:lnTo>
                  <a:lnTo>
                    <a:pt x="229" y="199"/>
                  </a:lnTo>
                  <a:lnTo>
                    <a:pt x="242" y="190"/>
                  </a:lnTo>
                  <a:lnTo>
                    <a:pt x="222" y="273"/>
                  </a:lnTo>
                  <a:lnTo>
                    <a:pt x="202" y="355"/>
                  </a:lnTo>
                  <a:lnTo>
                    <a:pt x="181" y="437"/>
                  </a:lnTo>
                  <a:lnTo>
                    <a:pt x="159" y="519"/>
                  </a:lnTo>
                  <a:lnTo>
                    <a:pt x="138" y="600"/>
                  </a:lnTo>
                  <a:lnTo>
                    <a:pt x="118" y="683"/>
                  </a:lnTo>
                  <a:lnTo>
                    <a:pt x="96" y="765"/>
                  </a:lnTo>
                  <a:lnTo>
                    <a:pt x="76" y="847"/>
                  </a:lnTo>
                  <a:lnTo>
                    <a:pt x="118" y="848"/>
                  </a:lnTo>
                  <a:lnTo>
                    <a:pt x="159" y="848"/>
                  </a:lnTo>
                  <a:lnTo>
                    <a:pt x="202" y="848"/>
                  </a:lnTo>
                  <a:lnTo>
                    <a:pt x="244" y="848"/>
                  </a:lnTo>
                  <a:lnTo>
                    <a:pt x="244" y="910"/>
                  </a:lnTo>
                  <a:lnTo>
                    <a:pt x="244" y="973"/>
                  </a:lnTo>
                  <a:lnTo>
                    <a:pt x="244" y="1035"/>
                  </a:lnTo>
                  <a:lnTo>
                    <a:pt x="244" y="1098"/>
                  </a:lnTo>
                  <a:lnTo>
                    <a:pt x="244" y="1159"/>
                  </a:lnTo>
                  <a:lnTo>
                    <a:pt x="244" y="1221"/>
                  </a:lnTo>
                  <a:lnTo>
                    <a:pt x="244" y="1284"/>
                  </a:lnTo>
                  <a:lnTo>
                    <a:pt x="245" y="1346"/>
                  </a:lnTo>
                  <a:lnTo>
                    <a:pt x="248" y="1359"/>
                  </a:lnTo>
                  <a:lnTo>
                    <a:pt x="252" y="1370"/>
                  </a:lnTo>
                  <a:lnTo>
                    <a:pt x="258" y="1379"/>
                  </a:lnTo>
                  <a:lnTo>
                    <a:pt x="266" y="1387"/>
                  </a:lnTo>
                  <a:lnTo>
                    <a:pt x="276" y="1394"/>
                  </a:lnTo>
                  <a:lnTo>
                    <a:pt x="286" y="1398"/>
                  </a:lnTo>
                  <a:lnTo>
                    <a:pt x="297" y="1401"/>
                  </a:lnTo>
                  <a:lnTo>
                    <a:pt x="308" y="1402"/>
                  </a:lnTo>
                  <a:lnTo>
                    <a:pt x="319" y="1401"/>
                  </a:lnTo>
                  <a:lnTo>
                    <a:pt x="329" y="1398"/>
                  </a:lnTo>
                  <a:lnTo>
                    <a:pt x="340" y="1394"/>
                  </a:lnTo>
                  <a:lnTo>
                    <a:pt x="349" y="1389"/>
                  </a:lnTo>
                  <a:lnTo>
                    <a:pt x="357" y="1381"/>
                  </a:lnTo>
                  <a:lnTo>
                    <a:pt x="363" y="1371"/>
                  </a:lnTo>
                  <a:lnTo>
                    <a:pt x="368" y="1359"/>
                  </a:lnTo>
                  <a:lnTo>
                    <a:pt x="370" y="1347"/>
                  </a:lnTo>
                  <a:lnTo>
                    <a:pt x="372" y="1284"/>
                  </a:lnTo>
                  <a:lnTo>
                    <a:pt x="372" y="1222"/>
                  </a:lnTo>
                  <a:lnTo>
                    <a:pt x="372" y="1159"/>
                  </a:lnTo>
                  <a:lnTo>
                    <a:pt x="372" y="1098"/>
                  </a:lnTo>
                  <a:lnTo>
                    <a:pt x="372" y="1035"/>
                  </a:lnTo>
                  <a:lnTo>
                    <a:pt x="372" y="973"/>
                  </a:lnTo>
                  <a:lnTo>
                    <a:pt x="372" y="910"/>
                  </a:lnTo>
                  <a:lnTo>
                    <a:pt x="372" y="848"/>
                  </a:lnTo>
                  <a:lnTo>
                    <a:pt x="392" y="847"/>
                  </a:lnTo>
                  <a:lnTo>
                    <a:pt x="411" y="847"/>
                  </a:lnTo>
                  <a:lnTo>
                    <a:pt x="412" y="907"/>
                  </a:lnTo>
                  <a:lnTo>
                    <a:pt x="412" y="968"/>
                  </a:lnTo>
                  <a:lnTo>
                    <a:pt x="412" y="1028"/>
                  </a:lnTo>
                  <a:lnTo>
                    <a:pt x="412" y="1088"/>
                  </a:lnTo>
                  <a:lnTo>
                    <a:pt x="412" y="1149"/>
                  </a:lnTo>
                  <a:lnTo>
                    <a:pt x="412" y="1209"/>
                  </a:lnTo>
                  <a:lnTo>
                    <a:pt x="412" y="1269"/>
                  </a:lnTo>
                  <a:lnTo>
                    <a:pt x="412" y="1330"/>
                  </a:lnTo>
                  <a:lnTo>
                    <a:pt x="412" y="1336"/>
                  </a:lnTo>
                  <a:lnTo>
                    <a:pt x="412" y="1343"/>
                  </a:lnTo>
                  <a:lnTo>
                    <a:pt x="414" y="1350"/>
                  </a:lnTo>
                  <a:lnTo>
                    <a:pt x="415" y="1357"/>
                  </a:lnTo>
                  <a:lnTo>
                    <a:pt x="418" y="1363"/>
                  </a:lnTo>
                  <a:lnTo>
                    <a:pt x="420" y="1370"/>
                  </a:lnTo>
                  <a:lnTo>
                    <a:pt x="425" y="1375"/>
                  </a:lnTo>
                  <a:lnTo>
                    <a:pt x="429" y="1381"/>
                  </a:lnTo>
                  <a:lnTo>
                    <a:pt x="433" y="1386"/>
                  </a:lnTo>
                  <a:lnTo>
                    <a:pt x="438" y="1391"/>
                  </a:lnTo>
                  <a:lnTo>
                    <a:pt x="443" y="1394"/>
                  </a:lnTo>
                  <a:lnTo>
                    <a:pt x="450" y="1398"/>
                  </a:lnTo>
                  <a:lnTo>
                    <a:pt x="457" y="1401"/>
                  </a:lnTo>
                  <a:lnTo>
                    <a:pt x="463" y="1402"/>
                  </a:lnTo>
                  <a:lnTo>
                    <a:pt x="470" y="1403"/>
                  </a:lnTo>
                  <a:lnTo>
                    <a:pt x="477" y="1403"/>
                  </a:lnTo>
                  <a:lnTo>
                    <a:pt x="485" y="1403"/>
                  </a:lnTo>
                  <a:lnTo>
                    <a:pt x="492" y="1402"/>
                  </a:lnTo>
                  <a:lnTo>
                    <a:pt x="498" y="1399"/>
                  </a:lnTo>
                  <a:lnTo>
                    <a:pt x="504" y="1397"/>
                  </a:lnTo>
                  <a:lnTo>
                    <a:pt x="510" y="1393"/>
                  </a:lnTo>
                  <a:lnTo>
                    <a:pt x="516" y="1389"/>
                  </a:lnTo>
                  <a:lnTo>
                    <a:pt x="520" y="1385"/>
                  </a:lnTo>
                  <a:lnTo>
                    <a:pt x="524" y="1379"/>
                  </a:lnTo>
                  <a:lnTo>
                    <a:pt x="532" y="1367"/>
                  </a:lnTo>
                  <a:lnTo>
                    <a:pt x="537" y="1354"/>
                  </a:lnTo>
                  <a:lnTo>
                    <a:pt x="540" y="1340"/>
                  </a:lnTo>
                  <a:lnTo>
                    <a:pt x="540" y="1327"/>
                  </a:lnTo>
                  <a:lnTo>
                    <a:pt x="541" y="1267"/>
                  </a:lnTo>
                  <a:lnTo>
                    <a:pt x="542" y="1208"/>
                  </a:lnTo>
                  <a:lnTo>
                    <a:pt x="542" y="1147"/>
                  </a:lnTo>
                  <a:lnTo>
                    <a:pt x="541" y="1087"/>
                  </a:lnTo>
                  <a:lnTo>
                    <a:pt x="541" y="1028"/>
                  </a:lnTo>
                  <a:lnTo>
                    <a:pt x="541" y="968"/>
                  </a:lnTo>
                  <a:lnTo>
                    <a:pt x="541" y="907"/>
                  </a:lnTo>
                  <a:lnTo>
                    <a:pt x="542" y="848"/>
                  </a:lnTo>
                  <a:lnTo>
                    <a:pt x="584" y="848"/>
                  </a:lnTo>
                  <a:lnTo>
                    <a:pt x="626" y="848"/>
                  </a:lnTo>
                  <a:lnTo>
                    <a:pt x="667" y="848"/>
                  </a:lnTo>
                  <a:lnTo>
                    <a:pt x="709" y="848"/>
                  </a:lnTo>
                  <a:lnTo>
                    <a:pt x="686" y="764"/>
                  </a:lnTo>
                  <a:lnTo>
                    <a:pt x="662" y="681"/>
                  </a:lnTo>
                  <a:lnTo>
                    <a:pt x="636" y="598"/>
                  </a:lnTo>
                  <a:lnTo>
                    <a:pt x="612" y="515"/>
                  </a:lnTo>
                  <a:lnTo>
                    <a:pt x="588" y="430"/>
                  </a:lnTo>
                  <a:lnTo>
                    <a:pt x="564" y="347"/>
                  </a:lnTo>
                  <a:lnTo>
                    <a:pt x="541" y="264"/>
                  </a:lnTo>
                  <a:lnTo>
                    <a:pt x="521" y="179"/>
                  </a:lnTo>
                  <a:lnTo>
                    <a:pt x="532" y="189"/>
                  </a:lnTo>
                  <a:lnTo>
                    <a:pt x="542" y="198"/>
                  </a:lnTo>
                  <a:lnTo>
                    <a:pt x="547" y="203"/>
                  </a:lnTo>
                  <a:lnTo>
                    <a:pt x="551" y="210"/>
                  </a:lnTo>
                  <a:lnTo>
                    <a:pt x="553" y="216"/>
                  </a:lnTo>
                  <a:lnTo>
                    <a:pt x="556" y="224"/>
                  </a:lnTo>
                  <a:lnTo>
                    <a:pt x="571" y="265"/>
                  </a:lnTo>
                  <a:lnTo>
                    <a:pt x="584" y="308"/>
                  </a:lnTo>
                  <a:lnTo>
                    <a:pt x="596" y="352"/>
                  </a:lnTo>
                  <a:lnTo>
                    <a:pt x="610" y="395"/>
                  </a:lnTo>
                  <a:lnTo>
                    <a:pt x="623" y="438"/>
                  </a:lnTo>
                  <a:lnTo>
                    <a:pt x="636" y="481"/>
                  </a:lnTo>
                  <a:lnTo>
                    <a:pt x="650" y="523"/>
                  </a:lnTo>
                  <a:lnTo>
                    <a:pt x="664" y="565"/>
                  </a:lnTo>
                  <a:lnTo>
                    <a:pt x="669" y="572"/>
                  </a:lnTo>
                  <a:lnTo>
                    <a:pt x="673" y="579"/>
                  </a:lnTo>
                  <a:lnTo>
                    <a:pt x="678" y="584"/>
                  </a:lnTo>
                  <a:lnTo>
                    <a:pt x="683" y="590"/>
                  </a:lnTo>
                  <a:lnTo>
                    <a:pt x="689" y="592"/>
                  </a:lnTo>
                  <a:lnTo>
                    <a:pt x="695" y="596"/>
                  </a:lnTo>
                  <a:lnTo>
                    <a:pt x="701" y="599"/>
                  </a:lnTo>
                  <a:lnTo>
                    <a:pt x="709" y="600"/>
                  </a:lnTo>
                  <a:lnTo>
                    <a:pt x="722" y="602"/>
                  </a:lnTo>
                  <a:lnTo>
                    <a:pt x="737" y="602"/>
                  </a:lnTo>
                  <a:lnTo>
                    <a:pt x="752" y="599"/>
                  </a:lnTo>
                  <a:lnTo>
                    <a:pt x="765" y="595"/>
                  </a:lnTo>
                  <a:lnTo>
                    <a:pt x="769" y="579"/>
                  </a:lnTo>
                  <a:lnTo>
                    <a:pt x="770" y="564"/>
                  </a:lnTo>
                  <a:lnTo>
                    <a:pt x="770" y="548"/>
                  </a:lnTo>
                  <a:lnTo>
                    <a:pt x="769" y="533"/>
                  </a:lnTo>
                  <a:lnTo>
                    <a:pt x="768" y="517"/>
                  </a:lnTo>
                  <a:lnTo>
                    <a:pt x="765" y="502"/>
                  </a:lnTo>
                  <a:lnTo>
                    <a:pt x="762" y="486"/>
                  </a:lnTo>
                  <a:lnTo>
                    <a:pt x="758" y="472"/>
                  </a:lnTo>
                  <a:lnTo>
                    <a:pt x="749" y="442"/>
                  </a:lnTo>
                  <a:lnTo>
                    <a:pt x="740" y="411"/>
                  </a:lnTo>
                  <a:lnTo>
                    <a:pt x="730" y="382"/>
                  </a:lnTo>
                  <a:lnTo>
                    <a:pt x="722" y="352"/>
                  </a:lnTo>
                  <a:close/>
                </a:path>
              </a:pathLst>
            </a:custGeom>
            <a:grpFill/>
            <a:ln w="9525">
              <a:noFill/>
              <a:round/>
            </a:ln>
          </p:spPr>
          <p:txBody>
            <a:bodyPr vert="horz" wrap="square" lIns="91440" tIns="45720" rIns="91440" bIns="45720" numCol="1" anchor="t" anchorCtr="0" compatLnSpc="1"/>
            <a:lstStyle/>
            <a:p>
              <a:endParaRPr lang="en-US"/>
            </a:p>
          </p:txBody>
        </p:sp>
      </p:grpSp>
      <p:grpSp>
        <p:nvGrpSpPr>
          <p:cNvPr id="122" name="Group 121"/>
          <p:cNvGrpSpPr/>
          <p:nvPr/>
        </p:nvGrpSpPr>
        <p:grpSpPr>
          <a:xfrm>
            <a:off x="4853387" y="2635121"/>
            <a:ext cx="231047" cy="591857"/>
            <a:chOff x="3647164" y="2464482"/>
            <a:chExt cx="231047" cy="591857"/>
          </a:xfrm>
          <a:solidFill>
            <a:schemeClr val="accent1"/>
          </a:solidFill>
        </p:grpSpPr>
        <p:sp>
          <p:nvSpPr>
            <p:cNvPr id="123" name="Freeform 56"/>
            <p:cNvSpPr/>
            <p:nvPr/>
          </p:nvSpPr>
          <p:spPr bwMode="auto">
            <a:xfrm>
              <a:off x="3716795" y="2464482"/>
              <a:ext cx="96006" cy="96006"/>
            </a:xfrm>
            <a:custGeom>
              <a:avLst/>
              <a:gdLst>
                <a:gd name="T0" fmla="*/ 262 w 273"/>
                <a:gd name="T1" fmla="*/ 182 h 271"/>
                <a:gd name="T2" fmla="*/ 266 w 273"/>
                <a:gd name="T3" fmla="*/ 173 h 271"/>
                <a:gd name="T4" fmla="*/ 269 w 273"/>
                <a:gd name="T5" fmla="*/ 165 h 271"/>
                <a:gd name="T6" fmla="*/ 272 w 273"/>
                <a:gd name="T7" fmla="*/ 155 h 271"/>
                <a:gd name="T8" fmla="*/ 273 w 273"/>
                <a:gd name="T9" fmla="*/ 146 h 271"/>
                <a:gd name="T10" fmla="*/ 273 w 273"/>
                <a:gd name="T11" fmla="*/ 137 h 271"/>
                <a:gd name="T12" fmla="*/ 273 w 273"/>
                <a:gd name="T13" fmla="*/ 127 h 271"/>
                <a:gd name="T14" fmla="*/ 272 w 273"/>
                <a:gd name="T15" fmla="*/ 119 h 271"/>
                <a:gd name="T16" fmla="*/ 270 w 273"/>
                <a:gd name="T17" fmla="*/ 110 h 271"/>
                <a:gd name="T18" fmla="*/ 265 w 273"/>
                <a:gd name="T19" fmla="*/ 92 h 271"/>
                <a:gd name="T20" fmla="*/ 257 w 273"/>
                <a:gd name="T21" fmla="*/ 76 h 271"/>
                <a:gd name="T22" fmla="*/ 246 w 273"/>
                <a:gd name="T23" fmla="*/ 60 h 271"/>
                <a:gd name="T24" fmla="*/ 236 w 273"/>
                <a:gd name="T25" fmla="*/ 45 h 271"/>
                <a:gd name="T26" fmla="*/ 222 w 273"/>
                <a:gd name="T27" fmla="*/ 33 h 271"/>
                <a:gd name="T28" fmla="*/ 207 w 273"/>
                <a:gd name="T29" fmla="*/ 23 h 271"/>
                <a:gd name="T30" fmla="*/ 191 w 273"/>
                <a:gd name="T31" fmla="*/ 13 h 271"/>
                <a:gd name="T32" fmla="*/ 174 w 273"/>
                <a:gd name="T33" fmla="*/ 6 h 271"/>
                <a:gd name="T34" fmla="*/ 165 w 273"/>
                <a:gd name="T35" fmla="*/ 4 h 271"/>
                <a:gd name="T36" fmla="*/ 157 w 273"/>
                <a:gd name="T37" fmla="*/ 1 h 271"/>
                <a:gd name="T38" fmla="*/ 147 w 273"/>
                <a:gd name="T39" fmla="*/ 0 h 271"/>
                <a:gd name="T40" fmla="*/ 138 w 273"/>
                <a:gd name="T41" fmla="*/ 0 h 271"/>
                <a:gd name="T42" fmla="*/ 128 w 273"/>
                <a:gd name="T43" fmla="*/ 0 h 271"/>
                <a:gd name="T44" fmla="*/ 119 w 273"/>
                <a:gd name="T45" fmla="*/ 1 h 271"/>
                <a:gd name="T46" fmla="*/ 110 w 273"/>
                <a:gd name="T47" fmla="*/ 2 h 271"/>
                <a:gd name="T48" fmla="*/ 100 w 273"/>
                <a:gd name="T49" fmla="*/ 5 h 271"/>
                <a:gd name="T50" fmla="*/ 92 w 273"/>
                <a:gd name="T51" fmla="*/ 6 h 271"/>
                <a:gd name="T52" fmla="*/ 84 w 273"/>
                <a:gd name="T53" fmla="*/ 9 h 271"/>
                <a:gd name="T54" fmla="*/ 76 w 273"/>
                <a:gd name="T55" fmla="*/ 13 h 271"/>
                <a:gd name="T56" fmla="*/ 68 w 273"/>
                <a:gd name="T57" fmla="*/ 17 h 271"/>
                <a:gd name="T58" fmla="*/ 53 w 273"/>
                <a:gd name="T59" fmla="*/ 27 h 271"/>
                <a:gd name="T60" fmla="*/ 41 w 273"/>
                <a:gd name="T61" fmla="*/ 37 h 271"/>
                <a:gd name="T62" fmla="*/ 29 w 273"/>
                <a:gd name="T63" fmla="*/ 49 h 271"/>
                <a:gd name="T64" fmla="*/ 20 w 273"/>
                <a:gd name="T65" fmla="*/ 64 h 271"/>
                <a:gd name="T66" fmla="*/ 12 w 273"/>
                <a:gd name="T67" fmla="*/ 79 h 271"/>
                <a:gd name="T68" fmla="*/ 6 w 273"/>
                <a:gd name="T69" fmla="*/ 95 h 271"/>
                <a:gd name="T70" fmla="*/ 2 w 273"/>
                <a:gd name="T71" fmla="*/ 112 h 271"/>
                <a:gd name="T72" fmla="*/ 0 w 273"/>
                <a:gd name="T73" fmla="*/ 129 h 271"/>
                <a:gd name="T74" fmla="*/ 0 w 273"/>
                <a:gd name="T75" fmla="*/ 146 h 271"/>
                <a:gd name="T76" fmla="*/ 2 w 273"/>
                <a:gd name="T77" fmla="*/ 163 h 271"/>
                <a:gd name="T78" fmla="*/ 6 w 273"/>
                <a:gd name="T79" fmla="*/ 179 h 271"/>
                <a:gd name="T80" fmla="*/ 12 w 273"/>
                <a:gd name="T81" fmla="*/ 196 h 271"/>
                <a:gd name="T82" fmla="*/ 21 w 273"/>
                <a:gd name="T83" fmla="*/ 210 h 271"/>
                <a:gd name="T84" fmla="*/ 32 w 273"/>
                <a:gd name="T85" fmla="*/ 224 h 271"/>
                <a:gd name="T86" fmla="*/ 39 w 273"/>
                <a:gd name="T87" fmla="*/ 232 h 271"/>
                <a:gd name="T88" fmla="*/ 44 w 273"/>
                <a:gd name="T89" fmla="*/ 238 h 271"/>
                <a:gd name="T90" fmla="*/ 51 w 273"/>
                <a:gd name="T91" fmla="*/ 244 h 271"/>
                <a:gd name="T92" fmla="*/ 59 w 273"/>
                <a:gd name="T93" fmla="*/ 249 h 271"/>
                <a:gd name="T94" fmla="*/ 73 w 273"/>
                <a:gd name="T95" fmla="*/ 259 h 271"/>
                <a:gd name="T96" fmla="*/ 89 w 273"/>
                <a:gd name="T97" fmla="*/ 264 h 271"/>
                <a:gd name="T98" fmla="*/ 107 w 273"/>
                <a:gd name="T99" fmla="*/ 269 h 271"/>
                <a:gd name="T100" fmla="*/ 124 w 273"/>
                <a:gd name="T101" fmla="*/ 271 h 271"/>
                <a:gd name="T102" fmla="*/ 142 w 273"/>
                <a:gd name="T103" fmla="*/ 271 h 271"/>
                <a:gd name="T104" fmla="*/ 159 w 273"/>
                <a:gd name="T105" fmla="*/ 269 h 271"/>
                <a:gd name="T106" fmla="*/ 177 w 273"/>
                <a:gd name="T107" fmla="*/ 265 h 271"/>
                <a:gd name="T108" fmla="*/ 193 w 273"/>
                <a:gd name="T109" fmla="*/ 259 h 271"/>
                <a:gd name="T110" fmla="*/ 209 w 273"/>
                <a:gd name="T111" fmla="*/ 251 h 271"/>
                <a:gd name="T112" fmla="*/ 224 w 273"/>
                <a:gd name="T113" fmla="*/ 240 h 271"/>
                <a:gd name="T114" fmla="*/ 236 w 273"/>
                <a:gd name="T115" fmla="*/ 229 h 271"/>
                <a:gd name="T116" fmla="*/ 248 w 273"/>
                <a:gd name="T117" fmla="*/ 214 h 271"/>
                <a:gd name="T118" fmla="*/ 252 w 273"/>
                <a:gd name="T119" fmla="*/ 208 h 271"/>
                <a:gd name="T120" fmla="*/ 256 w 273"/>
                <a:gd name="T121" fmla="*/ 200 h 271"/>
                <a:gd name="T122" fmla="*/ 260 w 273"/>
                <a:gd name="T123" fmla="*/ 192 h 271"/>
                <a:gd name="T124" fmla="*/ 262 w 273"/>
                <a:gd name="T125" fmla="*/ 18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3" h="271">
                  <a:moveTo>
                    <a:pt x="262" y="182"/>
                  </a:moveTo>
                  <a:lnTo>
                    <a:pt x="266" y="173"/>
                  </a:lnTo>
                  <a:lnTo>
                    <a:pt x="269" y="165"/>
                  </a:lnTo>
                  <a:lnTo>
                    <a:pt x="272" y="155"/>
                  </a:lnTo>
                  <a:lnTo>
                    <a:pt x="273" y="146"/>
                  </a:lnTo>
                  <a:lnTo>
                    <a:pt x="273" y="137"/>
                  </a:lnTo>
                  <a:lnTo>
                    <a:pt x="273" y="127"/>
                  </a:lnTo>
                  <a:lnTo>
                    <a:pt x="272" y="119"/>
                  </a:lnTo>
                  <a:lnTo>
                    <a:pt x="270" y="110"/>
                  </a:lnTo>
                  <a:lnTo>
                    <a:pt x="265" y="92"/>
                  </a:lnTo>
                  <a:lnTo>
                    <a:pt x="257" y="76"/>
                  </a:lnTo>
                  <a:lnTo>
                    <a:pt x="246" y="60"/>
                  </a:lnTo>
                  <a:lnTo>
                    <a:pt x="236" y="45"/>
                  </a:lnTo>
                  <a:lnTo>
                    <a:pt x="222" y="33"/>
                  </a:lnTo>
                  <a:lnTo>
                    <a:pt x="207" y="23"/>
                  </a:lnTo>
                  <a:lnTo>
                    <a:pt x="191" y="13"/>
                  </a:lnTo>
                  <a:lnTo>
                    <a:pt x="174" y="6"/>
                  </a:lnTo>
                  <a:lnTo>
                    <a:pt x="165" y="4"/>
                  </a:lnTo>
                  <a:lnTo>
                    <a:pt x="157" y="1"/>
                  </a:lnTo>
                  <a:lnTo>
                    <a:pt x="147" y="0"/>
                  </a:lnTo>
                  <a:lnTo>
                    <a:pt x="138" y="0"/>
                  </a:lnTo>
                  <a:lnTo>
                    <a:pt x="128" y="0"/>
                  </a:lnTo>
                  <a:lnTo>
                    <a:pt x="119" y="1"/>
                  </a:lnTo>
                  <a:lnTo>
                    <a:pt x="110" y="2"/>
                  </a:lnTo>
                  <a:lnTo>
                    <a:pt x="100" y="5"/>
                  </a:lnTo>
                  <a:lnTo>
                    <a:pt x="92" y="6"/>
                  </a:lnTo>
                  <a:lnTo>
                    <a:pt x="84" y="9"/>
                  </a:lnTo>
                  <a:lnTo>
                    <a:pt x="76" y="13"/>
                  </a:lnTo>
                  <a:lnTo>
                    <a:pt x="68" y="17"/>
                  </a:lnTo>
                  <a:lnTo>
                    <a:pt x="53" y="27"/>
                  </a:lnTo>
                  <a:lnTo>
                    <a:pt x="41" y="37"/>
                  </a:lnTo>
                  <a:lnTo>
                    <a:pt x="29" y="49"/>
                  </a:lnTo>
                  <a:lnTo>
                    <a:pt x="20" y="64"/>
                  </a:lnTo>
                  <a:lnTo>
                    <a:pt x="12" y="79"/>
                  </a:lnTo>
                  <a:lnTo>
                    <a:pt x="6" y="95"/>
                  </a:lnTo>
                  <a:lnTo>
                    <a:pt x="2" y="112"/>
                  </a:lnTo>
                  <a:lnTo>
                    <a:pt x="0" y="129"/>
                  </a:lnTo>
                  <a:lnTo>
                    <a:pt x="0" y="146"/>
                  </a:lnTo>
                  <a:lnTo>
                    <a:pt x="2" y="163"/>
                  </a:lnTo>
                  <a:lnTo>
                    <a:pt x="6" y="179"/>
                  </a:lnTo>
                  <a:lnTo>
                    <a:pt x="12" y="196"/>
                  </a:lnTo>
                  <a:lnTo>
                    <a:pt x="21" y="210"/>
                  </a:lnTo>
                  <a:lnTo>
                    <a:pt x="32" y="224"/>
                  </a:lnTo>
                  <a:lnTo>
                    <a:pt x="39" y="232"/>
                  </a:lnTo>
                  <a:lnTo>
                    <a:pt x="44" y="238"/>
                  </a:lnTo>
                  <a:lnTo>
                    <a:pt x="51" y="244"/>
                  </a:lnTo>
                  <a:lnTo>
                    <a:pt x="59" y="249"/>
                  </a:lnTo>
                  <a:lnTo>
                    <a:pt x="73" y="259"/>
                  </a:lnTo>
                  <a:lnTo>
                    <a:pt x="89" y="264"/>
                  </a:lnTo>
                  <a:lnTo>
                    <a:pt x="107" y="269"/>
                  </a:lnTo>
                  <a:lnTo>
                    <a:pt x="124" y="271"/>
                  </a:lnTo>
                  <a:lnTo>
                    <a:pt x="142" y="271"/>
                  </a:lnTo>
                  <a:lnTo>
                    <a:pt x="159" y="269"/>
                  </a:lnTo>
                  <a:lnTo>
                    <a:pt x="177" y="265"/>
                  </a:lnTo>
                  <a:lnTo>
                    <a:pt x="193" y="259"/>
                  </a:lnTo>
                  <a:lnTo>
                    <a:pt x="209" y="251"/>
                  </a:lnTo>
                  <a:lnTo>
                    <a:pt x="224" y="240"/>
                  </a:lnTo>
                  <a:lnTo>
                    <a:pt x="236" y="229"/>
                  </a:lnTo>
                  <a:lnTo>
                    <a:pt x="248" y="214"/>
                  </a:lnTo>
                  <a:lnTo>
                    <a:pt x="252" y="208"/>
                  </a:lnTo>
                  <a:lnTo>
                    <a:pt x="256" y="200"/>
                  </a:lnTo>
                  <a:lnTo>
                    <a:pt x="260" y="192"/>
                  </a:lnTo>
                  <a:lnTo>
                    <a:pt x="262" y="182"/>
                  </a:lnTo>
                  <a:close/>
                </a:path>
              </a:pathLst>
            </a:custGeom>
            <a:grpFill/>
            <a:ln w="9525">
              <a:noFill/>
              <a:round/>
            </a:ln>
          </p:spPr>
          <p:txBody>
            <a:bodyPr vert="horz" wrap="square" lIns="91440" tIns="45720" rIns="91440" bIns="45720" numCol="1" anchor="t" anchorCtr="0" compatLnSpc="1"/>
            <a:lstStyle/>
            <a:p>
              <a:endParaRPr lang="en-US"/>
            </a:p>
          </p:txBody>
        </p:sp>
        <p:sp>
          <p:nvSpPr>
            <p:cNvPr id="124" name="Freeform 57"/>
            <p:cNvSpPr/>
            <p:nvPr/>
          </p:nvSpPr>
          <p:spPr bwMode="auto">
            <a:xfrm>
              <a:off x="3647164" y="2569982"/>
              <a:ext cx="231047" cy="486357"/>
            </a:xfrm>
            <a:custGeom>
              <a:avLst/>
              <a:gdLst>
                <a:gd name="T0" fmla="*/ 566 w 658"/>
                <a:gd name="T1" fmla="*/ 20 h 1383"/>
                <a:gd name="T2" fmla="*/ 506 w 658"/>
                <a:gd name="T3" fmla="*/ 4 h 1383"/>
                <a:gd name="T4" fmla="*/ 396 w 658"/>
                <a:gd name="T5" fmla="*/ 0 h 1383"/>
                <a:gd name="T6" fmla="*/ 259 w 658"/>
                <a:gd name="T7" fmla="*/ 0 h 1383"/>
                <a:gd name="T8" fmla="*/ 136 w 658"/>
                <a:gd name="T9" fmla="*/ 8 h 1383"/>
                <a:gd name="T10" fmla="*/ 74 w 658"/>
                <a:gd name="T11" fmla="*/ 27 h 1383"/>
                <a:gd name="T12" fmla="*/ 40 w 658"/>
                <a:gd name="T13" fmla="*/ 53 h 1383"/>
                <a:gd name="T14" fmla="*/ 16 w 658"/>
                <a:gd name="T15" fmla="*/ 90 h 1383"/>
                <a:gd name="T16" fmla="*/ 4 w 658"/>
                <a:gd name="T17" fmla="*/ 131 h 1383"/>
                <a:gd name="T18" fmla="*/ 2 w 658"/>
                <a:gd name="T19" fmla="*/ 220 h 1383"/>
                <a:gd name="T20" fmla="*/ 0 w 658"/>
                <a:gd name="T21" fmla="*/ 448 h 1383"/>
                <a:gd name="T22" fmla="*/ 2 w 658"/>
                <a:gd name="T23" fmla="*/ 629 h 1383"/>
                <a:gd name="T24" fmla="*/ 19 w 658"/>
                <a:gd name="T25" fmla="*/ 665 h 1383"/>
                <a:gd name="T26" fmla="*/ 42 w 658"/>
                <a:gd name="T27" fmla="*/ 676 h 1383"/>
                <a:gd name="T28" fmla="*/ 73 w 658"/>
                <a:gd name="T29" fmla="*/ 676 h 1383"/>
                <a:gd name="T30" fmla="*/ 97 w 658"/>
                <a:gd name="T31" fmla="*/ 657 h 1383"/>
                <a:gd name="T32" fmla="*/ 117 w 658"/>
                <a:gd name="T33" fmla="*/ 602 h 1383"/>
                <a:gd name="T34" fmla="*/ 118 w 658"/>
                <a:gd name="T35" fmla="*/ 452 h 1383"/>
                <a:gd name="T36" fmla="*/ 118 w 658"/>
                <a:gd name="T37" fmla="*/ 273 h 1383"/>
                <a:gd name="T38" fmla="*/ 153 w 658"/>
                <a:gd name="T39" fmla="*/ 296 h 1383"/>
                <a:gd name="T40" fmla="*/ 153 w 658"/>
                <a:gd name="T41" fmla="*/ 566 h 1383"/>
                <a:gd name="T42" fmla="*/ 153 w 658"/>
                <a:gd name="T43" fmla="*/ 836 h 1383"/>
                <a:gd name="T44" fmla="*/ 153 w 658"/>
                <a:gd name="T45" fmla="*/ 1107 h 1383"/>
                <a:gd name="T46" fmla="*/ 154 w 658"/>
                <a:gd name="T47" fmla="*/ 1323 h 1383"/>
                <a:gd name="T48" fmla="*/ 175 w 658"/>
                <a:gd name="T49" fmla="*/ 1363 h 1383"/>
                <a:gd name="T50" fmla="*/ 215 w 658"/>
                <a:gd name="T51" fmla="*/ 1382 h 1383"/>
                <a:gd name="T52" fmla="*/ 262 w 658"/>
                <a:gd name="T53" fmla="*/ 1379 h 1383"/>
                <a:gd name="T54" fmla="*/ 299 w 658"/>
                <a:gd name="T55" fmla="*/ 1349 h 1383"/>
                <a:gd name="T56" fmla="*/ 311 w 658"/>
                <a:gd name="T57" fmla="*/ 1272 h 1383"/>
                <a:gd name="T58" fmla="*/ 311 w 658"/>
                <a:gd name="T59" fmla="*/ 1030 h 1383"/>
                <a:gd name="T60" fmla="*/ 313 w 658"/>
                <a:gd name="T61" fmla="*/ 745 h 1383"/>
                <a:gd name="T62" fmla="*/ 347 w 658"/>
                <a:gd name="T63" fmla="*/ 756 h 1383"/>
                <a:gd name="T64" fmla="*/ 347 w 658"/>
                <a:gd name="T65" fmla="*/ 1082 h 1383"/>
                <a:gd name="T66" fmla="*/ 350 w 658"/>
                <a:gd name="T67" fmla="*/ 1333 h 1383"/>
                <a:gd name="T68" fmla="*/ 361 w 658"/>
                <a:gd name="T69" fmla="*/ 1359 h 1383"/>
                <a:gd name="T70" fmla="*/ 388 w 658"/>
                <a:gd name="T71" fmla="*/ 1378 h 1383"/>
                <a:gd name="T72" fmla="*/ 444 w 658"/>
                <a:gd name="T73" fmla="*/ 1379 h 1383"/>
                <a:gd name="T74" fmla="*/ 484 w 658"/>
                <a:gd name="T75" fmla="*/ 1355 h 1383"/>
                <a:gd name="T76" fmla="*/ 496 w 658"/>
                <a:gd name="T77" fmla="*/ 1331 h 1383"/>
                <a:gd name="T78" fmla="*/ 499 w 658"/>
                <a:gd name="T79" fmla="*/ 1240 h 1383"/>
                <a:gd name="T80" fmla="*/ 499 w 658"/>
                <a:gd name="T81" fmla="*/ 971 h 1383"/>
                <a:gd name="T82" fmla="*/ 499 w 658"/>
                <a:gd name="T83" fmla="*/ 700 h 1383"/>
                <a:gd name="T84" fmla="*/ 499 w 658"/>
                <a:gd name="T85" fmla="*/ 429 h 1383"/>
                <a:gd name="T86" fmla="*/ 510 w 658"/>
                <a:gd name="T87" fmla="*/ 226 h 1383"/>
                <a:gd name="T88" fmla="*/ 542 w 658"/>
                <a:gd name="T89" fmla="*/ 273 h 1383"/>
                <a:gd name="T90" fmla="*/ 542 w 658"/>
                <a:gd name="T91" fmla="*/ 461 h 1383"/>
                <a:gd name="T92" fmla="*/ 543 w 658"/>
                <a:gd name="T93" fmla="*/ 617 h 1383"/>
                <a:gd name="T94" fmla="*/ 565 w 658"/>
                <a:gd name="T95" fmla="*/ 662 h 1383"/>
                <a:gd name="T96" fmla="*/ 589 w 658"/>
                <a:gd name="T97" fmla="*/ 676 h 1383"/>
                <a:gd name="T98" fmla="*/ 618 w 658"/>
                <a:gd name="T99" fmla="*/ 676 h 1383"/>
                <a:gd name="T100" fmla="*/ 638 w 658"/>
                <a:gd name="T101" fmla="*/ 665 h 1383"/>
                <a:gd name="T102" fmla="*/ 653 w 658"/>
                <a:gd name="T103" fmla="*/ 639 h 1383"/>
                <a:gd name="T104" fmla="*/ 658 w 658"/>
                <a:gd name="T105" fmla="*/ 555 h 1383"/>
                <a:gd name="T106" fmla="*/ 658 w 658"/>
                <a:gd name="T107" fmla="*/ 360 h 1383"/>
                <a:gd name="T108" fmla="*/ 658 w 658"/>
                <a:gd name="T109" fmla="*/ 192 h 1383"/>
                <a:gd name="T110" fmla="*/ 648 w 658"/>
                <a:gd name="T111" fmla="*/ 111 h 1383"/>
                <a:gd name="T112" fmla="*/ 629 w 658"/>
                <a:gd name="T113" fmla="*/ 71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8" h="1383">
                  <a:moveTo>
                    <a:pt x="605" y="45"/>
                  </a:moveTo>
                  <a:lnTo>
                    <a:pt x="593" y="36"/>
                  </a:lnTo>
                  <a:lnTo>
                    <a:pt x="579" y="27"/>
                  </a:lnTo>
                  <a:lnTo>
                    <a:pt x="566" y="20"/>
                  </a:lnTo>
                  <a:lnTo>
                    <a:pt x="551" y="15"/>
                  </a:lnTo>
                  <a:lnTo>
                    <a:pt x="536" y="11"/>
                  </a:lnTo>
                  <a:lnTo>
                    <a:pt x="522" y="6"/>
                  </a:lnTo>
                  <a:lnTo>
                    <a:pt x="506" y="4"/>
                  </a:lnTo>
                  <a:lnTo>
                    <a:pt x="491" y="2"/>
                  </a:lnTo>
                  <a:lnTo>
                    <a:pt x="459" y="0"/>
                  </a:lnTo>
                  <a:lnTo>
                    <a:pt x="427" y="0"/>
                  </a:lnTo>
                  <a:lnTo>
                    <a:pt x="396" y="0"/>
                  </a:lnTo>
                  <a:lnTo>
                    <a:pt x="365" y="0"/>
                  </a:lnTo>
                  <a:lnTo>
                    <a:pt x="330" y="1"/>
                  </a:lnTo>
                  <a:lnTo>
                    <a:pt x="294" y="0"/>
                  </a:lnTo>
                  <a:lnTo>
                    <a:pt x="259" y="0"/>
                  </a:lnTo>
                  <a:lnTo>
                    <a:pt x="223" y="0"/>
                  </a:lnTo>
                  <a:lnTo>
                    <a:pt x="188" y="1"/>
                  </a:lnTo>
                  <a:lnTo>
                    <a:pt x="153" y="4"/>
                  </a:lnTo>
                  <a:lnTo>
                    <a:pt x="136" y="8"/>
                  </a:lnTo>
                  <a:lnTo>
                    <a:pt x="118" y="12"/>
                  </a:lnTo>
                  <a:lnTo>
                    <a:pt x="101" y="16"/>
                  </a:lnTo>
                  <a:lnTo>
                    <a:pt x="85" y="23"/>
                  </a:lnTo>
                  <a:lnTo>
                    <a:pt x="74" y="27"/>
                  </a:lnTo>
                  <a:lnTo>
                    <a:pt x="65" y="32"/>
                  </a:lnTo>
                  <a:lnTo>
                    <a:pt x="55" y="39"/>
                  </a:lnTo>
                  <a:lnTo>
                    <a:pt x="47" y="45"/>
                  </a:lnTo>
                  <a:lnTo>
                    <a:pt x="40" y="53"/>
                  </a:lnTo>
                  <a:lnTo>
                    <a:pt x="32" y="61"/>
                  </a:lnTo>
                  <a:lnTo>
                    <a:pt x="27" y="70"/>
                  </a:lnTo>
                  <a:lnTo>
                    <a:pt x="22" y="79"/>
                  </a:lnTo>
                  <a:lnTo>
                    <a:pt x="16" y="90"/>
                  </a:lnTo>
                  <a:lnTo>
                    <a:pt x="12" y="99"/>
                  </a:lnTo>
                  <a:lnTo>
                    <a:pt x="8" y="110"/>
                  </a:lnTo>
                  <a:lnTo>
                    <a:pt x="6" y="120"/>
                  </a:lnTo>
                  <a:lnTo>
                    <a:pt x="4" y="131"/>
                  </a:lnTo>
                  <a:lnTo>
                    <a:pt x="2" y="142"/>
                  </a:lnTo>
                  <a:lnTo>
                    <a:pt x="2" y="153"/>
                  </a:lnTo>
                  <a:lnTo>
                    <a:pt x="2" y="163"/>
                  </a:lnTo>
                  <a:lnTo>
                    <a:pt x="2" y="220"/>
                  </a:lnTo>
                  <a:lnTo>
                    <a:pt x="2" y="277"/>
                  </a:lnTo>
                  <a:lnTo>
                    <a:pt x="0" y="334"/>
                  </a:lnTo>
                  <a:lnTo>
                    <a:pt x="0" y="390"/>
                  </a:lnTo>
                  <a:lnTo>
                    <a:pt x="0" y="448"/>
                  </a:lnTo>
                  <a:lnTo>
                    <a:pt x="2" y="504"/>
                  </a:lnTo>
                  <a:lnTo>
                    <a:pt x="2" y="562"/>
                  </a:lnTo>
                  <a:lnTo>
                    <a:pt x="2" y="618"/>
                  </a:lnTo>
                  <a:lnTo>
                    <a:pt x="2" y="629"/>
                  </a:lnTo>
                  <a:lnTo>
                    <a:pt x="4" y="638"/>
                  </a:lnTo>
                  <a:lnTo>
                    <a:pt x="7" y="649"/>
                  </a:lnTo>
                  <a:lnTo>
                    <a:pt x="12" y="658"/>
                  </a:lnTo>
                  <a:lnTo>
                    <a:pt x="19" y="665"/>
                  </a:lnTo>
                  <a:lnTo>
                    <a:pt x="28" y="672"/>
                  </a:lnTo>
                  <a:lnTo>
                    <a:pt x="32" y="673"/>
                  </a:lnTo>
                  <a:lnTo>
                    <a:pt x="38" y="676"/>
                  </a:lnTo>
                  <a:lnTo>
                    <a:pt x="42" y="676"/>
                  </a:lnTo>
                  <a:lnTo>
                    <a:pt x="47" y="676"/>
                  </a:lnTo>
                  <a:lnTo>
                    <a:pt x="57" y="677"/>
                  </a:lnTo>
                  <a:lnTo>
                    <a:pt x="65" y="677"/>
                  </a:lnTo>
                  <a:lnTo>
                    <a:pt x="73" y="676"/>
                  </a:lnTo>
                  <a:lnTo>
                    <a:pt x="79" y="672"/>
                  </a:lnTo>
                  <a:lnTo>
                    <a:pt x="86" y="667"/>
                  </a:lnTo>
                  <a:lnTo>
                    <a:pt x="91" y="663"/>
                  </a:lnTo>
                  <a:lnTo>
                    <a:pt x="97" y="657"/>
                  </a:lnTo>
                  <a:lnTo>
                    <a:pt x="101" y="650"/>
                  </a:lnTo>
                  <a:lnTo>
                    <a:pt x="109" y="635"/>
                  </a:lnTo>
                  <a:lnTo>
                    <a:pt x="114" y="619"/>
                  </a:lnTo>
                  <a:lnTo>
                    <a:pt x="117" y="602"/>
                  </a:lnTo>
                  <a:lnTo>
                    <a:pt x="117" y="587"/>
                  </a:lnTo>
                  <a:lnTo>
                    <a:pt x="118" y="541"/>
                  </a:lnTo>
                  <a:lnTo>
                    <a:pt x="118" y="497"/>
                  </a:lnTo>
                  <a:lnTo>
                    <a:pt x="118" y="452"/>
                  </a:lnTo>
                  <a:lnTo>
                    <a:pt x="117" y="407"/>
                  </a:lnTo>
                  <a:lnTo>
                    <a:pt x="117" y="362"/>
                  </a:lnTo>
                  <a:lnTo>
                    <a:pt x="117" y="318"/>
                  </a:lnTo>
                  <a:lnTo>
                    <a:pt x="118" y="273"/>
                  </a:lnTo>
                  <a:lnTo>
                    <a:pt x="118" y="228"/>
                  </a:lnTo>
                  <a:lnTo>
                    <a:pt x="136" y="228"/>
                  </a:lnTo>
                  <a:lnTo>
                    <a:pt x="152" y="228"/>
                  </a:lnTo>
                  <a:lnTo>
                    <a:pt x="153" y="296"/>
                  </a:lnTo>
                  <a:lnTo>
                    <a:pt x="153" y="363"/>
                  </a:lnTo>
                  <a:lnTo>
                    <a:pt x="153" y="430"/>
                  </a:lnTo>
                  <a:lnTo>
                    <a:pt x="153" y="499"/>
                  </a:lnTo>
                  <a:lnTo>
                    <a:pt x="153" y="566"/>
                  </a:lnTo>
                  <a:lnTo>
                    <a:pt x="153" y="634"/>
                  </a:lnTo>
                  <a:lnTo>
                    <a:pt x="153" y="701"/>
                  </a:lnTo>
                  <a:lnTo>
                    <a:pt x="153" y="769"/>
                  </a:lnTo>
                  <a:lnTo>
                    <a:pt x="153" y="836"/>
                  </a:lnTo>
                  <a:lnTo>
                    <a:pt x="153" y="903"/>
                  </a:lnTo>
                  <a:lnTo>
                    <a:pt x="153" y="972"/>
                  </a:lnTo>
                  <a:lnTo>
                    <a:pt x="153" y="1039"/>
                  </a:lnTo>
                  <a:lnTo>
                    <a:pt x="153" y="1107"/>
                  </a:lnTo>
                  <a:lnTo>
                    <a:pt x="153" y="1174"/>
                  </a:lnTo>
                  <a:lnTo>
                    <a:pt x="153" y="1243"/>
                  </a:lnTo>
                  <a:lnTo>
                    <a:pt x="154" y="1310"/>
                  </a:lnTo>
                  <a:lnTo>
                    <a:pt x="154" y="1323"/>
                  </a:lnTo>
                  <a:lnTo>
                    <a:pt x="157" y="1335"/>
                  </a:lnTo>
                  <a:lnTo>
                    <a:pt x="161" y="1346"/>
                  </a:lnTo>
                  <a:lnTo>
                    <a:pt x="168" y="1355"/>
                  </a:lnTo>
                  <a:lnTo>
                    <a:pt x="175" y="1363"/>
                  </a:lnTo>
                  <a:lnTo>
                    <a:pt x="184" y="1370"/>
                  </a:lnTo>
                  <a:lnTo>
                    <a:pt x="193" y="1375"/>
                  </a:lnTo>
                  <a:lnTo>
                    <a:pt x="204" y="1379"/>
                  </a:lnTo>
                  <a:lnTo>
                    <a:pt x="215" y="1382"/>
                  </a:lnTo>
                  <a:lnTo>
                    <a:pt x="227" y="1383"/>
                  </a:lnTo>
                  <a:lnTo>
                    <a:pt x="239" y="1383"/>
                  </a:lnTo>
                  <a:lnTo>
                    <a:pt x="251" y="1382"/>
                  </a:lnTo>
                  <a:lnTo>
                    <a:pt x="262" y="1379"/>
                  </a:lnTo>
                  <a:lnTo>
                    <a:pt x="274" y="1375"/>
                  </a:lnTo>
                  <a:lnTo>
                    <a:pt x="283" y="1370"/>
                  </a:lnTo>
                  <a:lnTo>
                    <a:pt x="294" y="1363"/>
                  </a:lnTo>
                  <a:lnTo>
                    <a:pt x="299" y="1349"/>
                  </a:lnTo>
                  <a:lnTo>
                    <a:pt x="303" y="1334"/>
                  </a:lnTo>
                  <a:lnTo>
                    <a:pt x="306" y="1319"/>
                  </a:lnTo>
                  <a:lnTo>
                    <a:pt x="309" y="1303"/>
                  </a:lnTo>
                  <a:lnTo>
                    <a:pt x="311" y="1272"/>
                  </a:lnTo>
                  <a:lnTo>
                    <a:pt x="313" y="1241"/>
                  </a:lnTo>
                  <a:lnTo>
                    <a:pt x="313" y="1170"/>
                  </a:lnTo>
                  <a:lnTo>
                    <a:pt x="311" y="1101"/>
                  </a:lnTo>
                  <a:lnTo>
                    <a:pt x="311" y="1030"/>
                  </a:lnTo>
                  <a:lnTo>
                    <a:pt x="311" y="958"/>
                  </a:lnTo>
                  <a:lnTo>
                    <a:pt x="311" y="887"/>
                  </a:lnTo>
                  <a:lnTo>
                    <a:pt x="313" y="816"/>
                  </a:lnTo>
                  <a:lnTo>
                    <a:pt x="313" y="745"/>
                  </a:lnTo>
                  <a:lnTo>
                    <a:pt x="313" y="674"/>
                  </a:lnTo>
                  <a:lnTo>
                    <a:pt x="330" y="674"/>
                  </a:lnTo>
                  <a:lnTo>
                    <a:pt x="347" y="674"/>
                  </a:lnTo>
                  <a:lnTo>
                    <a:pt x="347" y="756"/>
                  </a:lnTo>
                  <a:lnTo>
                    <a:pt x="347" y="838"/>
                  </a:lnTo>
                  <a:lnTo>
                    <a:pt x="347" y="918"/>
                  </a:lnTo>
                  <a:lnTo>
                    <a:pt x="347" y="1000"/>
                  </a:lnTo>
                  <a:lnTo>
                    <a:pt x="347" y="1082"/>
                  </a:lnTo>
                  <a:lnTo>
                    <a:pt x="347" y="1162"/>
                  </a:lnTo>
                  <a:lnTo>
                    <a:pt x="347" y="1244"/>
                  </a:lnTo>
                  <a:lnTo>
                    <a:pt x="349" y="1324"/>
                  </a:lnTo>
                  <a:lnTo>
                    <a:pt x="350" y="1333"/>
                  </a:lnTo>
                  <a:lnTo>
                    <a:pt x="351" y="1341"/>
                  </a:lnTo>
                  <a:lnTo>
                    <a:pt x="354" y="1347"/>
                  </a:lnTo>
                  <a:lnTo>
                    <a:pt x="357" y="1354"/>
                  </a:lnTo>
                  <a:lnTo>
                    <a:pt x="361" y="1359"/>
                  </a:lnTo>
                  <a:lnTo>
                    <a:pt x="366" y="1363"/>
                  </a:lnTo>
                  <a:lnTo>
                    <a:pt x="370" y="1369"/>
                  </a:lnTo>
                  <a:lnTo>
                    <a:pt x="377" y="1373"/>
                  </a:lnTo>
                  <a:lnTo>
                    <a:pt x="388" y="1378"/>
                  </a:lnTo>
                  <a:lnTo>
                    <a:pt x="401" y="1382"/>
                  </a:lnTo>
                  <a:lnTo>
                    <a:pt x="416" y="1383"/>
                  </a:lnTo>
                  <a:lnTo>
                    <a:pt x="429" y="1382"/>
                  </a:lnTo>
                  <a:lnTo>
                    <a:pt x="444" y="1379"/>
                  </a:lnTo>
                  <a:lnTo>
                    <a:pt x="457" y="1375"/>
                  </a:lnTo>
                  <a:lnTo>
                    <a:pt x="469" y="1369"/>
                  </a:lnTo>
                  <a:lnTo>
                    <a:pt x="480" y="1359"/>
                  </a:lnTo>
                  <a:lnTo>
                    <a:pt x="484" y="1355"/>
                  </a:lnTo>
                  <a:lnTo>
                    <a:pt x="488" y="1350"/>
                  </a:lnTo>
                  <a:lnTo>
                    <a:pt x="492" y="1343"/>
                  </a:lnTo>
                  <a:lnTo>
                    <a:pt x="495" y="1338"/>
                  </a:lnTo>
                  <a:lnTo>
                    <a:pt x="496" y="1331"/>
                  </a:lnTo>
                  <a:lnTo>
                    <a:pt x="498" y="1323"/>
                  </a:lnTo>
                  <a:lnTo>
                    <a:pt x="499" y="1316"/>
                  </a:lnTo>
                  <a:lnTo>
                    <a:pt x="498" y="1308"/>
                  </a:lnTo>
                  <a:lnTo>
                    <a:pt x="499" y="1240"/>
                  </a:lnTo>
                  <a:lnTo>
                    <a:pt x="499" y="1173"/>
                  </a:lnTo>
                  <a:lnTo>
                    <a:pt x="499" y="1106"/>
                  </a:lnTo>
                  <a:lnTo>
                    <a:pt x="499" y="1038"/>
                  </a:lnTo>
                  <a:lnTo>
                    <a:pt x="499" y="971"/>
                  </a:lnTo>
                  <a:lnTo>
                    <a:pt x="499" y="902"/>
                  </a:lnTo>
                  <a:lnTo>
                    <a:pt x="499" y="835"/>
                  </a:lnTo>
                  <a:lnTo>
                    <a:pt x="499" y="767"/>
                  </a:lnTo>
                  <a:lnTo>
                    <a:pt x="499" y="700"/>
                  </a:lnTo>
                  <a:lnTo>
                    <a:pt x="499" y="633"/>
                  </a:lnTo>
                  <a:lnTo>
                    <a:pt x="499" y="564"/>
                  </a:lnTo>
                  <a:lnTo>
                    <a:pt x="499" y="497"/>
                  </a:lnTo>
                  <a:lnTo>
                    <a:pt x="499" y="429"/>
                  </a:lnTo>
                  <a:lnTo>
                    <a:pt x="499" y="362"/>
                  </a:lnTo>
                  <a:lnTo>
                    <a:pt x="499" y="293"/>
                  </a:lnTo>
                  <a:lnTo>
                    <a:pt x="499" y="226"/>
                  </a:lnTo>
                  <a:lnTo>
                    <a:pt x="510" y="226"/>
                  </a:lnTo>
                  <a:lnTo>
                    <a:pt x="520" y="226"/>
                  </a:lnTo>
                  <a:lnTo>
                    <a:pt x="532" y="226"/>
                  </a:lnTo>
                  <a:lnTo>
                    <a:pt x="542" y="225"/>
                  </a:lnTo>
                  <a:lnTo>
                    <a:pt x="542" y="273"/>
                  </a:lnTo>
                  <a:lnTo>
                    <a:pt x="542" y="320"/>
                  </a:lnTo>
                  <a:lnTo>
                    <a:pt x="542" y="367"/>
                  </a:lnTo>
                  <a:lnTo>
                    <a:pt x="542" y="414"/>
                  </a:lnTo>
                  <a:lnTo>
                    <a:pt x="542" y="461"/>
                  </a:lnTo>
                  <a:lnTo>
                    <a:pt x="542" y="508"/>
                  </a:lnTo>
                  <a:lnTo>
                    <a:pt x="542" y="556"/>
                  </a:lnTo>
                  <a:lnTo>
                    <a:pt x="542" y="603"/>
                  </a:lnTo>
                  <a:lnTo>
                    <a:pt x="543" y="617"/>
                  </a:lnTo>
                  <a:lnTo>
                    <a:pt x="546" y="631"/>
                  </a:lnTo>
                  <a:lnTo>
                    <a:pt x="553" y="645"/>
                  </a:lnTo>
                  <a:lnTo>
                    <a:pt x="561" y="657"/>
                  </a:lnTo>
                  <a:lnTo>
                    <a:pt x="565" y="662"/>
                  </a:lnTo>
                  <a:lnTo>
                    <a:pt x="570" y="667"/>
                  </a:lnTo>
                  <a:lnTo>
                    <a:pt x="577" y="670"/>
                  </a:lnTo>
                  <a:lnTo>
                    <a:pt x="582" y="674"/>
                  </a:lnTo>
                  <a:lnTo>
                    <a:pt x="589" y="676"/>
                  </a:lnTo>
                  <a:lnTo>
                    <a:pt x="597" y="677"/>
                  </a:lnTo>
                  <a:lnTo>
                    <a:pt x="604" y="677"/>
                  </a:lnTo>
                  <a:lnTo>
                    <a:pt x="612" y="676"/>
                  </a:lnTo>
                  <a:lnTo>
                    <a:pt x="618" y="676"/>
                  </a:lnTo>
                  <a:lnTo>
                    <a:pt x="624" y="674"/>
                  </a:lnTo>
                  <a:lnTo>
                    <a:pt x="629" y="672"/>
                  </a:lnTo>
                  <a:lnTo>
                    <a:pt x="634" y="669"/>
                  </a:lnTo>
                  <a:lnTo>
                    <a:pt x="638" y="665"/>
                  </a:lnTo>
                  <a:lnTo>
                    <a:pt x="642" y="661"/>
                  </a:lnTo>
                  <a:lnTo>
                    <a:pt x="645" y="655"/>
                  </a:lnTo>
                  <a:lnTo>
                    <a:pt x="649" y="650"/>
                  </a:lnTo>
                  <a:lnTo>
                    <a:pt x="653" y="639"/>
                  </a:lnTo>
                  <a:lnTo>
                    <a:pt x="656" y="627"/>
                  </a:lnTo>
                  <a:lnTo>
                    <a:pt x="658" y="615"/>
                  </a:lnTo>
                  <a:lnTo>
                    <a:pt x="658" y="603"/>
                  </a:lnTo>
                  <a:lnTo>
                    <a:pt x="658" y="555"/>
                  </a:lnTo>
                  <a:lnTo>
                    <a:pt x="658" y="505"/>
                  </a:lnTo>
                  <a:lnTo>
                    <a:pt x="658" y="457"/>
                  </a:lnTo>
                  <a:lnTo>
                    <a:pt x="658" y="409"/>
                  </a:lnTo>
                  <a:lnTo>
                    <a:pt x="658" y="360"/>
                  </a:lnTo>
                  <a:lnTo>
                    <a:pt x="658" y="311"/>
                  </a:lnTo>
                  <a:lnTo>
                    <a:pt x="658" y="263"/>
                  </a:lnTo>
                  <a:lnTo>
                    <a:pt x="658" y="214"/>
                  </a:lnTo>
                  <a:lnTo>
                    <a:pt x="658" y="192"/>
                  </a:lnTo>
                  <a:lnTo>
                    <a:pt x="657" y="169"/>
                  </a:lnTo>
                  <a:lnTo>
                    <a:pt x="654" y="146"/>
                  </a:lnTo>
                  <a:lnTo>
                    <a:pt x="650" y="123"/>
                  </a:lnTo>
                  <a:lnTo>
                    <a:pt x="648" y="111"/>
                  </a:lnTo>
                  <a:lnTo>
                    <a:pt x="644" y="100"/>
                  </a:lnTo>
                  <a:lnTo>
                    <a:pt x="640" y="90"/>
                  </a:lnTo>
                  <a:lnTo>
                    <a:pt x="634" y="80"/>
                  </a:lnTo>
                  <a:lnTo>
                    <a:pt x="629" y="71"/>
                  </a:lnTo>
                  <a:lnTo>
                    <a:pt x="622" y="61"/>
                  </a:lnTo>
                  <a:lnTo>
                    <a:pt x="614" y="53"/>
                  </a:lnTo>
                  <a:lnTo>
                    <a:pt x="605" y="45"/>
                  </a:lnTo>
                  <a:close/>
                </a:path>
              </a:pathLst>
            </a:custGeom>
            <a:grpFill/>
            <a:ln w="9525">
              <a:noFill/>
              <a:round/>
            </a:ln>
          </p:spPr>
          <p:txBody>
            <a:bodyPr vert="horz" wrap="square" lIns="91440" tIns="45720" rIns="91440" bIns="45720" numCol="1" anchor="t" anchorCtr="0" compatLnSpc="1"/>
            <a:lstStyle/>
            <a:p>
              <a:endParaRPr lang="en-US"/>
            </a:p>
          </p:txBody>
        </p:sp>
      </p:grpSp>
      <p:grpSp>
        <p:nvGrpSpPr>
          <p:cNvPr id="125" name="Group 124"/>
          <p:cNvGrpSpPr/>
          <p:nvPr/>
        </p:nvGrpSpPr>
        <p:grpSpPr>
          <a:xfrm>
            <a:off x="5136447" y="4525489"/>
            <a:ext cx="271137" cy="607684"/>
            <a:chOff x="3327401" y="4335463"/>
            <a:chExt cx="407988" cy="914400"/>
          </a:xfrm>
          <a:solidFill>
            <a:schemeClr val="tx1">
              <a:lumMod val="85000"/>
              <a:lumOff val="15000"/>
            </a:schemeClr>
          </a:solidFill>
        </p:grpSpPr>
        <p:sp>
          <p:nvSpPr>
            <p:cNvPr id="126" name="Freeform 58"/>
            <p:cNvSpPr/>
            <p:nvPr/>
          </p:nvSpPr>
          <p:spPr bwMode="auto">
            <a:xfrm>
              <a:off x="3455988" y="4335463"/>
              <a:ext cx="149225" cy="147638"/>
            </a:xfrm>
            <a:custGeom>
              <a:avLst/>
              <a:gdLst>
                <a:gd name="T0" fmla="*/ 283 w 283"/>
                <a:gd name="T1" fmla="*/ 144 h 278"/>
                <a:gd name="T2" fmla="*/ 280 w 283"/>
                <a:gd name="T3" fmla="*/ 111 h 278"/>
                <a:gd name="T4" fmla="*/ 270 w 283"/>
                <a:gd name="T5" fmla="*/ 80 h 278"/>
                <a:gd name="T6" fmla="*/ 251 w 283"/>
                <a:gd name="T7" fmla="*/ 52 h 278"/>
                <a:gd name="T8" fmla="*/ 227 w 283"/>
                <a:gd name="T9" fmla="*/ 29 h 278"/>
                <a:gd name="T10" fmla="*/ 197 w 283"/>
                <a:gd name="T11" fmla="*/ 12 h 278"/>
                <a:gd name="T12" fmla="*/ 165 w 283"/>
                <a:gd name="T13" fmla="*/ 1 h 278"/>
                <a:gd name="T14" fmla="*/ 132 w 283"/>
                <a:gd name="T15" fmla="*/ 0 h 278"/>
                <a:gd name="T16" fmla="*/ 97 w 283"/>
                <a:gd name="T17" fmla="*/ 6 h 278"/>
                <a:gd name="T18" fmla="*/ 66 w 283"/>
                <a:gd name="T19" fmla="*/ 24 h 278"/>
                <a:gd name="T20" fmla="*/ 39 w 283"/>
                <a:gd name="T21" fmla="*/ 46 h 278"/>
                <a:gd name="T22" fmla="*/ 19 w 283"/>
                <a:gd name="T23" fmla="*/ 76 h 278"/>
                <a:gd name="T24" fmla="*/ 6 w 283"/>
                <a:gd name="T25" fmla="*/ 108 h 278"/>
                <a:gd name="T26" fmla="*/ 0 w 283"/>
                <a:gd name="T27" fmla="*/ 142 h 278"/>
                <a:gd name="T28" fmla="*/ 4 w 283"/>
                <a:gd name="T29" fmla="*/ 177 h 278"/>
                <a:gd name="T30" fmla="*/ 14 w 283"/>
                <a:gd name="T31" fmla="*/ 201 h 278"/>
                <a:gd name="T32" fmla="*/ 23 w 283"/>
                <a:gd name="T33" fmla="*/ 217 h 278"/>
                <a:gd name="T34" fmla="*/ 35 w 283"/>
                <a:gd name="T35" fmla="*/ 233 h 278"/>
                <a:gd name="T36" fmla="*/ 50 w 283"/>
                <a:gd name="T37" fmla="*/ 248 h 278"/>
                <a:gd name="T38" fmla="*/ 67 w 283"/>
                <a:gd name="T39" fmla="*/ 260 h 278"/>
                <a:gd name="T40" fmla="*/ 86 w 283"/>
                <a:gd name="T41" fmla="*/ 268 h 278"/>
                <a:gd name="T42" fmla="*/ 105 w 283"/>
                <a:gd name="T43" fmla="*/ 274 h 278"/>
                <a:gd name="T44" fmla="*/ 125 w 283"/>
                <a:gd name="T45" fmla="*/ 278 h 278"/>
                <a:gd name="T46" fmla="*/ 157 w 283"/>
                <a:gd name="T47" fmla="*/ 278 h 278"/>
                <a:gd name="T48" fmla="*/ 187 w 283"/>
                <a:gd name="T49" fmla="*/ 272 h 278"/>
                <a:gd name="T50" fmla="*/ 207 w 283"/>
                <a:gd name="T51" fmla="*/ 265 h 278"/>
                <a:gd name="T52" fmla="*/ 224 w 283"/>
                <a:gd name="T53" fmla="*/ 256 h 278"/>
                <a:gd name="T54" fmla="*/ 240 w 283"/>
                <a:gd name="T55" fmla="*/ 244 h 278"/>
                <a:gd name="T56" fmla="*/ 255 w 283"/>
                <a:gd name="T57" fmla="*/ 229 h 278"/>
                <a:gd name="T58" fmla="*/ 266 w 283"/>
                <a:gd name="T59" fmla="*/ 213 h 278"/>
                <a:gd name="T60" fmla="*/ 275 w 283"/>
                <a:gd name="T61" fmla="*/ 194 h 278"/>
                <a:gd name="T62" fmla="*/ 280 w 283"/>
                <a:gd name="T63" fmla="*/ 17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3" h="278">
                  <a:moveTo>
                    <a:pt x="282" y="162"/>
                  </a:moveTo>
                  <a:lnTo>
                    <a:pt x="283" y="144"/>
                  </a:lnTo>
                  <a:lnTo>
                    <a:pt x="283" y="128"/>
                  </a:lnTo>
                  <a:lnTo>
                    <a:pt x="280" y="111"/>
                  </a:lnTo>
                  <a:lnTo>
                    <a:pt x="276" y="95"/>
                  </a:lnTo>
                  <a:lnTo>
                    <a:pt x="270" y="80"/>
                  </a:lnTo>
                  <a:lnTo>
                    <a:pt x="262" y="65"/>
                  </a:lnTo>
                  <a:lnTo>
                    <a:pt x="251" y="52"/>
                  </a:lnTo>
                  <a:lnTo>
                    <a:pt x="239" y="40"/>
                  </a:lnTo>
                  <a:lnTo>
                    <a:pt x="227" y="29"/>
                  </a:lnTo>
                  <a:lnTo>
                    <a:pt x="212" y="20"/>
                  </a:lnTo>
                  <a:lnTo>
                    <a:pt x="197" y="12"/>
                  </a:lnTo>
                  <a:lnTo>
                    <a:pt x="181" y="5"/>
                  </a:lnTo>
                  <a:lnTo>
                    <a:pt x="165" y="1"/>
                  </a:lnTo>
                  <a:lnTo>
                    <a:pt x="149" y="0"/>
                  </a:lnTo>
                  <a:lnTo>
                    <a:pt x="132" y="0"/>
                  </a:lnTo>
                  <a:lnTo>
                    <a:pt x="114" y="2"/>
                  </a:lnTo>
                  <a:lnTo>
                    <a:pt x="97" y="6"/>
                  </a:lnTo>
                  <a:lnTo>
                    <a:pt x="81" y="14"/>
                  </a:lnTo>
                  <a:lnTo>
                    <a:pt x="66" y="24"/>
                  </a:lnTo>
                  <a:lnTo>
                    <a:pt x="52" y="34"/>
                  </a:lnTo>
                  <a:lnTo>
                    <a:pt x="39" y="46"/>
                  </a:lnTo>
                  <a:lnTo>
                    <a:pt x="28" y="60"/>
                  </a:lnTo>
                  <a:lnTo>
                    <a:pt x="19" y="76"/>
                  </a:lnTo>
                  <a:lnTo>
                    <a:pt x="12" y="91"/>
                  </a:lnTo>
                  <a:lnTo>
                    <a:pt x="6" y="108"/>
                  </a:lnTo>
                  <a:lnTo>
                    <a:pt x="3" y="124"/>
                  </a:lnTo>
                  <a:lnTo>
                    <a:pt x="0" y="142"/>
                  </a:lnTo>
                  <a:lnTo>
                    <a:pt x="2" y="159"/>
                  </a:lnTo>
                  <a:lnTo>
                    <a:pt x="4" y="177"/>
                  </a:lnTo>
                  <a:lnTo>
                    <a:pt x="10" y="193"/>
                  </a:lnTo>
                  <a:lnTo>
                    <a:pt x="14" y="201"/>
                  </a:lnTo>
                  <a:lnTo>
                    <a:pt x="18" y="209"/>
                  </a:lnTo>
                  <a:lnTo>
                    <a:pt x="23" y="217"/>
                  </a:lnTo>
                  <a:lnTo>
                    <a:pt x="30" y="223"/>
                  </a:lnTo>
                  <a:lnTo>
                    <a:pt x="35" y="233"/>
                  </a:lnTo>
                  <a:lnTo>
                    <a:pt x="43" y="240"/>
                  </a:lnTo>
                  <a:lnTo>
                    <a:pt x="50" y="248"/>
                  </a:lnTo>
                  <a:lnTo>
                    <a:pt x="59" y="254"/>
                  </a:lnTo>
                  <a:lnTo>
                    <a:pt x="67" y="260"/>
                  </a:lnTo>
                  <a:lnTo>
                    <a:pt x="77" y="264"/>
                  </a:lnTo>
                  <a:lnTo>
                    <a:pt x="86" y="268"/>
                  </a:lnTo>
                  <a:lnTo>
                    <a:pt x="95" y="272"/>
                  </a:lnTo>
                  <a:lnTo>
                    <a:pt x="105" y="274"/>
                  </a:lnTo>
                  <a:lnTo>
                    <a:pt x="115" y="277"/>
                  </a:lnTo>
                  <a:lnTo>
                    <a:pt x="125" y="278"/>
                  </a:lnTo>
                  <a:lnTo>
                    <a:pt x="136" y="278"/>
                  </a:lnTo>
                  <a:lnTo>
                    <a:pt x="157" y="278"/>
                  </a:lnTo>
                  <a:lnTo>
                    <a:pt x="177" y="274"/>
                  </a:lnTo>
                  <a:lnTo>
                    <a:pt x="187" y="272"/>
                  </a:lnTo>
                  <a:lnTo>
                    <a:pt x="197" y="269"/>
                  </a:lnTo>
                  <a:lnTo>
                    <a:pt x="207" y="265"/>
                  </a:lnTo>
                  <a:lnTo>
                    <a:pt x="215" y="261"/>
                  </a:lnTo>
                  <a:lnTo>
                    <a:pt x="224" y="256"/>
                  </a:lnTo>
                  <a:lnTo>
                    <a:pt x="232" y="250"/>
                  </a:lnTo>
                  <a:lnTo>
                    <a:pt x="240" y="244"/>
                  </a:lnTo>
                  <a:lnTo>
                    <a:pt x="248" y="237"/>
                  </a:lnTo>
                  <a:lnTo>
                    <a:pt x="255" y="229"/>
                  </a:lnTo>
                  <a:lnTo>
                    <a:pt x="260" y="221"/>
                  </a:lnTo>
                  <a:lnTo>
                    <a:pt x="266" y="213"/>
                  </a:lnTo>
                  <a:lnTo>
                    <a:pt x="271" y="203"/>
                  </a:lnTo>
                  <a:lnTo>
                    <a:pt x="275" y="194"/>
                  </a:lnTo>
                  <a:lnTo>
                    <a:pt x="278" y="185"/>
                  </a:lnTo>
                  <a:lnTo>
                    <a:pt x="280" y="174"/>
                  </a:lnTo>
                  <a:lnTo>
                    <a:pt x="282" y="162"/>
                  </a:lnTo>
                  <a:close/>
                </a:path>
              </a:pathLst>
            </a:custGeom>
            <a:grpFill/>
            <a:ln w="9525">
              <a:noFill/>
              <a:round/>
            </a:ln>
          </p:spPr>
          <p:txBody>
            <a:bodyPr vert="horz" wrap="square" lIns="91440" tIns="45720" rIns="91440" bIns="45720" numCol="1" anchor="t" anchorCtr="0" compatLnSpc="1"/>
            <a:lstStyle/>
            <a:p>
              <a:endParaRPr lang="en-US"/>
            </a:p>
          </p:txBody>
        </p:sp>
        <p:sp>
          <p:nvSpPr>
            <p:cNvPr id="127" name="Freeform 59"/>
            <p:cNvSpPr/>
            <p:nvPr/>
          </p:nvSpPr>
          <p:spPr bwMode="auto">
            <a:xfrm>
              <a:off x="3327401" y="4506913"/>
              <a:ext cx="407988" cy="742950"/>
            </a:xfrm>
            <a:custGeom>
              <a:avLst/>
              <a:gdLst>
                <a:gd name="T0" fmla="*/ 690 w 770"/>
                <a:gd name="T1" fmla="*/ 245 h 1403"/>
                <a:gd name="T2" fmla="*/ 650 w 770"/>
                <a:gd name="T3" fmla="*/ 122 h 1403"/>
                <a:gd name="T4" fmla="*/ 616 w 770"/>
                <a:gd name="T5" fmla="*/ 60 h 1403"/>
                <a:gd name="T6" fmla="*/ 573 w 770"/>
                <a:gd name="T7" fmla="*/ 25 h 1403"/>
                <a:gd name="T8" fmla="*/ 521 w 770"/>
                <a:gd name="T9" fmla="*/ 6 h 1403"/>
                <a:gd name="T10" fmla="*/ 451 w 770"/>
                <a:gd name="T11" fmla="*/ 0 h 1403"/>
                <a:gd name="T12" fmla="*/ 323 w 770"/>
                <a:gd name="T13" fmla="*/ 0 h 1403"/>
                <a:gd name="T14" fmla="*/ 238 w 770"/>
                <a:gd name="T15" fmla="*/ 8 h 1403"/>
                <a:gd name="T16" fmla="*/ 178 w 770"/>
                <a:gd name="T17" fmla="*/ 36 h 1403"/>
                <a:gd name="T18" fmla="*/ 135 w 770"/>
                <a:gd name="T19" fmla="*/ 88 h 1403"/>
                <a:gd name="T20" fmla="*/ 95 w 770"/>
                <a:gd name="T21" fmla="*/ 197 h 1403"/>
                <a:gd name="T22" fmla="*/ 59 w 770"/>
                <a:gd name="T23" fmla="*/ 325 h 1403"/>
                <a:gd name="T24" fmla="*/ 20 w 770"/>
                <a:gd name="T25" fmla="*/ 457 h 1403"/>
                <a:gd name="T26" fmla="*/ 1 w 770"/>
                <a:gd name="T27" fmla="*/ 568 h 1403"/>
                <a:gd name="T28" fmla="*/ 24 w 770"/>
                <a:gd name="T29" fmla="*/ 596 h 1403"/>
                <a:gd name="T30" fmla="*/ 60 w 770"/>
                <a:gd name="T31" fmla="*/ 603 h 1403"/>
                <a:gd name="T32" fmla="*/ 95 w 770"/>
                <a:gd name="T33" fmla="*/ 590 h 1403"/>
                <a:gd name="T34" fmla="*/ 124 w 770"/>
                <a:gd name="T35" fmla="*/ 521 h 1403"/>
                <a:gd name="T36" fmla="*/ 175 w 770"/>
                <a:gd name="T37" fmla="*/ 342 h 1403"/>
                <a:gd name="T38" fmla="*/ 229 w 770"/>
                <a:gd name="T39" fmla="*/ 199 h 1403"/>
                <a:gd name="T40" fmla="*/ 181 w 770"/>
                <a:gd name="T41" fmla="*/ 437 h 1403"/>
                <a:gd name="T42" fmla="*/ 96 w 770"/>
                <a:gd name="T43" fmla="*/ 765 h 1403"/>
                <a:gd name="T44" fmla="*/ 202 w 770"/>
                <a:gd name="T45" fmla="*/ 848 h 1403"/>
                <a:gd name="T46" fmla="*/ 244 w 770"/>
                <a:gd name="T47" fmla="*/ 1035 h 1403"/>
                <a:gd name="T48" fmla="*/ 244 w 770"/>
                <a:gd name="T49" fmla="*/ 1284 h 1403"/>
                <a:gd name="T50" fmla="*/ 258 w 770"/>
                <a:gd name="T51" fmla="*/ 1379 h 1403"/>
                <a:gd name="T52" fmla="*/ 297 w 770"/>
                <a:gd name="T53" fmla="*/ 1401 h 1403"/>
                <a:gd name="T54" fmla="*/ 340 w 770"/>
                <a:gd name="T55" fmla="*/ 1394 h 1403"/>
                <a:gd name="T56" fmla="*/ 368 w 770"/>
                <a:gd name="T57" fmla="*/ 1359 h 1403"/>
                <a:gd name="T58" fmla="*/ 372 w 770"/>
                <a:gd name="T59" fmla="*/ 1159 h 1403"/>
                <a:gd name="T60" fmla="*/ 372 w 770"/>
                <a:gd name="T61" fmla="*/ 910 h 1403"/>
                <a:gd name="T62" fmla="*/ 412 w 770"/>
                <a:gd name="T63" fmla="*/ 907 h 1403"/>
                <a:gd name="T64" fmla="*/ 412 w 770"/>
                <a:gd name="T65" fmla="*/ 1149 h 1403"/>
                <a:gd name="T66" fmla="*/ 412 w 770"/>
                <a:gd name="T67" fmla="*/ 1336 h 1403"/>
                <a:gd name="T68" fmla="*/ 418 w 770"/>
                <a:gd name="T69" fmla="*/ 1363 h 1403"/>
                <a:gd name="T70" fmla="*/ 433 w 770"/>
                <a:gd name="T71" fmla="*/ 1386 h 1403"/>
                <a:gd name="T72" fmla="*/ 457 w 770"/>
                <a:gd name="T73" fmla="*/ 1401 h 1403"/>
                <a:gd name="T74" fmla="*/ 485 w 770"/>
                <a:gd name="T75" fmla="*/ 1403 h 1403"/>
                <a:gd name="T76" fmla="*/ 510 w 770"/>
                <a:gd name="T77" fmla="*/ 1393 h 1403"/>
                <a:gd name="T78" fmla="*/ 532 w 770"/>
                <a:gd name="T79" fmla="*/ 1367 h 1403"/>
                <a:gd name="T80" fmla="*/ 541 w 770"/>
                <a:gd name="T81" fmla="*/ 1267 h 1403"/>
                <a:gd name="T82" fmla="*/ 541 w 770"/>
                <a:gd name="T83" fmla="*/ 1028 h 1403"/>
                <a:gd name="T84" fmla="*/ 584 w 770"/>
                <a:gd name="T85" fmla="*/ 848 h 1403"/>
                <a:gd name="T86" fmla="*/ 686 w 770"/>
                <a:gd name="T87" fmla="*/ 764 h 1403"/>
                <a:gd name="T88" fmla="*/ 588 w 770"/>
                <a:gd name="T89" fmla="*/ 430 h 1403"/>
                <a:gd name="T90" fmla="*/ 532 w 770"/>
                <a:gd name="T91" fmla="*/ 189 h 1403"/>
                <a:gd name="T92" fmla="*/ 553 w 770"/>
                <a:gd name="T93" fmla="*/ 216 h 1403"/>
                <a:gd name="T94" fmla="*/ 596 w 770"/>
                <a:gd name="T95" fmla="*/ 352 h 1403"/>
                <a:gd name="T96" fmla="*/ 650 w 770"/>
                <a:gd name="T97" fmla="*/ 523 h 1403"/>
                <a:gd name="T98" fmla="*/ 678 w 770"/>
                <a:gd name="T99" fmla="*/ 584 h 1403"/>
                <a:gd name="T100" fmla="*/ 701 w 770"/>
                <a:gd name="T101" fmla="*/ 599 h 1403"/>
                <a:gd name="T102" fmla="*/ 752 w 770"/>
                <a:gd name="T103" fmla="*/ 599 h 1403"/>
                <a:gd name="T104" fmla="*/ 770 w 770"/>
                <a:gd name="T105" fmla="*/ 548 h 1403"/>
                <a:gd name="T106" fmla="*/ 762 w 770"/>
                <a:gd name="T107" fmla="*/ 486 h 1403"/>
                <a:gd name="T108" fmla="*/ 730 w 770"/>
                <a:gd name="T109" fmla="*/ 382 h 1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70" h="1403">
                  <a:moveTo>
                    <a:pt x="722" y="352"/>
                  </a:moveTo>
                  <a:lnTo>
                    <a:pt x="710" y="316"/>
                  </a:lnTo>
                  <a:lnTo>
                    <a:pt x="699" y="281"/>
                  </a:lnTo>
                  <a:lnTo>
                    <a:pt x="690" y="245"/>
                  </a:lnTo>
                  <a:lnTo>
                    <a:pt x="679" y="209"/>
                  </a:lnTo>
                  <a:lnTo>
                    <a:pt x="669" y="174"/>
                  </a:lnTo>
                  <a:lnTo>
                    <a:pt x="656" y="139"/>
                  </a:lnTo>
                  <a:lnTo>
                    <a:pt x="650" y="122"/>
                  </a:lnTo>
                  <a:lnTo>
                    <a:pt x="642" y="104"/>
                  </a:lnTo>
                  <a:lnTo>
                    <a:pt x="634" y="88"/>
                  </a:lnTo>
                  <a:lnTo>
                    <a:pt x="624" y="72"/>
                  </a:lnTo>
                  <a:lnTo>
                    <a:pt x="616" y="60"/>
                  </a:lnTo>
                  <a:lnTo>
                    <a:pt x="607" y="49"/>
                  </a:lnTo>
                  <a:lnTo>
                    <a:pt x="596" y="40"/>
                  </a:lnTo>
                  <a:lnTo>
                    <a:pt x="585" y="32"/>
                  </a:lnTo>
                  <a:lnTo>
                    <a:pt x="573" y="25"/>
                  </a:lnTo>
                  <a:lnTo>
                    <a:pt x="561" y="18"/>
                  </a:lnTo>
                  <a:lnTo>
                    <a:pt x="548" y="13"/>
                  </a:lnTo>
                  <a:lnTo>
                    <a:pt x="536" y="9"/>
                  </a:lnTo>
                  <a:lnTo>
                    <a:pt x="521" y="6"/>
                  </a:lnTo>
                  <a:lnTo>
                    <a:pt x="508" y="4"/>
                  </a:lnTo>
                  <a:lnTo>
                    <a:pt x="494" y="1"/>
                  </a:lnTo>
                  <a:lnTo>
                    <a:pt x="479" y="1"/>
                  </a:lnTo>
                  <a:lnTo>
                    <a:pt x="451" y="0"/>
                  </a:lnTo>
                  <a:lnTo>
                    <a:pt x="425" y="1"/>
                  </a:lnTo>
                  <a:lnTo>
                    <a:pt x="391" y="1"/>
                  </a:lnTo>
                  <a:lnTo>
                    <a:pt x="356" y="1"/>
                  </a:lnTo>
                  <a:lnTo>
                    <a:pt x="323" y="0"/>
                  </a:lnTo>
                  <a:lnTo>
                    <a:pt x="288" y="1"/>
                  </a:lnTo>
                  <a:lnTo>
                    <a:pt x="270" y="2"/>
                  </a:lnTo>
                  <a:lnTo>
                    <a:pt x="254" y="5"/>
                  </a:lnTo>
                  <a:lnTo>
                    <a:pt x="238" y="8"/>
                  </a:lnTo>
                  <a:lnTo>
                    <a:pt x="222" y="12"/>
                  </a:lnTo>
                  <a:lnTo>
                    <a:pt x="206" y="18"/>
                  </a:lnTo>
                  <a:lnTo>
                    <a:pt x="191" y="26"/>
                  </a:lnTo>
                  <a:lnTo>
                    <a:pt x="178" y="36"/>
                  </a:lnTo>
                  <a:lnTo>
                    <a:pt x="164" y="47"/>
                  </a:lnTo>
                  <a:lnTo>
                    <a:pt x="154" y="60"/>
                  </a:lnTo>
                  <a:lnTo>
                    <a:pt x="144" y="73"/>
                  </a:lnTo>
                  <a:lnTo>
                    <a:pt x="135" y="88"/>
                  </a:lnTo>
                  <a:lnTo>
                    <a:pt x="128" y="103"/>
                  </a:lnTo>
                  <a:lnTo>
                    <a:pt x="115" y="132"/>
                  </a:lnTo>
                  <a:lnTo>
                    <a:pt x="104" y="165"/>
                  </a:lnTo>
                  <a:lnTo>
                    <a:pt x="95" y="197"/>
                  </a:lnTo>
                  <a:lnTo>
                    <a:pt x="87" y="229"/>
                  </a:lnTo>
                  <a:lnTo>
                    <a:pt x="77" y="261"/>
                  </a:lnTo>
                  <a:lnTo>
                    <a:pt x="68" y="293"/>
                  </a:lnTo>
                  <a:lnTo>
                    <a:pt x="59" y="325"/>
                  </a:lnTo>
                  <a:lnTo>
                    <a:pt x="49" y="359"/>
                  </a:lnTo>
                  <a:lnTo>
                    <a:pt x="38" y="391"/>
                  </a:lnTo>
                  <a:lnTo>
                    <a:pt x="29" y="425"/>
                  </a:lnTo>
                  <a:lnTo>
                    <a:pt x="20" y="457"/>
                  </a:lnTo>
                  <a:lnTo>
                    <a:pt x="10" y="490"/>
                  </a:lnTo>
                  <a:lnTo>
                    <a:pt x="4" y="524"/>
                  </a:lnTo>
                  <a:lnTo>
                    <a:pt x="0" y="557"/>
                  </a:lnTo>
                  <a:lnTo>
                    <a:pt x="1" y="568"/>
                  </a:lnTo>
                  <a:lnTo>
                    <a:pt x="5" y="576"/>
                  </a:lnTo>
                  <a:lnTo>
                    <a:pt x="9" y="584"/>
                  </a:lnTo>
                  <a:lnTo>
                    <a:pt x="16" y="591"/>
                  </a:lnTo>
                  <a:lnTo>
                    <a:pt x="24" y="596"/>
                  </a:lnTo>
                  <a:lnTo>
                    <a:pt x="32" y="600"/>
                  </a:lnTo>
                  <a:lnTo>
                    <a:pt x="41" y="603"/>
                  </a:lnTo>
                  <a:lnTo>
                    <a:pt x="50" y="604"/>
                  </a:lnTo>
                  <a:lnTo>
                    <a:pt x="60" y="603"/>
                  </a:lnTo>
                  <a:lnTo>
                    <a:pt x="69" y="602"/>
                  </a:lnTo>
                  <a:lnTo>
                    <a:pt x="79" y="599"/>
                  </a:lnTo>
                  <a:lnTo>
                    <a:pt x="87" y="595"/>
                  </a:lnTo>
                  <a:lnTo>
                    <a:pt x="95" y="590"/>
                  </a:lnTo>
                  <a:lnTo>
                    <a:pt x="101" y="583"/>
                  </a:lnTo>
                  <a:lnTo>
                    <a:pt x="107" y="575"/>
                  </a:lnTo>
                  <a:lnTo>
                    <a:pt x="109" y="565"/>
                  </a:lnTo>
                  <a:lnTo>
                    <a:pt x="124" y="521"/>
                  </a:lnTo>
                  <a:lnTo>
                    <a:pt x="138" y="477"/>
                  </a:lnTo>
                  <a:lnTo>
                    <a:pt x="151" y="431"/>
                  </a:lnTo>
                  <a:lnTo>
                    <a:pt x="163" y="387"/>
                  </a:lnTo>
                  <a:lnTo>
                    <a:pt x="175" y="342"/>
                  </a:lnTo>
                  <a:lnTo>
                    <a:pt x="189" y="296"/>
                  </a:lnTo>
                  <a:lnTo>
                    <a:pt x="202" y="252"/>
                  </a:lnTo>
                  <a:lnTo>
                    <a:pt x="217" y="207"/>
                  </a:lnTo>
                  <a:lnTo>
                    <a:pt x="229" y="199"/>
                  </a:lnTo>
                  <a:lnTo>
                    <a:pt x="242" y="190"/>
                  </a:lnTo>
                  <a:lnTo>
                    <a:pt x="222" y="273"/>
                  </a:lnTo>
                  <a:lnTo>
                    <a:pt x="202" y="355"/>
                  </a:lnTo>
                  <a:lnTo>
                    <a:pt x="181" y="437"/>
                  </a:lnTo>
                  <a:lnTo>
                    <a:pt x="159" y="519"/>
                  </a:lnTo>
                  <a:lnTo>
                    <a:pt x="138" y="600"/>
                  </a:lnTo>
                  <a:lnTo>
                    <a:pt x="118" y="683"/>
                  </a:lnTo>
                  <a:lnTo>
                    <a:pt x="96" y="765"/>
                  </a:lnTo>
                  <a:lnTo>
                    <a:pt x="76" y="847"/>
                  </a:lnTo>
                  <a:lnTo>
                    <a:pt x="118" y="848"/>
                  </a:lnTo>
                  <a:lnTo>
                    <a:pt x="159" y="848"/>
                  </a:lnTo>
                  <a:lnTo>
                    <a:pt x="202" y="848"/>
                  </a:lnTo>
                  <a:lnTo>
                    <a:pt x="244" y="848"/>
                  </a:lnTo>
                  <a:lnTo>
                    <a:pt x="244" y="910"/>
                  </a:lnTo>
                  <a:lnTo>
                    <a:pt x="244" y="973"/>
                  </a:lnTo>
                  <a:lnTo>
                    <a:pt x="244" y="1035"/>
                  </a:lnTo>
                  <a:lnTo>
                    <a:pt x="244" y="1098"/>
                  </a:lnTo>
                  <a:lnTo>
                    <a:pt x="244" y="1159"/>
                  </a:lnTo>
                  <a:lnTo>
                    <a:pt x="244" y="1221"/>
                  </a:lnTo>
                  <a:lnTo>
                    <a:pt x="244" y="1284"/>
                  </a:lnTo>
                  <a:lnTo>
                    <a:pt x="245" y="1346"/>
                  </a:lnTo>
                  <a:lnTo>
                    <a:pt x="248" y="1359"/>
                  </a:lnTo>
                  <a:lnTo>
                    <a:pt x="252" y="1370"/>
                  </a:lnTo>
                  <a:lnTo>
                    <a:pt x="258" y="1379"/>
                  </a:lnTo>
                  <a:lnTo>
                    <a:pt x="266" y="1387"/>
                  </a:lnTo>
                  <a:lnTo>
                    <a:pt x="276" y="1394"/>
                  </a:lnTo>
                  <a:lnTo>
                    <a:pt x="286" y="1398"/>
                  </a:lnTo>
                  <a:lnTo>
                    <a:pt x="297" y="1401"/>
                  </a:lnTo>
                  <a:lnTo>
                    <a:pt x="308" y="1402"/>
                  </a:lnTo>
                  <a:lnTo>
                    <a:pt x="319" y="1401"/>
                  </a:lnTo>
                  <a:lnTo>
                    <a:pt x="329" y="1398"/>
                  </a:lnTo>
                  <a:lnTo>
                    <a:pt x="340" y="1394"/>
                  </a:lnTo>
                  <a:lnTo>
                    <a:pt x="349" y="1389"/>
                  </a:lnTo>
                  <a:lnTo>
                    <a:pt x="357" y="1381"/>
                  </a:lnTo>
                  <a:lnTo>
                    <a:pt x="363" y="1371"/>
                  </a:lnTo>
                  <a:lnTo>
                    <a:pt x="368" y="1359"/>
                  </a:lnTo>
                  <a:lnTo>
                    <a:pt x="370" y="1347"/>
                  </a:lnTo>
                  <a:lnTo>
                    <a:pt x="372" y="1284"/>
                  </a:lnTo>
                  <a:lnTo>
                    <a:pt x="372" y="1222"/>
                  </a:lnTo>
                  <a:lnTo>
                    <a:pt x="372" y="1159"/>
                  </a:lnTo>
                  <a:lnTo>
                    <a:pt x="372" y="1098"/>
                  </a:lnTo>
                  <a:lnTo>
                    <a:pt x="372" y="1035"/>
                  </a:lnTo>
                  <a:lnTo>
                    <a:pt x="372" y="973"/>
                  </a:lnTo>
                  <a:lnTo>
                    <a:pt x="372" y="910"/>
                  </a:lnTo>
                  <a:lnTo>
                    <a:pt x="372" y="848"/>
                  </a:lnTo>
                  <a:lnTo>
                    <a:pt x="392" y="847"/>
                  </a:lnTo>
                  <a:lnTo>
                    <a:pt x="411" y="847"/>
                  </a:lnTo>
                  <a:lnTo>
                    <a:pt x="412" y="907"/>
                  </a:lnTo>
                  <a:lnTo>
                    <a:pt x="412" y="968"/>
                  </a:lnTo>
                  <a:lnTo>
                    <a:pt x="412" y="1028"/>
                  </a:lnTo>
                  <a:lnTo>
                    <a:pt x="412" y="1088"/>
                  </a:lnTo>
                  <a:lnTo>
                    <a:pt x="412" y="1149"/>
                  </a:lnTo>
                  <a:lnTo>
                    <a:pt x="412" y="1209"/>
                  </a:lnTo>
                  <a:lnTo>
                    <a:pt x="412" y="1269"/>
                  </a:lnTo>
                  <a:lnTo>
                    <a:pt x="412" y="1330"/>
                  </a:lnTo>
                  <a:lnTo>
                    <a:pt x="412" y="1336"/>
                  </a:lnTo>
                  <a:lnTo>
                    <a:pt x="412" y="1343"/>
                  </a:lnTo>
                  <a:lnTo>
                    <a:pt x="414" y="1350"/>
                  </a:lnTo>
                  <a:lnTo>
                    <a:pt x="415" y="1357"/>
                  </a:lnTo>
                  <a:lnTo>
                    <a:pt x="418" y="1363"/>
                  </a:lnTo>
                  <a:lnTo>
                    <a:pt x="420" y="1370"/>
                  </a:lnTo>
                  <a:lnTo>
                    <a:pt x="425" y="1375"/>
                  </a:lnTo>
                  <a:lnTo>
                    <a:pt x="429" y="1381"/>
                  </a:lnTo>
                  <a:lnTo>
                    <a:pt x="433" y="1386"/>
                  </a:lnTo>
                  <a:lnTo>
                    <a:pt x="438" y="1391"/>
                  </a:lnTo>
                  <a:lnTo>
                    <a:pt x="443" y="1394"/>
                  </a:lnTo>
                  <a:lnTo>
                    <a:pt x="450" y="1398"/>
                  </a:lnTo>
                  <a:lnTo>
                    <a:pt x="457" y="1401"/>
                  </a:lnTo>
                  <a:lnTo>
                    <a:pt x="463" y="1402"/>
                  </a:lnTo>
                  <a:lnTo>
                    <a:pt x="470" y="1403"/>
                  </a:lnTo>
                  <a:lnTo>
                    <a:pt x="477" y="1403"/>
                  </a:lnTo>
                  <a:lnTo>
                    <a:pt x="485" y="1403"/>
                  </a:lnTo>
                  <a:lnTo>
                    <a:pt x="492" y="1402"/>
                  </a:lnTo>
                  <a:lnTo>
                    <a:pt x="498" y="1399"/>
                  </a:lnTo>
                  <a:lnTo>
                    <a:pt x="504" y="1397"/>
                  </a:lnTo>
                  <a:lnTo>
                    <a:pt x="510" y="1393"/>
                  </a:lnTo>
                  <a:lnTo>
                    <a:pt x="516" y="1389"/>
                  </a:lnTo>
                  <a:lnTo>
                    <a:pt x="520" y="1385"/>
                  </a:lnTo>
                  <a:lnTo>
                    <a:pt x="524" y="1379"/>
                  </a:lnTo>
                  <a:lnTo>
                    <a:pt x="532" y="1367"/>
                  </a:lnTo>
                  <a:lnTo>
                    <a:pt x="537" y="1354"/>
                  </a:lnTo>
                  <a:lnTo>
                    <a:pt x="540" y="1340"/>
                  </a:lnTo>
                  <a:lnTo>
                    <a:pt x="540" y="1327"/>
                  </a:lnTo>
                  <a:lnTo>
                    <a:pt x="541" y="1267"/>
                  </a:lnTo>
                  <a:lnTo>
                    <a:pt x="542" y="1208"/>
                  </a:lnTo>
                  <a:lnTo>
                    <a:pt x="542" y="1147"/>
                  </a:lnTo>
                  <a:lnTo>
                    <a:pt x="541" y="1087"/>
                  </a:lnTo>
                  <a:lnTo>
                    <a:pt x="541" y="1028"/>
                  </a:lnTo>
                  <a:lnTo>
                    <a:pt x="541" y="968"/>
                  </a:lnTo>
                  <a:lnTo>
                    <a:pt x="541" y="907"/>
                  </a:lnTo>
                  <a:lnTo>
                    <a:pt x="542" y="848"/>
                  </a:lnTo>
                  <a:lnTo>
                    <a:pt x="584" y="848"/>
                  </a:lnTo>
                  <a:lnTo>
                    <a:pt x="626" y="848"/>
                  </a:lnTo>
                  <a:lnTo>
                    <a:pt x="667" y="848"/>
                  </a:lnTo>
                  <a:lnTo>
                    <a:pt x="709" y="848"/>
                  </a:lnTo>
                  <a:lnTo>
                    <a:pt x="686" y="764"/>
                  </a:lnTo>
                  <a:lnTo>
                    <a:pt x="662" y="681"/>
                  </a:lnTo>
                  <a:lnTo>
                    <a:pt x="636" y="598"/>
                  </a:lnTo>
                  <a:lnTo>
                    <a:pt x="612" y="515"/>
                  </a:lnTo>
                  <a:lnTo>
                    <a:pt x="588" y="430"/>
                  </a:lnTo>
                  <a:lnTo>
                    <a:pt x="564" y="347"/>
                  </a:lnTo>
                  <a:lnTo>
                    <a:pt x="541" y="264"/>
                  </a:lnTo>
                  <a:lnTo>
                    <a:pt x="521" y="179"/>
                  </a:lnTo>
                  <a:lnTo>
                    <a:pt x="532" y="189"/>
                  </a:lnTo>
                  <a:lnTo>
                    <a:pt x="542" y="198"/>
                  </a:lnTo>
                  <a:lnTo>
                    <a:pt x="547" y="203"/>
                  </a:lnTo>
                  <a:lnTo>
                    <a:pt x="551" y="210"/>
                  </a:lnTo>
                  <a:lnTo>
                    <a:pt x="553" y="216"/>
                  </a:lnTo>
                  <a:lnTo>
                    <a:pt x="556" y="224"/>
                  </a:lnTo>
                  <a:lnTo>
                    <a:pt x="571" y="265"/>
                  </a:lnTo>
                  <a:lnTo>
                    <a:pt x="584" y="308"/>
                  </a:lnTo>
                  <a:lnTo>
                    <a:pt x="596" y="352"/>
                  </a:lnTo>
                  <a:lnTo>
                    <a:pt x="610" y="395"/>
                  </a:lnTo>
                  <a:lnTo>
                    <a:pt x="623" y="438"/>
                  </a:lnTo>
                  <a:lnTo>
                    <a:pt x="636" y="481"/>
                  </a:lnTo>
                  <a:lnTo>
                    <a:pt x="650" y="523"/>
                  </a:lnTo>
                  <a:lnTo>
                    <a:pt x="664" y="565"/>
                  </a:lnTo>
                  <a:lnTo>
                    <a:pt x="669" y="572"/>
                  </a:lnTo>
                  <a:lnTo>
                    <a:pt x="673" y="579"/>
                  </a:lnTo>
                  <a:lnTo>
                    <a:pt x="678" y="584"/>
                  </a:lnTo>
                  <a:lnTo>
                    <a:pt x="683" y="590"/>
                  </a:lnTo>
                  <a:lnTo>
                    <a:pt x="689" y="592"/>
                  </a:lnTo>
                  <a:lnTo>
                    <a:pt x="695" y="596"/>
                  </a:lnTo>
                  <a:lnTo>
                    <a:pt x="701" y="599"/>
                  </a:lnTo>
                  <a:lnTo>
                    <a:pt x="709" y="600"/>
                  </a:lnTo>
                  <a:lnTo>
                    <a:pt x="722" y="602"/>
                  </a:lnTo>
                  <a:lnTo>
                    <a:pt x="737" y="602"/>
                  </a:lnTo>
                  <a:lnTo>
                    <a:pt x="752" y="599"/>
                  </a:lnTo>
                  <a:lnTo>
                    <a:pt x="765" y="595"/>
                  </a:lnTo>
                  <a:lnTo>
                    <a:pt x="769" y="579"/>
                  </a:lnTo>
                  <a:lnTo>
                    <a:pt x="770" y="564"/>
                  </a:lnTo>
                  <a:lnTo>
                    <a:pt x="770" y="548"/>
                  </a:lnTo>
                  <a:lnTo>
                    <a:pt x="769" y="533"/>
                  </a:lnTo>
                  <a:lnTo>
                    <a:pt x="768" y="517"/>
                  </a:lnTo>
                  <a:lnTo>
                    <a:pt x="765" y="502"/>
                  </a:lnTo>
                  <a:lnTo>
                    <a:pt x="762" y="486"/>
                  </a:lnTo>
                  <a:lnTo>
                    <a:pt x="758" y="472"/>
                  </a:lnTo>
                  <a:lnTo>
                    <a:pt x="749" y="442"/>
                  </a:lnTo>
                  <a:lnTo>
                    <a:pt x="740" y="411"/>
                  </a:lnTo>
                  <a:lnTo>
                    <a:pt x="730" y="382"/>
                  </a:lnTo>
                  <a:lnTo>
                    <a:pt x="722" y="352"/>
                  </a:lnTo>
                  <a:close/>
                </a:path>
              </a:pathLst>
            </a:custGeom>
            <a:grpFill/>
            <a:ln w="9525">
              <a:noFill/>
              <a:round/>
            </a:ln>
          </p:spPr>
          <p:txBody>
            <a:bodyPr vert="horz" wrap="square" lIns="91440" tIns="45720" rIns="91440" bIns="45720" numCol="1" anchor="t" anchorCtr="0" compatLnSpc="1"/>
            <a:lstStyle/>
            <a:p>
              <a:endParaRPr lang="en-US"/>
            </a:p>
          </p:txBody>
        </p:sp>
      </p:grpSp>
      <p:grpSp>
        <p:nvGrpSpPr>
          <p:cNvPr id="128" name="Group 127"/>
          <p:cNvGrpSpPr/>
          <p:nvPr/>
        </p:nvGrpSpPr>
        <p:grpSpPr>
          <a:xfrm>
            <a:off x="5132193" y="2635121"/>
            <a:ext cx="231047" cy="591857"/>
            <a:chOff x="3647164" y="2464482"/>
            <a:chExt cx="231047" cy="591857"/>
          </a:xfrm>
          <a:solidFill>
            <a:schemeClr val="accent1"/>
          </a:solidFill>
        </p:grpSpPr>
        <p:sp>
          <p:nvSpPr>
            <p:cNvPr id="129" name="Freeform 56"/>
            <p:cNvSpPr/>
            <p:nvPr/>
          </p:nvSpPr>
          <p:spPr bwMode="auto">
            <a:xfrm>
              <a:off x="3716795" y="2464482"/>
              <a:ext cx="96006" cy="96006"/>
            </a:xfrm>
            <a:custGeom>
              <a:avLst/>
              <a:gdLst>
                <a:gd name="T0" fmla="*/ 262 w 273"/>
                <a:gd name="T1" fmla="*/ 182 h 271"/>
                <a:gd name="T2" fmla="*/ 266 w 273"/>
                <a:gd name="T3" fmla="*/ 173 h 271"/>
                <a:gd name="T4" fmla="*/ 269 w 273"/>
                <a:gd name="T5" fmla="*/ 165 h 271"/>
                <a:gd name="T6" fmla="*/ 272 w 273"/>
                <a:gd name="T7" fmla="*/ 155 h 271"/>
                <a:gd name="T8" fmla="*/ 273 w 273"/>
                <a:gd name="T9" fmla="*/ 146 h 271"/>
                <a:gd name="T10" fmla="*/ 273 w 273"/>
                <a:gd name="T11" fmla="*/ 137 h 271"/>
                <a:gd name="T12" fmla="*/ 273 w 273"/>
                <a:gd name="T13" fmla="*/ 127 h 271"/>
                <a:gd name="T14" fmla="*/ 272 w 273"/>
                <a:gd name="T15" fmla="*/ 119 h 271"/>
                <a:gd name="T16" fmla="*/ 270 w 273"/>
                <a:gd name="T17" fmla="*/ 110 h 271"/>
                <a:gd name="T18" fmla="*/ 265 w 273"/>
                <a:gd name="T19" fmla="*/ 92 h 271"/>
                <a:gd name="T20" fmla="*/ 257 w 273"/>
                <a:gd name="T21" fmla="*/ 76 h 271"/>
                <a:gd name="T22" fmla="*/ 246 w 273"/>
                <a:gd name="T23" fmla="*/ 60 h 271"/>
                <a:gd name="T24" fmla="*/ 236 w 273"/>
                <a:gd name="T25" fmla="*/ 45 h 271"/>
                <a:gd name="T26" fmla="*/ 222 w 273"/>
                <a:gd name="T27" fmla="*/ 33 h 271"/>
                <a:gd name="T28" fmla="*/ 207 w 273"/>
                <a:gd name="T29" fmla="*/ 23 h 271"/>
                <a:gd name="T30" fmla="*/ 191 w 273"/>
                <a:gd name="T31" fmla="*/ 13 h 271"/>
                <a:gd name="T32" fmla="*/ 174 w 273"/>
                <a:gd name="T33" fmla="*/ 6 h 271"/>
                <a:gd name="T34" fmla="*/ 165 w 273"/>
                <a:gd name="T35" fmla="*/ 4 h 271"/>
                <a:gd name="T36" fmla="*/ 157 w 273"/>
                <a:gd name="T37" fmla="*/ 1 h 271"/>
                <a:gd name="T38" fmla="*/ 147 w 273"/>
                <a:gd name="T39" fmla="*/ 0 h 271"/>
                <a:gd name="T40" fmla="*/ 138 w 273"/>
                <a:gd name="T41" fmla="*/ 0 h 271"/>
                <a:gd name="T42" fmla="*/ 128 w 273"/>
                <a:gd name="T43" fmla="*/ 0 h 271"/>
                <a:gd name="T44" fmla="*/ 119 w 273"/>
                <a:gd name="T45" fmla="*/ 1 h 271"/>
                <a:gd name="T46" fmla="*/ 110 w 273"/>
                <a:gd name="T47" fmla="*/ 2 h 271"/>
                <a:gd name="T48" fmla="*/ 100 w 273"/>
                <a:gd name="T49" fmla="*/ 5 h 271"/>
                <a:gd name="T50" fmla="*/ 92 w 273"/>
                <a:gd name="T51" fmla="*/ 6 h 271"/>
                <a:gd name="T52" fmla="*/ 84 w 273"/>
                <a:gd name="T53" fmla="*/ 9 h 271"/>
                <a:gd name="T54" fmla="*/ 76 w 273"/>
                <a:gd name="T55" fmla="*/ 13 h 271"/>
                <a:gd name="T56" fmla="*/ 68 w 273"/>
                <a:gd name="T57" fmla="*/ 17 h 271"/>
                <a:gd name="T58" fmla="*/ 53 w 273"/>
                <a:gd name="T59" fmla="*/ 27 h 271"/>
                <a:gd name="T60" fmla="*/ 41 w 273"/>
                <a:gd name="T61" fmla="*/ 37 h 271"/>
                <a:gd name="T62" fmla="*/ 29 w 273"/>
                <a:gd name="T63" fmla="*/ 49 h 271"/>
                <a:gd name="T64" fmla="*/ 20 w 273"/>
                <a:gd name="T65" fmla="*/ 64 h 271"/>
                <a:gd name="T66" fmla="*/ 12 w 273"/>
                <a:gd name="T67" fmla="*/ 79 h 271"/>
                <a:gd name="T68" fmla="*/ 6 w 273"/>
                <a:gd name="T69" fmla="*/ 95 h 271"/>
                <a:gd name="T70" fmla="*/ 2 w 273"/>
                <a:gd name="T71" fmla="*/ 112 h 271"/>
                <a:gd name="T72" fmla="*/ 0 w 273"/>
                <a:gd name="T73" fmla="*/ 129 h 271"/>
                <a:gd name="T74" fmla="*/ 0 w 273"/>
                <a:gd name="T75" fmla="*/ 146 h 271"/>
                <a:gd name="T76" fmla="*/ 2 w 273"/>
                <a:gd name="T77" fmla="*/ 163 h 271"/>
                <a:gd name="T78" fmla="*/ 6 w 273"/>
                <a:gd name="T79" fmla="*/ 179 h 271"/>
                <a:gd name="T80" fmla="*/ 12 w 273"/>
                <a:gd name="T81" fmla="*/ 196 h 271"/>
                <a:gd name="T82" fmla="*/ 21 w 273"/>
                <a:gd name="T83" fmla="*/ 210 h 271"/>
                <a:gd name="T84" fmla="*/ 32 w 273"/>
                <a:gd name="T85" fmla="*/ 224 h 271"/>
                <a:gd name="T86" fmla="*/ 39 w 273"/>
                <a:gd name="T87" fmla="*/ 232 h 271"/>
                <a:gd name="T88" fmla="*/ 44 w 273"/>
                <a:gd name="T89" fmla="*/ 238 h 271"/>
                <a:gd name="T90" fmla="*/ 51 w 273"/>
                <a:gd name="T91" fmla="*/ 244 h 271"/>
                <a:gd name="T92" fmla="*/ 59 w 273"/>
                <a:gd name="T93" fmla="*/ 249 h 271"/>
                <a:gd name="T94" fmla="*/ 73 w 273"/>
                <a:gd name="T95" fmla="*/ 259 h 271"/>
                <a:gd name="T96" fmla="*/ 89 w 273"/>
                <a:gd name="T97" fmla="*/ 264 h 271"/>
                <a:gd name="T98" fmla="*/ 107 w 273"/>
                <a:gd name="T99" fmla="*/ 269 h 271"/>
                <a:gd name="T100" fmla="*/ 124 w 273"/>
                <a:gd name="T101" fmla="*/ 271 h 271"/>
                <a:gd name="T102" fmla="*/ 142 w 273"/>
                <a:gd name="T103" fmla="*/ 271 h 271"/>
                <a:gd name="T104" fmla="*/ 159 w 273"/>
                <a:gd name="T105" fmla="*/ 269 h 271"/>
                <a:gd name="T106" fmla="*/ 177 w 273"/>
                <a:gd name="T107" fmla="*/ 265 h 271"/>
                <a:gd name="T108" fmla="*/ 193 w 273"/>
                <a:gd name="T109" fmla="*/ 259 h 271"/>
                <a:gd name="T110" fmla="*/ 209 w 273"/>
                <a:gd name="T111" fmla="*/ 251 h 271"/>
                <a:gd name="T112" fmla="*/ 224 w 273"/>
                <a:gd name="T113" fmla="*/ 240 h 271"/>
                <a:gd name="T114" fmla="*/ 236 w 273"/>
                <a:gd name="T115" fmla="*/ 229 h 271"/>
                <a:gd name="T116" fmla="*/ 248 w 273"/>
                <a:gd name="T117" fmla="*/ 214 h 271"/>
                <a:gd name="T118" fmla="*/ 252 w 273"/>
                <a:gd name="T119" fmla="*/ 208 h 271"/>
                <a:gd name="T120" fmla="*/ 256 w 273"/>
                <a:gd name="T121" fmla="*/ 200 h 271"/>
                <a:gd name="T122" fmla="*/ 260 w 273"/>
                <a:gd name="T123" fmla="*/ 192 h 271"/>
                <a:gd name="T124" fmla="*/ 262 w 273"/>
                <a:gd name="T125" fmla="*/ 18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3" h="271">
                  <a:moveTo>
                    <a:pt x="262" y="182"/>
                  </a:moveTo>
                  <a:lnTo>
                    <a:pt x="266" y="173"/>
                  </a:lnTo>
                  <a:lnTo>
                    <a:pt x="269" y="165"/>
                  </a:lnTo>
                  <a:lnTo>
                    <a:pt x="272" y="155"/>
                  </a:lnTo>
                  <a:lnTo>
                    <a:pt x="273" y="146"/>
                  </a:lnTo>
                  <a:lnTo>
                    <a:pt x="273" y="137"/>
                  </a:lnTo>
                  <a:lnTo>
                    <a:pt x="273" y="127"/>
                  </a:lnTo>
                  <a:lnTo>
                    <a:pt x="272" y="119"/>
                  </a:lnTo>
                  <a:lnTo>
                    <a:pt x="270" y="110"/>
                  </a:lnTo>
                  <a:lnTo>
                    <a:pt x="265" y="92"/>
                  </a:lnTo>
                  <a:lnTo>
                    <a:pt x="257" y="76"/>
                  </a:lnTo>
                  <a:lnTo>
                    <a:pt x="246" y="60"/>
                  </a:lnTo>
                  <a:lnTo>
                    <a:pt x="236" y="45"/>
                  </a:lnTo>
                  <a:lnTo>
                    <a:pt x="222" y="33"/>
                  </a:lnTo>
                  <a:lnTo>
                    <a:pt x="207" y="23"/>
                  </a:lnTo>
                  <a:lnTo>
                    <a:pt x="191" y="13"/>
                  </a:lnTo>
                  <a:lnTo>
                    <a:pt x="174" y="6"/>
                  </a:lnTo>
                  <a:lnTo>
                    <a:pt x="165" y="4"/>
                  </a:lnTo>
                  <a:lnTo>
                    <a:pt x="157" y="1"/>
                  </a:lnTo>
                  <a:lnTo>
                    <a:pt x="147" y="0"/>
                  </a:lnTo>
                  <a:lnTo>
                    <a:pt x="138" y="0"/>
                  </a:lnTo>
                  <a:lnTo>
                    <a:pt x="128" y="0"/>
                  </a:lnTo>
                  <a:lnTo>
                    <a:pt x="119" y="1"/>
                  </a:lnTo>
                  <a:lnTo>
                    <a:pt x="110" y="2"/>
                  </a:lnTo>
                  <a:lnTo>
                    <a:pt x="100" y="5"/>
                  </a:lnTo>
                  <a:lnTo>
                    <a:pt x="92" y="6"/>
                  </a:lnTo>
                  <a:lnTo>
                    <a:pt x="84" y="9"/>
                  </a:lnTo>
                  <a:lnTo>
                    <a:pt x="76" y="13"/>
                  </a:lnTo>
                  <a:lnTo>
                    <a:pt x="68" y="17"/>
                  </a:lnTo>
                  <a:lnTo>
                    <a:pt x="53" y="27"/>
                  </a:lnTo>
                  <a:lnTo>
                    <a:pt x="41" y="37"/>
                  </a:lnTo>
                  <a:lnTo>
                    <a:pt x="29" y="49"/>
                  </a:lnTo>
                  <a:lnTo>
                    <a:pt x="20" y="64"/>
                  </a:lnTo>
                  <a:lnTo>
                    <a:pt x="12" y="79"/>
                  </a:lnTo>
                  <a:lnTo>
                    <a:pt x="6" y="95"/>
                  </a:lnTo>
                  <a:lnTo>
                    <a:pt x="2" y="112"/>
                  </a:lnTo>
                  <a:lnTo>
                    <a:pt x="0" y="129"/>
                  </a:lnTo>
                  <a:lnTo>
                    <a:pt x="0" y="146"/>
                  </a:lnTo>
                  <a:lnTo>
                    <a:pt x="2" y="163"/>
                  </a:lnTo>
                  <a:lnTo>
                    <a:pt x="6" y="179"/>
                  </a:lnTo>
                  <a:lnTo>
                    <a:pt x="12" y="196"/>
                  </a:lnTo>
                  <a:lnTo>
                    <a:pt x="21" y="210"/>
                  </a:lnTo>
                  <a:lnTo>
                    <a:pt x="32" y="224"/>
                  </a:lnTo>
                  <a:lnTo>
                    <a:pt x="39" y="232"/>
                  </a:lnTo>
                  <a:lnTo>
                    <a:pt x="44" y="238"/>
                  </a:lnTo>
                  <a:lnTo>
                    <a:pt x="51" y="244"/>
                  </a:lnTo>
                  <a:lnTo>
                    <a:pt x="59" y="249"/>
                  </a:lnTo>
                  <a:lnTo>
                    <a:pt x="73" y="259"/>
                  </a:lnTo>
                  <a:lnTo>
                    <a:pt x="89" y="264"/>
                  </a:lnTo>
                  <a:lnTo>
                    <a:pt x="107" y="269"/>
                  </a:lnTo>
                  <a:lnTo>
                    <a:pt x="124" y="271"/>
                  </a:lnTo>
                  <a:lnTo>
                    <a:pt x="142" y="271"/>
                  </a:lnTo>
                  <a:lnTo>
                    <a:pt x="159" y="269"/>
                  </a:lnTo>
                  <a:lnTo>
                    <a:pt x="177" y="265"/>
                  </a:lnTo>
                  <a:lnTo>
                    <a:pt x="193" y="259"/>
                  </a:lnTo>
                  <a:lnTo>
                    <a:pt x="209" y="251"/>
                  </a:lnTo>
                  <a:lnTo>
                    <a:pt x="224" y="240"/>
                  </a:lnTo>
                  <a:lnTo>
                    <a:pt x="236" y="229"/>
                  </a:lnTo>
                  <a:lnTo>
                    <a:pt x="248" y="214"/>
                  </a:lnTo>
                  <a:lnTo>
                    <a:pt x="252" y="208"/>
                  </a:lnTo>
                  <a:lnTo>
                    <a:pt x="256" y="200"/>
                  </a:lnTo>
                  <a:lnTo>
                    <a:pt x="260" y="192"/>
                  </a:lnTo>
                  <a:lnTo>
                    <a:pt x="262" y="182"/>
                  </a:lnTo>
                  <a:close/>
                </a:path>
              </a:pathLst>
            </a:custGeom>
            <a:grpFill/>
            <a:ln w="9525">
              <a:noFill/>
              <a:round/>
            </a:ln>
          </p:spPr>
          <p:txBody>
            <a:bodyPr vert="horz" wrap="square" lIns="91440" tIns="45720" rIns="91440" bIns="45720" numCol="1" anchor="t" anchorCtr="0" compatLnSpc="1"/>
            <a:lstStyle/>
            <a:p>
              <a:endParaRPr lang="en-US"/>
            </a:p>
          </p:txBody>
        </p:sp>
        <p:sp>
          <p:nvSpPr>
            <p:cNvPr id="130" name="Freeform 57"/>
            <p:cNvSpPr/>
            <p:nvPr/>
          </p:nvSpPr>
          <p:spPr bwMode="auto">
            <a:xfrm>
              <a:off x="3647164" y="2569982"/>
              <a:ext cx="231047" cy="486357"/>
            </a:xfrm>
            <a:custGeom>
              <a:avLst/>
              <a:gdLst>
                <a:gd name="T0" fmla="*/ 566 w 658"/>
                <a:gd name="T1" fmla="*/ 20 h 1383"/>
                <a:gd name="T2" fmla="*/ 506 w 658"/>
                <a:gd name="T3" fmla="*/ 4 h 1383"/>
                <a:gd name="T4" fmla="*/ 396 w 658"/>
                <a:gd name="T5" fmla="*/ 0 h 1383"/>
                <a:gd name="T6" fmla="*/ 259 w 658"/>
                <a:gd name="T7" fmla="*/ 0 h 1383"/>
                <a:gd name="T8" fmla="*/ 136 w 658"/>
                <a:gd name="T9" fmla="*/ 8 h 1383"/>
                <a:gd name="T10" fmla="*/ 74 w 658"/>
                <a:gd name="T11" fmla="*/ 27 h 1383"/>
                <a:gd name="T12" fmla="*/ 40 w 658"/>
                <a:gd name="T13" fmla="*/ 53 h 1383"/>
                <a:gd name="T14" fmla="*/ 16 w 658"/>
                <a:gd name="T15" fmla="*/ 90 h 1383"/>
                <a:gd name="T16" fmla="*/ 4 w 658"/>
                <a:gd name="T17" fmla="*/ 131 h 1383"/>
                <a:gd name="T18" fmla="*/ 2 w 658"/>
                <a:gd name="T19" fmla="*/ 220 h 1383"/>
                <a:gd name="T20" fmla="*/ 0 w 658"/>
                <a:gd name="T21" fmla="*/ 448 h 1383"/>
                <a:gd name="T22" fmla="*/ 2 w 658"/>
                <a:gd name="T23" fmla="*/ 629 h 1383"/>
                <a:gd name="T24" fmla="*/ 19 w 658"/>
                <a:gd name="T25" fmla="*/ 665 h 1383"/>
                <a:gd name="T26" fmla="*/ 42 w 658"/>
                <a:gd name="T27" fmla="*/ 676 h 1383"/>
                <a:gd name="T28" fmla="*/ 73 w 658"/>
                <a:gd name="T29" fmla="*/ 676 h 1383"/>
                <a:gd name="T30" fmla="*/ 97 w 658"/>
                <a:gd name="T31" fmla="*/ 657 h 1383"/>
                <a:gd name="T32" fmla="*/ 117 w 658"/>
                <a:gd name="T33" fmla="*/ 602 h 1383"/>
                <a:gd name="T34" fmla="*/ 118 w 658"/>
                <a:gd name="T35" fmla="*/ 452 h 1383"/>
                <a:gd name="T36" fmla="*/ 118 w 658"/>
                <a:gd name="T37" fmla="*/ 273 h 1383"/>
                <a:gd name="T38" fmla="*/ 153 w 658"/>
                <a:gd name="T39" fmla="*/ 296 h 1383"/>
                <a:gd name="T40" fmla="*/ 153 w 658"/>
                <a:gd name="T41" fmla="*/ 566 h 1383"/>
                <a:gd name="T42" fmla="*/ 153 w 658"/>
                <a:gd name="T43" fmla="*/ 836 h 1383"/>
                <a:gd name="T44" fmla="*/ 153 w 658"/>
                <a:gd name="T45" fmla="*/ 1107 h 1383"/>
                <a:gd name="T46" fmla="*/ 154 w 658"/>
                <a:gd name="T47" fmla="*/ 1323 h 1383"/>
                <a:gd name="T48" fmla="*/ 175 w 658"/>
                <a:gd name="T49" fmla="*/ 1363 h 1383"/>
                <a:gd name="T50" fmla="*/ 215 w 658"/>
                <a:gd name="T51" fmla="*/ 1382 h 1383"/>
                <a:gd name="T52" fmla="*/ 262 w 658"/>
                <a:gd name="T53" fmla="*/ 1379 h 1383"/>
                <a:gd name="T54" fmla="*/ 299 w 658"/>
                <a:gd name="T55" fmla="*/ 1349 h 1383"/>
                <a:gd name="T56" fmla="*/ 311 w 658"/>
                <a:gd name="T57" fmla="*/ 1272 h 1383"/>
                <a:gd name="T58" fmla="*/ 311 w 658"/>
                <a:gd name="T59" fmla="*/ 1030 h 1383"/>
                <a:gd name="T60" fmla="*/ 313 w 658"/>
                <a:gd name="T61" fmla="*/ 745 h 1383"/>
                <a:gd name="T62" fmla="*/ 347 w 658"/>
                <a:gd name="T63" fmla="*/ 756 h 1383"/>
                <a:gd name="T64" fmla="*/ 347 w 658"/>
                <a:gd name="T65" fmla="*/ 1082 h 1383"/>
                <a:gd name="T66" fmla="*/ 350 w 658"/>
                <a:gd name="T67" fmla="*/ 1333 h 1383"/>
                <a:gd name="T68" fmla="*/ 361 w 658"/>
                <a:gd name="T69" fmla="*/ 1359 h 1383"/>
                <a:gd name="T70" fmla="*/ 388 w 658"/>
                <a:gd name="T71" fmla="*/ 1378 h 1383"/>
                <a:gd name="T72" fmla="*/ 444 w 658"/>
                <a:gd name="T73" fmla="*/ 1379 h 1383"/>
                <a:gd name="T74" fmla="*/ 484 w 658"/>
                <a:gd name="T75" fmla="*/ 1355 h 1383"/>
                <a:gd name="T76" fmla="*/ 496 w 658"/>
                <a:gd name="T77" fmla="*/ 1331 h 1383"/>
                <a:gd name="T78" fmla="*/ 499 w 658"/>
                <a:gd name="T79" fmla="*/ 1240 h 1383"/>
                <a:gd name="T80" fmla="*/ 499 w 658"/>
                <a:gd name="T81" fmla="*/ 971 h 1383"/>
                <a:gd name="T82" fmla="*/ 499 w 658"/>
                <a:gd name="T83" fmla="*/ 700 h 1383"/>
                <a:gd name="T84" fmla="*/ 499 w 658"/>
                <a:gd name="T85" fmla="*/ 429 h 1383"/>
                <a:gd name="T86" fmla="*/ 510 w 658"/>
                <a:gd name="T87" fmla="*/ 226 h 1383"/>
                <a:gd name="T88" fmla="*/ 542 w 658"/>
                <a:gd name="T89" fmla="*/ 273 h 1383"/>
                <a:gd name="T90" fmla="*/ 542 w 658"/>
                <a:gd name="T91" fmla="*/ 461 h 1383"/>
                <a:gd name="T92" fmla="*/ 543 w 658"/>
                <a:gd name="T93" fmla="*/ 617 h 1383"/>
                <a:gd name="T94" fmla="*/ 565 w 658"/>
                <a:gd name="T95" fmla="*/ 662 h 1383"/>
                <a:gd name="T96" fmla="*/ 589 w 658"/>
                <a:gd name="T97" fmla="*/ 676 h 1383"/>
                <a:gd name="T98" fmla="*/ 618 w 658"/>
                <a:gd name="T99" fmla="*/ 676 h 1383"/>
                <a:gd name="T100" fmla="*/ 638 w 658"/>
                <a:gd name="T101" fmla="*/ 665 h 1383"/>
                <a:gd name="T102" fmla="*/ 653 w 658"/>
                <a:gd name="T103" fmla="*/ 639 h 1383"/>
                <a:gd name="T104" fmla="*/ 658 w 658"/>
                <a:gd name="T105" fmla="*/ 555 h 1383"/>
                <a:gd name="T106" fmla="*/ 658 w 658"/>
                <a:gd name="T107" fmla="*/ 360 h 1383"/>
                <a:gd name="T108" fmla="*/ 658 w 658"/>
                <a:gd name="T109" fmla="*/ 192 h 1383"/>
                <a:gd name="T110" fmla="*/ 648 w 658"/>
                <a:gd name="T111" fmla="*/ 111 h 1383"/>
                <a:gd name="T112" fmla="*/ 629 w 658"/>
                <a:gd name="T113" fmla="*/ 71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8" h="1383">
                  <a:moveTo>
                    <a:pt x="605" y="45"/>
                  </a:moveTo>
                  <a:lnTo>
                    <a:pt x="593" y="36"/>
                  </a:lnTo>
                  <a:lnTo>
                    <a:pt x="579" y="27"/>
                  </a:lnTo>
                  <a:lnTo>
                    <a:pt x="566" y="20"/>
                  </a:lnTo>
                  <a:lnTo>
                    <a:pt x="551" y="15"/>
                  </a:lnTo>
                  <a:lnTo>
                    <a:pt x="536" y="11"/>
                  </a:lnTo>
                  <a:lnTo>
                    <a:pt x="522" y="6"/>
                  </a:lnTo>
                  <a:lnTo>
                    <a:pt x="506" y="4"/>
                  </a:lnTo>
                  <a:lnTo>
                    <a:pt x="491" y="2"/>
                  </a:lnTo>
                  <a:lnTo>
                    <a:pt x="459" y="0"/>
                  </a:lnTo>
                  <a:lnTo>
                    <a:pt x="427" y="0"/>
                  </a:lnTo>
                  <a:lnTo>
                    <a:pt x="396" y="0"/>
                  </a:lnTo>
                  <a:lnTo>
                    <a:pt x="365" y="0"/>
                  </a:lnTo>
                  <a:lnTo>
                    <a:pt x="330" y="1"/>
                  </a:lnTo>
                  <a:lnTo>
                    <a:pt x="294" y="0"/>
                  </a:lnTo>
                  <a:lnTo>
                    <a:pt x="259" y="0"/>
                  </a:lnTo>
                  <a:lnTo>
                    <a:pt x="223" y="0"/>
                  </a:lnTo>
                  <a:lnTo>
                    <a:pt x="188" y="1"/>
                  </a:lnTo>
                  <a:lnTo>
                    <a:pt x="153" y="4"/>
                  </a:lnTo>
                  <a:lnTo>
                    <a:pt x="136" y="8"/>
                  </a:lnTo>
                  <a:lnTo>
                    <a:pt x="118" y="12"/>
                  </a:lnTo>
                  <a:lnTo>
                    <a:pt x="101" y="16"/>
                  </a:lnTo>
                  <a:lnTo>
                    <a:pt x="85" y="23"/>
                  </a:lnTo>
                  <a:lnTo>
                    <a:pt x="74" y="27"/>
                  </a:lnTo>
                  <a:lnTo>
                    <a:pt x="65" y="32"/>
                  </a:lnTo>
                  <a:lnTo>
                    <a:pt x="55" y="39"/>
                  </a:lnTo>
                  <a:lnTo>
                    <a:pt x="47" y="45"/>
                  </a:lnTo>
                  <a:lnTo>
                    <a:pt x="40" y="53"/>
                  </a:lnTo>
                  <a:lnTo>
                    <a:pt x="32" y="61"/>
                  </a:lnTo>
                  <a:lnTo>
                    <a:pt x="27" y="70"/>
                  </a:lnTo>
                  <a:lnTo>
                    <a:pt x="22" y="79"/>
                  </a:lnTo>
                  <a:lnTo>
                    <a:pt x="16" y="90"/>
                  </a:lnTo>
                  <a:lnTo>
                    <a:pt x="12" y="99"/>
                  </a:lnTo>
                  <a:lnTo>
                    <a:pt x="8" y="110"/>
                  </a:lnTo>
                  <a:lnTo>
                    <a:pt x="6" y="120"/>
                  </a:lnTo>
                  <a:lnTo>
                    <a:pt x="4" y="131"/>
                  </a:lnTo>
                  <a:lnTo>
                    <a:pt x="2" y="142"/>
                  </a:lnTo>
                  <a:lnTo>
                    <a:pt x="2" y="153"/>
                  </a:lnTo>
                  <a:lnTo>
                    <a:pt x="2" y="163"/>
                  </a:lnTo>
                  <a:lnTo>
                    <a:pt x="2" y="220"/>
                  </a:lnTo>
                  <a:lnTo>
                    <a:pt x="2" y="277"/>
                  </a:lnTo>
                  <a:lnTo>
                    <a:pt x="0" y="334"/>
                  </a:lnTo>
                  <a:lnTo>
                    <a:pt x="0" y="390"/>
                  </a:lnTo>
                  <a:lnTo>
                    <a:pt x="0" y="448"/>
                  </a:lnTo>
                  <a:lnTo>
                    <a:pt x="2" y="504"/>
                  </a:lnTo>
                  <a:lnTo>
                    <a:pt x="2" y="562"/>
                  </a:lnTo>
                  <a:lnTo>
                    <a:pt x="2" y="618"/>
                  </a:lnTo>
                  <a:lnTo>
                    <a:pt x="2" y="629"/>
                  </a:lnTo>
                  <a:lnTo>
                    <a:pt x="4" y="638"/>
                  </a:lnTo>
                  <a:lnTo>
                    <a:pt x="7" y="649"/>
                  </a:lnTo>
                  <a:lnTo>
                    <a:pt x="12" y="658"/>
                  </a:lnTo>
                  <a:lnTo>
                    <a:pt x="19" y="665"/>
                  </a:lnTo>
                  <a:lnTo>
                    <a:pt x="28" y="672"/>
                  </a:lnTo>
                  <a:lnTo>
                    <a:pt x="32" y="673"/>
                  </a:lnTo>
                  <a:lnTo>
                    <a:pt x="38" y="676"/>
                  </a:lnTo>
                  <a:lnTo>
                    <a:pt x="42" y="676"/>
                  </a:lnTo>
                  <a:lnTo>
                    <a:pt x="47" y="676"/>
                  </a:lnTo>
                  <a:lnTo>
                    <a:pt x="57" y="677"/>
                  </a:lnTo>
                  <a:lnTo>
                    <a:pt x="65" y="677"/>
                  </a:lnTo>
                  <a:lnTo>
                    <a:pt x="73" y="676"/>
                  </a:lnTo>
                  <a:lnTo>
                    <a:pt x="79" y="672"/>
                  </a:lnTo>
                  <a:lnTo>
                    <a:pt x="86" y="667"/>
                  </a:lnTo>
                  <a:lnTo>
                    <a:pt x="91" y="663"/>
                  </a:lnTo>
                  <a:lnTo>
                    <a:pt x="97" y="657"/>
                  </a:lnTo>
                  <a:lnTo>
                    <a:pt x="101" y="650"/>
                  </a:lnTo>
                  <a:lnTo>
                    <a:pt x="109" y="635"/>
                  </a:lnTo>
                  <a:lnTo>
                    <a:pt x="114" y="619"/>
                  </a:lnTo>
                  <a:lnTo>
                    <a:pt x="117" y="602"/>
                  </a:lnTo>
                  <a:lnTo>
                    <a:pt x="117" y="587"/>
                  </a:lnTo>
                  <a:lnTo>
                    <a:pt x="118" y="541"/>
                  </a:lnTo>
                  <a:lnTo>
                    <a:pt x="118" y="497"/>
                  </a:lnTo>
                  <a:lnTo>
                    <a:pt x="118" y="452"/>
                  </a:lnTo>
                  <a:lnTo>
                    <a:pt x="117" y="407"/>
                  </a:lnTo>
                  <a:lnTo>
                    <a:pt x="117" y="362"/>
                  </a:lnTo>
                  <a:lnTo>
                    <a:pt x="117" y="318"/>
                  </a:lnTo>
                  <a:lnTo>
                    <a:pt x="118" y="273"/>
                  </a:lnTo>
                  <a:lnTo>
                    <a:pt x="118" y="228"/>
                  </a:lnTo>
                  <a:lnTo>
                    <a:pt x="136" y="228"/>
                  </a:lnTo>
                  <a:lnTo>
                    <a:pt x="152" y="228"/>
                  </a:lnTo>
                  <a:lnTo>
                    <a:pt x="153" y="296"/>
                  </a:lnTo>
                  <a:lnTo>
                    <a:pt x="153" y="363"/>
                  </a:lnTo>
                  <a:lnTo>
                    <a:pt x="153" y="430"/>
                  </a:lnTo>
                  <a:lnTo>
                    <a:pt x="153" y="499"/>
                  </a:lnTo>
                  <a:lnTo>
                    <a:pt x="153" y="566"/>
                  </a:lnTo>
                  <a:lnTo>
                    <a:pt x="153" y="634"/>
                  </a:lnTo>
                  <a:lnTo>
                    <a:pt x="153" y="701"/>
                  </a:lnTo>
                  <a:lnTo>
                    <a:pt x="153" y="769"/>
                  </a:lnTo>
                  <a:lnTo>
                    <a:pt x="153" y="836"/>
                  </a:lnTo>
                  <a:lnTo>
                    <a:pt x="153" y="903"/>
                  </a:lnTo>
                  <a:lnTo>
                    <a:pt x="153" y="972"/>
                  </a:lnTo>
                  <a:lnTo>
                    <a:pt x="153" y="1039"/>
                  </a:lnTo>
                  <a:lnTo>
                    <a:pt x="153" y="1107"/>
                  </a:lnTo>
                  <a:lnTo>
                    <a:pt x="153" y="1174"/>
                  </a:lnTo>
                  <a:lnTo>
                    <a:pt x="153" y="1243"/>
                  </a:lnTo>
                  <a:lnTo>
                    <a:pt x="154" y="1310"/>
                  </a:lnTo>
                  <a:lnTo>
                    <a:pt x="154" y="1323"/>
                  </a:lnTo>
                  <a:lnTo>
                    <a:pt x="157" y="1335"/>
                  </a:lnTo>
                  <a:lnTo>
                    <a:pt x="161" y="1346"/>
                  </a:lnTo>
                  <a:lnTo>
                    <a:pt x="168" y="1355"/>
                  </a:lnTo>
                  <a:lnTo>
                    <a:pt x="175" y="1363"/>
                  </a:lnTo>
                  <a:lnTo>
                    <a:pt x="184" y="1370"/>
                  </a:lnTo>
                  <a:lnTo>
                    <a:pt x="193" y="1375"/>
                  </a:lnTo>
                  <a:lnTo>
                    <a:pt x="204" y="1379"/>
                  </a:lnTo>
                  <a:lnTo>
                    <a:pt x="215" y="1382"/>
                  </a:lnTo>
                  <a:lnTo>
                    <a:pt x="227" y="1383"/>
                  </a:lnTo>
                  <a:lnTo>
                    <a:pt x="239" y="1383"/>
                  </a:lnTo>
                  <a:lnTo>
                    <a:pt x="251" y="1382"/>
                  </a:lnTo>
                  <a:lnTo>
                    <a:pt x="262" y="1379"/>
                  </a:lnTo>
                  <a:lnTo>
                    <a:pt x="274" y="1375"/>
                  </a:lnTo>
                  <a:lnTo>
                    <a:pt x="283" y="1370"/>
                  </a:lnTo>
                  <a:lnTo>
                    <a:pt x="294" y="1363"/>
                  </a:lnTo>
                  <a:lnTo>
                    <a:pt x="299" y="1349"/>
                  </a:lnTo>
                  <a:lnTo>
                    <a:pt x="303" y="1334"/>
                  </a:lnTo>
                  <a:lnTo>
                    <a:pt x="306" y="1319"/>
                  </a:lnTo>
                  <a:lnTo>
                    <a:pt x="309" y="1303"/>
                  </a:lnTo>
                  <a:lnTo>
                    <a:pt x="311" y="1272"/>
                  </a:lnTo>
                  <a:lnTo>
                    <a:pt x="313" y="1241"/>
                  </a:lnTo>
                  <a:lnTo>
                    <a:pt x="313" y="1170"/>
                  </a:lnTo>
                  <a:lnTo>
                    <a:pt x="311" y="1101"/>
                  </a:lnTo>
                  <a:lnTo>
                    <a:pt x="311" y="1030"/>
                  </a:lnTo>
                  <a:lnTo>
                    <a:pt x="311" y="958"/>
                  </a:lnTo>
                  <a:lnTo>
                    <a:pt x="311" y="887"/>
                  </a:lnTo>
                  <a:lnTo>
                    <a:pt x="313" y="816"/>
                  </a:lnTo>
                  <a:lnTo>
                    <a:pt x="313" y="745"/>
                  </a:lnTo>
                  <a:lnTo>
                    <a:pt x="313" y="674"/>
                  </a:lnTo>
                  <a:lnTo>
                    <a:pt x="330" y="674"/>
                  </a:lnTo>
                  <a:lnTo>
                    <a:pt x="347" y="674"/>
                  </a:lnTo>
                  <a:lnTo>
                    <a:pt x="347" y="756"/>
                  </a:lnTo>
                  <a:lnTo>
                    <a:pt x="347" y="838"/>
                  </a:lnTo>
                  <a:lnTo>
                    <a:pt x="347" y="918"/>
                  </a:lnTo>
                  <a:lnTo>
                    <a:pt x="347" y="1000"/>
                  </a:lnTo>
                  <a:lnTo>
                    <a:pt x="347" y="1082"/>
                  </a:lnTo>
                  <a:lnTo>
                    <a:pt x="347" y="1162"/>
                  </a:lnTo>
                  <a:lnTo>
                    <a:pt x="347" y="1244"/>
                  </a:lnTo>
                  <a:lnTo>
                    <a:pt x="349" y="1324"/>
                  </a:lnTo>
                  <a:lnTo>
                    <a:pt x="350" y="1333"/>
                  </a:lnTo>
                  <a:lnTo>
                    <a:pt x="351" y="1341"/>
                  </a:lnTo>
                  <a:lnTo>
                    <a:pt x="354" y="1347"/>
                  </a:lnTo>
                  <a:lnTo>
                    <a:pt x="357" y="1354"/>
                  </a:lnTo>
                  <a:lnTo>
                    <a:pt x="361" y="1359"/>
                  </a:lnTo>
                  <a:lnTo>
                    <a:pt x="366" y="1363"/>
                  </a:lnTo>
                  <a:lnTo>
                    <a:pt x="370" y="1369"/>
                  </a:lnTo>
                  <a:lnTo>
                    <a:pt x="377" y="1373"/>
                  </a:lnTo>
                  <a:lnTo>
                    <a:pt x="388" y="1378"/>
                  </a:lnTo>
                  <a:lnTo>
                    <a:pt x="401" y="1382"/>
                  </a:lnTo>
                  <a:lnTo>
                    <a:pt x="416" y="1383"/>
                  </a:lnTo>
                  <a:lnTo>
                    <a:pt x="429" y="1382"/>
                  </a:lnTo>
                  <a:lnTo>
                    <a:pt x="444" y="1379"/>
                  </a:lnTo>
                  <a:lnTo>
                    <a:pt x="457" y="1375"/>
                  </a:lnTo>
                  <a:lnTo>
                    <a:pt x="469" y="1369"/>
                  </a:lnTo>
                  <a:lnTo>
                    <a:pt x="480" y="1359"/>
                  </a:lnTo>
                  <a:lnTo>
                    <a:pt x="484" y="1355"/>
                  </a:lnTo>
                  <a:lnTo>
                    <a:pt x="488" y="1350"/>
                  </a:lnTo>
                  <a:lnTo>
                    <a:pt x="492" y="1343"/>
                  </a:lnTo>
                  <a:lnTo>
                    <a:pt x="495" y="1338"/>
                  </a:lnTo>
                  <a:lnTo>
                    <a:pt x="496" y="1331"/>
                  </a:lnTo>
                  <a:lnTo>
                    <a:pt x="498" y="1323"/>
                  </a:lnTo>
                  <a:lnTo>
                    <a:pt x="499" y="1316"/>
                  </a:lnTo>
                  <a:lnTo>
                    <a:pt x="498" y="1308"/>
                  </a:lnTo>
                  <a:lnTo>
                    <a:pt x="499" y="1240"/>
                  </a:lnTo>
                  <a:lnTo>
                    <a:pt x="499" y="1173"/>
                  </a:lnTo>
                  <a:lnTo>
                    <a:pt x="499" y="1106"/>
                  </a:lnTo>
                  <a:lnTo>
                    <a:pt x="499" y="1038"/>
                  </a:lnTo>
                  <a:lnTo>
                    <a:pt x="499" y="971"/>
                  </a:lnTo>
                  <a:lnTo>
                    <a:pt x="499" y="902"/>
                  </a:lnTo>
                  <a:lnTo>
                    <a:pt x="499" y="835"/>
                  </a:lnTo>
                  <a:lnTo>
                    <a:pt x="499" y="767"/>
                  </a:lnTo>
                  <a:lnTo>
                    <a:pt x="499" y="700"/>
                  </a:lnTo>
                  <a:lnTo>
                    <a:pt x="499" y="633"/>
                  </a:lnTo>
                  <a:lnTo>
                    <a:pt x="499" y="564"/>
                  </a:lnTo>
                  <a:lnTo>
                    <a:pt x="499" y="497"/>
                  </a:lnTo>
                  <a:lnTo>
                    <a:pt x="499" y="429"/>
                  </a:lnTo>
                  <a:lnTo>
                    <a:pt x="499" y="362"/>
                  </a:lnTo>
                  <a:lnTo>
                    <a:pt x="499" y="293"/>
                  </a:lnTo>
                  <a:lnTo>
                    <a:pt x="499" y="226"/>
                  </a:lnTo>
                  <a:lnTo>
                    <a:pt x="510" y="226"/>
                  </a:lnTo>
                  <a:lnTo>
                    <a:pt x="520" y="226"/>
                  </a:lnTo>
                  <a:lnTo>
                    <a:pt x="532" y="226"/>
                  </a:lnTo>
                  <a:lnTo>
                    <a:pt x="542" y="225"/>
                  </a:lnTo>
                  <a:lnTo>
                    <a:pt x="542" y="273"/>
                  </a:lnTo>
                  <a:lnTo>
                    <a:pt x="542" y="320"/>
                  </a:lnTo>
                  <a:lnTo>
                    <a:pt x="542" y="367"/>
                  </a:lnTo>
                  <a:lnTo>
                    <a:pt x="542" y="414"/>
                  </a:lnTo>
                  <a:lnTo>
                    <a:pt x="542" y="461"/>
                  </a:lnTo>
                  <a:lnTo>
                    <a:pt x="542" y="508"/>
                  </a:lnTo>
                  <a:lnTo>
                    <a:pt x="542" y="556"/>
                  </a:lnTo>
                  <a:lnTo>
                    <a:pt x="542" y="603"/>
                  </a:lnTo>
                  <a:lnTo>
                    <a:pt x="543" y="617"/>
                  </a:lnTo>
                  <a:lnTo>
                    <a:pt x="546" y="631"/>
                  </a:lnTo>
                  <a:lnTo>
                    <a:pt x="553" y="645"/>
                  </a:lnTo>
                  <a:lnTo>
                    <a:pt x="561" y="657"/>
                  </a:lnTo>
                  <a:lnTo>
                    <a:pt x="565" y="662"/>
                  </a:lnTo>
                  <a:lnTo>
                    <a:pt x="570" y="667"/>
                  </a:lnTo>
                  <a:lnTo>
                    <a:pt x="577" y="670"/>
                  </a:lnTo>
                  <a:lnTo>
                    <a:pt x="582" y="674"/>
                  </a:lnTo>
                  <a:lnTo>
                    <a:pt x="589" y="676"/>
                  </a:lnTo>
                  <a:lnTo>
                    <a:pt x="597" y="677"/>
                  </a:lnTo>
                  <a:lnTo>
                    <a:pt x="604" y="677"/>
                  </a:lnTo>
                  <a:lnTo>
                    <a:pt x="612" y="676"/>
                  </a:lnTo>
                  <a:lnTo>
                    <a:pt x="618" y="676"/>
                  </a:lnTo>
                  <a:lnTo>
                    <a:pt x="624" y="674"/>
                  </a:lnTo>
                  <a:lnTo>
                    <a:pt x="629" y="672"/>
                  </a:lnTo>
                  <a:lnTo>
                    <a:pt x="634" y="669"/>
                  </a:lnTo>
                  <a:lnTo>
                    <a:pt x="638" y="665"/>
                  </a:lnTo>
                  <a:lnTo>
                    <a:pt x="642" y="661"/>
                  </a:lnTo>
                  <a:lnTo>
                    <a:pt x="645" y="655"/>
                  </a:lnTo>
                  <a:lnTo>
                    <a:pt x="649" y="650"/>
                  </a:lnTo>
                  <a:lnTo>
                    <a:pt x="653" y="639"/>
                  </a:lnTo>
                  <a:lnTo>
                    <a:pt x="656" y="627"/>
                  </a:lnTo>
                  <a:lnTo>
                    <a:pt x="658" y="615"/>
                  </a:lnTo>
                  <a:lnTo>
                    <a:pt x="658" y="603"/>
                  </a:lnTo>
                  <a:lnTo>
                    <a:pt x="658" y="555"/>
                  </a:lnTo>
                  <a:lnTo>
                    <a:pt x="658" y="505"/>
                  </a:lnTo>
                  <a:lnTo>
                    <a:pt x="658" y="457"/>
                  </a:lnTo>
                  <a:lnTo>
                    <a:pt x="658" y="409"/>
                  </a:lnTo>
                  <a:lnTo>
                    <a:pt x="658" y="360"/>
                  </a:lnTo>
                  <a:lnTo>
                    <a:pt x="658" y="311"/>
                  </a:lnTo>
                  <a:lnTo>
                    <a:pt x="658" y="263"/>
                  </a:lnTo>
                  <a:lnTo>
                    <a:pt x="658" y="214"/>
                  </a:lnTo>
                  <a:lnTo>
                    <a:pt x="658" y="192"/>
                  </a:lnTo>
                  <a:lnTo>
                    <a:pt x="657" y="169"/>
                  </a:lnTo>
                  <a:lnTo>
                    <a:pt x="654" y="146"/>
                  </a:lnTo>
                  <a:lnTo>
                    <a:pt x="650" y="123"/>
                  </a:lnTo>
                  <a:lnTo>
                    <a:pt x="648" y="111"/>
                  </a:lnTo>
                  <a:lnTo>
                    <a:pt x="644" y="100"/>
                  </a:lnTo>
                  <a:lnTo>
                    <a:pt x="640" y="90"/>
                  </a:lnTo>
                  <a:lnTo>
                    <a:pt x="634" y="80"/>
                  </a:lnTo>
                  <a:lnTo>
                    <a:pt x="629" y="71"/>
                  </a:lnTo>
                  <a:lnTo>
                    <a:pt x="622" y="61"/>
                  </a:lnTo>
                  <a:lnTo>
                    <a:pt x="614" y="53"/>
                  </a:lnTo>
                  <a:lnTo>
                    <a:pt x="605" y="45"/>
                  </a:lnTo>
                  <a:close/>
                </a:path>
              </a:pathLst>
            </a:custGeom>
            <a:grpFill/>
            <a:ln w="9525">
              <a:noFill/>
              <a:round/>
            </a:ln>
          </p:spPr>
          <p:txBody>
            <a:bodyPr vert="horz" wrap="square" lIns="91440" tIns="45720" rIns="91440" bIns="45720" numCol="1" anchor="t" anchorCtr="0" compatLnSpc="1"/>
            <a:lstStyle/>
            <a:p>
              <a:endParaRPr lang="en-US"/>
            </a:p>
          </p:txBody>
        </p:sp>
      </p:grpSp>
      <p:grpSp>
        <p:nvGrpSpPr>
          <p:cNvPr id="131" name="Group 130"/>
          <p:cNvGrpSpPr/>
          <p:nvPr/>
        </p:nvGrpSpPr>
        <p:grpSpPr>
          <a:xfrm>
            <a:off x="5413151" y="4525489"/>
            <a:ext cx="271137" cy="607684"/>
            <a:chOff x="3327401" y="4335463"/>
            <a:chExt cx="407988" cy="914400"/>
          </a:xfrm>
          <a:solidFill>
            <a:schemeClr val="tx1">
              <a:lumMod val="85000"/>
              <a:lumOff val="15000"/>
            </a:schemeClr>
          </a:solidFill>
        </p:grpSpPr>
        <p:sp>
          <p:nvSpPr>
            <p:cNvPr id="132" name="Freeform 58"/>
            <p:cNvSpPr/>
            <p:nvPr/>
          </p:nvSpPr>
          <p:spPr bwMode="auto">
            <a:xfrm>
              <a:off x="3455988" y="4335463"/>
              <a:ext cx="149225" cy="147638"/>
            </a:xfrm>
            <a:custGeom>
              <a:avLst/>
              <a:gdLst>
                <a:gd name="T0" fmla="*/ 283 w 283"/>
                <a:gd name="T1" fmla="*/ 144 h 278"/>
                <a:gd name="T2" fmla="*/ 280 w 283"/>
                <a:gd name="T3" fmla="*/ 111 h 278"/>
                <a:gd name="T4" fmla="*/ 270 w 283"/>
                <a:gd name="T5" fmla="*/ 80 h 278"/>
                <a:gd name="T6" fmla="*/ 251 w 283"/>
                <a:gd name="T7" fmla="*/ 52 h 278"/>
                <a:gd name="T8" fmla="*/ 227 w 283"/>
                <a:gd name="T9" fmla="*/ 29 h 278"/>
                <a:gd name="T10" fmla="*/ 197 w 283"/>
                <a:gd name="T11" fmla="*/ 12 h 278"/>
                <a:gd name="T12" fmla="*/ 165 w 283"/>
                <a:gd name="T13" fmla="*/ 1 h 278"/>
                <a:gd name="T14" fmla="*/ 132 w 283"/>
                <a:gd name="T15" fmla="*/ 0 h 278"/>
                <a:gd name="T16" fmla="*/ 97 w 283"/>
                <a:gd name="T17" fmla="*/ 6 h 278"/>
                <a:gd name="T18" fmla="*/ 66 w 283"/>
                <a:gd name="T19" fmla="*/ 24 h 278"/>
                <a:gd name="T20" fmla="*/ 39 w 283"/>
                <a:gd name="T21" fmla="*/ 46 h 278"/>
                <a:gd name="T22" fmla="*/ 19 w 283"/>
                <a:gd name="T23" fmla="*/ 76 h 278"/>
                <a:gd name="T24" fmla="*/ 6 w 283"/>
                <a:gd name="T25" fmla="*/ 108 h 278"/>
                <a:gd name="T26" fmla="*/ 0 w 283"/>
                <a:gd name="T27" fmla="*/ 142 h 278"/>
                <a:gd name="T28" fmla="*/ 4 w 283"/>
                <a:gd name="T29" fmla="*/ 177 h 278"/>
                <a:gd name="T30" fmla="*/ 14 w 283"/>
                <a:gd name="T31" fmla="*/ 201 h 278"/>
                <a:gd name="T32" fmla="*/ 23 w 283"/>
                <a:gd name="T33" fmla="*/ 217 h 278"/>
                <a:gd name="T34" fmla="*/ 35 w 283"/>
                <a:gd name="T35" fmla="*/ 233 h 278"/>
                <a:gd name="T36" fmla="*/ 50 w 283"/>
                <a:gd name="T37" fmla="*/ 248 h 278"/>
                <a:gd name="T38" fmla="*/ 67 w 283"/>
                <a:gd name="T39" fmla="*/ 260 h 278"/>
                <a:gd name="T40" fmla="*/ 86 w 283"/>
                <a:gd name="T41" fmla="*/ 268 h 278"/>
                <a:gd name="T42" fmla="*/ 105 w 283"/>
                <a:gd name="T43" fmla="*/ 274 h 278"/>
                <a:gd name="T44" fmla="*/ 125 w 283"/>
                <a:gd name="T45" fmla="*/ 278 h 278"/>
                <a:gd name="T46" fmla="*/ 157 w 283"/>
                <a:gd name="T47" fmla="*/ 278 h 278"/>
                <a:gd name="T48" fmla="*/ 187 w 283"/>
                <a:gd name="T49" fmla="*/ 272 h 278"/>
                <a:gd name="T50" fmla="*/ 207 w 283"/>
                <a:gd name="T51" fmla="*/ 265 h 278"/>
                <a:gd name="T52" fmla="*/ 224 w 283"/>
                <a:gd name="T53" fmla="*/ 256 h 278"/>
                <a:gd name="T54" fmla="*/ 240 w 283"/>
                <a:gd name="T55" fmla="*/ 244 h 278"/>
                <a:gd name="T56" fmla="*/ 255 w 283"/>
                <a:gd name="T57" fmla="*/ 229 h 278"/>
                <a:gd name="T58" fmla="*/ 266 w 283"/>
                <a:gd name="T59" fmla="*/ 213 h 278"/>
                <a:gd name="T60" fmla="*/ 275 w 283"/>
                <a:gd name="T61" fmla="*/ 194 h 278"/>
                <a:gd name="T62" fmla="*/ 280 w 283"/>
                <a:gd name="T63" fmla="*/ 17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3" h="278">
                  <a:moveTo>
                    <a:pt x="282" y="162"/>
                  </a:moveTo>
                  <a:lnTo>
                    <a:pt x="283" y="144"/>
                  </a:lnTo>
                  <a:lnTo>
                    <a:pt x="283" y="128"/>
                  </a:lnTo>
                  <a:lnTo>
                    <a:pt x="280" y="111"/>
                  </a:lnTo>
                  <a:lnTo>
                    <a:pt x="276" y="95"/>
                  </a:lnTo>
                  <a:lnTo>
                    <a:pt x="270" y="80"/>
                  </a:lnTo>
                  <a:lnTo>
                    <a:pt x="262" y="65"/>
                  </a:lnTo>
                  <a:lnTo>
                    <a:pt x="251" y="52"/>
                  </a:lnTo>
                  <a:lnTo>
                    <a:pt x="239" y="40"/>
                  </a:lnTo>
                  <a:lnTo>
                    <a:pt x="227" y="29"/>
                  </a:lnTo>
                  <a:lnTo>
                    <a:pt x="212" y="20"/>
                  </a:lnTo>
                  <a:lnTo>
                    <a:pt x="197" y="12"/>
                  </a:lnTo>
                  <a:lnTo>
                    <a:pt x="181" y="5"/>
                  </a:lnTo>
                  <a:lnTo>
                    <a:pt x="165" y="1"/>
                  </a:lnTo>
                  <a:lnTo>
                    <a:pt x="149" y="0"/>
                  </a:lnTo>
                  <a:lnTo>
                    <a:pt x="132" y="0"/>
                  </a:lnTo>
                  <a:lnTo>
                    <a:pt x="114" y="2"/>
                  </a:lnTo>
                  <a:lnTo>
                    <a:pt x="97" y="6"/>
                  </a:lnTo>
                  <a:lnTo>
                    <a:pt x="81" y="14"/>
                  </a:lnTo>
                  <a:lnTo>
                    <a:pt x="66" y="24"/>
                  </a:lnTo>
                  <a:lnTo>
                    <a:pt x="52" y="34"/>
                  </a:lnTo>
                  <a:lnTo>
                    <a:pt x="39" y="46"/>
                  </a:lnTo>
                  <a:lnTo>
                    <a:pt x="28" y="60"/>
                  </a:lnTo>
                  <a:lnTo>
                    <a:pt x="19" y="76"/>
                  </a:lnTo>
                  <a:lnTo>
                    <a:pt x="12" y="91"/>
                  </a:lnTo>
                  <a:lnTo>
                    <a:pt x="6" y="108"/>
                  </a:lnTo>
                  <a:lnTo>
                    <a:pt x="3" y="124"/>
                  </a:lnTo>
                  <a:lnTo>
                    <a:pt x="0" y="142"/>
                  </a:lnTo>
                  <a:lnTo>
                    <a:pt x="2" y="159"/>
                  </a:lnTo>
                  <a:lnTo>
                    <a:pt x="4" y="177"/>
                  </a:lnTo>
                  <a:lnTo>
                    <a:pt x="10" y="193"/>
                  </a:lnTo>
                  <a:lnTo>
                    <a:pt x="14" y="201"/>
                  </a:lnTo>
                  <a:lnTo>
                    <a:pt x="18" y="209"/>
                  </a:lnTo>
                  <a:lnTo>
                    <a:pt x="23" y="217"/>
                  </a:lnTo>
                  <a:lnTo>
                    <a:pt x="30" y="223"/>
                  </a:lnTo>
                  <a:lnTo>
                    <a:pt x="35" y="233"/>
                  </a:lnTo>
                  <a:lnTo>
                    <a:pt x="43" y="240"/>
                  </a:lnTo>
                  <a:lnTo>
                    <a:pt x="50" y="248"/>
                  </a:lnTo>
                  <a:lnTo>
                    <a:pt x="59" y="254"/>
                  </a:lnTo>
                  <a:lnTo>
                    <a:pt x="67" y="260"/>
                  </a:lnTo>
                  <a:lnTo>
                    <a:pt x="77" y="264"/>
                  </a:lnTo>
                  <a:lnTo>
                    <a:pt x="86" y="268"/>
                  </a:lnTo>
                  <a:lnTo>
                    <a:pt x="95" y="272"/>
                  </a:lnTo>
                  <a:lnTo>
                    <a:pt x="105" y="274"/>
                  </a:lnTo>
                  <a:lnTo>
                    <a:pt x="115" y="277"/>
                  </a:lnTo>
                  <a:lnTo>
                    <a:pt x="125" y="278"/>
                  </a:lnTo>
                  <a:lnTo>
                    <a:pt x="136" y="278"/>
                  </a:lnTo>
                  <a:lnTo>
                    <a:pt x="157" y="278"/>
                  </a:lnTo>
                  <a:lnTo>
                    <a:pt x="177" y="274"/>
                  </a:lnTo>
                  <a:lnTo>
                    <a:pt x="187" y="272"/>
                  </a:lnTo>
                  <a:lnTo>
                    <a:pt x="197" y="269"/>
                  </a:lnTo>
                  <a:lnTo>
                    <a:pt x="207" y="265"/>
                  </a:lnTo>
                  <a:lnTo>
                    <a:pt x="215" y="261"/>
                  </a:lnTo>
                  <a:lnTo>
                    <a:pt x="224" y="256"/>
                  </a:lnTo>
                  <a:lnTo>
                    <a:pt x="232" y="250"/>
                  </a:lnTo>
                  <a:lnTo>
                    <a:pt x="240" y="244"/>
                  </a:lnTo>
                  <a:lnTo>
                    <a:pt x="248" y="237"/>
                  </a:lnTo>
                  <a:lnTo>
                    <a:pt x="255" y="229"/>
                  </a:lnTo>
                  <a:lnTo>
                    <a:pt x="260" y="221"/>
                  </a:lnTo>
                  <a:lnTo>
                    <a:pt x="266" y="213"/>
                  </a:lnTo>
                  <a:lnTo>
                    <a:pt x="271" y="203"/>
                  </a:lnTo>
                  <a:lnTo>
                    <a:pt x="275" y="194"/>
                  </a:lnTo>
                  <a:lnTo>
                    <a:pt x="278" y="185"/>
                  </a:lnTo>
                  <a:lnTo>
                    <a:pt x="280" y="174"/>
                  </a:lnTo>
                  <a:lnTo>
                    <a:pt x="282" y="162"/>
                  </a:lnTo>
                  <a:close/>
                </a:path>
              </a:pathLst>
            </a:custGeom>
            <a:grpFill/>
            <a:ln w="9525">
              <a:noFill/>
              <a:round/>
            </a:ln>
          </p:spPr>
          <p:txBody>
            <a:bodyPr vert="horz" wrap="square" lIns="91440" tIns="45720" rIns="91440" bIns="45720" numCol="1" anchor="t" anchorCtr="0" compatLnSpc="1"/>
            <a:lstStyle/>
            <a:p>
              <a:endParaRPr lang="en-US"/>
            </a:p>
          </p:txBody>
        </p:sp>
        <p:sp>
          <p:nvSpPr>
            <p:cNvPr id="133" name="Freeform 59"/>
            <p:cNvSpPr/>
            <p:nvPr/>
          </p:nvSpPr>
          <p:spPr bwMode="auto">
            <a:xfrm>
              <a:off x="3327401" y="4506913"/>
              <a:ext cx="407988" cy="742950"/>
            </a:xfrm>
            <a:custGeom>
              <a:avLst/>
              <a:gdLst>
                <a:gd name="T0" fmla="*/ 690 w 770"/>
                <a:gd name="T1" fmla="*/ 245 h 1403"/>
                <a:gd name="T2" fmla="*/ 650 w 770"/>
                <a:gd name="T3" fmla="*/ 122 h 1403"/>
                <a:gd name="T4" fmla="*/ 616 w 770"/>
                <a:gd name="T5" fmla="*/ 60 h 1403"/>
                <a:gd name="T6" fmla="*/ 573 w 770"/>
                <a:gd name="T7" fmla="*/ 25 h 1403"/>
                <a:gd name="T8" fmla="*/ 521 w 770"/>
                <a:gd name="T9" fmla="*/ 6 h 1403"/>
                <a:gd name="T10" fmla="*/ 451 w 770"/>
                <a:gd name="T11" fmla="*/ 0 h 1403"/>
                <a:gd name="T12" fmla="*/ 323 w 770"/>
                <a:gd name="T13" fmla="*/ 0 h 1403"/>
                <a:gd name="T14" fmla="*/ 238 w 770"/>
                <a:gd name="T15" fmla="*/ 8 h 1403"/>
                <a:gd name="T16" fmla="*/ 178 w 770"/>
                <a:gd name="T17" fmla="*/ 36 h 1403"/>
                <a:gd name="T18" fmla="*/ 135 w 770"/>
                <a:gd name="T19" fmla="*/ 88 h 1403"/>
                <a:gd name="T20" fmla="*/ 95 w 770"/>
                <a:gd name="T21" fmla="*/ 197 h 1403"/>
                <a:gd name="T22" fmla="*/ 59 w 770"/>
                <a:gd name="T23" fmla="*/ 325 h 1403"/>
                <a:gd name="T24" fmla="*/ 20 w 770"/>
                <a:gd name="T25" fmla="*/ 457 h 1403"/>
                <a:gd name="T26" fmla="*/ 1 w 770"/>
                <a:gd name="T27" fmla="*/ 568 h 1403"/>
                <a:gd name="T28" fmla="*/ 24 w 770"/>
                <a:gd name="T29" fmla="*/ 596 h 1403"/>
                <a:gd name="T30" fmla="*/ 60 w 770"/>
                <a:gd name="T31" fmla="*/ 603 h 1403"/>
                <a:gd name="T32" fmla="*/ 95 w 770"/>
                <a:gd name="T33" fmla="*/ 590 h 1403"/>
                <a:gd name="T34" fmla="*/ 124 w 770"/>
                <a:gd name="T35" fmla="*/ 521 h 1403"/>
                <a:gd name="T36" fmla="*/ 175 w 770"/>
                <a:gd name="T37" fmla="*/ 342 h 1403"/>
                <a:gd name="T38" fmla="*/ 229 w 770"/>
                <a:gd name="T39" fmla="*/ 199 h 1403"/>
                <a:gd name="T40" fmla="*/ 181 w 770"/>
                <a:gd name="T41" fmla="*/ 437 h 1403"/>
                <a:gd name="T42" fmla="*/ 96 w 770"/>
                <a:gd name="T43" fmla="*/ 765 h 1403"/>
                <a:gd name="T44" fmla="*/ 202 w 770"/>
                <a:gd name="T45" fmla="*/ 848 h 1403"/>
                <a:gd name="T46" fmla="*/ 244 w 770"/>
                <a:gd name="T47" fmla="*/ 1035 h 1403"/>
                <a:gd name="T48" fmla="*/ 244 w 770"/>
                <a:gd name="T49" fmla="*/ 1284 h 1403"/>
                <a:gd name="T50" fmla="*/ 258 w 770"/>
                <a:gd name="T51" fmla="*/ 1379 h 1403"/>
                <a:gd name="T52" fmla="*/ 297 w 770"/>
                <a:gd name="T53" fmla="*/ 1401 h 1403"/>
                <a:gd name="T54" fmla="*/ 340 w 770"/>
                <a:gd name="T55" fmla="*/ 1394 h 1403"/>
                <a:gd name="T56" fmla="*/ 368 w 770"/>
                <a:gd name="T57" fmla="*/ 1359 h 1403"/>
                <a:gd name="T58" fmla="*/ 372 w 770"/>
                <a:gd name="T59" fmla="*/ 1159 h 1403"/>
                <a:gd name="T60" fmla="*/ 372 w 770"/>
                <a:gd name="T61" fmla="*/ 910 h 1403"/>
                <a:gd name="T62" fmla="*/ 412 w 770"/>
                <a:gd name="T63" fmla="*/ 907 h 1403"/>
                <a:gd name="T64" fmla="*/ 412 w 770"/>
                <a:gd name="T65" fmla="*/ 1149 h 1403"/>
                <a:gd name="T66" fmla="*/ 412 w 770"/>
                <a:gd name="T67" fmla="*/ 1336 h 1403"/>
                <a:gd name="T68" fmla="*/ 418 w 770"/>
                <a:gd name="T69" fmla="*/ 1363 h 1403"/>
                <a:gd name="T70" fmla="*/ 433 w 770"/>
                <a:gd name="T71" fmla="*/ 1386 h 1403"/>
                <a:gd name="T72" fmla="*/ 457 w 770"/>
                <a:gd name="T73" fmla="*/ 1401 h 1403"/>
                <a:gd name="T74" fmla="*/ 485 w 770"/>
                <a:gd name="T75" fmla="*/ 1403 h 1403"/>
                <a:gd name="T76" fmla="*/ 510 w 770"/>
                <a:gd name="T77" fmla="*/ 1393 h 1403"/>
                <a:gd name="T78" fmla="*/ 532 w 770"/>
                <a:gd name="T79" fmla="*/ 1367 h 1403"/>
                <a:gd name="T80" fmla="*/ 541 w 770"/>
                <a:gd name="T81" fmla="*/ 1267 h 1403"/>
                <a:gd name="T82" fmla="*/ 541 w 770"/>
                <a:gd name="T83" fmla="*/ 1028 h 1403"/>
                <a:gd name="T84" fmla="*/ 584 w 770"/>
                <a:gd name="T85" fmla="*/ 848 h 1403"/>
                <a:gd name="T86" fmla="*/ 686 w 770"/>
                <a:gd name="T87" fmla="*/ 764 h 1403"/>
                <a:gd name="T88" fmla="*/ 588 w 770"/>
                <a:gd name="T89" fmla="*/ 430 h 1403"/>
                <a:gd name="T90" fmla="*/ 532 w 770"/>
                <a:gd name="T91" fmla="*/ 189 h 1403"/>
                <a:gd name="T92" fmla="*/ 553 w 770"/>
                <a:gd name="T93" fmla="*/ 216 h 1403"/>
                <a:gd name="T94" fmla="*/ 596 w 770"/>
                <a:gd name="T95" fmla="*/ 352 h 1403"/>
                <a:gd name="T96" fmla="*/ 650 w 770"/>
                <a:gd name="T97" fmla="*/ 523 h 1403"/>
                <a:gd name="T98" fmla="*/ 678 w 770"/>
                <a:gd name="T99" fmla="*/ 584 h 1403"/>
                <a:gd name="T100" fmla="*/ 701 w 770"/>
                <a:gd name="T101" fmla="*/ 599 h 1403"/>
                <a:gd name="T102" fmla="*/ 752 w 770"/>
                <a:gd name="T103" fmla="*/ 599 h 1403"/>
                <a:gd name="T104" fmla="*/ 770 w 770"/>
                <a:gd name="T105" fmla="*/ 548 h 1403"/>
                <a:gd name="T106" fmla="*/ 762 w 770"/>
                <a:gd name="T107" fmla="*/ 486 h 1403"/>
                <a:gd name="T108" fmla="*/ 730 w 770"/>
                <a:gd name="T109" fmla="*/ 382 h 1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70" h="1403">
                  <a:moveTo>
                    <a:pt x="722" y="352"/>
                  </a:moveTo>
                  <a:lnTo>
                    <a:pt x="710" y="316"/>
                  </a:lnTo>
                  <a:lnTo>
                    <a:pt x="699" y="281"/>
                  </a:lnTo>
                  <a:lnTo>
                    <a:pt x="690" y="245"/>
                  </a:lnTo>
                  <a:lnTo>
                    <a:pt x="679" y="209"/>
                  </a:lnTo>
                  <a:lnTo>
                    <a:pt x="669" y="174"/>
                  </a:lnTo>
                  <a:lnTo>
                    <a:pt x="656" y="139"/>
                  </a:lnTo>
                  <a:lnTo>
                    <a:pt x="650" y="122"/>
                  </a:lnTo>
                  <a:lnTo>
                    <a:pt x="642" y="104"/>
                  </a:lnTo>
                  <a:lnTo>
                    <a:pt x="634" y="88"/>
                  </a:lnTo>
                  <a:lnTo>
                    <a:pt x="624" y="72"/>
                  </a:lnTo>
                  <a:lnTo>
                    <a:pt x="616" y="60"/>
                  </a:lnTo>
                  <a:lnTo>
                    <a:pt x="607" y="49"/>
                  </a:lnTo>
                  <a:lnTo>
                    <a:pt x="596" y="40"/>
                  </a:lnTo>
                  <a:lnTo>
                    <a:pt x="585" y="32"/>
                  </a:lnTo>
                  <a:lnTo>
                    <a:pt x="573" y="25"/>
                  </a:lnTo>
                  <a:lnTo>
                    <a:pt x="561" y="18"/>
                  </a:lnTo>
                  <a:lnTo>
                    <a:pt x="548" y="13"/>
                  </a:lnTo>
                  <a:lnTo>
                    <a:pt x="536" y="9"/>
                  </a:lnTo>
                  <a:lnTo>
                    <a:pt x="521" y="6"/>
                  </a:lnTo>
                  <a:lnTo>
                    <a:pt x="508" y="4"/>
                  </a:lnTo>
                  <a:lnTo>
                    <a:pt x="494" y="1"/>
                  </a:lnTo>
                  <a:lnTo>
                    <a:pt x="479" y="1"/>
                  </a:lnTo>
                  <a:lnTo>
                    <a:pt x="451" y="0"/>
                  </a:lnTo>
                  <a:lnTo>
                    <a:pt x="425" y="1"/>
                  </a:lnTo>
                  <a:lnTo>
                    <a:pt x="391" y="1"/>
                  </a:lnTo>
                  <a:lnTo>
                    <a:pt x="356" y="1"/>
                  </a:lnTo>
                  <a:lnTo>
                    <a:pt x="323" y="0"/>
                  </a:lnTo>
                  <a:lnTo>
                    <a:pt x="288" y="1"/>
                  </a:lnTo>
                  <a:lnTo>
                    <a:pt x="270" y="2"/>
                  </a:lnTo>
                  <a:lnTo>
                    <a:pt x="254" y="5"/>
                  </a:lnTo>
                  <a:lnTo>
                    <a:pt x="238" y="8"/>
                  </a:lnTo>
                  <a:lnTo>
                    <a:pt x="222" y="12"/>
                  </a:lnTo>
                  <a:lnTo>
                    <a:pt x="206" y="18"/>
                  </a:lnTo>
                  <a:lnTo>
                    <a:pt x="191" y="26"/>
                  </a:lnTo>
                  <a:lnTo>
                    <a:pt x="178" y="36"/>
                  </a:lnTo>
                  <a:lnTo>
                    <a:pt x="164" y="47"/>
                  </a:lnTo>
                  <a:lnTo>
                    <a:pt x="154" y="60"/>
                  </a:lnTo>
                  <a:lnTo>
                    <a:pt x="144" y="73"/>
                  </a:lnTo>
                  <a:lnTo>
                    <a:pt x="135" y="88"/>
                  </a:lnTo>
                  <a:lnTo>
                    <a:pt x="128" y="103"/>
                  </a:lnTo>
                  <a:lnTo>
                    <a:pt x="115" y="132"/>
                  </a:lnTo>
                  <a:lnTo>
                    <a:pt x="104" y="165"/>
                  </a:lnTo>
                  <a:lnTo>
                    <a:pt x="95" y="197"/>
                  </a:lnTo>
                  <a:lnTo>
                    <a:pt x="87" y="229"/>
                  </a:lnTo>
                  <a:lnTo>
                    <a:pt x="77" y="261"/>
                  </a:lnTo>
                  <a:lnTo>
                    <a:pt x="68" y="293"/>
                  </a:lnTo>
                  <a:lnTo>
                    <a:pt x="59" y="325"/>
                  </a:lnTo>
                  <a:lnTo>
                    <a:pt x="49" y="359"/>
                  </a:lnTo>
                  <a:lnTo>
                    <a:pt x="38" y="391"/>
                  </a:lnTo>
                  <a:lnTo>
                    <a:pt x="29" y="425"/>
                  </a:lnTo>
                  <a:lnTo>
                    <a:pt x="20" y="457"/>
                  </a:lnTo>
                  <a:lnTo>
                    <a:pt x="10" y="490"/>
                  </a:lnTo>
                  <a:lnTo>
                    <a:pt x="4" y="524"/>
                  </a:lnTo>
                  <a:lnTo>
                    <a:pt x="0" y="557"/>
                  </a:lnTo>
                  <a:lnTo>
                    <a:pt x="1" y="568"/>
                  </a:lnTo>
                  <a:lnTo>
                    <a:pt x="5" y="576"/>
                  </a:lnTo>
                  <a:lnTo>
                    <a:pt x="9" y="584"/>
                  </a:lnTo>
                  <a:lnTo>
                    <a:pt x="16" y="591"/>
                  </a:lnTo>
                  <a:lnTo>
                    <a:pt x="24" y="596"/>
                  </a:lnTo>
                  <a:lnTo>
                    <a:pt x="32" y="600"/>
                  </a:lnTo>
                  <a:lnTo>
                    <a:pt x="41" y="603"/>
                  </a:lnTo>
                  <a:lnTo>
                    <a:pt x="50" y="604"/>
                  </a:lnTo>
                  <a:lnTo>
                    <a:pt x="60" y="603"/>
                  </a:lnTo>
                  <a:lnTo>
                    <a:pt x="69" y="602"/>
                  </a:lnTo>
                  <a:lnTo>
                    <a:pt x="79" y="599"/>
                  </a:lnTo>
                  <a:lnTo>
                    <a:pt x="87" y="595"/>
                  </a:lnTo>
                  <a:lnTo>
                    <a:pt x="95" y="590"/>
                  </a:lnTo>
                  <a:lnTo>
                    <a:pt x="101" y="583"/>
                  </a:lnTo>
                  <a:lnTo>
                    <a:pt x="107" y="575"/>
                  </a:lnTo>
                  <a:lnTo>
                    <a:pt x="109" y="565"/>
                  </a:lnTo>
                  <a:lnTo>
                    <a:pt x="124" y="521"/>
                  </a:lnTo>
                  <a:lnTo>
                    <a:pt x="138" y="477"/>
                  </a:lnTo>
                  <a:lnTo>
                    <a:pt x="151" y="431"/>
                  </a:lnTo>
                  <a:lnTo>
                    <a:pt x="163" y="387"/>
                  </a:lnTo>
                  <a:lnTo>
                    <a:pt x="175" y="342"/>
                  </a:lnTo>
                  <a:lnTo>
                    <a:pt x="189" y="296"/>
                  </a:lnTo>
                  <a:lnTo>
                    <a:pt x="202" y="252"/>
                  </a:lnTo>
                  <a:lnTo>
                    <a:pt x="217" y="207"/>
                  </a:lnTo>
                  <a:lnTo>
                    <a:pt x="229" y="199"/>
                  </a:lnTo>
                  <a:lnTo>
                    <a:pt x="242" y="190"/>
                  </a:lnTo>
                  <a:lnTo>
                    <a:pt x="222" y="273"/>
                  </a:lnTo>
                  <a:lnTo>
                    <a:pt x="202" y="355"/>
                  </a:lnTo>
                  <a:lnTo>
                    <a:pt x="181" y="437"/>
                  </a:lnTo>
                  <a:lnTo>
                    <a:pt x="159" y="519"/>
                  </a:lnTo>
                  <a:lnTo>
                    <a:pt x="138" y="600"/>
                  </a:lnTo>
                  <a:lnTo>
                    <a:pt x="118" y="683"/>
                  </a:lnTo>
                  <a:lnTo>
                    <a:pt x="96" y="765"/>
                  </a:lnTo>
                  <a:lnTo>
                    <a:pt x="76" y="847"/>
                  </a:lnTo>
                  <a:lnTo>
                    <a:pt x="118" y="848"/>
                  </a:lnTo>
                  <a:lnTo>
                    <a:pt x="159" y="848"/>
                  </a:lnTo>
                  <a:lnTo>
                    <a:pt x="202" y="848"/>
                  </a:lnTo>
                  <a:lnTo>
                    <a:pt x="244" y="848"/>
                  </a:lnTo>
                  <a:lnTo>
                    <a:pt x="244" y="910"/>
                  </a:lnTo>
                  <a:lnTo>
                    <a:pt x="244" y="973"/>
                  </a:lnTo>
                  <a:lnTo>
                    <a:pt x="244" y="1035"/>
                  </a:lnTo>
                  <a:lnTo>
                    <a:pt x="244" y="1098"/>
                  </a:lnTo>
                  <a:lnTo>
                    <a:pt x="244" y="1159"/>
                  </a:lnTo>
                  <a:lnTo>
                    <a:pt x="244" y="1221"/>
                  </a:lnTo>
                  <a:lnTo>
                    <a:pt x="244" y="1284"/>
                  </a:lnTo>
                  <a:lnTo>
                    <a:pt x="245" y="1346"/>
                  </a:lnTo>
                  <a:lnTo>
                    <a:pt x="248" y="1359"/>
                  </a:lnTo>
                  <a:lnTo>
                    <a:pt x="252" y="1370"/>
                  </a:lnTo>
                  <a:lnTo>
                    <a:pt x="258" y="1379"/>
                  </a:lnTo>
                  <a:lnTo>
                    <a:pt x="266" y="1387"/>
                  </a:lnTo>
                  <a:lnTo>
                    <a:pt x="276" y="1394"/>
                  </a:lnTo>
                  <a:lnTo>
                    <a:pt x="286" y="1398"/>
                  </a:lnTo>
                  <a:lnTo>
                    <a:pt x="297" y="1401"/>
                  </a:lnTo>
                  <a:lnTo>
                    <a:pt x="308" y="1402"/>
                  </a:lnTo>
                  <a:lnTo>
                    <a:pt x="319" y="1401"/>
                  </a:lnTo>
                  <a:lnTo>
                    <a:pt x="329" y="1398"/>
                  </a:lnTo>
                  <a:lnTo>
                    <a:pt x="340" y="1394"/>
                  </a:lnTo>
                  <a:lnTo>
                    <a:pt x="349" y="1389"/>
                  </a:lnTo>
                  <a:lnTo>
                    <a:pt x="357" y="1381"/>
                  </a:lnTo>
                  <a:lnTo>
                    <a:pt x="363" y="1371"/>
                  </a:lnTo>
                  <a:lnTo>
                    <a:pt x="368" y="1359"/>
                  </a:lnTo>
                  <a:lnTo>
                    <a:pt x="370" y="1347"/>
                  </a:lnTo>
                  <a:lnTo>
                    <a:pt x="372" y="1284"/>
                  </a:lnTo>
                  <a:lnTo>
                    <a:pt x="372" y="1222"/>
                  </a:lnTo>
                  <a:lnTo>
                    <a:pt x="372" y="1159"/>
                  </a:lnTo>
                  <a:lnTo>
                    <a:pt x="372" y="1098"/>
                  </a:lnTo>
                  <a:lnTo>
                    <a:pt x="372" y="1035"/>
                  </a:lnTo>
                  <a:lnTo>
                    <a:pt x="372" y="973"/>
                  </a:lnTo>
                  <a:lnTo>
                    <a:pt x="372" y="910"/>
                  </a:lnTo>
                  <a:lnTo>
                    <a:pt x="372" y="848"/>
                  </a:lnTo>
                  <a:lnTo>
                    <a:pt x="392" y="847"/>
                  </a:lnTo>
                  <a:lnTo>
                    <a:pt x="411" y="847"/>
                  </a:lnTo>
                  <a:lnTo>
                    <a:pt x="412" y="907"/>
                  </a:lnTo>
                  <a:lnTo>
                    <a:pt x="412" y="968"/>
                  </a:lnTo>
                  <a:lnTo>
                    <a:pt x="412" y="1028"/>
                  </a:lnTo>
                  <a:lnTo>
                    <a:pt x="412" y="1088"/>
                  </a:lnTo>
                  <a:lnTo>
                    <a:pt x="412" y="1149"/>
                  </a:lnTo>
                  <a:lnTo>
                    <a:pt x="412" y="1209"/>
                  </a:lnTo>
                  <a:lnTo>
                    <a:pt x="412" y="1269"/>
                  </a:lnTo>
                  <a:lnTo>
                    <a:pt x="412" y="1330"/>
                  </a:lnTo>
                  <a:lnTo>
                    <a:pt x="412" y="1336"/>
                  </a:lnTo>
                  <a:lnTo>
                    <a:pt x="412" y="1343"/>
                  </a:lnTo>
                  <a:lnTo>
                    <a:pt x="414" y="1350"/>
                  </a:lnTo>
                  <a:lnTo>
                    <a:pt x="415" y="1357"/>
                  </a:lnTo>
                  <a:lnTo>
                    <a:pt x="418" y="1363"/>
                  </a:lnTo>
                  <a:lnTo>
                    <a:pt x="420" y="1370"/>
                  </a:lnTo>
                  <a:lnTo>
                    <a:pt x="425" y="1375"/>
                  </a:lnTo>
                  <a:lnTo>
                    <a:pt x="429" y="1381"/>
                  </a:lnTo>
                  <a:lnTo>
                    <a:pt x="433" y="1386"/>
                  </a:lnTo>
                  <a:lnTo>
                    <a:pt x="438" y="1391"/>
                  </a:lnTo>
                  <a:lnTo>
                    <a:pt x="443" y="1394"/>
                  </a:lnTo>
                  <a:lnTo>
                    <a:pt x="450" y="1398"/>
                  </a:lnTo>
                  <a:lnTo>
                    <a:pt x="457" y="1401"/>
                  </a:lnTo>
                  <a:lnTo>
                    <a:pt x="463" y="1402"/>
                  </a:lnTo>
                  <a:lnTo>
                    <a:pt x="470" y="1403"/>
                  </a:lnTo>
                  <a:lnTo>
                    <a:pt x="477" y="1403"/>
                  </a:lnTo>
                  <a:lnTo>
                    <a:pt x="485" y="1403"/>
                  </a:lnTo>
                  <a:lnTo>
                    <a:pt x="492" y="1402"/>
                  </a:lnTo>
                  <a:lnTo>
                    <a:pt x="498" y="1399"/>
                  </a:lnTo>
                  <a:lnTo>
                    <a:pt x="504" y="1397"/>
                  </a:lnTo>
                  <a:lnTo>
                    <a:pt x="510" y="1393"/>
                  </a:lnTo>
                  <a:lnTo>
                    <a:pt x="516" y="1389"/>
                  </a:lnTo>
                  <a:lnTo>
                    <a:pt x="520" y="1385"/>
                  </a:lnTo>
                  <a:lnTo>
                    <a:pt x="524" y="1379"/>
                  </a:lnTo>
                  <a:lnTo>
                    <a:pt x="532" y="1367"/>
                  </a:lnTo>
                  <a:lnTo>
                    <a:pt x="537" y="1354"/>
                  </a:lnTo>
                  <a:lnTo>
                    <a:pt x="540" y="1340"/>
                  </a:lnTo>
                  <a:lnTo>
                    <a:pt x="540" y="1327"/>
                  </a:lnTo>
                  <a:lnTo>
                    <a:pt x="541" y="1267"/>
                  </a:lnTo>
                  <a:lnTo>
                    <a:pt x="542" y="1208"/>
                  </a:lnTo>
                  <a:lnTo>
                    <a:pt x="542" y="1147"/>
                  </a:lnTo>
                  <a:lnTo>
                    <a:pt x="541" y="1087"/>
                  </a:lnTo>
                  <a:lnTo>
                    <a:pt x="541" y="1028"/>
                  </a:lnTo>
                  <a:lnTo>
                    <a:pt x="541" y="968"/>
                  </a:lnTo>
                  <a:lnTo>
                    <a:pt x="541" y="907"/>
                  </a:lnTo>
                  <a:lnTo>
                    <a:pt x="542" y="848"/>
                  </a:lnTo>
                  <a:lnTo>
                    <a:pt x="584" y="848"/>
                  </a:lnTo>
                  <a:lnTo>
                    <a:pt x="626" y="848"/>
                  </a:lnTo>
                  <a:lnTo>
                    <a:pt x="667" y="848"/>
                  </a:lnTo>
                  <a:lnTo>
                    <a:pt x="709" y="848"/>
                  </a:lnTo>
                  <a:lnTo>
                    <a:pt x="686" y="764"/>
                  </a:lnTo>
                  <a:lnTo>
                    <a:pt x="662" y="681"/>
                  </a:lnTo>
                  <a:lnTo>
                    <a:pt x="636" y="598"/>
                  </a:lnTo>
                  <a:lnTo>
                    <a:pt x="612" y="515"/>
                  </a:lnTo>
                  <a:lnTo>
                    <a:pt x="588" y="430"/>
                  </a:lnTo>
                  <a:lnTo>
                    <a:pt x="564" y="347"/>
                  </a:lnTo>
                  <a:lnTo>
                    <a:pt x="541" y="264"/>
                  </a:lnTo>
                  <a:lnTo>
                    <a:pt x="521" y="179"/>
                  </a:lnTo>
                  <a:lnTo>
                    <a:pt x="532" y="189"/>
                  </a:lnTo>
                  <a:lnTo>
                    <a:pt x="542" y="198"/>
                  </a:lnTo>
                  <a:lnTo>
                    <a:pt x="547" y="203"/>
                  </a:lnTo>
                  <a:lnTo>
                    <a:pt x="551" y="210"/>
                  </a:lnTo>
                  <a:lnTo>
                    <a:pt x="553" y="216"/>
                  </a:lnTo>
                  <a:lnTo>
                    <a:pt x="556" y="224"/>
                  </a:lnTo>
                  <a:lnTo>
                    <a:pt x="571" y="265"/>
                  </a:lnTo>
                  <a:lnTo>
                    <a:pt x="584" y="308"/>
                  </a:lnTo>
                  <a:lnTo>
                    <a:pt x="596" y="352"/>
                  </a:lnTo>
                  <a:lnTo>
                    <a:pt x="610" y="395"/>
                  </a:lnTo>
                  <a:lnTo>
                    <a:pt x="623" y="438"/>
                  </a:lnTo>
                  <a:lnTo>
                    <a:pt x="636" y="481"/>
                  </a:lnTo>
                  <a:lnTo>
                    <a:pt x="650" y="523"/>
                  </a:lnTo>
                  <a:lnTo>
                    <a:pt x="664" y="565"/>
                  </a:lnTo>
                  <a:lnTo>
                    <a:pt x="669" y="572"/>
                  </a:lnTo>
                  <a:lnTo>
                    <a:pt x="673" y="579"/>
                  </a:lnTo>
                  <a:lnTo>
                    <a:pt x="678" y="584"/>
                  </a:lnTo>
                  <a:lnTo>
                    <a:pt x="683" y="590"/>
                  </a:lnTo>
                  <a:lnTo>
                    <a:pt x="689" y="592"/>
                  </a:lnTo>
                  <a:lnTo>
                    <a:pt x="695" y="596"/>
                  </a:lnTo>
                  <a:lnTo>
                    <a:pt x="701" y="599"/>
                  </a:lnTo>
                  <a:lnTo>
                    <a:pt x="709" y="600"/>
                  </a:lnTo>
                  <a:lnTo>
                    <a:pt x="722" y="602"/>
                  </a:lnTo>
                  <a:lnTo>
                    <a:pt x="737" y="602"/>
                  </a:lnTo>
                  <a:lnTo>
                    <a:pt x="752" y="599"/>
                  </a:lnTo>
                  <a:lnTo>
                    <a:pt x="765" y="595"/>
                  </a:lnTo>
                  <a:lnTo>
                    <a:pt x="769" y="579"/>
                  </a:lnTo>
                  <a:lnTo>
                    <a:pt x="770" y="564"/>
                  </a:lnTo>
                  <a:lnTo>
                    <a:pt x="770" y="548"/>
                  </a:lnTo>
                  <a:lnTo>
                    <a:pt x="769" y="533"/>
                  </a:lnTo>
                  <a:lnTo>
                    <a:pt x="768" y="517"/>
                  </a:lnTo>
                  <a:lnTo>
                    <a:pt x="765" y="502"/>
                  </a:lnTo>
                  <a:lnTo>
                    <a:pt x="762" y="486"/>
                  </a:lnTo>
                  <a:lnTo>
                    <a:pt x="758" y="472"/>
                  </a:lnTo>
                  <a:lnTo>
                    <a:pt x="749" y="442"/>
                  </a:lnTo>
                  <a:lnTo>
                    <a:pt x="740" y="411"/>
                  </a:lnTo>
                  <a:lnTo>
                    <a:pt x="730" y="382"/>
                  </a:lnTo>
                  <a:lnTo>
                    <a:pt x="722" y="352"/>
                  </a:lnTo>
                  <a:close/>
                </a:path>
              </a:pathLst>
            </a:custGeom>
            <a:grpFill/>
            <a:ln w="9525">
              <a:noFill/>
              <a:round/>
            </a:ln>
          </p:spPr>
          <p:txBody>
            <a:bodyPr vert="horz" wrap="square" lIns="91440" tIns="45720" rIns="91440" bIns="45720" numCol="1" anchor="t" anchorCtr="0" compatLnSpc="1"/>
            <a:lstStyle/>
            <a:p>
              <a:endParaRPr lang="en-US"/>
            </a:p>
          </p:txBody>
        </p:sp>
      </p:grpSp>
      <p:grpSp>
        <p:nvGrpSpPr>
          <p:cNvPr id="134" name="Group 133"/>
          <p:cNvGrpSpPr/>
          <p:nvPr/>
        </p:nvGrpSpPr>
        <p:grpSpPr>
          <a:xfrm>
            <a:off x="5408897" y="2635121"/>
            <a:ext cx="231047" cy="591857"/>
            <a:chOff x="3647164" y="2464482"/>
            <a:chExt cx="231047" cy="591857"/>
          </a:xfrm>
          <a:solidFill>
            <a:schemeClr val="accent1"/>
          </a:solidFill>
        </p:grpSpPr>
        <p:sp>
          <p:nvSpPr>
            <p:cNvPr id="135" name="Freeform 56"/>
            <p:cNvSpPr/>
            <p:nvPr/>
          </p:nvSpPr>
          <p:spPr bwMode="auto">
            <a:xfrm>
              <a:off x="3716795" y="2464482"/>
              <a:ext cx="96006" cy="96006"/>
            </a:xfrm>
            <a:custGeom>
              <a:avLst/>
              <a:gdLst>
                <a:gd name="T0" fmla="*/ 262 w 273"/>
                <a:gd name="T1" fmla="*/ 182 h 271"/>
                <a:gd name="T2" fmla="*/ 266 w 273"/>
                <a:gd name="T3" fmla="*/ 173 h 271"/>
                <a:gd name="T4" fmla="*/ 269 w 273"/>
                <a:gd name="T5" fmla="*/ 165 h 271"/>
                <a:gd name="T6" fmla="*/ 272 w 273"/>
                <a:gd name="T7" fmla="*/ 155 h 271"/>
                <a:gd name="T8" fmla="*/ 273 w 273"/>
                <a:gd name="T9" fmla="*/ 146 h 271"/>
                <a:gd name="T10" fmla="*/ 273 w 273"/>
                <a:gd name="T11" fmla="*/ 137 h 271"/>
                <a:gd name="T12" fmla="*/ 273 w 273"/>
                <a:gd name="T13" fmla="*/ 127 h 271"/>
                <a:gd name="T14" fmla="*/ 272 w 273"/>
                <a:gd name="T15" fmla="*/ 119 h 271"/>
                <a:gd name="T16" fmla="*/ 270 w 273"/>
                <a:gd name="T17" fmla="*/ 110 h 271"/>
                <a:gd name="T18" fmla="*/ 265 w 273"/>
                <a:gd name="T19" fmla="*/ 92 h 271"/>
                <a:gd name="T20" fmla="*/ 257 w 273"/>
                <a:gd name="T21" fmla="*/ 76 h 271"/>
                <a:gd name="T22" fmla="*/ 246 w 273"/>
                <a:gd name="T23" fmla="*/ 60 h 271"/>
                <a:gd name="T24" fmla="*/ 236 w 273"/>
                <a:gd name="T25" fmla="*/ 45 h 271"/>
                <a:gd name="T26" fmla="*/ 222 w 273"/>
                <a:gd name="T27" fmla="*/ 33 h 271"/>
                <a:gd name="T28" fmla="*/ 207 w 273"/>
                <a:gd name="T29" fmla="*/ 23 h 271"/>
                <a:gd name="T30" fmla="*/ 191 w 273"/>
                <a:gd name="T31" fmla="*/ 13 h 271"/>
                <a:gd name="T32" fmla="*/ 174 w 273"/>
                <a:gd name="T33" fmla="*/ 6 h 271"/>
                <a:gd name="T34" fmla="*/ 165 w 273"/>
                <a:gd name="T35" fmla="*/ 4 h 271"/>
                <a:gd name="T36" fmla="*/ 157 w 273"/>
                <a:gd name="T37" fmla="*/ 1 h 271"/>
                <a:gd name="T38" fmla="*/ 147 w 273"/>
                <a:gd name="T39" fmla="*/ 0 h 271"/>
                <a:gd name="T40" fmla="*/ 138 w 273"/>
                <a:gd name="T41" fmla="*/ 0 h 271"/>
                <a:gd name="T42" fmla="*/ 128 w 273"/>
                <a:gd name="T43" fmla="*/ 0 h 271"/>
                <a:gd name="T44" fmla="*/ 119 w 273"/>
                <a:gd name="T45" fmla="*/ 1 h 271"/>
                <a:gd name="T46" fmla="*/ 110 w 273"/>
                <a:gd name="T47" fmla="*/ 2 h 271"/>
                <a:gd name="T48" fmla="*/ 100 w 273"/>
                <a:gd name="T49" fmla="*/ 5 h 271"/>
                <a:gd name="T50" fmla="*/ 92 w 273"/>
                <a:gd name="T51" fmla="*/ 6 h 271"/>
                <a:gd name="T52" fmla="*/ 84 w 273"/>
                <a:gd name="T53" fmla="*/ 9 h 271"/>
                <a:gd name="T54" fmla="*/ 76 w 273"/>
                <a:gd name="T55" fmla="*/ 13 h 271"/>
                <a:gd name="T56" fmla="*/ 68 w 273"/>
                <a:gd name="T57" fmla="*/ 17 h 271"/>
                <a:gd name="T58" fmla="*/ 53 w 273"/>
                <a:gd name="T59" fmla="*/ 27 h 271"/>
                <a:gd name="T60" fmla="*/ 41 w 273"/>
                <a:gd name="T61" fmla="*/ 37 h 271"/>
                <a:gd name="T62" fmla="*/ 29 w 273"/>
                <a:gd name="T63" fmla="*/ 49 h 271"/>
                <a:gd name="T64" fmla="*/ 20 w 273"/>
                <a:gd name="T65" fmla="*/ 64 h 271"/>
                <a:gd name="T66" fmla="*/ 12 w 273"/>
                <a:gd name="T67" fmla="*/ 79 h 271"/>
                <a:gd name="T68" fmla="*/ 6 w 273"/>
                <a:gd name="T69" fmla="*/ 95 h 271"/>
                <a:gd name="T70" fmla="*/ 2 w 273"/>
                <a:gd name="T71" fmla="*/ 112 h 271"/>
                <a:gd name="T72" fmla="*/ 0 w 273"/>
                <a:gd name="T73" fmla="*/ 129 h 271"/>
                <a:gd name="T74" fmla="*/ 0 w 273"/>
                <a:gd name="T75" fmla="*/ 146 h 271"/>
                <a:gd name="T76" fmla="*/ 2 w 273"/>
                <a:gd name="T77" fmla="*/ 163 h 271"/>
                <a:gd name="T78" fmla="*/ 6 w 273"/>
                <a:gd name="T79" fmla="*/ 179 h 271"/>
                <a:gd name="T80" fmla="*/ 12 w 273"/>
                <a:gd name="T81" fmla="*/ 196 h 271"/>
                <a:gd name="T82" fmla="*/ 21 w 273"/>
                <a:gd name="T83" fmla="*/ 210 h 271"/>
                <a:gd name="T84" fmla="*/ 32 w 273"/>
                <a:gd name="T85" fmla="*/ 224 h 271"/>
                <a:gd name="T86" fmla="*/ 39 w 273"/>
                <a:gd name="T87" fmla="*/ 232 h 271"/>
                <a:gd name="T88" fmla="*/ 44 w 273"/>
                <a:gd name="T89" fmla="*/ 238 h 271"/>
                <a:gd name="T90" fmla="*/ 51 w 273"/>
                <a:gd name="T91" fmla="*/ 244 h 271"/>
                <a:gd name="T92" fmla="*/ 59 w 273"/>
                <a:gd name="T93" fmla="*/ 249 h 271"/>
                <a:gd name="T94" fmla="*/ 73 w 273"/>
                <a:gd name="T95" fmla="*/ 259 h 271"/>
                <a:gd name="T96" fmla="*/ 89 w 273"/>
                <a:gd name="T97" fmla="*/ 264 h 271"/>
                <a:gd name="T98" fmla="*/ 107 w 273"/>
                <a:gd name="T99" fmla="*/ 269 h 271"/>
                <a:gd name="T100" fmla="*/ 124 w 273"/>
                <a:gd name="T101" fmla="*/ 271 h 271"/>
                <a:gd name="T102" fmla="*/ 142 w 273"/>
                <a:gd name="T103" fmla="*/ 271 h 271"/>
                <a:gd name="T104" fmla="*/ 159 w 273"/>
                <a:gd name="T105" fmla="*/ 269 h 271"/>
                <a:gd name="T106" fmla="*/ 177 w 273"/>
                <a:gd name="T107" fmla="*/ 265 h 271"/>
                <a:gd name="T108" fmla="*/ 193 w 273"/>
                <a:gd name="T109" fmla="*/ 259 h 271"/>
                <a:gd name="T110" fmla="*/ 209 w 273"/>
                <a:gd name="T111" fmla="*/ 251 h 271"/>
                <a:gd name="T112" fmla="*/ 224 w 273"/>
                <a:gd name="T113" fmla="*/ 240 h 271"/>
                <a:gd name="T114" fmla="*/ 236 w 273"/>
                <a:gd name="T115" fmla="*/ 229 h 271"/>
                <a:gd name="T116" fmla="*/ 248 w 273"/>
                <a:gd name="T117" fmla="*/ 214 h 271"/>
                <a:gd name="T118" fmla="*/ 252 w 273"/>
                <a:gd name="T119" fmla="*/ 208 h 271"/>
                <a:gd name="T120" fmla="*/ 256 w 273"/>
                <a:gd name="T121" fmla="*/ 200 h 271"/>
                <a:gd name="T122" fmla="*/ 260 w 273"/>
                <a:gd name="T123" fmla="*/ 192 h 271"/>
                <a:gd name="T124" fmla="*/ 262 w 273"/>
                <a:gd name="T125" fmla="*/ 18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3" h="271">
                  <a:moveTo>
                    <a:pt x="262" y="182"/>
                  </a:moveTo>
                  <a:lnTo>
                    <a:pt x="266" y="173"/>
                  </a:lnTo>
                  <a:lnTo>
                    <a:pt x="269" y="165"/>
                  </a:lnTo>
                  <a:lnTo>
                    <a:pt x="272" y="155"/>
                  </a:lnTo>
                  <a:lnTo>
                    <a:pt x="273" y="146"/>
                  </a:lnTo>
                  <a:lnTo>
                    <a:pt x="273" y="137"/>
                  </a:lnTo>
                  <a:lnTo>
                    <a:pt x="273" y="127"/>
                  </a:lnTo>
                  <a:lnTo>
                    <a:pt x="272" y="119"/>
                  </a:lnTo>
                  <a:lnTo>
                    <a:pt x="270" y="110"/>
                  </a:lnTo>
                  <a:lnTo>
                    <a:pt x="265" y="92"/>
                  </a:lnTo>
                  <a:lnTo>
                    <a:pt x="257" y="76"/>
                  </a:lnTo>
                  <a:lnTo>
                    <a:pt x="246" y="60"/>
                  </a:lnTo>
                  <a:lnTo>
                    <a:pt x="236" y="45"/>
                  </a:lnTo>
                  <a:lnTo>
                    <a:pt x="222" y="33"/>
                  </a:lnTo>
                  <a:lnTo>
                    <a:pt x="207" y="23"/>
                  </a:lnTo>
                  <a:lnTo>
                    <a:pt x="191" y="13"/>
                  </a:lnTo>
                  <a:lnTo>
                    <a:pt x="174" y="6"/>
                  </a:lnTo>
                  <a:lnTo>
                    <a:pt x="165" y="4"/>
                  </a:lnTo>
                  <a:lnTo>
                    <a:pt x="157" y="1"/>
                  </a:lnTo>
                  <a:lnTo>
                    <a:pt x="147" y="0"/>
                  </a:lnTo>
                  <a:lnTo>
                    <a:pt x="138" y="0"/>
                  </a:lnTo>
                  <a:lnTo>
                    <a:pt x="128" y="0"/>
                  </a:lnTo>
                  <a:lnTo>
                    <a:pt x="119" y="1"/>
                  </a:lnTo>
                  <a:lnTo>
                    <a:pt x="110" y="2"/>
                  </a:lnTo>
                  <a:lnTo>
                    <a:pt x="100" y="5"/>
                  </a:lnTo>
                  <a:lnTo>
                    <a:pt x="92" y="6"/>
                  </a:lnTo>
                  <a:lnTo>
                    <a:pt x="84" y="9"/>
                  </a:lnTo>
                  <a:lnTo>
                    <a:pt x="76" y="13"/>
                  </a:lnTo>
                  <a:lnTo>
                    <a:pt x="68" y="17"/>
                  </a:lnTo>
                  <a:lnTo>
                    <a:pt x="53" y="27"/>
                  </a:lnTo>
                  <a:lnTo>
                    <a:pt x="41" y="37"/>
                  </a:lnTo>
                  <a:lnTo>
                    <a:pt x="29" y="49"/>
                  </a:lnTo>
                  <a:lnTo>
                    <a:pt x="20" y="64"/>
                  </a:lnTo>
                  <a:lnTo>
                    <a:pt x="12" y="79"/>
                  </a:lnTo>
                  <a:lnTo>
                    <a:pt x="6" y="95"/>
                  </a:lnTo>
                  <a:lnTo>
                    <a:pt x="2" y="112"/>
                  </a:lnTo>
                  <a:lnTo>
                    <a:pt x="0" y="129"/>
                  </a:lnTo>
                  <a:lnTo>
                    <a:pt x="0" y="146"/>
                  </a:lnTo>
                  <a:lnTo>
                    <a:pt x="2" y="163"/>
                  </a:lnTo>
                  <a:lnTo>
                    <a:pt x="6" y="179"/>
                  </a:lnTo>
                  <a:lnTo>
                    <a:pt x="12" y="196"/>
                  </a:lnTo>
                  <a:lnTo>
                    <a:pt x="21" y="210"/>
                  </a:lnTo>
                  <a:lnTo>
                    <a:pt x="32" y="224"/>
                  </a:lnTo>
                  <a:lnTo>
                    <a:pt x="39" y="232"/>
                  </a:lnTo>
                  <a:lnTo>
                    <a:pt x="44" y="238"/>
                  </a:lnTo>
                  <a:lnTo>
                    <a:pt x="51" y="244"/>
                  </a:lnTo>
                  <a:lnTo>
                    <a:pt x="59" y="249"/>
                  </a:lnTo>
                  <a:lnTo>
                    <a:pt x="73" y="259"/>
                  </a:lnTo>
                  <a:lnTo>
                    <a:pt x="89" y="264"/>
                  </a:lnTo>
                  <a:lnTo>
                    <a:pt x="107" y="269"/>
                  </a:lnTo>
                  <a:lnTo>
                    <a:pt x="124" y="271"/>
                  </a:lnTo>
                  <a:lnTo>
                    <a:pt x="142" y="271"/>
                  </a:lnTo>
                  <a:lnTo>
                    <a:pt x="159" y="269"/>
                  </a:lnTo>
                  <a:lnTo>
                    <a:pt x="177" y="265"/>
                  </a:lnTo>
                  <a:lnTo>
                    <a:pt x="193" y="259"/>
                  </a:lnTo>
                  <a:lnTo>
                    <a:pt x="209" y="251"/>
                  </a:lnTo>
                  <a:lnTo>
                    <a:pt x="224" y="240"/>
                  </a:lnTo>
                  <a:lnTo>
                    <a:pt x="236" y="229"/>
                  </a:lnTo>
                  <a:lnTo>
                    <a:pt x="248" y="214"/>
                  </a:lnTo>
                  <a:lnTo>
                    <a:pt x="252" y="208"/>
                  </a:lnTo>
                  <a:lnTo>
                    <a:pt x="256" y="200"/>
                  </a:lnTo>
                  <a:lnTo>
                    <a:pt x="260" y="192"/>
                  </a:lnTo>
                  <a:lnTo>
                    <a:pt x="262" y="182"/>
                  </a:lnTo>
                  <a:close/>
                </a:path>
              </a:pathLst>
            </a:custGeom>
            <a:grpFill/>
            <a:ln w="9525">
              <a:noFill/>
              <a:round/>
            </a:ln>
          </p:spPr>
          <p:txBody>
            <a:bodyPr vert="horz" wrap="square" lIns="91440" tIns="45720" rIns="91440" bIns="45720" numCol="1" anchor="t" anchorCtr="0" compatLnSpc="1"/>
            <a:lstStyle/>
            <a:p>
              <a:endParaRPr lang="en-US"/>
            </a:p>
          </p:txBody>
        </p:sp>
        <p:sp>
          <p:nvSpPr>
            <p:cNvPr id="136" name="Freeform 57"/>
            <p:cNvSpPr/>
            <p:nvPr/>
          </p:nvSpPr>
          <p:spPr bwMode="auto">
            <a:xfrm>
              <a:off x="3647164" y="2569982"/>
              <a:ext cx="231047" cy="486357"/>
            </a:xfrm>
            <a:custGeom>
              <a:avLst/>
              <a:gdLst>
                <a:gd name="T0" fmla="*/ 566 w 658"/>
                <a:gd name="T1" fmla="*/ 20 h 1383"/>
                <a:gd name="T2" fmla="*/ 506 w 658"/>
                <a:gd name="T3" fmla="*/ 4 h 1383"/>
                <a:gd name="T4" fmla="*/ 396 w 658"/>
                <a:gd name="T5" fmla="*/ 0 h 1383"/>
                <a:gd name="T6" fmla="*/ 259 w 658"/>
                <a:gd name="T7" fmla="*/ 0 h 1383"/>
                <a:gd name="T8" fmla="*/ 136 w 658"/>
                <a:gd name="T9" fmla="*/ 8 h 1383"/>
                <a:gd name="T10" fmla="*/ 74 w 658"/>
                <a:gd name="T11" fmla="*/ 27 h 1383"/>
                <a:gd name="T12" fmla="*/ 40 w 658"/>
                <a:gd name="T13" fmla="*/ 53 h 1383"/>
                <a:gd name="T14" fmla="*/ 16 w 658"/>
                <a:gd name="T15" fmla="*/ 90 h 1383"/>
                <a:gd name="T16" fmla="*/ 4 w 658"/>
                <a:gd name="T17" fmla="*/ 131 h 1383"/>
                <a:gd name="T18" fmla="*/ 2 w 658"/>
                <a:gd name="T19" fmla="*/ 220 h 1383"/>
                <a:gd name="T20" fmla="*/ 0 w 658"/>
                <a:gd name="T21" fmla="*/ 448 h 1383"/>
                <a:gd name="T22" fmla="*/ 2 w 658"/>
                <a:gd name="T23" fmla="*/ 629 h 1383"/>
                <a:gd name="T24" fmla="*/ 19 w 658"/>
                <a:gd name="T25" fmla="*/ 665 h 1383"/>
                <a:gd name="T26" fmla="*/ 42 w 658"/>
                <a:gd name="T27" fmla="*/ 676 h 1383"/>
                <a:gd name="T28" fmla="*/ 73 w 658"/>
                <a:gd name="T29" fmla="*/ 676 h 1383"/>
                <a:gd name="T30" fmla="*/ 97 w 658"/>
                <a:gd name="T31" fmla="*/ 657 h 1383"/>
                <a:gd name="T32" fmla="*/ 117 w 658"/>
                <a:gd name="T33" fmla="*/ 602 h 1383"/>
                <a:gd name="T34" fmla="*/ 118 w 658"/>
                <a:gd name="T35" fmla="*/ 452 h 1383"/>
                <a:gd name="T36" fmla="*/ 118 w 658"/>
                <a:gd name="T37" fmla="*/ 273 h 1383"/>
                <a:gd name="T38" fmla="*/ 153 w 658"/>
                <a:gd name="T39" fmla="*/ 296 h 1383"/>
                <a:gd name="T40" fmla="*/ 153 w 658"/>
                <a:gd name="T41" fmla="*/ 566 h 1383"/>
                <a:gd name="T42" fmla="*/ 153 w 658"/>
                <a:gd name="T43" fmla="*/ 836 h 1383"/>
                <a:gd name="T44" fmla="*/ 153 w 658"/>
                <a:gd name="T45" fmla="*/ 1107 h 1383"/>
                <a:gd name="T46" fmla="*/ 154 w 658"/>
                <a:gd name="T47" fmla="*/ 1323 h 1383"/>
                <a:gd name="T48" fmla="*/ 175 w 658"/>
                <a:gd name="T49" fmla="*/ 1363 h 1383"/>
                <a:gd name="T50" fmla="*/ 215 w 658"/>
                <a:gd name="T51" fmla="*/ 1382 h 1383"/>
                <a:gd name="T52" fmla="*/ 262 w 658"/>
                <a:gd name="T53" fmla="*/ 1379 h 1383"/>
                <a:gd name="T54" fmla="*/ 299 w 658"/>
                <a:gd name="T55" fmla="*/ 1349 h 1383"/>
                <a:gd name="T56" fmla="*/ 311 w 658"/>
                <a:gd name="T57" fmla="*/ 1272 h 1383"/>
                <a:gd name="T58" fmla="*/ 311 w 658"/>
                <a:gd name="T59" fmla="*/ 1030 h 1383"/>
                <a:gd name="T60" fmla="*/ 313 w 658"/>
                <a:gd name="T61" fmla="*/ 745 h 1383"/>
                <a:gd name="T62" fmla="*/ 347 w 658"/>
                <a:gd name="T63" fmla="*/ 756 h 1383"/>
                <a:gd name="T64" fmla="*/ 347 w 658"/>
                <a:gd name="T65" fmla="*/ 1082 h 1383"/>
                <a:gd name="T66" fmla="*/ 350 w 658"/>
                <a:gd name="T67" fmla="*/ 1333 h 1383"/>
                <a:gd name="T68" fmla="*/ 361 w 658"/>
                <a:gd name="T69" fmla="*/ 1359 h 1383"/>
                <a:gd name="T70" fmla="*/ 388 w 658"/>
                <a:gd name="T71" fmla="*/ 1378 h 1383"/>
                <a:gd name="T72" fmla="*/ 444 w 658"/>
                <a:gd name="T73" fmla="*/ 1379 h 1383"/>
                <a:gd name="T74" fmla="*/ 484 w 658"/>
                <a:gd name="T75" fmla="*/ 1355 h 1383"/>
                <a:gd name="T76" fmla="*/ 496 w 658"/>
                <a:gd name="T77" fmla="*/ 1331 h 1383"/>
                <a:gd name="T78" fmla="*/ 499 w 658"/>
                <a:gd name="T79" fmla="*/ 1240 h 1383"/>
                <a:gd name="T80" fmla="*/ 499 w 658"/>
                <a:gd name="T81" fmla="*/ 971 h 1383"/>
                <a:gd name="T82" fmla="*/ 499 w 658"/>
                <a:gd name="T83" fmla="*/ 700 h 1383"/>
                <a:gd name="T84" fmla="*/ 499 w 658"/>
                <a:gd name="T85" fmla="*/ 429 h 1383"/>
                <a:gd name="T86" fmla="*/ 510 w 658"/>
                <a:gd name="T87" fmla="*/ 226 h 1383"/>
                <a:gd name="T88" fmla="*/ 542 w 658"/>
                <a:gd name="T89" fmla="*/ 273 h 1383"/>
                <a:gd name="T90" fmla="*/ 542 w 658"/>
                <a:gd name="T91" fmla="*/ 461 h 1383"/>
                <a:gd name="T92" fmla="*/ 543 w 658"/>
                <a:gd name="T93" fmla="*/ 617 h 1383"/>
                <a:gd name="T94" fmla="*/ 565 w 658"/>
                <a:gd name="T95" fmla="*/ 662 h 1383"/>
                <a:gd name="T96" fmla="*/ 589 w 658"/>
                <a:gd name="T97" fmla="*/ 676 h 1383"/>
                <a:gd name="T98" fmla="*/ 618 w 658"/>
                <a:gd name="T99" fmla="*/ 676 h 1383"/>
                <a:gd name="T100" fmla="*/ 638 w 658"/>
                <a:gd name="T101" fmla="*/ 665 h 1383"/>
                <a:gd name="T102" fmla="*/ 653 w 658"/>
                <a:gd name="T103" fmla="*/ 639 h 1383"/>
                <a:gd name="T104" fmla="*/ 658 w 658"/>
                <a:gd name="T105" fmla="*/ 555 h 1383"/>
                <a:gd name="T106" fmla="*/ 658 w 658"/>
                <a:gd name="T107" fmla="*/ 360 h 1383"/>
                <a:gd name="T108" fmla="*/ 658 w 658"/>
                <a:gd name="T109" fmla="*/ 192 h 1383"/>
                <a:gd name="T110" fmla="*/ 648 w 658"/>
                <a:gd name="T111" fmla="*/ 111 h 1383"/>
                <a:gd name="T112" fmla="*/ 629 w 658"/>
                <a:gd name="T113" fmla="*/ 71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8" h="1383">
                  <a:moveTo>
                    <a:pt x="605" y="45"/>
                  </a:moveTo>
                  <a:lnTo>
                    <a:pt x="593" y="36"/>
                  </a:lnTo>
                  <a:lnTo>
                    <a:pt x="579" y="27"/>
                  </a:lnTo>
                  <a:lnTo>
                    <a:pt x="566" y="20"/>
                  </a:lnTo>
                  <a:lnTo>
                    <a:pt x="551" y="15"/>
                  </a:lnTo>
                  <a:lnTo>
                    <a:pt x="536" y="11"/>
                  </a:lnTo>
                  <a:lnTo>
                    <a:pt x="522" y="6"/>
                  </a:lnTo>
                  <a:lnTo>
                    <a:pt x="506" y="4"/>
                  </a:lnTo>
                  <a:lnTo>
                    <a:pt x="491" y="2"/>
                  </a:lnTo>
                  <a:lnTo>
                    <a:pt x="459" y="0"/>
                  </a:lnTo>
                  <a:lnTo>
                    <a:pt x="427" y="0"/>
                  </a:lnTo>
                  <a:lnTo>
                    <a:pt x="396" y="0"/>
                  </a:lnTo>
                  <a:lnTo>
                    <a:pt x="365" y="0"/>
                  </a:lnTo>
                  <a:lnTo>
                    <a:pt x="330" y="1"/>
                  </a:lnTo>
                  <a:lnTo>
                    <a:pt x="294" y="0"/>
                  </a:lnTo>
                  <a:lnTo>
                    <a:pt x="259" y="0"/>
                  </a:lnTo>
                  <a:lnTo>
                    <a:pt x="223" y="0"/>
                  </a:lnTo>
                  <a:lnTo>
                    <a:pt x="188" y="1"/>
                  </a:lnTo>
                  <a:lnTo>
                    <a:pt x="153" y="4"/>
                  </a:lnTo>
                  <a:lnTo>
                    <a:pt x="136" y="8"/>
                  </a:lnTo>
                  <a:lnTo>
                    <a:pt x="118" y="12"/>
                  </a:lnTo>
                  <a:lnTo>
                    <a:pt x="101" y="16"/>
                  </a:lnTo>
                  <a:lnTo>
                    <a:pt x="85" y="23"/>
                  </a:lnTo>
                  <a:lnTo>
                    <a:pt x="74" y="27"/>
                  </a:lnTo>
                  <a:lnTo>
                    <a:pt x="65" y="32"/>
                  </a:lnTo>
                  <a:lnTo>
                    <a:pt x="55" y="39"/>
                  </a:lnTo>
                  <a:lnTo>
                    <a:pt x="47" y="45"/>
                  </a:lnTo>
                  <a:lnTo>
                    <a:pt x="40" y="53"/>
                  </a:lnTo>
                  <a:lnTo>
                    <a:pt x="32" y="61"/>
                  </a:lnTo>
                  <a:lnTo>
                    <a:pt x="27" y="70"/>
                  </a:lnTo>
                  <a:lnTo>
                    <a:pt x="22" y="79"/>
                  </a:lnTo>
                  <a:lnTo>
                    <a:pt x="16" y="90"/>
                  </a:lnTo>
                  <a:lnTo>
                    <a:pt x="12" y="99"/>
                  </a:lnTo>
                  <a:lnTo>
                    <a:pt x="8" y="110"/>
                  </a:lnTo>
                  <a:lnTo>
                    <a:pt x="6" y="120"/>
                  </a:lnTo>
                  <a:lnTo>
                    <a:pt x="4" y="131"/>
                  </a:lnTo>
                  <a:lnTo>
                    <a:pt x="2" y="142"/>
                  </a:lnTo>
                  <a:lnTo>
                    <a:pt x="2" y="153"/>
                  </a:lnTo>
                  <a:lnTo>
                    <a:pt x="2" y="163"/>
                  </a:lnTo>
                  <a:lnTo>
                    <a:pt x="2" y="220"/>
                  </a:lnTo>
                  <a:lnTo>
                    <a:pt x="2" y="277"/>
                  </a:lnTo>
                  <a:lnTo>
                    <a:pt x="0" y="334"/>
                  </a:lnTo>
                  <a:lnTo>
                    <a:pt x="0" y="390"/>
                  </a:lnTo>
                  <a:lnTo>
                    <a:pt x="0" y="448"/>
                  </a:lnTo>
                  <a:lnTo>
                    <a:pt x="2" y="504"/>
                  </a:lnTo>
                  <a:lnTo>
                    <a:pt x="2" y="562"/>
                  </a:lnTo>
                  <a:lnTo>
                    <a:pt x="2" y="618"/>
                  </a:lnTo>
                  <a:lnTo>
                    <a:pt x="2" y="629"/>
                  </a:lnTo>
                  <a:lnTo>
                    <a:pt x="4" y="638"/>
                  </a:lnTo>
                  <a:lnTo>
                    <a:pt x="7" y="649"/>
                  </a:lnTo>
                  <a:lnTo>
                    <a:pt x="12" y="658"/>
                  </a:lnTo>
                  <a:lnTo>
                    <a:pt x="19" y="665"/>
                  </a:lnTo>
                  <a:lnTo>
                    <a:pt x="28" y="672"/>
                  </a:lnTo>
                  <a:lnTo>
                    <a:pt x="32" y="673"/>
                  </a:lnTo>
                  <a:lnTo>
                    <a:pt x="38" y="676"/>
                  </a:lnTo>
                  <a:lnTo>
                    <a:pt x="42" y="676"/>
                  </a:lnTo>
                  <a:lnTo>
                    <a:pt x="47" y="676"/>
                  </a:lnTo>
                  <a:lnTo>
                    <a:pt x="57" y="677"/>
                  </a:lnTo>
                  <a:lnTo>
                    <a:pt x="65" y="677"/>
                  </a:lnTo>
                  <a:lnTo>
                    <a:pt x="73" y="676"/>
                  </a:lnTo>
                  <a:lnTo>
                    <a:pt x="79" y="672"/>
                  </a:lnTo>
                  <a:lnTo>
                    <a:pt x="86" y="667"/>
                  </a:lnTo>
                  <a:lnTo>
                    <a:pt x="91" y="663"/>
                  </a:lnTo>
                  <a:lnTo>
                    <a:pt x="97" y="657"/>
                  </a:lnTo>
                  <a:lnTo>
                    <a:pt x="101" y="650"/>
                  </a:lnTo>
                  <a:lnTo>
                    <a:pt x="109" y="635"/>
                  </a:lnTo>
                  <a:lnTo>
                    <a:pt x="114" y="619"/>
                  </a:lnTo>
                  <a:lnTo>
                    <a:pt x="117" y="602"/>
                  </a:lnTo>
                  <a:lnTo>
                    <a:pt x="117" y="587"/>
                  </a:lnTo>
                  <a:lnTo>
                    <a:pt x="118" y="541"/>
                  </a:lnTo>
                  <a:lnTo>
                    <a:pt x="118" y="497"/>
                  </a:lnTo>
                  <a:lnTo>
                    <a:pt x="118" y="452"/>
                  </a:lnTo>
                  <a:lnTo>
                    <a:pt x="117" y="407"/>
                  </a:lnTo>
                  <a:lnTo>
                    <a:pt x="117" y="362"/>
                  </a:lnTo>
                  <a:lnTo>
                    <a:pt x="117" y="318"/>
                  </a:lnTo>
                  <a:lnTo>
                    <a:pt x="118" y="273"/>
                  </a:lnTo>
                  <a:lnTo>
                    <a:pt x="118" y="228"/>
                  </a:lnTo>
                  <a:lnTo>
                    <a:pt x="136" y="228"/>
                  </a:lnTo>
                  <a:lnTo>
                    <a:pt x="152" y="228"/>
                  </a:lnTo>
                  <a:lnTo>
                    <a:pt x="153" y="296"/>
                  </a:lnTo>
                  <a:lnTo>
                    <a:pt x="153" y="363"/>
                  </a:lnTo>
                  <a:lnTo>
                    <a:pt x="153" y="430"/>
                  </a:lnTo>
                  <a:lnTo>
                    <a:pt x="153" y="499"/>
                  </a:lnTo>
                  <a:lnTo>
                    <a:pt x="153" y="566"/>
                  </a:lnTo>
                  <a:lnTo>
                    <a:pt x="153" y="634"/>
                  </a:lnTo>
                  <a:lnTo>
                    <a:pt x="153" y="701"/>
                  </a:lnTo>
                  <a:lnTo>
                    <a:pt x="153" y="769"/>
                  </a:lnTo>
                  <a:lnTo>
                    <a:pt x="153" y="836"/>
                  </a:lnTo>
                  <a:lnTo>
                    <a:pt x="153" y="903"/>
                  </a:lnTo>
                  <a:lnTo>
                    <a:pt x="153" y="972"/>
                  </a:lnTo>
                  <a:lnTo>
                    <a:pt x="153" y="1039"/>
                  </a:lnTo>
                  <a:lnTo>
                    <a:pt x="153" y="1107"/>
                  </a:lnTo>
                  <a:lnTo>
                    <a:pt x="153" y="1174"/>
                  </a:lnTo>
                  <a:lnTo>
                    <a:pt x="153" y="1243"/>
                  </a:lnTo>
                  <a:lnTo>
                    <a:pt x="154" y="1310"/>
                  </a:lnTo>
                  <a:lnTo>
                    <a:pt x="154" y="1323"/>
                  </a:lnTo>
                  <a:lnTo>
                    <a:pt x="157" y="1335"/>
                  </a:lnTo>
                  <a:lnTo>
                    <a:pt x="161" y="1346"/>
                  </a:lnTo>
                  <a:lnTo>
                    <a:pt x="168" y="1355"/>
                  </a:lnTo>
                  <a:lnTo>
                    <a:pt x="175" y="1363"/>
                  </a:lnTo>
                  <a:lnTo>
                    <a:pt x="184" y="1370"/>
                  </a:lnTo>
                  <a:lnTo>
                    <a:pt x="193" y="1375"/>
                  </a:lnTo>
                  <a:lnTo>
                    <a:pt x="204" y="1379"/>
                  </a:lnTo>
                  <a:lnTo>
                    <a:pt x="215" y="1382"/>
                  </a:lnTo>
                  <a:lnTo>
                    <a:pt x="227" y="1383"/>
                  </a:lnTo>
                  <a:lnTo>
                    <a:pt x="239" y="1383"/>
                  </a:lnTo>
                  <a:lnTo>
                    <a:pt x="251" y="1382"/>
                  </a:lnTo>
                  <a:lnTo>
                    <a:pt x="262" y="1379"/>
                  </a:lnTo>
                  <a:lnTo>
                    <a:pt x="274" y="1375"/>
                  </a:lnTo>
                  <a:lnTo>
                    <a:pt x="283" y="1370"/>
                  </a:lnTo>
                  <a:lnTo>
                    <a:pt x="294" y="1363"/>
                  </a:lnTo>
                  <a:lnTo>
                    <a:pt x="299" y="1349"/>
                  </a:lnTo>
                  <a:lnTo>
                    <a:pt x="303" y="1334"/>
                  </a:lnTo>
                  <a:lnTo>
                    <a:pt x="306" y="1319"/>
                  </a:lnTo>
                  <a:lnTo>
                    <a:pt x="309" y="1303"/>
                  </a:lnTo>
                  <a:lnTo>
                    <a:pt x="311" y="1272"/>
                  </a:lnTo>
                  <a:lnTo>
                    <a:pt x="313" y="1241"/>
                  </a:lnTo>
                  <a:lnTo>
                    <a:pt x="313" y="1170"/>
                  </a:lnTo>
                  <a:lnTo>
                    <a:pt x="311" y="1101"/>
                  </a:lnTo>
                  <a:lnTo>
                    <a:pt x="311" y="1030"/>
                  </a:lnTo>
                  <a:lnTo>
                    <a:pt x="311" y="958"/>
                  </a:lnTo>
                  <a:lnTo>
                    <a:pt x="311" y="887"/>
                  </a:lnTo>
                  <a:lnTo>
                    <a:pt x="313" y="816"/>
                  </a:lnTo>
                  <a:lnTo>
                    <a:pt x="313" y="745"/>
                  </a:lnTo>
                  <a:lnTo>
                    <a:pt x="313" y="674"/>
                  </a:lnTo>
                  <a:lnTo>
                    <a:pt x="330" y="674"/>
                  </a:lnTo>
                  <a:lnTo>
                    <a:pt x="347" y="674"/>
                  </a:lnTo>
                  <a:lnTo>
                    <a:pt x="347" y="756"/>
                  </a:lnTo>
                  <a:lnTo>
                    <a:pt x="347" y="838"/>
                  </a:lnTo>
                  <a:lnTo>
                    <a:pt x="347" y="918"/>
                  </a:lnTo>
                  <a:lnTo>
                    <a:pt x="347" y="1000"/>
                  </a:lnTo>
                  <a:lnTo>
                    <a:pt x="347" y="1082"/>
                  </a:lnTo>
                  <a:lnTo>
                    <a:pt x="347" y="1162"/>
                  </a:lnTo>
                  <a:lnTo>
                    <a:pt x="347" y="1244"/>
                  </a:lnTo>
                  <a:lnTo>
                    <a:pt x="349" y="1324"/>
                  </a:lnTo>
                  <a:lnTo>
                    <a:pt x="350" y="1333"/>
                  </a:lnTo>
                  <a:lnTo>
                    <a:pt x="351" y="1341"/>
                  </a:lnTo>
                  <a:lnTo>
                    <a:pt x="354" y="1347"/>
                  </a:lnTo>
                  <a:lnTo>
                    <a:pt x="357" y="1354"/>
                  </a:lnTo>
                  <a:lnTo>
                    <a:pt x="361" y="1359"/>
                  </a:lnTo>
                  <a:lnTo>
                    <a:pt x="366" y="1363"/>
                  </a:lnTo>
                  <a:lnTo>
                    <a:pt x="370" y="1369"/>
                  </a:lnTo>
                  <a:lnTo>
                    <a:pt x="377" y="1373"/>
                  </a:lnTo>
                  <a:lnTo>
                    <a:pt x="388" y="1378"/>
                  </a:lnTo>
                  <a:lnTo>
                    <a:pt x="401" y="1382"/>
                  </a:lnTo>
                  <a:lnTo>
                    <a:pt x="416" y="1383"/>
                  </a:lnTo>
                  <a:lnTo>
                    <a:pt x="429" y="1382"/>
                  </a:lnTo>
                  <a:lnTo>
                    <a:pt x="444" y="1379"/>
                  </a:lnTo>
                  <a:lnTo>
                    <a:pt x="457" y="1375"/>
                  </a:lnTo>
                  <a:lnTo>
                    <a:pt x="469" y="1369"/>
                  </a:lnTo>
                  <a:lnTo>
                    <a:pt x="480" y="1359"/>
                  </a:lnTo>
                  <a:lnTo>
                    <a:pt x="484" y="1355"/>
                  </a:lnTo>
                  <a:lnTo>
                    <a:pt x="488" y="1350"/>
                  </a:lnTo>
                  <a:lnTo>
                    <a:pt x="492" y="1343"/>
                  </a:lnTo>
                  <a:lnTo>
                    <a:pt x="495" y="1338"/>
                  </a:lnTo>
                  <a:lnTo>
                    <a:pt x="496" y="1331"/>
                  </a:lnTo>
                  <a:lnTo>
                    <a:pt x="498" y="1323"/>
                  </a:lnTo>
                  <a:lnTo>
                    <a:pt x="499" y="1316"/>
                  </a:lnTo>
                  <a:lnTo>
                    <a:pt x="498" y="1308"/>
                  </a:lnTo>
                  <a:lnTo>
                    <a:pt x="499" y="1240"/>
                  </a:lnTo>
                  <a:lnTo>
                    <a:pt x="499" y="1173"/>
                  </a:lnTo>
                  <a:lnTo>
                    <a:pt x="499" y="1106"/>
                  </a:lnTo>
                  <a:lnTo>
                    <a:pt x="499" y="1038"/>
                  </a:lnTo>
                  <a:lnTo>
                    <a:pt x="499" y="971"/>
                  </a:lnTo>
                  <a:lnTo>
                    <a:pt x="499" y="902"/>
                  </a:lnTo>
                  <a:lnTo>
                    <a:pt x="499" y="835"/>
                  </a:lnTo>
                  <a:lnTo>
                    <a:pt x="499" y="767"/>
                  </a:lnTo>
                  <a:lnTo>
                    <a:pt x="499" y="700"/>
                  </a:lnTo>
                  <a:lnTo>
                    <a:pt x="499" y="633"/>
                  </a:lnTo>
                  <a:lnTo>
                    <a:pt x="499" y="564"/>
                  </a:lnTo>
                  <a:lnTo>
                    <a:pt x="499" y="497"/>
                  </a:lnTo>
                  <a:lnTo>
                    <a:pt x="499" y="429"/>
                  </a:lnTo>
                  <a:lnTo>
                    <a:pt x="499" y="362"/>
                  </a:lnTo>
                  <a:lnTo>
                    <a:pt x="499" y="293"/>
                  </a:lnTo>
                  <a:lnTo>
                    <a:pt x="499" y="226"/>
                  </a:lnTo>
                  <a:lnTo>
                    <a:pt x="510" y="226"/>
                  </a:lnTo>
                  <a:lnTo>
                    <a:pt x="520" y="226"/>
                  </a:lnTo>
                  <a:lnTo>
                    <a:pt x="532" y="226"/>
                  </a:lnTo>
                  <a:lnTo>
                    <a:pt x="542" y="225"/>
                  </a:lnTo>
                  <a:lnTo>
                    <a:pt x="542" y="273"/>
                  </a:lnTo>
                  <a:lnTo>
                    <a:pt x="542" y="320"/>
                  </a:lnTo>
                  <a:lnTo>
                    <a:pt x="542" y="367"/>
                  </a:lnTo>
                  <a:lnTo>
                    <a:pt x="542" y="414"/>
                  </a:lnTo>
                  <a:lnTo>
                    <a:pt x="542" y="461"/>
                  </a:lnTo>
                  <a:lnTo>
                    <a:pt x="542" y="508"/>
                  </a:lnTo>
                  <a:lnTo>
                    <a:pt x="542" y="556"/>
                  </a:lnTo>
                  <a:lnTo>
                    <a:pt x="542" y="603"/>
                  </a:lnTo>
                  <a:lnTo>
                    <a:pt x="543" y="617"/>
                  </a:lnTo>
                  <a:lnTo>
                    <a:pt x="546" y="631"/>
                  </a:lnTo>
                  <a:lnTo>
                    <a:pt x="553" y="645"/>
                  </a:lnTo>
                  <a:lnTo>
                    <a:pt x="561" y="657"/>
                  </a:lnTo>
                  <a:lnTo>
                    <a:pt x="565" y="662"/>
                  </a:lnTo>
                  <a:lnTo>
                    <a:pt x="570" y="667"/>
                  </a:lnTo>
                  <a:lnTo>
                    <a:pt x="577" y="670"/>
                  </a:lnTo>
                  <a:lnTo>
                    <a:pt x="582" y="674"/>
                  </a:lnTo>
                  <a:lnTo>
                    <a:pt x="589" y="676"/>
                  </a:lnTo>
                  <a:lnTo>
                    <a:pt x="597" y="677"/>
                  </a:lnTo>
                  <a:lnTo>
                    <a:pt x="604" y="677"/>
                  </a:lnTo>
                  <a:lnTo>
                    <a:pt x="612" y="676"/>
                  </a:lnTo>
                  <a:lnTo>
                    <a:pt x="618" y="676"/>
                  </a:lnTo>
                  <a:lnTo>
                    <a:pt x="624" y="674"/>
                  </a:lnTo>
                  <a:lnTo>
                    <a:pt x="629" y="672"/>
                  </a:lnTo>
                  <a:lnTo>
                    <a:pt x="634" y="669"/>
                  </a:lnTo>
                  <a:lnTo>
                    <a:pt x="638" y="665"/>
                  </a:lnTo>
                  <a:lnTo>
                    <a:pt x="642" y="661"/>
                  </a:lnTo>
                  <a:lnTo>
                    <a:pt x="645" y="655"/>
                  </a:lnTo>
                  <a:lnTo>
                    <a:pt x="649" y="650"/>
                  </a:lnTo>
                  <a:lnTo>
                    <a:pt x="653" y="639"/>
                  </a:lnTo>
                  <a:lnTo>
                    <a:pt x="656" y="627"/>
                  </a:lnTo>
                  <a:lnTo>
                    <a:pt x="658" y="615"/>
                  </a:lnTo>
                  <a:lnTo>
                    <a:pt x="658" y="603"/>
                  </a:lnTo>
                  <a:lnTo>
                    <a:pt x="658" y="555"/>
                  </a:lnTo>
                  <a:lnTo>
                    <a:pt x="658" y="505"/>
                  </a:lnTo>
                  <a:lnTo>
                    <a:pt x="658" y="457"/>
                  </a:lnTo>
                  <a:lnTo>
                    <a:pt x="658" y="409"/>
                  </a:lnTo>
                  <a:lnTo>
                    <a:pt x="658" y="360"/>
                  </a:lnTo>
                  <a:lnTo>
                    <a:pt x="658" y="311"/>
                  </a:lnTo>
                  <a:lnTo>
                    <a:pt x="658" y="263"/>
                  </a:lnTo>
                  <a:lnTo>
                    <a:pt x="658" y="214"/>
                  </a:lnTo>
                  <a:lnTo>
                    <a:pt x="658" y="192"/>
                  </a:lnTo>
                  <a:lnTo>
                    <a:pt x="657" y="169"/>
                  </a:lnTo>
                  <a:lnTo>
                    <a:pt x="654" y="146"/>
                  </a:lnTo>
                  <a:lnTo>
                    <a:pt x="650" y="123"/>
                  </a:lnTo>
                  <a:lnTo>
                    <a:pt x="648" y="111"/>
                  </a:lnTo>
                  <a:lnTo>
                    <a:pt x="644" y="100"/>
                  </a:lnTo>
                  <a:lnTo>
                    <a:pt x="640" y="90"/>
                  </a:lnTo>
                  <a:lnTo>
                    <a:pt x="634" y="80"/>
                  </a:lnTo>
                  <a:lnTo>
                    <a:pt x="629" y="71"/>
                  </a:lnTo>
                  <a:lnTo>
                    <a:pt x="622" y="61"/>
                  </a:lnTo>
                  <a:lnTo>
                    <a:pt x="614" y="53"/>
                  </a:lnTo>
                  <a:lnTo>
                    <a:pt x="605" y="45"/>
                  </a:lnTo>
                  <a:close/>
                </a:path>
              </a:pathLst>
            </a:custGeom>
            <a:grpFill/>
            <a:ln w="9525">
              <a:noFill/>
              <a:round/>
            </a:ln>
          </p:spPr>
          <p:txBody>
            <a:bodyPr vert="horz" wrap="square" lIns="91440" tIns="45720" rIns="91440" bIns="45720" numCol="1" anchor="t" anchorCtr="0" compatLnSpc="1"/>
            <a:lstStyle/>
            <a:p>
              <a:endParaRPr lang="en-US"/>
            </a:p>
          </p:txBody>
        </p:sp>
      </p:grpSp>
      <p:grpSp>
        <p:nvGrpSpPr>
          <p:cNvPr id="137" name="Group 136"/>
          <p:cNvGrpSpPr/>
          <p:nvPr/>
        </p:nvGrpSpPr>
        <p:grpSpPr>
          <a:xfrm>
            <a:off x="5666510" y="4525489"/>
            <a:ext cx="271137" cy="607684"/>
            <a:chOff x="3327401" y="4335463"/>
            <a:chExt cx="407988" cy="914400"/>
          </a:xfrm>
          <a:solidFill>
            <a:schemeClr val="tx1">
              <a:lumMod val="85000"/>
              <a:lumOff val="15000"/>
            </a:schemeClr>
          </a:solidFill>
        </p:grpSpPr>
        <p:sp>
          <p:nvSpPr>
            <p:cNvPr id="138" name="Freeform 58"/>
            <p:cNvSpPr/>
            <p:nvPr/>
          </p:nvSpPr>
          <p:spPr bwMode="auto">
            <a:xfrm>
              <a:off x="3455988" y="4335463"/>
              <a:ext cx="149225" cy="147638"/>
            </a:xfrm>
            <a:custGeom>
              <a:avLst/>
              <a:gdLst>
                <a:gd name="T0" fmla="*/ 283 w 283"/>
                <a:gd name="T1" fmla="*/ 144 h 278"/>
                <a:gd name="T2" fmla="*/ 280 w 283"/>
                <a:gd name="T3" fmla="*/ 111 h 278"/>
                <a:gd name="T4" fmla="*/ 270 w 283"/>
                <a:gd name="T5" fmla="*/ 80 h 278"/>
                <a:gd name="T6" fmla="*/ 251 w 283"/>
                <a:gd name="T7" fmla="*/ 52 h 278"/>
                <a:gd name="T8" fmla="*/ 227 w 283"/>
                <a:gd name="T9" fmla="*/ 29 h 278"/>
                <a:gd name="T10" fmla="*/ 197 w 283"/>
                <a:gd name="T11" fmla="*/ 12 h 278"/>
                <a:gd name="T12" fmla="*/ 165 w 283"/>
                <a:gd name="T13" fmla="*/ 1 h 278"/>
                <a:gd name="T14" fmla="*/ 132 w 283"/>
                <a:gd name="T15" fmla="*/ 0 h 278"/>
                <a:gd name="T16" fmla="*/ 97 w 283"/>
                <a:gd name="T17" fmla="*/ 6 h 278"/>
                <a:gd name="T18" fmla="*/ 66 w 283"/>
                <a:gd name="T19" fmla="*/ 24 h 278"/>
                <a:gd name="T20" fmla="*/ 39 w 283"/>
                <a:gd name="T21" fmla="*/ 46 h 278"/>
                <a:gd name="T22" fmla="*/ 19 w 283"/>
                <a:gd name="T23" fmla="*/ 76 h 278"/>
                <a:gd name="T24" fmla="*/ 6 w 283"/>
                <a:gd name="T25" fmla="*/ 108 h 278"/>
                <a:gd name="T26" fmla="*/ 0 w 283"/>
                <a:gd name="T27" fmla="*/ 142 h 278"/>
                <a:gd name="T28" fmla="*/ 4 w 283"/>
                <a:gd name="T29" fmla="*/ 177 h 278"/>
                <a:gd name="T30" fmla="*/ 14 w 283"/>
                <a:gd name="T31" fmla="*/ 201 h 278"/>
                <a:gd name="T32" fmla="*/ 23 w 283"/>
                <a:gd name="T33" fmla="*/ 217 h 278"/>
                <a:gd name="T34" fmla="*/ 35 w 283"/>
                <a:gd name="T35" fmla="*/ 233 h 278"/>
                <a:gd name="T36" fmla="*/ 50 w 283"/>
                <a:gd name="T37" fmla="*/ 248 h 278"/>
                <a:gd name="T38" fmla="*/ 67 w 283"/>
                <a:gd name="T39" fmla="*/ 260 h 278"/>
                <a:gd name="T40" fmla="*/ 86 w 283"/>
                <a:gd name="T41" fmla="*/ 268 h 278"/>
                <a:gd name="T42" fmla="*/ 105 w 283"/>
                <a:gd name="T43" fmla="*/ 274 h 278"/>
                <a:gd name="T44" fmla="*/ 125 w 283"/>
                <a:gd name="T45" fmla="*/ 278 h 278"/>
                <a:gd name="T46" fmla="*/ 157 w 283"/>
                <a:gd name="T47" fmla="*/ 278 h 278"/>
                <a:gd name="T48" fmla="*/ 187 w 283"/>
                <a:gd name="T49" fmla="*/ 272 h 278"/>
                <a:gd name="T50" fmla="*/ 207 w 283"/>
                <a:gd name="T51" fmla="*/ 265 h 278"/>
                <a:gd name="T52" fmla="*/ 224 w 283"/>
                <a:gd name="T53" fmla="*/ 256 h 278"/>
                <a:gd name="T54" fmla="*/ 240 w 283"/>
                <a:gd name="T55" fmla="*/ 244 h 278"/>
                <a:gd name="T56" fmla="*/ 255 w 283"/>
                <a:gd name="T57" fmla="*/ 229 h 278"/>
                <a:gd name="T58" fmla="*/ 266 w 283"/>
                <a:gd name="T59" fmla="*/ 213 h 278"/>
                <a:gd name="T60" fmla="*/ 275 w 283"/>
                <a:gd name="T61" fmla="*/ 194 h 278"/>
                <a:gd name="T62" fmla="*/ 280 w 283"/>
                <a:gd name="T63" fmla="*/ 17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3" h="278">
                  <a:moveTo>
                    <a:pt x="282" y="162"/>
                  </a:moveTo>
                  <a:lnTo>
                    <a:pt x="283" y="144"/>
                  </a:lnTo>
                  <a:lnTo>
                    <a:pt x="283" y="128"/>
                  </a:lnTo>
                  <a:lnTo>
                    <a:pt x="280" y="111"/>
                  </a:lnTo>
                  <a:lnTo>
                    <a:pt x="276" y="95"/>
                  </a:lnTo>
                  <a:lnTo>
                    <a:pt x="270" y="80"/>
                  </a:lnTo>
                  <a:lnTo>
                    <a:pt x="262" y="65"/>
                  </a:lnTo>
                  <a:lnTo>
                    <a:pt x="251" y="52"/>
                  </a:lnTo>
                  <a:lnTo>
                    <a:pt x="239" y="40"/>
                  </a:lnTo>
                  <a:lnTo>
                    <a:pt x="227" y="29"/>
                  </a:lnTo>
                  <a:lnTo>
                    <a:pt x="212" y="20"/>
                  </a:lnTo>
                  <a:lnTo>
                    <a:pt x="197" y="12"/>
                  </a:lnTo>
                  <a:lnTo>
                    <a:pt x="181" y="5"/>
                  </a:lnTo>
                  <a:lnTo>
                    <a:pt x="165" y="1"/>
                  </a:lnTo>
                  <a:lnTo>
                    <a:pt x="149" y="0"/>
                  </a:lnTo>
                  <a:lnTo>
                    <a:pt x="132" y="0"/>
                  </a:lnTo>
                  <a:lnTo>
                    <a:pt x="114" y="2"/>
                  </a:lnTo>
                  <a:lnTo>
                    <a:pt x="97" y="6"/>
                  </a:lnTo>
                  <a:lnTo>
                    <a:pt x="81" y="14"/>
                  </a:lnTo>
                  <a:lnTo>
                    <a:pt x="66" y="24"/>
                  </a:lnTo>
                  <a:lnTo>
                    <a:pt x="52" y="34"/>
                  </a:lnTo>
                  <a:lnTo>
                    <a:pt x="39" y="46"/>
                  </a:lnTo>
                  <a:lnTo>
                    <a:pt x="28" y="60"/>
                  </a:lnTo>
                  <a:lnTo>
                    <a:pt x="19" y="76"/>
                  </a:lnTo>
                  <a:lnTo>
                    <a:pt x="12" y="91"/>
                  </a:lnTo>
                  <a:lnTo>
                    <a:pt x="6" y="108"/>
                  </a:lnTo>
                  <a:lnTo>
                    <a:pt x="3" y="124"/>
                  </a:lnTo>
                  <a:lnTo>
                    <a:pt x="0" y="142"/>
                  </a:lnTo>
                  <a:lnTo>
                    <a:pt x="2" y="159"/>
                  </a:lnTo>
                  <a:lnTo>
                    <a:pt x="4" y="177"/>
                  </a:lnTo>
                  <a:lnTo>
                    <a:pt x="10" y="193"/>
                  </a:lnTo>
                  <a:lnTo>
                    <a:pt x="14" y="201"/>
                  </a:lnTo>
                  <a:lnTo>
                    <a:pt x="18" y="209"/>
                  </a:lnTo>
                  <a:lnTo>
                    <a:pt x="23" y="217"/>
                  </a:lnTo>
                  <a:lnTo>
                    <a:pt x="30" y="223"/>
                  </a:lnTo>
                  <a:lnTo>
                    <a:pt x="35" y="233"/>
                  </a:lnTo>
                  <a:lnTo>
                    <a:pt x="43" y="240"/>
                  </a:lnTo>
                  <a:lnTo>
                    <a:pt x="50" y="248"/>
                  </a:lnTo>
                  <a:lnTo>
                    <a:pt x="59" y="254"/>
                  </a:lnTo>
                  <a:lnTo>
                    <a:pt x="67" y="260"/>
                  </a:lnTo>
                  <a:lnTo>
                    <a:pt x="77" y="264"/>
                  </a:lnTo>
                  <a:lnTo>
                    <a:pt x="86" y="268"/>
                  </a:lnTo>
                  <a:lnTo>
                    <a:pt x="95" y="272"/>
                  </a:lnTo>
                  <a:lnTo>
                    <a:pt x="105" y="274"/>
                  </a:lnTo>
                  <a:lnTo>
                    <a:pt x="115" y="277"/>
                  </a:lnTo>
                  <a:lnTo>
                    <a:pt x="125" y="278"/>
                  </a:lnTo>
                  <a:lnTo>
                    <a:pt x="136" y="278"/>
                  </a:lnTo>
                  <a:lnTo>
                    <a:pt x="157" y="278"/>
                  </a:lnTo>
                  <a:lnTo>
                    <a:pt x="177" y="274"/>
                  </a:lnTo>
                  <a:lnTo>
                    <a:pt x="187" y="272"/>
                  </a:lnTo>
                  <a:lnTo>
                    <a:pt x="197" y="269"/>
                  </a:lnTo>
                  <a:lnTo>
                    <a:pt x="207" y="265"/>
                  </a:lnTo>
                  <a:lnTo>
                    <a:pt x="215" y="261"/>
                  </a:lnTo>
                  <a:lnTo>
                    <a:pt x="224" y="256"/>
                  </a:lnTo>
                  <a:lnTo>
                    <a:pt x="232" y="250"/>
                  </a:lnTo>
                  <a:lnTo>
                    <a:pt x="240" y="244"/>
                  </a:lnTo>
                  <a:lnTo>
                    <a:pt x="248" y="237"/>
                  </a:lnTo>
                  <a:lnTo>
                    <a:pt x="255" y="229"/>
                  </a:lnTo>
                  <a:lnTo>
                    <a:pt x="260" y="221"/>
                  </a:lnTo>
                  <a:lnTo>
                    <a:pt x="266" y="213"/>
                  </a:lnTo>
                  <a:lnTo>
                    <a:pt x="271" y="203"/>
                  </a:lnTo>
                  <a:lnTo>
                    <a:pt x="275" y="194"/>
                  </a:lnTo>
                  <a:lnTo>
                    <a:pt x="278" y="185"/>
                  </a:lnTo>
                  <a:lnTo>
                    <a:pt x="280" y="174"/>
                  </a:lnTo>
                  <a:lnTo>
                    <a:pt x="282" y="162"/>
                  </a:lnTo>
                  <a:close/>
                </a:path>
              </a:pathLst>
            </a:custGeom>
            <a:grpFill/>
            <a:ln w="9525">
              <a:noFill/>
              <a:round/>
            </a:ln>
          </p:spPr>
          <p:txBody>
            <a:bodyPr vert="horz" wrap="square" lIns="91440" tIns="45720" rIns="91440" bIns="45720" numCol="1" anchor="t" anchorCtr="0" compatLnSpc="1"/>
            <a:lstStyle/>
            <a:p>
              <a:endParaRPr lang="en-US"/>
            </a:p>
          </p:txBody>
        </p:sp>
        <p:sp>
          <p:nvSpPr>
            <p:cNvPr id="139" name="Freeform 59"/>
            <p:cNvSpPr/>
            <p:nvPr/>
          </p:nvSpPr>
          <p:spPr bwMode="auto">
            <a:xfrm>
              <a:off x="3327401" y="4506913"/>
              <a:ext cx="407988" cy="742950"/>
            </a:xfrm>
            <a:custGeom>
              <a:avLst/>
              <a:gdLst>
                <a:gd name="T0" fmla="*/ 690 w 770"/>
                <a:gd name="T1" fmla="*/ 245 h 1403"/>
                <a:gd name="T2" fmla="*/ 650 w 770"/>
                <a:gd name="T3" fmla="*/ 122 h 1403"/>
                <a:gd name="T4" fmla="*/ 616 w 770"/>
                <a:gd name="T5" fmla="*/ 60 h 1403"/>
                <a:gd name="T6" fmla="*/ 573 w 770"/>
                <a:gd name="T7" fmla="*/ 25 h 1403"/>
                <a:gd name="T8" fmla="*/ 521 w 770"/>
                <a:gd name="T9" fmla="*/ 6 h 1403"/>
                <a:gd name="T10" fmla="*/ 451 w 770"/>
                <a:gd name="T11" fmla="*/ 0 h 1403"/>
                <a:gd name="T12" fmla="*/ 323 w 770"/>
                <a:gd name="T13" fmla="*/ 0 h 1403"/>
                <a:gd name="T14" fmla="*/ 238 w 770"/>
                <a:gd name="T15" fmla="*/ 8 h 1403"/>
                <a:gd name="T16" fmla="*/ 178 w 770"/>
                <a:gd name="T17" fmla="*/ 36 h 1403"/>
                <a:gd name="T18" fmla="*/ 135 w 770"/>
                <a:gd name="T19" fmla="*/ 88 h 1403"/>
                <a:gd name="T20" fmla="*/ 95 w 770"/>
                <a:gd name="T21" fmla="*/ 197 h 1403"/>
                <a:gd name="T22" fmla="*/ 59 w 770"/>
                <a:gd name="T23" fmla="*/ 325 h 1403"/>
                <a:gd name="T24" fmla="*/ 20 w 770"/>
                <a:gd name="T25" fmla="*/ 457 h 1403"/>
                <a:gd name="T26" fmla="*/ 1 w 770"/>
                <a:gd name="T27" fmla="*/ 568 h 1403"/>
                <a:gd name="T28" fmla="*/ 24 w 770"/>
                <a:gd name="T29" fmla="*/ 596 h 1403"/>
                <a:gd name="T30" fmla="*/ 60 w 770"/>
                <a:gd name="T31" fmla="*/ 603 h 1403"/>
                <a:gd name="T32" fmla="*/ 95 w 770"/>
                <a:gd name="T33" fmla="*/ 590 h 1403"/>
                <a:gd name="T34" fmla="*/ 124 w 770"/>
                <a:gd name="T35" fmla="*/ 521 h 1403"/>
                <a:gd name="T36" fmla="*/ 175 w 770"/>
                <a:gd name="T37" fmla="*/ 342 h 1403"/>
                <a:gd name="T38" fmla="*/ 229 w 770"/>
                <a:gd name="T39" fmla="*/ 199 h 1403"/>
                <a:gd name="T40" fmla="*/ 181 w 770"/>
                <a:gd name="T41" fmla="*/ 437 h 1403"/>
                <a:gd name="T42" fmla="*/ 96 w 770"/>
                <a:gd name="T43" fmla="*/ 765 h 1403"/>
                <a:gd name="T44" fmla="*/ 202 w 770"/>
                <a:gd name="T45" fmla="*/ 848 h 1403"/>
                <a:gd name="T46" fmla="*/ 244 w 770"/>
                <a:gd name="T47" fmla="*/ 1035 h 1403"/>
                <a:gd name="T48" fmla="*/ 244 w 770"/>
                <a:gd name="T49" fmla="*/ 1284 h 1403"/>
                <a:gd name="T50" fmla="*/ 258 w 770"/>
                <a:gd name="T51" fmla="*/ 1379 h 1403"/>
                <a:gd name="T52" fmla="*/ 297 w 770"/>
                <a:gd name="T53" fmla="*/ 1401 h 1403"/>
                <a:gd name="T54" fmla="*/ 340 w 770"/>
                <a:gd name="T55" fmla="*/ 1394 h 1403"/>
                <a:gd name="T56" fmla="*/ 368 w 770"/>
                <a:gd name="T57" fmla="*/ 1359 h 1403"/>
                <a:gd name="T58" fmla="*/ 372 w 770"/>
                <a:gd name="T59" fmla="*/ 1159 h 1403"/>
                <a:gd name="T60" fmla="*/ 372 w 770"/>
                <a:gd name="T61" fmla="*/ 910 h 1403"/>
                <a:gd name="T62" fmla="*/ 412 w 770"/>
                <a:gd name="T63" fmla="*/ 907 h 1403"/>
                <a:gd name="T64" fmla="*/ 412 w 770"/>
                <a:gd name="T65" fmla="*/ 1149 h 1403"/>
                <a:gd name="T66" fmla="*/ 412 w 770"/>
                <a:gd name="T67" fmla="*/ 1336 h 1403"/>
                <a:gd name="T68" fmla="*/ 418 w 770"/>
                <a:gd name="T69" fmla="*/ 1363 h 1403"/>
                <a:gd name="T70" fmla="*/ 433 w 770"/>
                <a:gd name="T71" fmla="*/ 1386 h 1403"/>
                <a:gd name="T72" fmla="*/ 457 w 770"/>
                <a:gd name="T73" fmla="*/ 1401 h 1403"/>
                <a:gd name="T74" fmla="*/ 485 w 770"/>
                <a:gd name="T75" fmla="*/ 1403 h 1403"/>
                <a:gd name="T76" fmla="*/ 510 w 770"/>
                <a:gd name="T77" fmla="*/ 1393 h 1403"/>
                <a:gd name="T78" fmla="*/ 532 w 770"/>
                <a:gd name="T79" fmla="*/ 1367 h 1403"/>
                <a:gd name="T80" fmla="*/ 541 w 770"/>
                <a:gd name="T81" fmla="*/ 1267 h 1403"/>
                <a:gd name="T82" fmla="*/ 541 w 770"/>
                <a:gd name="T83" fmla="*/ 1028 h 1403"/>
                <a:gd name="T84" fmla="*/ 584 w 770"/>
                <a:gd name="T85" fmla="*/ 848 h 1403"/>
                <a:gd name="T86" fmla="*/ 686 w 770"/>
                <a:gd name="T87" fmla="*/ 764 h 1403"/>
                <a:gd name="T88" fmla="*/ 588 w 770"/>
                <a:gd name="T89" fmla="*/ 430 h 1403"/>
                <a:gd name="T90" fmla="*/ 532 w 770"/>
                <a:gd name="T91" fmla="*/ 189 h 1403"/>
                <a:gd name="T92" fmla="*/ 553 w 770"/>
                <a:gd name="T93" fmla="*/ 216 h 1403"/>
                <a:gd name="T94" fmla="*/ 596 w 770"/>
                <a:gd name="T95" fmla="*/ 352 h 1403"/>
                <a:gd name="T96" fmla="*/ 650 w 770"/>
                <a:gd name="T97" fmla="*/ 523 h 1403"/>
                <a:gd name="T98" fmla="*/ 678 w 770"/>
                <a:gd name="T99" fmla="*/ 584 h 1403"/>
                <a:gd name="T100" fmla="*/ 701 w 770"/>
                <a:gd name="T101" fmla="*/ 599 h 1403"/>
                <a:gd name="T102" fmla="*/ 752 w 770"/>
                <a:gd name="T103" fmla="*/ 599 h 1403"/>
                <a:gd name="T104" fmla="*/ 770 w 770"/>
                <a:gd name="T105" fmla="*/ 548 h 1403"/>
                <a:gd name="T106" fmla="*/ 762 w 770"/>
                <a:gd name="T107" fmla="*/ 486 h 1403"/>
                <a:gd name="T108" fmla="*/ 730 w 770"/>
                <a:gd name="T109" fmla="*/ 382 h 1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70" h="1403">
                  <a:moveTo>
                    <a:pt x="722" y="352"/>
                  </a:moveTo>
                  <a:lnTo>
                    <a:pt x="710" y="316"/>
                  </a:lnTo>
                  <a:lnTo>
                    <a:pt x="699" y="281"/>
                  </a:lnTo>
                  <a:lnTo>
                    <a:pt x="690" y="245"/>
                  </a:lnTo>
                  <a:lnTo>
                    <a:pt x="679" y="209"/>
                  </a:lnTo>
                  <a:lnTo>
                    <a:pt x="669" y="174"/>
                  </a:lnTo>
                  <a:lnTo>
                    <a:pt x="656" y="139"/>
                  </a:lnTo>
                  <a:lnTo>
                    <a:pt x="650" y="122"/>
                  </a:lnTo>
                  <a:lnTo>
                    <a:pt x="642" y="104"/>
                  </a:lnTo>
                  <a:lnTo>
                    <a:pt x="634" y="88"/>
                  </a:lnTo>
                  <a:lnTo>
                    <a:pt x="624" y="72"/>
                  </a:lnTo>
                  <a:lnTo>
                    <a:pt x="616" y="60"/>
                  </a:lnTo>
                  <a:lnTo>
                    <a:pt x="607" y="49"/>
                  </a:lnTo>
                  <a:lnTo>
                    <a:pt x="596" y="40"/>
                  </a:lnTo>
                  <a:lnTo>
                    <a:pt x="585" y="32"/>
                  </a:lnTo>
                  <a:lnTo>
                    <a:pt x="573" y="25"/>
                  </a:lnTo>
                  <a:lnTo>
                    <a:pt x="561" y="18"/>
                  </a:lnTo>
                  <a:lnTo>
                    <a:pt x="548" y="13"/>
                  </a:lnTo>
                  <a:lnTo>
                    <a:pt x="536" y="9"/>
                  </a:lnTo>
                  <a:lnTo>
                    <a:pt x="521" y="6"/>
                  </a:lnTo>
                  <a:lnTo>
                    <a:pt x="508" y="4"/>
                  </a:lnTo>
                  <a:lnTo>
                    <a:pt x="494" y="1"/>
                  </a:lnTo>
                  <a:lnTo>
                    <a:pt x="479" y="1"/>
                  </a:lnTo>
                  <a:lnTo>
                    <a:pt x="451" y="0"/>
                  </a:lnTo>
                  <a:lnTo>
                    <a:pt x="425" y="1"/>
                  </a:lnTo>
                  <a:lnTo>
                    <a:pt x="391" y="1"/>
                  </a:lnTo>
                  <a:lnTo>
                    <a:pt x="356" y="1"/>
                  </a:lnTo>
                  <a:lnTo>
                    <a:pt x="323" y="0"/>
                  </a:lnTo>
                  <a:lnTo>
                    <a:pt x="288" y="1"/>
                  </a:lnTo>
                  <a:lnTo>
                    <a:pt x="270" y="2"/>
                  </a:lnTo>
                  <a:lnTo>
                    <a:pt x="254" y="5"/>
                  </a:lnTo>
                  <a:lnTo>
                    <a:pt x="238" y="8"/>
                  </a:lnTo>
                  <a:lnTo>
                    <a:pt x="222" y="12"/>
                  </a:lnTo>
                  <a:lnTo>
                    <a:pt x="206" y="18"/>
                  </a:lnTo>
                  <a:lnTo>
                    <a:pt x="191" y="26"/>
                  </a:lnTo>
                  <a:lnTo>
                    <a:pt x="178" y="36"/>
                  </a:lnTo>
                  <a:lnTo>
                    <a:pt x="164" y="47"/>
                  </a:lnTo>
                  <a:lnTo>
                    <a:pt x="154" y="60"/>
                  </a:lnTo>
                  <a:lnTo>
                    <a:pt x="144" y="73"/>
                  </a:lnTo>
                  <a:lnTo>
                    <a:pt x="135" y="88"/>
                  </a:lnTo>
                  <a:lnTo>
                    <a:pt x="128" y="103"/>
                  </a:lnTo>
                  <a:lnTo>
                    <a:pt x="115" y="132"/>
                  </a:lnTo>
                  <a:lnTo>
                    <a:pt x="104" y="165"/>
                  </a:lnTo>
                  <a:lnTo>
                    <a:pt x="95" y="197"/>
                  </a:lnTo>
                  <a:lnTo>
                    <a:pt x="87" y="229"/>
                  </a:lnTo>
                  <a:lnTo>
                    <a:pt x="77" y="261"/>
                  </a:lnTo>
                  <a:lnTo>
                    <a:pt x="68" y="293"/>
                  </a:lnTo>
                  <a:lnTo>
                    <a:pt x="59" y="325"/>
                  </a:lnTo>
                  <a:lnTo>
                    <a:pt x="49" y="359"/>
                  </a:lnTo>
                  <a:lnTo>
                    <a:pt x="38" y="391"/>
                  </a:lnTo>
                  <a:lnTo>
                    <a:pt x="29" y="425"/>
                  </a:lnTo>
                  <a:lnTo>
                    <a:pt x="20" y="457"/>
                  </a:lnTo>
                  <a:lnTo>
                    <a:pt x="10" y="490"/>
                  </a:lnTo>
                  <a:lnTo>
                    <a:pt x="4" y="524"/>
                  </a:lnTo>
                  <a:lnTo>
                    <a:pt x="0" y="557"/>
                  </a:lnTo>
                  <a:lnTo>
                    <a:pt x="1" y="568"/>
                  </a:lnTo>
                  <a:lnTo>
                    <a:pt x="5" y="576"/>
                  </a:lnTo>
                  <a:lnTo>
                    <a:pt x="9" y="584"/>
                  </a:lnTo>
                  <a:lnTo>
                    <a:pt x="16" y="591"/>
                  </a:lnTo>
                  <a:lnTo>
                    <a:pt x="24" y="596"/>
                  </a:lnTo>
                  <a:lnTo>
                    <a:pt x="32" y="600"/>
                  </a:lnTo>
                  <a:lnTo>
                    <a:pt x="41" y="603"/>
                  </a:lnTo>
                  <a:lnTo>
                    <a:pt x="50" y="604"/>
                  </a:lnTo>
                  <a:lnTo>
                    <a:pt x="60" y="603"/>
                  </a:lnTo>
                  <a:lnTo>
                    <a:pt x="69" y="602"/>
                  </a:lnTo>
                  <a:lnTo>
                    <a:pt x="79" y="599"/>
                  </a:lnTo>
                  <a:lnTo>
                    <a:pt x="87" y="595"/>
                  </a:lnTo>
                  <a:lnTo>
                    <a:pt x="95" y="590"/>
                  </a:lnTo>
                  <a:lnTo>
                    <a:pt x="101" y="583"/>
                  </a:lnTo>
                  <a:lnTo>
                    <a:pt x="107" y="575"/>
                  </a:lnTo>
                  <a:lnTo>
                    <a:pt x="109" y="565"/>
                  </a:lnTo>
                  <a:lnTo>
                    <a:pt x="124" y="521"/>
                  </a:lnTo>
                  <a:lnTo>
                    <a:pt x="138" y="477"/>
                  </a:lnTo>
                  <a:lnTo>
                    <a:pt x="151" y="431"/>
                  </a:lnTo>
                  <a:lnTo>
                    <a:pt x="163" y="387"/>
                  </a:lnTo>
                  <a:lnTo>
                    <a:pt x="175" y="342"/>
                  </a:lnTo>
                  <a:lnTo>
                    <a:pt x="189" y="296"/>
                  </a:lnTo>
                  <a:lnTo>
                    <a:pt x="202" y="252"/>
                  </a:lnTo>
                  <a:lnTo>
                    <a:pt x="217" y="207"/>
                  </a:lnTo>
                  <a:lnTo>
                    <a:pt x="229" y="199"/>
                  </a:lnTo>
                  <a:lnTo>
                    <a:pt x="242" y="190"/>
                  </a:lnTo>
                  <a:lnTo>
                    <a:pt x="222" y="273"/>
                  </a:lnTo>
                  <a:lnTo>
                    <a:pt x="202" y="355"/>
                  </a:lnTo>
                  <a:lnTo>
                    <a:pt x="181" y="437"/>
                  </a:lnTo>
                  <a:lnTo>
                    <a:pt x="159" y="519"/>
                  </a:lnTo>
                  <a:lnTo>
                    <a:pt x="138" y="600"/>
                  </a:lnTo>
                  <a:lnTo>
                    <a:pt x="118" y="683"/>
                  </a:lnTo>
                  <a:lnTo>
                    <a:pt x="96" y="765"/>
                  </a:lnTo>
                  <a:lnTo>
                    <a:pt x="76" y="847"/>
                  </a:lnTo>
                  <a:lnTo>
                    <a:pt x="118" y="848"/>
                  </a:lnTo>
                  <a:lnTo>
                    <a:pt x="159" y="848"/>
                  </a:lnTo>
                  <a:lnTo>
                    <a:pt x="202" y="848"/>
                  </a:lnTo>
                  <a:lnTo>
                    <a:pt x="244" y="848"/>
                  </a:lnTo>
                  <a:lnTo>
                    <a:pt x="244" y="910"/>
                  </a:lnTo>
                  <a:lnTo>
                    <a:pt x="244" y="973"/>
                  </a:lnTo>
                  <a:lnTo>
                    <a:pt x="244" y="1035"/>
                  </a:lnTo>
                  <a:lnTo>
                    <a:pt x="244" y="1098"/>
                  </a:lnTo>
                  <a:lnTo>
                    <a:pt x="244" y="1159"/>
                  </a:lnTo>
                  <a:lnTo>
                    <a:pt x="244" y="1221"/>
                  </a:lnTo>
                  <a:lnTo>
                    <a:pt x="244" y="1284"/>
                  </a:lnTo>
                  <a:lnTo>
                    <a:pt x="245" y="1346"/>
                  </a:lnTo>
                  <a:lnTo>
                    <a:pt x="248" y="1359"/>
                  </a:lnTo>
                  <a:lnTo>
                    <a:pt x="252" y="1370"/>
                  </a:lnTo>
                  <a:lnTo>
                    <a:pt x="258" y="1379"/>
                  </a:lnTo>
                  <a:lnTo>
                    <a:pt x="266" y="1387"/>
                  </a:lnTo>
                  <a:lnTo>
                    <a:pt x="276" y="1394"/>
                  </a:lnTo>
                  <a:lnTo>
                    <a:pt x="286" y="1398"/>
                  </a:lnTo>
                  <a:lnTo>
                    <a:pt x="297" y="1401"/>
                  </a:lnTo>
                  <a:lnTo>
                    <a:pt x="308" y="1402"/>
                  </a:lnTo>
                  <a:lnTo>
                    <a:pt x="319" y="1401"/>
                  </a:lnTo>
                  <a:lnTo>
                    <a:pt x="329" y="1398"/>
                  </a:lnTo>
                  <a:lnTo>
                    <a:pt x="340" y="1394"/>
                  </a:lnTo>
                  <a:lnTo>
                    <a:pt x="349" y="1389"/>
                  </a:lnTo>
                  <a:lnTo>
                    <a:pt x="357" y="1381"/>
                  </a:lnTo>
                  <a:lnTo>
                    <a:pt x="363" y="1371"/>
                  </a:lnTo>
                  <a:lnTo>
                    <a:pt x="368" y="1359"/>
                  </a:lnTo>
                  <a:lnTo>
                    <a:pt x="370" y="1347"/>
                  </a:lnTo>
                  <a:lnTo>
                    <a:pt x="372" y="1284"/>
                  </a:lnTo>
                  <a:lnTo>
                    <a:pt x="372" y="1222"/>
                  </a:lnTo>
                  <a:lnTo>
                    <a:pt x="372" y="1159"/>
                  </a:lnTo>
                  <a:lnTo>
                    <a:pt x="372" y="1098"/>
                  </a:lnTo>
                  <a:lnTo>
                    <a:pt x="372" y="1035"/>
                  </a:lnTo>
                  <a:lnTo>
                    <a:pt x="372" y="973"/>
                  </a:lnTo>
                  <a:lnTo>
                    <a:pt x="372" y="910"/>
                  </a:lnTo>
                  <a:lnTo>
                    <a:pt x="372" y="848"/>
                  </a:lnTo>
                  <a:lnTo>
                    <a:pt x="392" y="847"/>
                  </a:lnTo>
                  <a:lnTo>
                    <a:pt x="411" y="847"/>
                  </a:lnTo>
                  <a:lnTo>
                    <a:pt x="412" y="907"/>
                  </a:lnTo>
                  <a:lnTo>
                    <a:pt x="412" y="968"/>
                  </a:lnTo>
                  <a:lnTo>
                    <a:pt x="412" y="1028"/>
                  </a:lnTo>
                  <a:lnTo>
                    <a:pt x="412" y="1088"/>
                  </a:lnTo>
                  <a:lnTo>
                    <a:pt x="412" y="1149"/>
                  </a:lnTo>
                  <a:lnTo>
                    <a:pt x="412" y="1209"/>
                  </a:lnTo>
                  <a:lnTo>
                    <a:pt x="412" y="1269"/>
                  </a:lnTo>
                  <a:lnTo>
                    <a:pt x="412" y="1330"/>
                  </a:lnTo>
                  <a:lnTo>
                    <a:pt x="412" y="1336"/>
                  </a:lnTo>
                  <a:lnTo>
                    <a:pt x="412" y="1343"/>
                  </a:lnTo>
                  <a:lnTo>
                    <a:pt x="414" y="1350"/>
                  </a:lnTo>
                  <a:lnTo>
                    <a:pt x="415" y="1357"/>
                  </a:lnTo>
                  <a:lnTo>
                    <a:pt x="418" y="1363"/>
                  </a:lnTo>
                  <a:lnTo>
                    <a:pt x="420" y="1370"/>
                  </a:lnTo>
                  <a:lnTo>
                    <a:pt x="425" y="1375"/>
                  </a:lnTo>
                  <a:lnTo>
                    <a:pt x="429" y="1381"/>
                  </a:lnTo>
                  <a:lnTo>
                    <a:pt x="433" y="1386"/>
                  </a:lnTo>
                  <a:lnTo>
                    <a:pt x="438" y="1391"/>
                  </a:lnTo>
                  <a:lnTo>
                    <a:pt x="443" y="1394"/>
                  </a:lnTo>
                  <a:lnTo>
                    <a:pt x="450" y="1398"/>
                  </a:lnTo>
                  <a:lnTo>
                    <a:pt x="457" y="1401"/>
                  </a:lnTo>
                  <a:lnTo>
                    <a:pt x="463" y="1402"/>
                  </a:lnTo>
                  <a:lnTo>
                    <a:pt x="470" y="1403"/>
                  </a:lnTo>
                  <a:lnTo>
                    <a:pt x="477" y="1403"/>
                  </a:lnTo>
                  <a:lnTo>
                    <a:pt x="485" y="1403"/>
                  </a:lnTo>
                  <a:lnTo>
                    <a:pt x="492" y="1402"/>
                  </a:lnTo>
                  <a:lnTo>
                    <a:pt x="498" y="1399"/>
                  </a:lnTo>
                  <a:lnTo>
                    <a:pt x="504" y="1397"/>
                  </a:lnTo>
                  <a:lnTo>
                    <a:pt x="510" y="1393"/>
                  </a:lnTo>
                  <a:lnTo>
                    <a:pt x="516" y="1389"/>
                  </a:lnTo>
                  <a:lnTo>
                    <a:pt x="520" y="1385"/>
                  </a:lnTo>
                  <a:lnTo>
                    <a:pt x="524" y="1379"/>
                  </a:lnTo>
                  <a:lnTo>
                    <a:pt x="532" y="1367"/>
                  </a:lnTo>
                  <a:lnTo>
                    <a:pt x="537" y="1354"/>
                  </a:lnTo>
                  <a:lnTo>
                    <a:pt x="540" y="1340"/>
                  </a:lnTo>
                  <a:lnTo>
                    <a:pt x="540" y="1327"/>
                  </a:lnTo>
                  <a:lnTo>
                    <a:pt x="541" y="1267"/>
                  </a:lnTo>
                  <a:lnTo>
                    <a:pt x="542" y="1208"/>
                  </a:lnTo>
                  <a:lnTo>
                    <a:pt x="542" y="1147"/>
                  </a:lnTo>
                  <a:lnTo>
                    <a:pt x="541" y="1087"/>
                  </a:lnTo>
                  <a:lnTo>
                    <a:pt x="541" y="1028"/>
                  </a:lnTo>
                  <a:lnTo>
                    <a:pt x="541" y="968"/>
                  </a:lnTo>
                  <a:lnTo>
                    <a:pt x="541" y="907"/>
                  </a:lnTo>
                  <a:lnTo>
                    <a:pt x="542" y="848"/>
                  </a:lnTo>
                  <a:lnTo>
                    <a:pt x="584" y="848"/>
                  </a:lnTo>
                  <a:lnTo>
                    <a:pt x="626" y="848"/>
                  </a:lnTo>
                  <a:lnTo>
                    <a:pt x="667" y="848"/>
                  </a:lnTo>
                  <a:lnTo>
                    <a:pt x="709" y="848"/>
                  </a:lnTo>
                  <a:lnTo>
                    <a:pt x="686" y="764"/>
                  </a:lnTo>
                  <a:lnTo>
                    <a:pt x="662" y="681"/>
                  </a:lnTo>
                  <a:lnTo>
                    <a:pt x="636" y="598"/>
                  </a:lnTo>
                  <a:lnTo>
                    <a:pt x="612" y="515"/>
                  </a:lnTo>
                  <a:lnTo>
                    <a:pt x="588" y="430"/>
                  </a:lnTo>
                  <a:lnTo>
                    <a:pt x="564" y="347"/>
                  </a:lnTo>
                  <a:lnTo>
                    <a:pt x="541" y="264"/>
                  </a:lnTo>
                  <a:lnTo>
                    <a:pt x="521" y="179"/>
                  </a:lnTo>
                  <a:lnTo>
                    <a:pt x="532" y="189"/>
                  </a:lnTo>
                  <a:lnTo>
                    <a:pt x="542" y="198"/>
                  </a:lnTo>
                  <a:lnTo>
                    <a:pt x="547" y="203"/>
                  </a:lnTo>
                  <a:lnTo>
                    <a:pt x="551" y="210"/>
                  </a:lnTo>
                  <a:lnTo>
                    <a:pt x="553" y="216"/>
                  </a:lnTo>
                  <a:lnTo>
                    <a:pt x="556" y="224"/>
                  </a:lnTo>
                  <a:lnTo>
                    <a:pt x="571" y="265"/>
                  </a:lnTo>
                  <a:lnTo>
                    <a:pt x="584" y="308"/>
                  </a:lnTo>
                  <a:lnTo>
                    <a:pt x="596" y="352"/>
                  </a:lnTo>
                  <a:lnTo>
                    <a:pt x="610" y="395"/>
                  </a:lnTo>
                  <a:lnTo>
                    <a:pt x="623" y="438"/>
                  </a:lnTo>
                  <a:lnTo>
                    <a:pt x="636" y="481"/>
                  </a:lnTo>
                  <a:lnTo>
                    <a:pt x="650" y="523"/>
                  </a:lnTo>
                  <a:lnTo>
                    <a:pt x="664" y="565"/>
                  </a:lnTo>
                  <a:lnTo>
                    <a:pt x="669" y="572"/>
                  </a:lnTo>
                  <a:lnTo>
                    <a:pt x="673" y="579"/>
                  </a:lnTo>
                  <a:lnTo>
                    <a:pt x="678" y="584"/>
                  </a:lnTo>
                  <a:lnTo>
                    <a:pt x="683" y="590"/>
                  </a:lnTo>
                  <a:lnTo>
                    <a:pt x="689" y="592"/>
                  </a:lnTo>
                  <a:lnTo>
                    <a:pt x="695" y="596"/>
                  </a:lnTo>
                  <a:lnTo>
                    <a:pt x="701" y="599"/>
                  </a:lnTo>
                  <a:lnTo>
                    <a:pt x="709" y="600"/>
                  </a:lnTo>
                  <a:lnTo>
                    <a:pt x="722" y="602"/>
                  </a:lnTo>
                  <a:lnTo>
                    <a:pt x="737" y="602"/>
                  </a:lnTo>
                  <a:lnTo>
                    <a:pt x="752" y="599"/>
                  </a:lnTo>
                  <a:lnTo>
                    <a:pt x="765" y="595"/>
                  </a:lnTo>
                  <a:lnTo>
                    <a:pt x="769" y="579"/>
                  </a:lnTo>
                  <a:lnTo>
                    <a:pt x="770" y="564"/>
                  </a:lnTo>
                  <a:lnTo>
                    <a:pt x="770" y="548"/>
                  </a:lnTo>
                  <a:lnTo>
                    <a:pt x="769" y="533"/>
                  </a:lnTo>
                  <a:lnTo>
                    <a:pt x="768" y="517"/>
                  </a:lnTo>
                  <a:lnTo>
                    <a:pt x="765" y="502"/>
                  </a:lnTo>
                  <a:lnTo>
                    <a:pt x="762" y="486"/>
                  </a:lnTo>
                  <a:lnTo>
                    <a:pt x="758" y="472"/>
                  </a:lnTo>
                  <a:lnTo>
                    <a:pt x="749" y="442"/>
                  </a:lnTo>
                  <a:lnTo>
                    <a:pt x="740" y="411"/>
                  </a:lnTo>
                  <a:lnTo>
                    <a:pt x="730" y="382"/>
                  </a:lnTo>
                  <a:lnTo>
                    <a:pt x="722" y="352"/>
                  </a:lnTo>
                  <a:close/>
                </a:path>
              </a:pathLst>
            </a:custGeom>
            <a:grpFill/>
            <a:ln w="9525">
              <a:noFill/>
              <a:round/>
            </a:ln>
          </p:spPr>
          <p:txBody>
            <a:bodyPr vert="horz" wrap="square" lIns="91440" tIns="45720" rIns="91440" bIns="45720" numCol="1" anchor="t" anchorCtr="0" compatLnSpc="1"/>
            <a:lstStyle/>
            <a:p>
              <a:endParaRPr lang="en-US"/>
            </a:p>
          </p:txBody>
        </p:sp>
      </p:grpSp>
      <p:grpSp>
        <p:nvGrpSpPr>
          <p:cNvPr id="140" name="Group 139"/>
          <p:cNvGrpSpPr/>
          <p:nvPr/>
        </p:nvGrpSpPr>
        <p:grpSpPr>
          <a:xfrm>
            <a:off x="5662256" y="2635121"/>
            <a:ext cx="231047" cy="591857"/>
            <a:chOff x="3647164" y="2464482"/>
            <a:chExt cx="231047" cy="591857"/>
          </a:xfrm>
          <a:solidFill>
            <a:schemeClr val="tx1">
              <a:lumMod val="85000"/>
              <a:lumOff val="15000"/>
            </a:schemeClr>
          </a:solidFill>
        </p:grpSpPr>
        <p:sp>
          <p:nvSpPr>
            <p:cNvPr id="141" name="Freeform 56"/>
            <p:cNvSpPr/>
            <p:nvPr/>
          </p:nvSpPr>
          <p:spPr bwMode="auto">
            <a:xfrm>
              <a:off x="3716795" y="2464482"/>
              <a:ext cx="96006" cy="96006"/>
            </a:xfrm>
            <a:custGeom>
              <a:avLst/>
              <a:gdLst>
                <a:gd name="T0" fmla="*/ 262 w 273"/>
                <a:gd name="T1" fmla="*/ 182 h 271"/>
                <a:gd name="T2" fmla="*/ 266 w 273"/>
                <a:gd name="T3" fmla="*/ 173 h 271"/>
                <a:gd name="T4" fmla="*/ 269 w 273"/>
                <a:gd name="T5" fmla="*/ 165 h 271"/>
                <a:gd name="T6" fmla="*/ 272 w 273"/>
                <a:gd name="T7" fmla="*/ 155 h 271"/>
                <a:gd name="T8" fmla="*/ 273 w 273"/>
                <a:gd name="T9" fmla="*/ 146 h 271"/>
                <a:gd name="T10" fmla="*/ 273 w 273"/>
                <a:gd name="T11" fmla="*/ 137 h 271"/>
                <a:gd name="T12" fmla="*/ 273 w 273"/>
                <a:gd name="T13" fmla="*/ 127 h 271"/>
                <a:gd name="T14" fmla="*/ 272 w 273"/>
                <a:gd name="T15" fmla="*/ 119 h 271"/>
                <a:gd name="T16" fmla="*/ 270 w 273"/>
                <a:gd name="T17" fmla="*/ 110 h 271"/>
                <a:gd name="T18" fmla="*/ 265 w 273"/>
                <a:gd name="T19" fmla="*/ 92 h 271"/>
                <a:gd name="T20" fmla="*/ 257 w 273"/>
                <a:gd name="T21" fmla="*/ 76 h 271"/>
                <a:gd name="T22" fmla="*/ 246 w 273"/>
                <a:gd name="T23" fmla="*/ 60 h 271"/>
                <a:gd name="T24" fmla="*/ 236 w 273"/>
                <a:gd name="T25" fmla="*/ 45 h 271"/>
                <a:gd name="T26" fmla="*/ 222 w 273"/>
                <a:gd name="T27" fmla="*/ 33 h 271"/>
                <a:gd name="T28" fmla="*/ 207 w 273"/>
                <a:gd name="T29" fmla="*/ 23 h 271"/>
                <a:gd name="T30" fmla="*/ 191 w 273"/>
                <a:gd name="T31" fmla="*/ 13 h 271"/>
                <a:gd name="T32" fmla="*/ 174 w 273"/>
                <a:gd name="T33" fmla="*/ 6 h 271"/>
                <a:gd name="T34" fmla="*/ 165 w 273"/>
                <a:gd name="T35" fmla="*/ 4 h 271"/>
                <a:gd name="T36" fmla="*/ 157 w 273"/>
                <a:gd name="T37" fmla="*/ 1 h 271"/>
                <a:gd name="T38" fmla="*/ 147 w 273"/>
                <a:gd name="T39" fmla="*/ 0 h 271"/>
                <a:gd name="T40" fmla="*/ 138 w 273"/>
                <a:gd name="T41" fmla="*/ 0 h 271"/>
                <a:gd name="T42" fmla="*/ 128 w 273"/>
                <a:gd name="T43" fmla="*/ 0 h 271"/>
                <a:gd name="T44" fmla="*/ 119 w 273"/>
                <a:gd name="T45" fmla="*/ 1 h 271"/>
                <a:gd name="T46" fmla="*/ 110 w 273"/>
                <a:gd name="T47" fmla="*/ 2 h 271"/>
                <a:gd name="T48" fmla="*/ 100 w 273"/>
                <a:gd name="T49" fmla="*/ 5 h 271"/>
                <a:gd name="T50" fmla="*/ 92 w 273"/>
                <a:gd name="T51" fmla="*/ 6 h 271"/>
                <a:gd name="T52" fmla="*/ 84 w 273"/>
                <a:gd name="T53" fmla="*/ 9 h 271"/>
                <a:gd name="T54" fmla="*/ 76 w 273"/>
                <a:gd name="T55" fmla="*/ 13 h 271"/>
                <a:gd name="T56" fmla="*/ 68 w 273"/>
                <a:gd name="T57" fmla="*/ 17 h 271"/>
                <a:gd name="T58" fmla="*/ 53 w 273"/>
                <a:gd name="T59" fmla="*/ 27 h 271"/>
                <a:gd name="T60" fmla="*/ 41 w 273"/>
                <a:gd name="T61" fmla="*/ 37 h 271"/>
                <a:gd name="T62" fmla="*/ 29 w 273"/>
                <a:gd name="T63" fmla="*/ 49 h 271"/>
                <a:gd name="T64" fmla="*/ 20 w 273"/>
                <a:gd name="T65" fmla="*/ 64 h 271"/>
                <a:gd name="T66" fmla="*/ 12 w 273"/>
                <a:gd name="T67" fmla="*/ 79 h 271"/>
                <a:gd name="T68" fmla="*/ 6 w 273"/>
                <a:gd name="T69" fmla="*/ 95 h 271"/>
                <a:gd name="T70" fmla="*/ 2 w 273"/>
                <a:gd name="T71" fmla="*/ 112 h 271"/>
                <a:gd name="T72" fmla="*/ 0 w 273"/>
                <a:gd name="T73" fmla="*/ 129 h 271"/>
                <a:gd name="T74" fmla="*/ 0 w 273"/>
                <a:gd name="T75" fmla="*/ 146 h 271"/>
                <a:gd name="T76" fmla="*/ 2 w 273"/>
                <a:gd name="T77" fmla="*/ 163 h 271"/>
                <a:gd name="T78" fmla="*/ 6 w 273"/>
                <a:gd name="T79" fmla="*/ 179 h 271"/>
                <a:gd name="T80" fmla="*/ 12 w 273"/>
                <a:gd name="T81" fmla="*/ 196 h 271"/>
                <a:gd name="T82" fmla="*/ 21 w 273"/>
                <a:gd name="T83" fmla="*/ 210 h 271"/>
                <a:gd name="T84" fmla="*/ 32 w 273"/>
                <a:gd name="T85" fmla="*/ 224 h 271"/>
                <a:gd name="T86" fmla="*/ 39 w 273"/>
                <a:gd name="T87" fmla="*/ 232 h 271"/>
                <a:gd name="T88" fmla="*/ 44 w 273"/>
                <a:gd name="T89" fmla="*/ 238 h 271"/>
                <a:gd name="T90" fmla="*/ 51 w 273"/>
                <a:gd name="T91" fmla="*/ 244 h 271"/>
                <a:gd name="T92" fmla="*/ 59 w 273"/>
                <a:gd name="T93" fmla="*/ 249 h 271"/>
                <a:gd name="T94" fmla="*/ 73 w 273"/>
                <a:gd name="T95" fmla="*/ 259 h 271"/>
                <a:gd name="T96" fmla="*/ 89 w 273"/>
                <a:gd name="T97" fmla="*/ 264 h 271"/>
                <a:gd name="T98" fmla="*/ 107 w 273"/>
                <a:gd name="T99" fmla="*/ 269 h 271"/>
                <a:gd name="T100" fmla="*/ 124 w 273"/>
                <a:gd name="T101" fmla="*/ 271 h 271"/>
                <a:gd name="T102" fmla="*/ 142 w 273"/>
                <a:gd name="T103" fmla="*/ 271 h 271"/>
                <a:gd name="T104" fmla="*/ 159 w 273"/>
                <a:gd name="T105" fmla="*/ 269 h 271"/>
                <a:gd name="T106" fmla="*/ 177 w 273"/>
                <a:gd name="T107" fmla="*/ 265 h 271"/>
                <a:gd name="T108" fmla="*/ 193 w 273"/>
                <a:gd name="T109" fmla="*/ 259 h 271"/>
                <a:gd name="T110" fmla="*/ 209 w 273"/>
                <a:gd name="T111" fmla="*/ 251 h 271"/>
                <a:gd name="T112" fmla="*/ 224 w 273"/>
                <a:gd name="T113" fmla="*/ 240 h 271"/>
                <a:gd name="T114" fmla="*/ 236 w 273"/>
                <a:gd name="T115" fmla="*/ 229 h 271"/>
                <a:gd name="T116" fmla="*/ 248 w 273"/>
                <a:gd name="T117" fmla="*/ 214 h 271"/>
                <a:gd name="T118" fmla="*/ 252 w 273"/>
                <a:gd name="T119" fmla="*/ 208 h 271"/>
                <a:gd name="T120" fmla="*/ 256 w 273"/>
                <a:gd name="T121" fmla="*/ 200 h 271"/>
                <a:gd name="T122" fmla="*/ 260 w 273"/>
                <a:gd name="T123" fmla="*/ 192 h 271"/>
                <a:gd name="T124" fmla="*/ 262 w 273"/>
                <a:gd name="T125" fmla="*/ 18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3" h="271">
                  <a:moveTo>
                    <a:pt x="262" y="182"/>
                  </a:moveTo>
                  <a:lnTo>
                    <a:pt x="266" y="173"/>
                  </a:lnTo>
                  <a:lnTo>
                    <a:pt x="269" y="165"/>
                  </a:lnTo>
                  <a:lnTo>
                    <a:pt x="272" y="155"/>
                  </a:lnTo>
                  <a:lnTo>
                    <a:pt x="273" y="146"/>
                  </a:lnTo>
                  <a:lnTo>
                    <a:pt x="273" y="137"/>
                  </a:lnTo>
                  <a:lnTo>
                    <a:pt x="273" y="127"/>
                  </a:lnTo>
                  <a:lnTo>
                    <a:pt x="272" y="119"/>
                  </a:lnTo>
                  <a:lnTo>
                    <a:pt x="270" y="110"/>
                  </a:lnTo>
                  <a:lnTo>
                    <a:pt x="265" y="92"/>
                  </a:lnTo>
                  <a:lnTo>
                    <a:pt x="257" y="76"/>
                  </a:lnTo>
                  <a:lnTo>
                    <a:pt x="246" y="60"/>
                  </a:lnTo>
                  <a:lnTo>
                    <a:pt x="236" y="45"/>
                  </a:lnTo>
                  <a:lnTo>
                    <a:pt x="222" y="33"/>
                  </a:lnTo>
                  <a:lnTo>
                    <a:pt x="207" y="23"/>
                  </a:lnTo>
                  <a:lnTo>
                    <a:pt x="191" y="13"/>
                  </a:lnTo>
                  <a:lnTo>
                    <a:pt x="174" y="6"/>
                  </a:lnTo>
                  <a:lnTo>
                    <a:pt x="165" y="4"/>
                  </a:lnTo>
                  <a:lnTo>
                    <a:pt x="157" y="1"/>
                  </a:lnTo>
                  <a:lnTo>
                    <a:pt x="147" y="0"/>
                  </a:lnTo>
                  <a:lnTo>
                    <a:pt x="138" y="0"/>
                  </a:lnTo>
                  <a:lnTo>
                    <a:pt x="128" y="0"/>
                  </a:lnTo>
                  <a:lnTo>
                    <a:pt x="119" y="1"/>
                  </a:lnTo>
                  <a:lnTo>
                    <a:pt x="110" y="2"/>
                  </a:lnTo>
                  <a:lnTo>
                    <a:pt x="100" y="5"/>
                  </a:lnTo>
                  <a:lnTo>
                    <a:pt x="92" y="6"/>
                  </a:lnTo>
                  <a:lnTo>
                    <a:pt x="84" y="9"/>
                  </a:lnTo>
                  <a:lnTo>
                    <a:pt x="76" y="13"/>
                  </a:lnTo>
                  <a:lnTo>
                    <a:pt x="68" y="17"/>
                  </a:lnTo>
                  <a:lnTo>
                    <a:pt x="53" y="27"/>
                  </a:lnTo>
                  <a:lnTo>
                    <a:pt x="41" y="37"/>
                  </a:lnTo>
                  <a:lnTo>
                    <a:pt x="29" y="49"/>
                  </a:lnTo>
                  <a:lnTo>
                    <a:pt x="20" y="64"/>
                  </a:lnTo>
                  <a:lnTo>
                    <a:pt x="12" y="79"/>
                  </a:lnTo>
                  <a:lnTo>
                    <a:pt x="6" y="95"/>
                  </a:lnTo>
                  <a:lnTo>
                    <a:pt x="2" y="112"/>
                  </a:lnTo>
                  <a:lnTo>
                    <a:pt x="0" y="129"/>
                  </a:lnTo>
                  <a:lnTo>
                    <a:pt x="0" y="146"/>
                  </a:lnTo>
                  <a:lnTo>
                    <a:pt x="2" y="163"/>
                  </a:lnTo>
                  <a:lnTo>
                    <a:pt x="6" y="179"/>
                  </a:lnTo>
                  <a:lnTo>
                    <a:pt x="12" y="196"/>
                  </a:lnTo>
                  <a:lnTo>
                    <a:pt x="21" y="210"/>
                  </a:lnTo>
                  <a:lnTo>
                    <a:pt x="32" y="224"/>
                  </a:lnTo>
                  <a:lnTo>
                    <a:pt x="39" y="232"/>
                  </a:lnTo>
                  <a:lnTo>
                    <a:pt x="44" y="238"/>
                  </a:lnTo>
                  <a:lnTo>
                    <a:pt x="51" y="244"/>
                  </a:lnTo>
                  <a:lnTo>
                    <a:pt x="59" y="249"/>
                  </a:lnTo>
                  <a:lnTo>
                    <a:pt x="73" y="259"/>
                  </a:lnTo>
                  <a:lnTo>
                    <a:pt x="89" y="264"/>
                  </a:lnTo>
                  <a:lnTo>
                    <a:pt x="107" y="269"/>
                  </a:lnTo>
                  <a:lnTo>
                    <a:pt x="124" y="271"/>
                  </a:lnTo>
                  <a:lnTo>
                    <a:pt x="142" y="271"/>
                  </a:lnTo>
                  <a:lnTo>
                    <a:pt x="159" y="269"/>
                  </a:lnTo>
                  <a:lnTo>
                    <a:pt x="177" y="265"/>
                  </a:lnTo>
                  <a:lnTo>
                    <a:pt x="193" y="259"/>
                  </a:lnTo>
                  <a:lnTo>
                    <a:pt x="209" y="251"/>
                  </a:lnTo>
                  <a:lnTo>
                    <a:pt x="224" y="240"/>
                  </a:lnTo>
                  <a:lnTo>
                    <a:pt x="236" y="229"/>
                  </a:lnTo>
                  <a:lnTo>
                    <a:pt x="248" y="214"/>
                  </a:lnTo>
                  <a:lnTo>
                    <a:pt x="252" y="208"/>
                  </a:lnTo>
                  <a:lnTo>
                    <a:pt x="256" y="200"/>
                  </a:lnTo>
                  <a:lnTo>
                    <a:pt x="260" y="192"/>
                  </a:lnTo>
                  <a:lnTo>
                    <a:pt x="262" y="182"/>
                  </a:lnTo>
                  <a:close/>
                </a:path>
              </a:pathLst>
            </a:custGeom>
            <a:grpFill/>
            <a:ln w="9525">
              <a:noFill/>
              <a:round/>
            </a:ln>
          </p:spPr>
          <p:txBody>
            <a:bodyPr vert="horz" wrap="square" lIns="91440" tIns="45720" rIns="91440" bIns="45720" numCol="1" anchor="t" anchorCtr="0" compatLnSpc="1"/>
            <a:lstStyle/>
            <a:p>
              <a:endParaRPr lang="en-US"/>
            </a:p>
          </p:txBody>
        </p:sp>
        <p:sp>
          <p:nvSpPr>
            <p:cNvPr id="142" name="Freeform 57"/>
            <p:cNvSpPr/>
            <p:nvPr/>
          </p:nvSpPr>
          <p:spPr bwMode="auto">
            <a:xfrm>
              <a:off x="3647164" y="2569982"/>
              <a:ext cx="231047" cy="486357"/>
            </a:xfrm>
            <a:custGeom>
              <a:avLst/>
              <a:gdLst>
                <a:gd name="T0" fmla="*/ 566 w 658"/>
                <a:gd name="T1" fmla="*/ 20 h 1383"/>
                <a:gd name="T2" fmla="*/ 506 w 658"/>
                <a:gd name="T3" fmla="*/ 4 h 1383"/>
                <a:gd name="T4" fmla="*/ 396 w 658"/>
                <a:gd name="T5" fmla="*/ 0 h 1383"/>
                <a:gd name="T6" fmla="*/ 259 w 658"/>
                <a:gd name="T7" fmla="*/ 0 h 1383"/>
                <a:gd name="T8" fmla="*/ 136 w 658"/>
                <a:gd name="T9" fmla="*/ 8 h 1383"/>
                <a:gd name="T10" fmla="*/ 74 w 658"/>
                <a:gd name="T11" fmla="*/ 27 h 1383"/>
                <a:gd name="T12" fmla="*/ 40 w 658"/>
                <a:gd name="T13" fmla="*/ 53 h 1383"/>
                <a:gd name="T14" fmla="*/ 16 w 658"/>
                <a:gd name="T15" fmla="*/ 90 h 1383"/>
                <a:gd name="T16" fmla="*/ 4 w 658"/>
                <a:gd name="T17" fmla="*/ 131 h 1383"/>
                <a:gd name="T18" fmla="*/ 2 w 658"/>
                <a:gd name="T19" fmla="*/ 220 h 1383"/>
                <a:gd name="T20" fmla="*/ 0 w 658"/>
                <a:gd name="T21" fmla="*/ 448 h 1383"/>
                <a:gd name="T22" fmla="*/ 2 w 658"/>
                <a:gd name="T23" fmla="*/ 629 h 1383"/>
                <a:gd name="T24" fmla="*/ 19 w 658"/>
                <a:gd name="T25" fmla="*/ 665 h 1383"/>
                <a:gd name="T26" fmla="*/ 42 w 658"/>
                <a:gd name="T27" fmla="*/ 676 h 1383"/>
                <a:gd name="T28" fmla="*/ 73 w 658"/>
                <a:gd name="T29" fmla="*/ 676 h 1383"/>
                <a:gd name="T30" fmla="*/ 97 w 658"/>
                <a:gd name="T31" fmla="*/ 657 h 1383"/>
                <a:gd name="T32" fmla="*/ 117 w 658"/>
                <a:gd name="T33" fmla="*/ 602 h 1383"/>
                <a:gd name="T34" fmla="*/ 118 w 658"/>
                <a:gd name="T35" fmla="*/ 452 h 1383"/>
                <a:gd name="T36" fmla="*/ 118 w 658"/>
                <a:gd name="T37" fmla="*/ 273 h 1383"/>
                <a:gd name="T38" fmla="*/ 153 w 658"/>
                <a:gd name="T39" fmla="*/ 296 h 1383"/>
                <a:gd name="T40" fmla="*/ 153 w 658"/>
                <a:gd name="T41" fmla="*/ 566 h 1383"/>
                <a:gd name="T42" fmla="*/ 153 w 658"/>
                <a:gd name="T43" fmla="*/ 836 h 1383"/>
                <a:gd name="T44" fmla="*/ 153 w 658"/>
                <a:gd name="T45" fmla="*/ 1107 h 1383"/>
                <a:gd name="T46" fmla="*/ 154 w 658"/>
                <a:gd name="T47" fmla="*/ 1323 h 1383"/>
                <a:gd name="T48" fmla="*/ 175 w 658"/>
                <a:gd name="T49" fmla="*/ 1363 h 1383"/>
                <a:gd name="T50" fmla="*/ 215 w 658"/>
                <a:gd name="T51" fmla="*/ 1382 h 1383"/>
                <a:gd name="T52" fmla="*/ 262 w 658"/>
                <a:gd name="T53" fmla="*/ 1379 h 1383"/>
                <a:gd name="T54" fmla="*/ 299 w 658"/>
                <a:gd name="T55" fmla="*/ 1349 h 1383"/>
                <a:gd name="T56" fmla="*/ 311 w 658"/>
                <a:gd name="T57" fmla="*/ 1272 h 1383"/>
                <a:gd name="T58" fmla="*/ 311 w 658"/>
                <a:gd name="T59" fmla="*/ 1030 h 1383"/>
                <a:gd name="T60" fmla="*/ 313 w 658"/>
                <a:gd name="T61" fmla="*/ 745 h 1383"/>
                <a:gd name="T62" fmla="*/ 347 w 658"/>
                <a:gd name="T63" fmla="*/ 756 h 1383"/>
                <a:gd name="T64" fmla="*/ 347 w 658"/>
                <a:gd name="T65" fmla="*/ 1082 h 1383"/>
                <a:gd name="T66" fmla="*/ 350 w 658"/>
                <a:gd name="T67" fmla="*/ 1333 h 1383"/>
                <a:gd name="T68" fmla="*/ 361 w 658"/>
                <a:gd name="T69" fmla="*/ 1359 h 1383"/>
                <a:gd name="T70" fmla="*/ 388 w 658"/>
                <a:gd name="T71" fmla="*/ 1378 h 1383"/>
                <a:gd name="T72" fmla="*/ 444 w 658"/>
                <a:gd name="T73" fmla="*/ 1379 h 1383"/>
                <a:gd name="T74" fmla="*/ 484 w 658"/>
                <a:gd name="T75" fmla="*/ 1355 h 1383"/>
                <a:gd name="T76" fmla="*/ 496 w 658"/>
                <a:gd name="T77" fmla="*/ 1331 h 1383"/>
                <a:gd name="T78" fmla="*/ 499 w 658"/>
                <a:gd name="T79" fmla="*/ 1240 h 1383"/>
                <a:gd name="T80" fmla="*/ 499 w 658"/>
                <a:gd name="T81" fmla="*/ 971 h 1383"/>
                <a:gd name="T82" fmla="*/ 499 w 658"/>
                <a:gd name="T83" fmla="*/ 700 h 1383"/>
                <a:gd name="T84" fmla="*/ 499 w 658"/>
                <a:gd name="T85" fmla="*/ 429 h 1383"/>
                <a:gd name="T86" fmla="*/ 510 w 658"/>
                <a:gd name="T87" fmla="*/ 226 h 1383"/>
                <a:gd name="T88" fmla="*/ 542 w 658"/>
                <a:gd name="T89" fmla="*/ 273 h 1383"/>
                <a:gd name="T90" fmla="*/ 542 w 658"/>
                <a:gd name="T91" fmla="*/ 461 h 1383"/>
                <a:gd name="T92" fmla="*/ 543 w 658"/>
                <a:gd name="T93" fmla="*/ 617 h 1383"/>
                <a:gd name="T94" fmla="*/ 565 w 658"/>
                <a:gd name="T95" fmla="*/ 662 h 1383"/>
                <a:gd name="T96" fmla="*/ 589 w 658"/>
                <a:gd name="T97" fmla="*/ 676 h 1383"/>
                <a:gd name="T98" fmla="*/ 618 w 658"/>
                <a:gd name="T99" fmla="*/ 676 h 1383"/>
                <a:gd name="T100" fmla="*/ 638 w 658"/>
                <a:gd name="T101" fmla="*/ 665 h 1383"/>
                <a:gd name="T102" fmla="*/ 653 w 658"/>
                <a:gd name="T103" fmla="*/ 639 h 1383"/>
                <a:gd name="T104" fmla="*/ 658 w 658"/>
                <a:gd name="T105" fmla="*/ 555 h 1383"/>
                <a:gd name="T106" fmla="*/ 658 w 658"/>
                <a:gd name="T107" fmla="*/ 360 h 1383"/>
                <a:gd name="T108" fmla="*/ 658 w 658"/>
                <a:gd name="T109" fmla="*/ 192 h 1383"/>
                <a:gd name="T110" fmla="*/ 648 w 658"/>
                <a:gd name="T111" fmla="*/ 111 h 1383"/>
                <a:gd name="T112" fmla="*/ 629 w 658"/>
                <a:gd name="T113" fmla="*/ 71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8" h="1383">
                  <a:moveTo>
                    <a:pt x="605" y="45"/>
                  </a:moveTo>
                  <a:lnTo>
                    <a:pt x="593" y="36"/>
                  </a:lnTo>
                  <a:lnTo>
                    <a:pt x="579" y="27"/>
                  </a:lnTo>
                  <a:lnTo>
                    <a:pt x="566" y="20"/>
                  </a:lnTo>
                  <a:lnTo>
                    <a:pt x="551" y="15"/>
                  </a:lnTo>
                  <a:lnTo>
                    <a:pt x="536" y="11"/>
                  </a:lnTo>
                  <a:lnTo>
                    <a:pt x="522" y="6"/>
                  </a:lnTo>
                  <a:lnTo>
                    <a:pt x="506" y="4"/>
                  </a:lnTo>
                  <a:lnTo>
                    <a:pt x="491" y="2"/>
                  </a:lnTo>
                  <a:lnTo>
                    <a:pt x="459" y="0"/>
                  </a:lnTo>
                  <a:lnTo>
                    <a:pt x="427" y="0"/>
                  </a:lnTo>
                  <a:lnTo>
                    <a:pt x="396" y="0"/>
                  </a:lnTo>
                  <a:lnTo>
                    <a:pt x="365" y="0"/>
                  </a:lnTo>
                  <a:lnTo>
                    <a:pt x="330" y="1"/>
                  </a:lnTo>
                  <a:lnTo>
                    <a:pt x="294" y="0"/>
                  </a:lnTo>
                  <a:lnTo>
                    <a:pt x="259" y="0"/>
                  </a:lnTo>
                  <a:lnTo>
                    <a:pt x="223" y="0"/>
                  </a:lnTo>
                  <a:lnTo>
                    <a:pt x="188" y="1"/>
                  </a:lnTo>
                  <a:lnTo>
                    <a:pt x="153" y="4"/>
                  </a:lnTo>
                  <a:lnTo>
                    <a:pt x="136" y="8"/>
                  </a:lnTo>
                  <a:lnTo>
                    <a:pt x="118" y="12"/>
                  </a:lnTo>
                  <a:lnTo>
                    <a:pt x="101" y="16"/>
                  </a:lnTo>
                  <a:lnTo>
                    <a:pt x="85" y="23"/>
                  </a:lnTo>
                  <a:lnTo>
                    <a:pt x="74" y="27"/>
                  </a:lnTo>
                  <a:lnTo>
                    <a:pt x="65" y="32"/>
                  </a:lnTo>
                  <a:lnTo>
                    <a:pt x="55" y="39"/>
                  </a:lnTo>
                  <a:lnTo>
                    <a:pt x="47" y="45"/>
                  </a:lnTo>
                  <a:lnTo>
                    <a:pt x="40" y="53"/>
                  </a:lnTo>
                  <a:lnTo>
                    <a:pt x="32" y="61"/>
                  </a:lnTo>
                  <a:lnTo>
                    <a:pt x="27" y="70"/>
                  </a:lnTo>
                  <a:lnTo>
                    <a:pt x="22" y="79"/>
                  </a:lnTo>
                  <a:lnTo>
                    <a:pt x="16" y="90"/>
                  </a:lnTo>
                  <a:lnTo>
                    <a:pt x="12" y="99"/>
                  </a:lnTo>
                  <a:lnTo>
                    <a:pt x="8" y="110"/>
                  </a:lnTo>
                  <a:lnTo>
                    <a:pt x="6" y="120"/>
                  </a:lnTo>
                  <a:lnTo>
                    <a:pt x="4" y="131"/>
                  </a:lnTo>
                  <a:lnTo>
                    <a:pt x="2" y="142"/>
                  </a:lnTo>
                  <a:lnTo>
                    <a:pt x="2" y="153"/>
                  </a:lnTo>
                  <a:lnTo>
                    <a:pt x="2" y="163"/>
                  </a:lnTo>
                  <a:lnTo>
                    <a:pt x="2" y="220"/>
                  </a:lnTo>
                  <a:lnTo>
                    <a:pt x="2" y="277"/>
                  </a:lnTo>
                  <a:lnTo>
                    <a:pt x="0" y="334"/>
                  </a:lnTo>
                  <a:lnTo>
                    <a:pt x="0" y="390"/>
                  </a:lnTo>
                  <a:lnTo>
                    <a:pt x="0" y="448"/>
                  </a:lnTo>
                  <a:lnTo>
                    <a:pt x="2" y="504"/>
                  </a:lnTo>
                  <a:lnTo>
                    <a:pt x="2" y="562"/>
                  </a:lnTo>
                  <a:lnTo>
                    <a:pt x="2" y="618"/>
                  </a:lnTo>
                  <a:lnTo>
                    <a:pt x="2" y="629"/>
                  </a:lnTo>
                  <a:lnTo>
                    <a:pt x="4" y="638"/>
                  </a:lnTo>
                  <a:lnTo>
                    <a:pt x="7" y="649"/>
                  </a:lnTo>
                  <a:lnTo>
                    <a:pt x="12" y="658"/>
                  </a:lnTo>
                  <a:lnTo>
                    <a:pt x="19" y="665"/>
                  </a:lnTo>
                  <a:lnTo>
                    <a:pt x="28" y="672"/>
                  </a:lnTo>
                  <a:lnTo>
                    <a:pt x="32" y="673"/>
                  </a:lnTo>
                  <a:lnTo>
                    <a:pt x="38" y="676"/>
                  </a:lnTo>
                  <a:lnTo>
                    <a:pt x="42" y="676"/>
                  </a:lnTo>
                  <a:lnTo>
                    <a:pt x="47" y="676"/>
                  </a:lnTo>
                  <a:lnTo>
                    <a:pt x="57" y="677"/>
                  </a:lnTo>
                  <a:lnTo>
                    <a:pt x="65" y="677"/>
                  </a:lnTo>
                  <a:lnTo>
                    <a:pt x="73" y="676"/>
                  </a:lnTo>
                  <a:lnTo>
                    <a:pt x="79" y="672"/>
                  </a:lnTo>
                  <a:lnTo>
                    <a:pt x="86" y="667"/>
                  </a:lnTo>
                  <a:lnTo>
                    <a:pt x="91" y="663"/>
                  </a:lnTo>
                  <a:lnTo>
                    <a:pt x="97" y="657"/>
                  </a:lnTo>
                  <a:lnTo>
                    <a:pt x="101" y="650"/>
                  </a:lnTo>
                  <a:lnTo>
                    <a:pt x="109" y="635"/>
                  </a:lnTo>
                  <a:lnTo>
                    <a:pt x="114" y="619"/>
                  </a:lnTo>
                  <a:lnTo>
                    <a:pt x="117" y="602"/>
                  </a:lnTo>
                  <a:lnTo>
                    <a:pt x="117" y="587"/>
                  </a:lnTo>
                  <a:lnTo>
                    <a:pt x="118" y="541"/>
                  </a:lnTo>
                  <a:lnTo>
                    <a:pt x="118" y="497"/>
                  </a:lnTo>
                  <a:lnTo>
                    <a:pt x="118" y="452"/>
                  </a:lnTo>
                  <a:lnTo>
                    <a:pt x="117" y="407"/>
                  </a:lnTo>
                  <a:lnTo>
                    <a:pt x="117" y="362"/>
                  </a:lnTo>
                  <a:lnTo>
                    <a:pt x="117" y="318"/>
                  </a:lnTo>
                  <a:lnTo>
                    <a:pt x="118" y="273"/>
                  </a:lnTo>
                  <a:lnTo>
                    <a:pt x="118" y="228"/>
                  </a:lnTo>
                  <a:lnTo>
                    <a:pt x="136" y="228"/>
                  </a:lnTo>
                  <a:lnTo>
                    <a:pt x="152" y="228"/>
                  </a:lnTo>
                  <a:lnTo>
                    <a:pt x="153" y="296"/>
                  </a:lnTo>
                  <a:lnTo>
                    <a:pt x="153" y="363"/>
                  </a:lnTo>
                  <a:lnTo>
                    <a:pt x="153" y="430"/>
                  </a:lnTo>
                  <a:lnTo>
                    <a:pt x="153" y="499"/>
                  </a:lnTo>
                  <a:lnTo>
                    <a:pt x="153" y="566"/>
                  </a:lnTo>
                  <a:lnTo>
                    <a:pt x="153" y="634"/>
                  </a:lnTo>
                  <a:lnTo>
                    <a:pt x="153" y="701"/>
                  </a:lnTo>
                  <a:lnTo>
                    <a:pt x="153" y="769"/>
                  </a:lnTo>
                  <a:lnTo>
                    <a:pt x="153" y="836"/>
                  </a:lnTo>
                  <a:lnTo>
                    <a:pt x="153" y="903"/>
                  </a:lnTo>
                  <a:lnTo>
                    <a:pt x="153" y="972"/>
                  </a:lnTo>
                  <a:lnTo>
                    <a:pt x="153" y="1039"/>
                  </a:lnTo>
                  <a:lnTo>
                    <a:pt x="153" y="1107"/>
                  </a:lnTo>
                  <a:lnTo>
                    <a:pt x="153" y="1174"/>
                  </a:lnTo>
                  <a:lnTo>
                    <a:pt x="153" y="1243"/>
                  </a:lnTo>
                  <a:lnTo>
                    <a:pt x="154" y="1310"/>
                  </a:lnTo>
                  <a:lnTo>
                    <a:pt x="154" y="1323"/>
                  </a:lnTo>
                  <a:lnTo>
                    <a:pt x="157" y="1335"/>
                  </a:lnTo>
                  <a:lnTo>
                    <a:pt x="161" y="1346"/>
                  </a:lnTo>
                  <a:lnTo>
                    <a:pt x="168" y="1355"/>
                  </a:lnTo>
                  <a:lnTo>
                    <a:pt x="175" y="1363"/>
                  </a:lnTo>
                  <a:lnTo>
                    <a:pt x="184" y="1370"/>
                  </a:lnTo>
                  <a:lnTo>
                    <a:pt x="193" y="1375"/>
                  </a:lnTo>
                  <a:lnTo>
                    <a:pt x="204" y="1379"/>
                  </a:lnTo>
                  <a:lnTo>
                    <a:pt x="215" y="1382"/>
                  </a:lnTo>
                  <a:lnTo>
                    <a:pt x="227" y="1383"/>
                  </a:lnTo>
                  <a:lnTo>
                    <a:pt x="239" y="1383"/>
                  </a:lnTo>
                  <a:lnTo>
                    <a:pt x="251" y="1382"/>
                  </a:lnTo>
                  <a:lnTo>
                    <a:pt x="262" y="1379"/>
                  </a:lnTo>
                  <a:lnTo>
                    <a:pt x="274" y="1375"/>
                  </a:lnTo>
                  <a:lnTo>
                    <a:pt x="283" y="1370"/>
                  </a:lnTo>
                  <a:lnTo>
                    <a:pt x="294" y="1363"/>
                  </a:lnTo>
                  <a:lnTo>
                    <a:pt x="299" y="1349"/>
                  </a:lnTo>
                  <a:lnTo>
                    <a:pt x="303" y="1334"/>
                  </a:lnTo>
                  <a:lnTo>
                    <a:pt x="306" y="1319"/>
                  </a:lnTo>
                  <a:lnTo>
                    <a:pt x="309" y="1303"/>
                  </a:lnTo>
                  <a:lnTo>
                    <a:pt x="311" y="1272"/>
                  </a:lnTo>
                  <a:lnTo>
                    <a:pt x="313" y="1241"/>
                  </a:lnTo>
                  <a:lnTo>
                    <a:pt x="313" y="1170"/>
                  </a:lnTo>
                  <a:lnTo>
                    <a:pt x="311" y="1101"/>
                  </a:lnTo>
                  <a:lnTo>
                    <a:pt x="311" y="1030"/>
                  </a:lnTo>
                  <a:lnTo>
                    <a:pt x="311" y="958"/>
                  </a:lnTo>
                  <a:lnTo>
                    <a:pt x="311" y="887"/>
                  </a:lnTo>
                  <a:lnTo>
                    <a:pt x="313" y="816"/>
                  </a:lnTo>
                  <a:lnTo>
                    <a:pt x="313" y="745"/>
                  </a:lnTo>
                  <a:lnTo>
                    <a:pt x="313" y="674"/>
                  </a:lnTo>
                  <a:lnTo>
                    <a:pt x="330" y="674"/>
                  </a:lnTo>
                  <a:lnTo>
                    <a:pt x="347" y="674"/>
                  </a:lnTo>
                  <a:lnTo>
                    <a:pt x="347" y="756"/>
                  </a:lnTo>
                  <a:lnTo>
                    <a:pt x="347" y="838"/>
                  </a:lnTo>
                  <a:lnTo>
                    <a:pt x="347" y="918"/>
                  </a:lnTo>
                  <a:lnTo>
                    <a:pt x="347" y="1000"/>
                  </a:lnTo>
                  <a:lnTo>
                    <a:pt x="347" y="1082"/>
                  </a:lnTo>
                  <a:lnTo>
                    <a:pt x="347" y="1162"/>
                  </a:lnTo>
                  <a:lnTo>
                    <a:pt x="347" y="1244"/>
                  </a:lnTo>
                  <a:lnTo>
                    <a:pt x="349" y="1324"/>
                  </a:lnTo>
                  <a:lnTo>
                    <a:pt x="350" y="1333"/>
                  </a:lnTo>
                  <a:lnTo>
                    <a:pt x="351" y="1341"/>
                  </a:lnTo>
                  <a:lnTo>
                    <a:pt x="354" y="1347"/>
                  </a:lnTo>
                  <a:lnTo>
                    <a:pt x="357" y="1354"/>
                  </a:lnTo>
                  <a:lnTo>
                    <a:pt x="361" y="1359"/>
                  </a:lnTo>
                  <a:lnTo>
                    <a:pt x="366" y="1363"/>
                  </a:lnTo>
                  <a:lnTo>
                    <a:pt x="370" y="1369"/>
                  </a:lnTo>
                  <a:lnTo>
                    <a:pt x="377" y="1373"/>
                  </a:lnTo>
                  <a:lnTo>
                    <a:pt x="388" y="1378"/>
                  </a:lnTo>
                  <a:lnTo>
                    <a:pt x="401" y="1382"/>
                  </a:lnTo>
                  <a:lnTo>
                    <a:pt x="416" y="1383"/>
                  </a:lnTo>
                  <a:lnTo>
                    <a:pt x="429" y="1382"/>
                  </a:lnTo>
                  <a:lnTo>
                    <a:pt x="444" y="1379"/>
                  </a:lnTo>
                  <a:lnTo>
                    <a:pt x="457" y="1375"/>
                  </a:lnTo>
                  <a:lnTo>
                    <a:pt x="469" y="1369"/>
                  </a:lnTo>
                  <a:lnTo>
                    <a:pt x="480" y="1359"/>
                  </a:lnTo>
                  <a:lnTo>
                    <a:pt x="484" y="1355"/>
                  </a:lnTo>
                  <a:lnTo>
                    <a:pt x="488" y="1350"/>
                  </a:lnTo>
                  <a:lnTo>
                    <a:pt x="492" y="1343"/>
                  </a:lnTo>
                  <a:lnTo>
                    <a:pt x="495" y="1338"/>
                  </a:lnTo>
                  <a:lnTo>
                    <a:pt x="496" y="1331"/>
                  </a:lnTo>
                  <a:lnTo>
                    <a:pt x="498" y="1323"/>
                  </a:lnTo>
                  <a:lnTo>
                    <a:pt x="499" y="1316"/>
                  </a:lnTo>
                  <a:lnTo>
                    <a:pt x="498" y="1308"/>
                  </a:lnTo>
                  <a:lnTo>
                    <a:pt x="499" y="1240"/>
                  </a:lnTo>
                  <a:lnTo>
                    <a:pt x="499" y="1173"/>
                  </a:lnTo>
                  <a:lnTo>
                    <a:pt x="499" y="1106"/>
                  </a:lnTo>
                  <a:lnTo>
                    <a:pt x="499" y="1038"/>
                  </a:lnTo>
                  <a:lnTo>
                    <a:pt x="499" y="971"/>
                  </a:lnTo>
                  <a:lnTo>
                    <a:pt x="499" y="902"/>
                  </a:lnTo>
                  <a:lnTo>
                    <a:pt x="499" y="835"/>
                  </a:lnTo>
                  <a:lnTo>
                    <a:pt x="499" y="767"/>
                  </a:lnTo>
                  <a:lnTo>
                    <a:pt x="499" y="700"/>
                  </a:lnTo>
                  <a:lnTo>
                    <a:pt x="499" y="633"/>
                  </a:lnTo>
                  <a:lnTo>
                    <a:pt x="499" y="564"/>
                  </a:lnTo>
                  <a:lnTo>
                    <a:pt x="499" y="497"/>
                  </a:lnTo>
                  <a:lnTo>
                    <a:pt x="499" y="429"/>
                  </a:lnTo>
                  <a:lnTo>
                    <a:pt x="499" y="362"/>
                  </a:lnTo>
                  <a:lnTo>
                    <a:pt x="499" y="293"/>
                  </a:lnTo>
                  <a:lnTo>
                    <a:pt x="499" y="226"/>
                  </a:lnTo>
                  <a:lnTo>
                    <a:pt x="510" y="226"/>
                  </a:lnTo>
                  <a:lnTo>
                    <a:pt x="520" y="226"/>
                  </a:lnTo>
                  <a:lnTo>
                    <a:pt x="532" y="226"/>
                  </a:lnTo>
                  <a:lnTo>
                    <a:pt x="542" y="225"/>
                  </a:lnTo>
                  <a:lnTo>
                    <a:pt x="542" y="273"/>
                  </a:lnTo>
                  <a:lnTo>
                    <a:pt x="542" y="320"/>
                  </a:lnTo>
                  <a:lnTo>
                    <a:pt x="542" y="367"/>
                  </a:lnTo>
                  <a:lnTo>
                    <a:pt x="542" y="414"/>
                  </a:lnTo>
                  <a:lnTo>
                    <a:pt x="542" y="461"/>
                  </a:lnTo>
                  <a:lnTo>
                    <a:pt x="542" y="508"/>
                  </a:lnTo>
                  <a:lnTo>
                    <a:pt x="542" y="556"/>
                  </a:lnTo>
                  <a:lnTo>
                    <a:pt x="542" y="603"/>
                  </a:lnTo>
                  <a:lnTo>
                    <a:pt x="543" y="617"/>
                  </a:lnTo>
                  <a:lnTo>
                    <a:pt x="546" y="631"/>
                  </a:lnTo>
                  <a:lnTo>
                    <a:pt x="553" y="645"/>
                  </a:lnTo>
                  <a:lnTo>
                    <a:pt x="561" y="657"/>
                  </a:lnTo>
                  <a:lnTo>
                    <a:pt x="565" y="662"/>
                  </a:lnTo>
                  <a:lnTo>
                    <a:pt x="570" y="667"/>
                  </a:lnTo>
                  <a:lnTo>
                    <a:pt x="577" y="670"/>
                  </a:lnTo>
                  <a:lnTo>
                    <a:pt x="582" y="674"/>
                  </a:lnTo>
                  <a:lnTo>
                    <a:pt x="589" y="676"/>
                  </a:lnTo>
                  <a:lnTo>
                    <a:pt x="597" y="677"/>
                  </a:lnTo>
                  <a:lnTo>
                    <a:pt x="604" y="677"/>
                  </a:lnTo>
                  <a:lnTo>
                    <a:pt x="612" y="676"/>
                  </a:lnTo>
                  <a:lnTo>
                    <a:pt x="618" y="676"/>
                  </a:lnTo>
                  <a:lnTo>
                    <a:pt x="624" y="674"/>
                  </a:lnTo>
                  <a:lnTo>
                    <a:pt x="629" y="672"/>
                  </a:lnTo>
                  <a:lnTo>
                    <a:pt x="634" y="669"/>
                  </a:lnTo>
                  <a:lnTo>
                    <a:pt x="638" y="665"/>
                  </a:lnTo>
                  <a:lnTo>
                    <a:pt x="642" y="661"/>
                  </a:lnTo>
                  <a:lnTo>
                    <a:pt x="645" y="655"/>
                  </a:lnTo>
                  <a:lnTo>
                    <a:pt x="649" y="650"/>
                  </a:lnTo>
                  <a:lnTo>
                    <a:pt x="653" y="639"/>
                  </a:lnTo>
                  <a:lnTo>
                    <a:pt x="656" y="627"/>
                  </a:lnTo>
                  <a:lnTo>
                    <a:pt x="658" y="615"/>
                  </a:lnTo>
                  <a:lnTo>
                    <a:pt x="658" y="603"/>
                  </a:lnTo>
                  <a:lnTo>
                    <a:pt x="658" y="555"/>
                  </a:lnTo>
                  <a:lnTo>
                    <a:pt x="658" y="505"/>
                  </a:lnTo>
                  <a:lnTo>
                    <a:pt x="658" y="457"/>
                  </a:lnTo>
                  <a:lnTo>
                    <a:pt x="658" y="409"/>
                  </a:lnTo>
                  <a:lnTo>
                    <a:pt x="658" y="360"/>
                  </a:lnTo>
                  <a:lnTo>
                    <a:pt x="658" y="311"/>
                  </a:lnTo>
                  <a:lnTo>
                    <a:pt x="658" y="263"/>
                  </a:lnTo>
                  <a:lnTo>
                    <a:pt x="658" y="214"/>
                  </a:lnTo>
                  <a:lnTo>
                    <a:pt x="658" y="192"/>
                  </a:lnTo>
                  <a:lnTo>
                    <a:pt x="657" y="169"/>
                  </a:lnTo>
                  <a:lnTo>
                    <a:pt x="654" y="146"/>
                  </a:lnTo>
                  <a:lnTo>
                    <a:pt x="650" y="123"/>
                  </a:lnTo>
                  <a:lnTo>
                    <a:pt x="648" y="111"/>
                  </a:lnTo>
                  <a:lnTo>
                    <a:pt x="644" y="100"/>
                  </a:lnTo>
                  <a:lnTo>
                    <a:pt x="640" y="90"/>
                  </a:lnTo>
                  <a:lnTo>
                    <a:pt x="634" y="80"/>
                  </a:lnTo>
                  <a:lnTo>
                    <a:pt x="629" y="71"/>
                  </a:lnTo>
                  <a:lnTo>
                    <a:pt x="622" y="61"/>
                  </a:lnTo>
                  <a:lnTo>
                    <a:pt x="614" y="53"/>
                  </a:lnTo>
                  <a:lnTo>
                    <a:pt x="605" y="45"/>
                  </a:lnTo>
                  <a:close/>
                </a:path>
              </a:pathLst>
            </a:custGeom>
            <a:grpFill/>
            <a:ln w="9525">
              <a:noFill/>
              <a:round/>
            </a:ln>
          </p:spPr>
          <p:txBody>
            <a:bodyPr vert="horz" wrap="square" lIns="91440" tIns="45720" rIns="91440" bIns="45720" numCol="1" anchor="t" anchorCtr="0" compatLnSpc="1"/>
            <a:lstStyle/>
            <a:p>
              <a:endParaRPr lang="en-US"/>
            </a:p>
          </p:txBody>
        </p:sp>
      </p:grpSp>
      <p:grpSp>
        <p:nvGrpSpPr>
          <p:cNvPr id="143" name="Group 142"/>
          <p:cNvGrpSpPr/>
          <p:nvPr/>
        </p:nvGrpSpPr>
        <p:grpSpPr>
          <a:xfrm>
            <a:off x="5943265" y="4525489"/>
            <a:ext cx="271137" cy="607684"/>
            <a:chOff x="3327401" y="4335463"/>
            <a:chExt cx="407988" cy="914400"/>
          </a:xfrm>
          <a:solidFill>
            <a:schemeClr val="tx1">
              <a:lumMod val="85000"/>
              <a:lumOff val="15000"/>
            </a:schemeClr>
          </a:solidFill>
        </p:grpSpPr>
        <p:sp>
          <p:nvSpPr>
            <p:cNvPr id="144" name="Freeform 58"/>
            <p:cNvSpPr/>
            <p:nvPr/>
          </p:nvSpPr>
          <p:spPr bwMode="auto">
            <a:xfrm>
              <a:off x="3455988" y="4335463"/>
              <a:ext cx="149225" cy="147638"/>
            </a:xfrm>
            <a:custGeom>
              <a:avLst/>
              <a:gdLst>
                <a:gd name="T0" fmla="*/ 283 w 283"/>
                <a:gd name="T1" fmla="*/ 144 h 278"/>
                <a:gd name="T2" fmla="*/ 280 w 283"/>
                <a:gd name="T3" fmla="*/ 111 h 278"/>
                <a:gd name="T4" fmla="*/ 270 w 283"/>
                <a:gd name="T5" fmla="*/ 80 h 278"/>
                <a:gd name="T6" fmla="*/ 251 w 283"/>
                <a:gd name="T7" fmla="*/ 52 h 278"/>
                <a:gd name="T8" fmla="*/ 227 w 283"/>
                <a:gd name="T9" fmla="*/ 29 h 278"/>
                <a:gd name="T10" fmla="*/ 197 w 283"/>
                <a:gd name="T11" fmla="*/ 12 h 278"/>
                <a:gd name="T12" fmla="*/ 165 w 283"/>
                <a:gd name="T13" fmla="*/ 1 h 278"/>
                <a:gd name="T14" fmla="*/ 132 w 283"/>
                <a:gd name="T15" fmla="*/ 0 h 278"/>
                <a:gd name="T16" fmla="*/ 97 w 283"/>
                <a:gd name="T17" fmla="*/ 6 h 278"/>
                <a:gd name="T18" fmla="*/ 66 w 283"/>
                <a:gd name="T19" fmla="*/ 24 h 278"/>
                <a:gd name="T20" fmla="*/ 39 w 283"/>
                <a:gd name="T21" fmla="*/ 46 h 278"/>
                <a:gd name="T22" fmla="*/ 19 w 283"/>
                <a:gd name="T23" fmla="*/ 76 h 278"/>
                <a:gd name="T24" fmla="*/ 6 w 283"/>
                <a:gd name="T25" fmla="*/ 108 h 278"/>
                <a:gd name="T26" fmla="*/ 0 w 283"/>
                <a:gd name="T27" fmla="*/ 142 h 278"/>
                <a:gd name="T28" fmla="*/ 4 w 283"/>
                <a:gd name="T29" fmla="*/ 177 h 278"/>
                <a:gd name="T30" fmla="*/ 14 w 283"/>
                <a:gd name="T31" fmla="*/ 201 h 278"/>
                <a:gd name="T32" fmla="*/ 23 w 283"/>
                <a:gd name="T33" fmla="*/ 217 h 278"/>
                <a:gd name="T34" fmla="*/ 35 w 283"/>
                <a:gd name="T35" fmla="*/ 233 h 278"/>
                <a:gd name="T36" fmla="*/ 50 w 283"/>
                <a:gd name="T37" fmla="*/ 248 h 278"/>
                <a:gd name="T38" fmla="*/ 67 w 283"/>
                <a:gd name="T39" fmla="*/ 260 h 278"/>
                <a:gd name="T40" fmla="*/ 86 w 283"/>
                <a:gd name="T41" fmla="*/ 268 h 278"/>
                <a:gd name="T42" fmla="*/ 105 w 283"/>
                <a:gd name="T43" fmla="*/ 274 h 278"/>
                <a:gd name="T44" fmla="*/ 125 w 283"/>
                <a:gd name="T45" fmla="*/ 278 h 278"/>
                <a:gd name="T46" fmla="*/ 157 w 283"/>
                <a:gd name="T47" fmla="*/ 278 h 278"/>
                <a:gd name="T48" fmla="*/ 187 w 283"/>
                <a:gd name="T49" fmla="*/ 272 h 278"/>
                <a:gd name="T50" fmla="*/ 207 w 283"/>
                <a:gd name="T51" fmla="*/ 265 h 278"/>
                <a:gd name="T52" fmla="*/ 224 w 283"/>
                <a:gd name="T53" fmla="*/ 256 h 278"/>
                <a:gd name="T54" fmla="*/ 240 w 283"/>
                <a:gd name="T55" fmla="*/ 244 h 278"/>
                <a:gd name="T56" fmla="*/ 255 w 283"/>
                <a:gd name="T57" fmla="*/ 229 h 278"/>
                <a:gd name="T58" fmla="*/ 266 w 283"/>
                <a:gd name="T59" fmla="*/ 213 h 278"/>
                <a:gd name="T60" fmla="*/ 275 w 283"/>
                <a:gd name="T61" fmla="*/ 194 h 278"/>
                <a:gd name="T62" fmla="*/ 280 w 283"/>
                <a:gd name="T63" fmla="*/ 17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3" h="278">
                  <a:moveTo>
                    <a:pt x="282" y="162"/>
                  </a:moveTo>
                  <a:lnTo>
                    <a:pt x="283" y="144"/>
                  </a:lnTo>
                  <a:lnTo>
                    <a:pt x="283" y="128"/>
                  </a:lnTo>
                  <a:lnTo>
                    <a:pt x="280" y="111"/>
                  </a:lnTo>
                  <a:lnTo>
                    <a:pt x="276" y="95"/>
                  </a:lnTo>
                  <a:lnTo>
                    <a:pt x="270" y="80"/>
                  </a:lnTo>
                  <a:lnTo>
                    <a:pt x="262" y="65"/>
                  </a:lnTo>
                  <a:lnTo>
                    <a:pt x="251" y="52"/>
                  </a:lnTo>
                  <a:lnTo>
                    <a:pt x="239" y="40"/>
                  </a:lnTo>
                  <a:lnTo>
                    <a:pt x="227" y="29"/>
                  </a:lnTo>
                  <a:lnTo>
                    <a:pt x="212" y="20"/>
                  </a:lnTo>
                  <a:lnTo>
                    <a:pt x="197" y="12"/>
                  </a:lnTo>
                  <a:lnTo>
                    <a:pt x="181" y="5"/>
                  </a:lnTo>
                  <a:lnTo>
                    <a:pt x="165" y="1"/>
                  </a:lnTo>
                  <a:lnTo>
                    <a:pt x="149" y="0"/>
                  </a:lnTo>
                  <a:lnTo>
                    <a:pt x="132" y="0"/>
                  </a:lnTo>
                  <a:lnTo>
                    <a:pt x="114" y="2"/>
                  </a:lnTo>
                  <a:lnTo>
                    <a:pt x="97" y="6"/>
                  </a:lnTo>
                  <a:lnTo>
                    <a:pt x="81" y="14"/>
                  </a:lnTo>
                  <a:lnTo>
                    <a:pt x="66" y="24"/>
                  </a:lnTo>
                  <a:lnTo>
                    <a:pt x="52" y="34"/>
                  </a:lnTo>
                  <a:lnTo>
                    <a:pt x="39" y="46"/>
                  </a:lnTo>
                  <a:lnTo>
                    <a:pt x="28" y="60"/>
                  </a:lnTo>
                  <a:lnTo>
                    <a:pt x="19" y="76"/>
                  </a:lnTo>
                  <a:lnTo>
                    <a:pt x="12" y="91"/>
                  </a:lnTo>
                  <a:lnTo>
                    <a:pt x="6" y="108"/>
                  </a:lnTo>
                  <a:lnTo>
                    <a:pt x="3" y="124"/>
                  </a:lnTo>
                  <a:lnTo>
                    <a:pt x="0" y="142"/>
                  </a:lnTo>
                  <a:lnTo>
                    <a:pt x="2" y="159"/>
                  </a:lnTo>
                  <a:lnTo>
                    <a:pt x="4" y="177"/>
                  </a:lnTo>
                  <a:lnTo>
                    <a:pt x="10" y="193"/>
                  </a:lnTo>
                  <a:lnTo>
                    <a:pt x="14" y="201"/>
                  </a:lnTo>
                  <a:lnTo>
                    <a:pt x="18" y="209"/>
                  </a:lnTo>
                  <a:lnTo>
                    <a:pt x="23" y="217"/>
                  </a:lnTo>
                  <a:lnTo>
                    <a:pt x="30" y="223"/>
                  </a:lnTo>
                  <a:lnTo>
                    <a:pt x="35" y="233"/>
                  </a:lnTo>
                  <a:lnTo>
                    <a:pt x="43" y="240"/>
                  </a:lnTo>
                  <a:lnTo>
                    <a:pt x="50" y="248"/>
                  </a:lnTo>
                  <a:lnTo>
                    <a:pt x="59" y="254"/>
                  </a:lnTo>
                  <a:lnTo>
                    <a:pt x="67" y="260"/>
                  </a:lnTo>
                  <a:lnTo>
                    <a:pt x="77" y="264"/>
                  </a:lnTo>
                  <a:lnTo>
                    <a:pt x="86" y="268"/>
                  </a:lnTo>
                  <a:lnTo>
                    <a:pt x="95" y="272"/>
                  </a:lnTo>
                  <a:lnTo>
                    <a:pt x="105" y="274"/>
                  </a:lnTo>
                  <a:lnTo>
                    <a:pt x="115" y="277"/>
                  </a:lnTo>
                  <a:lnTo>
                    <a:pt x="125" y="278"/>
                  </a:lnTo>
                  <a:lnTo>
                    <a:pt x="136" y="278"/>
                  </a:lnTo>
                  <a:lnTo>
                    <a:pt x="157" y="278"/>
                  </a:lnTo>
                  <a:lnTo>
                    <a:pt x="177" y="274"/>
                  </a:lnTo>
                  <a:lnTo>
                    <a:pt x="187" y="272"/>
                  </a:lnTo>
                  <a:lnTo>
                    <a:pt x="197" y="269"/>
                  </a:lnTo>
                  <a:lnTo>
                    <a:pt x="207" y="265"/>
                  </a:lnTo>
                  <a:lnTo>
                    <a:pt x="215" y="261"/>
                  </a:lnTo>
                  <a:lnTo>
                    <a:pt x="224" y="256"/>
                  </a:lnTo>
                  <a:lnTo>
                    <a:pt x="232" y="250"/>
                  </a:lnTo>
                  <a:lnTo>
                    <a:pt x="240" y="244"/>
                  </a:lnTo>
                  <a:lnTo>
                    <a:pt x="248" y="237"/>
                  </a:lnTo>
                  <a:lnTo>
                    <a:pt x="255" y="229"/>
                  </a:lnTo>
                  <a:lnTo>
                    <a:pt x="260" y="221"/>
                  </a:lnTo>
                  <a:lnTo>
                    <a:pt x="266" y="213"/>
                  </a:lnTo>
                  <a:lnTo>
                    <a:pt x="271" y="203"/>
                  </a:lnTo>
                  <a:lnTo>
                    <a:pt x="275" y="194"/>
                  </a:lnTo>
                  <a:lnTo>
                    <a:pt x="278" y="185"/>
                  </a:lnTo>
                  <a:lnTo>
                    <a:pt x="280" y="174"/>
                  </a:lnTo>
                  <a:lnTo>
                    <a:pt x="282" y="162"/>
                  </a:lnTo>
                  <a:close/>
                </a:path>
              </a:pathLst>
            </a:custGeom>
            <a:grpFill/>
            <a:ln w="9525">
              <a:noFill/>
              <a:round/>
            </a:ln>
          </p:spPr>
          <p:txBody>
            <a:bodyPr vert="horz" wrap="square" lIns="91440" tIns="45720" rIns="91440" bIns="45720" numCol="1" anchor="t" anchorCtr="0" compatLnSpc="1"/>
            <a:lstStyle/>
            <a:p>
              <a:endParaRPr lang="en-US"/>
            </a:p>
          </p:txBody>
        </p:sp>
        <p:sp>
          <p:nvSpPr>
            <p:cNvPr id="145" name="Freeform 59"/>
            <p:cNvSpPr/>
            <p:nvPr/>
          </p:nvSpPr>
          <p:spPr bwMode="auto">
            <a:xfrm>
              <a:off x="3327401" y="4506913"/>
              <a:ext cx="407988" cy="742950"/>
            </a:xfrm>
            <a:custGeom>
              <a:avLst/>
              <a:gdLst>
                <a:gd name="T0" fmla="*/ 690 w 770"/>
                <a:gd name="T1" fmla="*/ 245 h 1403"/>
                <a:gd name="T2" fmla="*/ 650 w 770"/>
                <a:gd name="T3" fmla="*/ 122 h 1403"/>
                <a:gd name="T4" fmla="*/ 616 w 770"/>
                <a:gd name="T5" fmla="*/ 60 h 1403"/>
                <a:gd name="T6" fmla="*/ 573 w 770"/>
                <a:gd name="T7" fmla="*/ 25 h 1403"/>
                <a:gd name="T8" fmla="*/ 521 w 770"/>
                <a:gd name="T9" fmla="*/ 6 h 1403"/>
                <a:gd name="T10" fmla="*/ 451 w 770"/>
                <a:gd name="T11" fmla="*/ 0 h 1403"/>
                <a:gd name="T12" fmla="*/ 323 w 770"/>
                <a:gd name="T13" fmla="*/ 0 h 1403"/>
                <a:gd name="T14" fmla="*/ 238 w 770"/>
                <a:gd name="T15" fmla="*/ 8 h 1403"/>
                <a:gd name="T16" fmla="*/ 178 w 770"/>
                <a:gd name="T17" fmla="*/ 36 h 1403"/>
                <a:gd name="T18" fmla="*/ 135 w 770"/>
                <a:gd name="T19" fmla="*/ 88 h 1403"/>
                <a:gd name="T20" fmla="*/ 95 w 770"/>
                <a:gd name="T21" fmla="*/ 197 h 1403"/>
                <a:gd name="T22" fmla="*/ 59 w 770"/>
                <a:gd name="T23" fmla="*/ 325 h 1403"/>
                <a:gd name="T24" fmla="*/ 20 w 770"/>
                <a:gd name="T25" fmla="*/ 457 h 1403"/>
                <a:gd name="T26" fmla="*/ 1 w 770"/>
                <a:gd name="T27" fmla="*/ 568 h 1403"/>
                <a:gd name="T28" fmla="*/ 24 w 770"/>
                <a:gd name="T29" fmla="*/ 596 h 1403"/>
                <a:gd name="T30" fmla="*/ 60 w 770"/>
                <a:gd name="T31" fmla="*/ 603 h 1403"/>
                <a:gd name="T32" fmla="*/ 95 w 770"/>
                <a:gd name="T33" fmla="*/ 590 h 1403"/>
                <a:gd name="T34" fmla="*/ 124 w 770"/>
                <a:gd name="T35" fmla="*/ 521 h 1403"/>
                <a:gd name="T36" fmla="*/ 175 w 770"/>
                <a:gd name="T37" fmla="*/ 342 h 1403"/>
                <a:gd name="T38" fmla="*/ 229 w 770"/>
                <a:gd name="T39" fmla="*/ 199 h 1403"/>
                <a:gd name="T40" fmla="*/ 181 w 770"/>
                <a:gd name="T41" fmla="*/ 437 h 1403"/>
                <a:gd name="T42" fmla="*/ 96 w 770"/>
                <a:gd name="T43" fmla="*/ 765 h 1403"/>
                <a:gd name="T44" fmla="*/ 202 w 770"/>
                <a:gd name="T45" fmla="*/ 848 h 1403"/>
                <a:gd name="T46" fmla="*/ 244 w 770"/>
                <a:gd name="T47" fmla="*/ 1035 h 1403"/>
                <a:gd name="T48" fmla="*/ 244 w 770"/>
                <a:gd name="T49" fmla="*/ 1284 h 1403"/>
                <a:gd name="T50" fmla="*/ 258 w 770"/>
                <a:gd name="T51" fmla="*/ 1379 h 1403"/>
                <a:gd name="T52" fmla="*/ 297 w 770"/>
                <a:gd name="T53" fmla="*/ 1401 h 1403"/>
                <a:gd name="T54" fmla="*/ 340 w 770"/>
                <a:gd name="T55" fmla="*/ 1394 h 1403"/>
                <a:gd name="T56" fmla="*/ 368 w 770"/>
                <a:gd name="T57" fmla="*/ 1359 h 1403"/>
                <a:gd name="T58" fmla="*/ 372 w 770"/>
                <a:gd name="T59" fmla="*/ 1159 h 1403"/>
                <a:gd name="T60" fmla="*/ 372 w 770"/>
                <a:gd name="T61" fmla="*/ 910 h 1403"/>
                <a:gd name="T62" fmla="*/ 412 w 770"/>
                <a:gd name="T63" fmla="*/ 907 h 1403"/>
                <a:gd name="T64" fmla="*/ 412 w 770"/>
                <a:gd name="T65" fmla="*/ 1149 h 1403"/>
                <a:gd name="T66" fmla="*/ 412 w 770"/>
                <a:gd name="T67" fmla="*/ 1336 h 1403"/>
                <a:gd name="T68" fmla="*/ 418 w 770"/>
                <a:gd name="T69" fmla="*/ 1363 h 1403"/>
                <a:gd name="T70" fmla="*/ 433 w 770"/>
                <a:gd name="T71" fmla="*/ 1386 h 1403"/>
                <a:gd name="T72" fmla="*/ 457 w 770"/>
                <a:gd name="T73" fmla="*/ 1401 h 1403"/>
                <a:gd name="T74" fmla="*/ 485 w 770"/>
                <a:gd name="T75" fmla="*/ 1403 h 1403"/>
                <a:gd name="T76" fmla="*/ 510 w 770"/>
                <a:gd name="T77" fmla="*/ 1393 h 1403"/>
                <a:gd name="T78" fmla="*/ 532 w 770"/>
                <a:gd name="T79" fmla="*/ 1367 h 1403"/>
                <a:gd name="T80" fmla="*/ 541 w 770"/>
                <a:gd name="T81" fmla="*/ 1267 h 1403"/>
                <a:gd name="T82" fmla="*/ 541 w 770"/>
                <a:gd name="T83" fmla="*/ 1028 h 1403"/>
                <a:gd name="T84" fmla="*/ 584 w 770"/>
                <a:gd name="T85" fmla="*/ 848 h 1403"/>
                <a:gd name="T86" fmla="*/ 686 w 770"/>
                <a:gd name="T87" fmla="*/ 764 h 1403"/>
                <a:gd name="T88" fmla="*/ 588 w 770"/>
                <a:gd name="T89" fmla="*/ 430 h 1403"/>
                <a:gd name="T90" fmla="*/ 532 w 770"/>
                <a:gd name="T91" fmla="*/ 189 h 1403"/>
                <a:gd name="T92" fmla="*/ 553 w 770"/>
                <a:gd name="T93" fmla="*/ 216 h 1403"/>
                <a:gd name="T94" fmla="*/ 596 w 770"/>
                <a:gd name="T95" fmla="*/ 352 h 1403"/>
                <a:gd name="T96" fmla="*/ 650 w 770"/>
                <a:gd name="T97" fmla="*/ 523 h 1403"/>
                <a:gd name="T98" fmla="*/ 678 w 770"/>
                <a:gd name="T99" fmla="*/ 584 h 1403"/>
                <a:gd name="T100" fmla="*/ 701 w 770"/>
                <a:gd name="T101" fmla="*/ 599 h 1403"/>
                <a:gd name="T102" fmla="*/ 752 w 770"/>
                <a:gd name="T103" fmla="*/ 599 h 1403"/>
                <a:gd name="T104" fmla="*/ 770 w 770"/>
                <a:gd name="T105" fmla="*/ 548 h 1403"/>
                <a:gd name="T106" fmla="*/ 762 w 770"/>
                <a:gd name="T107" fmla="*/ 486 h 1403"/>
                <a:gd name="T108" fmla="*/ 730 w 770"/>
                <a:gd name="T109" fmla="*/ 382 h 1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70" h="1403">
                  <a:moveTo>
                    <a:pt x="722" y="352"/>
                  </a:moveTo>
                  <a:lnTo>
                    <a:pt x="710" y="316"/>
                  </a:lnTo>
                  <a:lnTo>
                    <a:pt x="699" y="281"/>
                  </a:lnTo>
                  <a:lnTo>
                    <a:pt x="690" y="245"/>
                  </a:lnTo>
                  <a:lnTo>
                    <a:pt x="679" y="209"/>
                  </a:lnTo>
                  <a:lnTo>
                    <a:pt x="669" y="174"/>
                  </a:lnTo>
                  <a:lnTo>
                    <a:pt x="656" y="139"/>
                  </a:lnTo>
                  <a:lnTo>
                    <a:pt x="650" y="122"/>
                  </a:lnTo>
                  <a:lnTo>
                    <a:pt x="642" y="104"/>
                  </a:lnTo>
                  <a:lnTo>
                    <a:pt x="634" y="88"/>
                  </a:lnTo>
                  <a:lnTo>
                    <a:pt x="624" y="72"/>
                  </a:lnTo>
                  <a:lnTo>
                    <a:pt x="616" y="60"/>
                  </a:lnTo>
                  <a:lnTo>
                    <a:pt x="607" y="49"/>
                  </a:lnTo>
                  <a:lnTo>
                    <a:pt x="596" y="40"/>
                  </a:lnTo>
                  <a:lnTo>
                    <a:pt x="585" y="32"/>
                  </a:lnTo>
                  <a:lnTo>
                    <a:pt x="573" y="25"/>
                  </a:lnTo>
                  <a:lnTo>
                    <a:pt x="561" y="18"/>
                  </a:lnTo>
                  <a:lnTo>
                    <a:pt x="548" y="13"/>
                  </a:lnTo>
                  <a:lnTo>
                    <a:pt x="536" y="9"/>
                  </a:lnTo>
                  <a:lnTo>
                    <a:pt x="521" y="6"/>
                  </a:lnTo>
                  <a:lnTo>
                    <a:pt x="508" y="4"/>
                  </a:lnTo>
                  <a:lnTo>
                    <a:pt x="494" y="1"/>
                  </a:lnTo>
                  <a:lnTo>
                    <a:pt x="479" y="1"/>
                  </a:lnTo>
                  <a:lnTo>
                    <a:pt x="451" y="0"/>
                  </a:lnTo>
                  <a:lnTo>
                    <a:pt x="425" y="1"/>
                  </a:lnTo>
                  <a:lnTo>
                    <a:pt x="391" y="1"/>
                  </a:lnTo>
                  <a:lnTo>
                    <a:pt x="356" y="1"/>
                  </a:lnTo>
                  <a:lnTo>
                    <a:pt x="323" y="0"/>
                  </a:lnTo>
                  <a:lnTo>
                    <a:pt x="288" y="1"/>
                  </a:lnTo>
                  <a:lnTo>
                    <a:pt x="270" y="2"/>
                  </a:lnTo>
                  <a:lnTo>
                    <a:pt x="254" y="5"/>
                  </a:lnTo>
                  <a:lnTo>
                    <a:pt x="238" y="8"/>
                  </a:lnTo>
                  <a:lnTo>
                    <a:pt x="222" y="12"/>
                  </a:lnTo>
                  <a:lnTo>
                    <a:pt x="206" y="18"/>
                  </a:lnTo>
                  <a:lnTo>
                    <a:pt x="191" y="26"/>
                  </a:lnTo>
                  <a:lnTo>
                    <a:pt x="178" y="36"/>
                  </a:lnTo>
                  <a:lnTo>
                    <a:pt x="164" y="47"/>
                  </a:lnTo>
                  <a:lnTo>
                    <a:pt x="154" y="60"/>
                  </a:lnTo>
                  <a:lnTo>
                    <a:pt x="144" y="73"/>
                  </a:lnTo>
                  <a:lnTo>
                    <a:pt x="135" y="88"/>
                  </a:lnTo>
                  <a:lnTo>
                    <a:pt x="128" y="103"/>
                  </a:lnTo>
                  <a:lnTo>
                    <a:pt x="115" y="132"/>
                  </a:lnTo>
                  <a:lnTo>
                    <a:pt x="104" y="165"/>
                  </a:lnTo>
                  <a:lnTo>
                    <a:pt x="95" y="197"/>
                  </a:lnTo>
                  <a:lnTo>
                    <a:pt x="87" y="229"/>
                  </a:lnTo>
                  <a:lnTo>
                    <a:pt x="77" y="261"/>
                  </a:lnTo>
                  <a:lnTo>
                    <a:pt x="68" y="293"/>
                  </a:lnTo>
                  <a:lnTo>
                    <a:pt x="59" y="325"/>
                  </a:lnTo>
                  <a:lnTo>
                    <a:pt x="49" y="359"/>
                  </a:lnTo>
                  <a:lnTo>
                    <a:pt x="38" y="391"/>
                  </a:lnTo>
                  <a:lnTo>
                    <a:pt x="29" y="425"/>
                  </a:lnTo>
                  <a:lnTo>
                    <a:pt x="20" y="457"/>
                  </a:lnTo>
                  <a:lnTo>
                    <a:pt x="10" y="490"/>
                  </a:lnTo>
                  <a:lnTo>
                    <a:pt x="4" y="524"/>
                  </a:lnTo>
                  <a:lnTo>
                    <a:pt x="0" y="557"/>
                  </a:lnTo>
                  <a:lnTo>
                    <a:pt x="1" y="568"/>
                  </a:lnTo>
                  <a:lnTo>
                    <a:pt x="5" y="576"/>
                  </a:lnTo>
                  <a:lnTo>
                    <a:pt x="9" y="584"/>
                  </a:lnTo>
                  <a:lnTo>
                    <a:pt x="16" y="591"/>
                  </a:lnTo>
                  <a:lnTo>
                    <a:pt x="24" y="596"/>
                  </a:lnTo>
                  <a:lnTo>
                    <a:pt x="32" y="600"/>
                  </a:lnTo>
                  <a:lnTo>
                    <a:pt x="41" y="603"/>
                  </a:lnTo>
                  <a:lnTo>
                    <a:pt x="50" y="604"/>
                  </a:lnTo>
                  <a:lnTo>
                    <a:pt x="60" y="603"/>
                  </a:lnTo>
                  <a:lnTo>
                    <a:pt x="69" y="602"/>
                  </a:lnTo>
                  <a:lnTo>
                    <a:pt x="79" y="599"/>
                  </a:lnTo>
                  <a:lnTo>
                    <a:pt x="87" y="595"/>
                  </a:lnTo>
                  <a:lnTo>
                    <a:pt x="95" y="590"/>
                  </a:lnTo>
                  <a:lnTo>
                    <a:pt x="101" y="583"/>
                  </a:lnTo>
                  <a:lnTo>
                    <a:pt x="107" y="575"/>
                  </a:lnTo>
                  <a:lnTo>
                    <a:pt x="109" y="565"/>
                  </a:lnTo>
                  <a:lnTo>
                    <a:pt x="124" y="521"/>
                  </a:lnTo>
                  <a:lnTo>
                    <a:pt x="138" y="477"/>
                  </a:lnTo>
                  <a:lnTo>
                    <a:pt x="151" y="431"/>
                  </a:lnTo>
                  <a:lnTo>
                    <a:pt x="163" y="387"/>
                  </a:lnTo>
                  <a:lnTo>
                    <a:pt x="175" y="342"/>
                  </a:lnTo>
                  <a:lnTo>
                    <a:pt x="189" y="296"/>
                  </a:lnTo>
                  <a:lnTo>
                    <a:pt x="202" y="252"/>
                  </a:lnTo>
                  <a:lnTo>
                    <a:pt x="217" y="207"/>
                  </a:lnTo>
                  <a:lnTo>
                    <a:pt x="229" y="199"/>
                  </a:lnTo>
                  <a:lnTo>
                    <a:pt x="242" y="190"/>
                  </a:lnTo>
                  <a:lnTo>
                    <a:pt x="222" y="273"/>
                  </a:lnTo>
                  <a:lnTo>
                    <a:pt x="202" y="355"/>
                  </a:lnTo>
                  <a:lnTo>
                    <a:pt x="181" y="437"/>
                  </a:lnTo>
                  <a:lnTo>
                    <a:pt x="159" y="519"/>
                  </a:lnTo>
                  <a:lnTo>
                    <a:pt x="138" y="600"/>
                  </a:lnTo>
                  <a:lnTo>
                    <a:pt x="118" y="683"/>
                  </a:lnTo>
                  <a:lnTo>
                    <a:pt x="96" y="765"/>
                  </a:lnTo>
                  <a:lnTo>
                    <a:pt x="76" y="847"/>
                  </a:lnTo>
                  <a:lnTo>
                    <a:pt x="118" y="848"/>
                  </a:lnTo>
                  <a:lnTo>
                    <a:pt x="159" y="848"/>
                  </a:lnTo>
                  <a:lnTo>
                    <a:pt x="202" y="848"/>
                  </a:lnTo>
                  <a:lnTo>
                    <a:pt x="244" y="848"/>
                  </a:lnTo>
                  <a:lnTo>
                    <a:pt x="244" y="910"/>
                  </a:lnTo>
                  <a:lnTo>
                    <a:pt x="244" y="973"/>
                  </a:lnTo>
                  <a:lnTo>
                    <a:pt x="244" y="1035"/>
                  </a:lnTo>
                  <a:lnTo>
                    <a:pt x="244" y="1098"/>
                  </a:lnTo>
                  <a:lnTo>
                    <a:pt x="244" y="1159"/>
                  </a:lnTo>
                  <a:lnTo>
                    <a:pt x="244" y="1221"/>
                  </a:lnTo>
                  <a:lnTo>
                    <a:pt x="244" y="1284"/>
                  </a:lnTo>
                  <a:lnTo>
                    <a:pt x="245" y="1346"/>
                  </a:lnTo>
                  <a:lnTo>
                    <a:pt x="248" y="1359"/>
                  </a:lnTo>
                  <a:lnTo>
                    <a:pt x="252" y="1370"/>
                  </a:lnTo>
                  <a:lnTo>
                    <a:pt x="258" y="1379"/>
                  </a:lnTo>
                  <a:lnTo>
                    <a:pt x="266" y="1387"/>
                  </a:lnTo>
                  <a:lnTo>
                    <a:pt x="276" y="1394"/>
                  </a:lnTo>
                  <a:lnTo>
                    <a:pt x="286" y="1398"/>
                  </a:lnTo>
                  <a:lnTo>
                    <a:pt x="297" y="1401"/>
                  </a:lnTo>
                  <a:lnTo>
                    <a:pt x="308" y="1402"/>
                  </a:lnTo>
                  <a:lnTo>
                    <a:pt x="319" y="1401"/>
                  </a:lnTo>
                  <a:lnTo>
                    <a:pt x="329" y="1398"/>
                  </a:lnTo>
                  <a:lnTo>
                    <a:pt x="340" y="1394"/>
                  </a:lnTo>
                  <a:lnTo>
                    <a:pt x="349" y="1389"/>
                  </a:lnTo>
                  <a:lnTo>
                    <a:pt x="357" y="1381"/>
                  </a:lnTo>
                  <a:lnTo>
                    <a:pt x="363" y="1371"/>
                  </a:lnTo>
                  <a:lnTo>
                    <a:pt x="368" y="1359"/>
                  </a:lnTo>
                  <a:lnTo>
                    <a:pt x="370" y="1347"/>
                  </a:lnTo>
                  <a:lnTo>
                    <a:pt x="372" y="1284"/>
                  </a:lnTo>
                  <a:lnTo>
                    <a:pt x="372" y="1222"/>
                  </a:lnTo>
                  <a:lnTo>
                    <a:pt x="372" y="1159"/>
                  </a:lnTo>
                  <a:lnTo>
                    <a:pt x="372" y="1098"/>
                  </a:lnTo>
                  <a:lnTo>
                    <a:pt x="372" y="1035"/>
                  </a:lnTo>
                  <a:lnTo>
                    <a:pt x="372" y="973"/>
                  </a:lnTo>
                  <a:lnTo>
                    <a:pt x="372" y="910"/>
                  </a:lnTo>
                  <a:lnTo>
                    <a:pt x="372" y="848"/>
                  </a:lnTo>
                  <a:lnTo>
                    <a:pt x="392" y="847"/>
                  </a:lnTo>
                  <a:lnTo>
                    <a:pt x="411" y="847"/>
                  </a:lnTo>
                  <a:lnTo>
                    <a:pt x="412" y="907"/>
                  </a:lnTo>
                  <a:lnTo>
                    <a:pt x="412" y="968"/>
                  </a:lnTo>
                  <a:lnTo>
                    <a:pt x="412" y="1028"/>
                  </a:lnTo>
                  <a:lnTo>
                    <a:pt x="412" y="1088"/>
                  </a:lnTo>
                  <a:lnTo>
                    <a:pt x="412" y="1149"/>
                  </a:lnTo>
                  <a:lnTo>
                    <a:pt x="412" y="1209"/>
                  </a:lnTo>
                  <a:lnTo>
                    <a:pt x="412" y="1269"/>
                  </a:lnTo>
                  <a:lnTo>
                    <a:pt x="412" y="1330"/>
                  </a:lnTo>
                  <a:lnTo>
                    <a:pt x="412" y="1336"/>
                  </a:lnTo>
                  <a:lnTo>
                    <a:pt x="412" y="1343"/>
                  </a:lnTo>
                  <a:lnTo>
                    <a:pt x="414" y="1350"/>
                  </a:lnTo>
                  <a:lnTo>
                    <a:pt x="415" y="1357"/>
                  </a:lnTo>
                  <a:lnTo>
                    <a:pt x="418" y="1363"/>
                  </a:lnTo>
                  <a:lnTo>
                    <a:pt x="420" y="1370"/>
                  </a:lnTo>
                  <a:lnTo>
                    <a:pt x="425" y="1375"/>
                  </a:lnTo>
                  <a:lnTo>
                    <a:pt x="429" y="1381"/>
                  </a:lnTo>
                  <a:lnTo>
                    <a:pt x="433" y="1386"/>
                  </a:lnTo>
                  <a:lnTo>
                    <a:pt x="438" y="1391"/>
                  </a:lnTo>
                  <a:lnTo>
                    <a:pt x="443" y="1394"/>
                  </a:lnTo>
                  <a:lnTo>
                    <a:pt x="450" y="1398"/>
                  </a:lnTo>
                  <a:lnTo>
                    <a:pt x="457" y="1401"/>
                  </a:lnTo>
                  <a:lnTo>
                    <a:pt x="463" y="1402"/>
                  </a:lnTo>
                  <a:lnTo>
                    <a:pt x="470" y="1403"/>
                  </a:lnTo>
                  <a:lnTo>
                    <a:pt x="477" y="1403"/>
                  </a:lnTo>
                  <a:lnTo>
                    <a:pt x="485" y="1403"/>
                  </a:lnTo>
                  <a:lnTo>
                    <a:pt x="492" y="1402"/>
                  </a:lnTo>
                  <a:lnTo>
                    <a:pt x="498" y="1399"/>
                  </a:lnTo>
                  <a:lnTo>
                    <a:pt x="504" y="1397"/>
                  </a:lnTo>
                  <a:lnTo>
                    <a:pt x="510" y="1393"/>
                  </a:lnTo>
                  <a:lnTo>
                    <a:pt x="516" y="1389"/>
                  </a:lnTo>
                  <a:lnTo>
                    <a:pt x="520" y="1385"/>
                  </a:lnTo>
                  <a:lnTo>
                    <a:pt x="524" y="1379"/>
                  </a:lnTo>
                  <a:lnTo>
                    <a:pt x="532" y="1367"/>
                  </a:lnTo>
                  <a:lnTo>
                    <a:pt x="537" y="1354"/>
                  </a:lnTo>
                  <a:lnTo>
                    <a:pt x="540" y="1340"/>
                  </a:lnTo>
                  <a:lnTo>
                    <a:pt x="540" y="1327"/>
                  </a:lnTo>
                  <a:lnTo>
                    <a:pt x="541" y="1267"/>
                  </a:lnTo>
                  <a:lnTo>
                    <a:pt x="542" y="1208"/>
                  </a:lnTo>
                  <a:lnTo>
                    <a:pt x="542" y="1147"/>
                  </a:lnTo>
                  <a:lnTo>
                    <a:pt x="541" y="1087"/>
                  </a:lnTo>
                  <a:lnTo>
                    <a:pt x="541" y="1028"/>
                  </a:lnTo>
                  <a:lnTo>
                    <a:pt x="541" y="968"/>
                  </a:lnTo>
                  <a:lnTo>
                    <a:pt x="541" y="907"/>
                  </a:lnTo>
                  <a:lnTo>
                    <a:pt x="542" y="848"/>
                  </a:lnTo>
                  <a:lnTo>
                    <a:pt x="584" y="848"/>
                  </a:lnTo>
                  <a:lnTo>
                    <a:pt x="626" y="848"/>
                  </a:lnTo>
                  <a:lnTo>
                    <a:pt x="667" y="848"/>
                  </a:lnTo>
                  <a:lnTo>
                    <a:pt x="709" y="848"/>
                  </a:lnTo>
                  <a:lnTo>
                    <a:pt x="686" y="764"/>
                  </a:lnTo>
                  <a:lnTo>
                    <a:pt x="662" y="681"/>
                  </a:lnTo>
                  <a:lnTo>
                    <a:pt x="636" y="598"/>
                  </a:lnTo>
                  <a:lnTo>
                    <a:pt x="612" y="515"/>
                  </a:lnTo>
                  <a:lnTo>
                    <a:pt x="588" y="430"/>
                  </a:lnTo>
                  <a:lnTo>
                    <a:pt x="564" y="347"/>
                  </a:lnTo>
                  <a:lnTo>
                    <a:pt x="541" y="264"/>
                  </a:lnTo>
                  <a:lnTo>
                    <a:pt x="521" y="179"/>
                  </a:lnTo>
                  <a:lnTo>
                    <a:pt x="532" y="189"/>
                  </a:lnTo>
                  <a:lnTo>
                    <a:pt x="542" y="198"/>
                  </a:lnTo>
                  <a:lnTo>
                    <a:pt x="547" y="203"/>
                  </a:lnTo>
                  <a:lnTo>
                    <a:pt x="551" y="210"/>
                  </a:lnTo>
                  <a:lnTo>
                    <a:pt x="553" y="216"/>
                  </a:lnTo>
                  <a:lnTo>
                    <a:pt x="556" y="224"/>
                  </a:lnTo>
                  <a:lnTo>
                    <a:pt x="571" y="265"/>
                  </a:lnTo>
                  <a:lnTo>
                    <a:pt x="584" y="308"/>
                  </a:lnTo>
                  <a:lnTo>
                    <a:pt x="596" y="352"/>
                  </a:lnTo>
                  <a:lnTo>
                    <a:pt x="610" y="395"/>
                  </a:lnTo>
                  <a:lnTo>
                    <a:pt x="623" y="438"/>
                  </a:lnTo>
                  <a:lnTo>
                    <a:pt x="636" y="481"/>
                  </a:lnTo>
                  <a:lnTo>
                    <a:pt x="650" y="523"/>
                  </a:lnTo>
                  <a:lnTo>
                    <a:pt x="664" y="565"/>
                  </a:lnTo>
                  <a:lnTo>
                    <a:pt x="669" y="572"/>
                  </a:lnTo>
                  <a:lnTo>
                    <a:pt x="673" y="579"/>
                  </a:lnTo>
                  <a:lnTo>
                    <a:pt x="678" y="584"/>
                  </a:lnTo>
                  <a:lnTo>
                    <a:pt x="683" y="590"/>
                  </a:lnTo>
                  <a:lnTo>
                    <a:pt x="689" y="592"/>
                  </a:lnTo>
                  <a:lnTo>
                    <a:pt x="695" y="596"/>
                  </a:lnTo>
                  <a:lnTo>
                    <a:pt x="701" y="599"/>
                  </a:lnTo>
                  <a:lnTo>
                    <a:pt x="709" y="600"/>
                  </a:lnTo>
                  <a:lnTo>
                    <a:pt x="722" y="602"/>
                  </a:lnTo>
                  <a:lnTo>
                    <a:pt x="737" y="602"/>
                  </a:lnTo>
                  <a:lnTo>
                    <a:pt x="752" y="599"/>
                  </a:lnTo>
                  <a:lnTo>
                    <a:pt x="765" y="595"/>
                  </a:lnTo>
                  <a:lnTo>
                    <a:pt x="769" y="579"/>
                  </a:lnTo>
                  <a:lnTo>
                    <a:pt x="770" y="564"/>
                  </a:lnTo>
                  <a:lnTo>
                    <a:pt x="770" y="548"/>
                  </a:lnTo>
                  <a:lnTo>
                    <a:pt x="769" y="533"/>
                  </a:lnTo>
                  <a:lnTo>
                    <a:pt x="768" y="517"/>
                  </a:lnTo>
                  <a:lnTo>
                    <a:pt x="765" y="502"/>
                  </a:lnTo>
                  <a:lnTo>
                    <a:pt x="762" y="486"/>
                  </a:lnTo>
                  <a:lnTo>
                    <a:pt x="758" y="472"/>
                  </a:lnTo>
                  <a:lnTo>
                    <a:pt x="749" y="442"/>
                  </a:lnTo>
                  <a:lnTo>
                    <a:pt x="740" y="411"/>
                  </a:lnTo>
                  <a:lnTo>
                    <a:pt x="730" y="382"/>
                  </a:lnTo>
                  <a:lnTo>
                    <a:pt x="722" y="352"/>
                  </a:lnTo>
                  <a:close/>
                </a:path>
              </a:pathLst>
            </a:custGeom>
            <a:grpFill/>
            <a:ln w="9525">
              <a:noFill/>
              <a:round/>
            </a:ln>
          </p:spPr>
          <p:txBody>
            <a:bodyPr vert="horz" wrap="square" lIns="91440" tIns="45720" rIns="91440" bIns="45720" numCol="1" anchor="t" anchorCtr="0" compatLnSpc="1"/>
            <a:lstStyle/>
            <a:p>
              <a:endParaRPr lang="en-US"/>
            </a:p>
          </p:txBody>
        </p:sp>
      </p:grpSp>
      <p:grpSp>
        <p:nvGrpSpPr>
          <p:cNvPr id="146" name="Group 145"/>
          <p:cNvGrpSpPr/>
          <p:nvPr/>
        </p:nvGrpSpPr>
        <p:grpSpPr>
          <a:xfrm>
            <a:off x="5939011" y="2635121"/>
            <a:ext cx="231047" cy="591857"/>
            <a:chOff x="3647164" y="2464482"/>
            <a:chExt cx="231047" cy="591857"/>
          </a:xfrm>
          <a:solidFill>
            <a:schemeClr val="tx1">
              <a:lumMod val="85000"/>
              <a:lumOff val="15000"/>
            </a:schemeClr>
          </a:solidFill>
        </p:grpSpPr>
        <p:sp>
          <p:nvSpPr>
            <p:cNvPr id="147" name="Freeform 56"/>
            <p:cNvSpPr/>
            <p:nvPr/>
          </p:nvSpPr>
          <p:spPr bwMode="auto">
            <a:xfrm>
              <a:off x="3716795" y="2464482"/>
              <a:ext cx="96006" cy="96006"/>
            </a:xfrm>
            <a:custGeom>
              <a:avLst/>
              <a:gdLst>
                <a:gd name="T0" fmla="*/ 262 w 273"/>
                <a:gd name="T1" fmla="*/ 182 h 271"/>
                <a:gd name="T2" fmla="*/ 266 w 273"/>
                <a:gd name="T3" fmla="*/ 173 h 271"/>
                <a:gd name="T4" fmla="*/ 269 w 273"/>
                <a:gd name="T5" fmla="*/ 165 h 271"/>
                <a:gd name="T6" fmla="*/ 272 w 273"/>
                <a:gd name="T7" fmla="*/ 155 h 271"/>
                <a:gd name="T8" fmla="*/ 273 w 273"/>
                <a:gd name="T9" fmla="*/ 146 h 271"/>
                <a:gd name="T10" fmla="*/ 273 w 273"/>
                <a:gd name="T11" fmla="*/ 137 h 271"/>
                <a:gd name="T12" fmla="*/ 273 w 273"/>
                <a:gd name="T13" fmla="*/ 127 h 271"/>
                <a:gd name="T14" fmla="*/ 272 w 273"/>
                <a:gd name="T15" fmla="*/ 119 h 271"/>
                <a:gd name="T16" fmla="*/ 270 w 273"/>
                <a:gd name="T17" fmla="*/ 110 h 271"/>
                <a:gd name="T18" fmla="*/ 265 w 273"/>
                <a:gd name="T19" fmla="*/ 92 h 271"/>
                <a:gd name="T20" fmla="*/ 257 w 273"/>
                <a:gd name="T21" fmla="*/ 76 h 271"/>
                <a:gd name="T22" fmla="*/ 246 w 273"/>
                <a:gd name="T23" fmla="*/ 60 h 271"/>
                <a:gd name="T24" fmla="*/ 236 w 273"/>
                <a:gd name="T25" fmla="*/ 45 h 271"/>
                <a:gd name="T26" fmla="*/ 222 w 273"/>
                <a:gd name="T27" fmla="*/ 33 h 271"/>
                <a:gd name="T28" fmla="*/ 207 w 273"/>
                <a:gd name="T29" fmla="*/ 23 h 271"/>
                <a:gd name="T30" fmla="*/ 191 w 273"/>
                <a:gd name="T31" fmla="*/ 13 h 271"/>
                <a:gd name="T32" fmla="*/ 174 w 273"/>
                <a:gd name="T33" fmla="*/ 6 h 271"/>
                <a:gd name="T34" fmla="*/ 165 w 273"/>
                <a:gd name="T35" fmla="*/ 4 h 271"/>
                <a:gd name="T36" fmla="*/ 157 w 273"/>
                <a:gd name="T37" fmla="*/ 1 h 271"/>
                <a:gd name="T38" fmla="*/ 147 w 273"/>
                <a:gd name="T39" fmla="*/ 0 h 271"/>
                <a:gd name="T40" fmla="*/ 138 w 273"/>
                <a:gd name="T41" fmla="*/ 0 h 271"/>
                <a:gd name="T42" fmla="*/ 128 w 273"/>
                <a:gd name="T43" fmla="*/ 0 h 271"/>
                <a:gd name="T44" fmla="*/ 119 w 273"/>
                <a:gd name="T45" fmla="*/ 1 h 271"/>
                <a:gd name="T46" fmla="*/ 110 w 273"/>
                <a:gd name="T47" fmla="*/ 2 h 271"/>
                <a:gd name="T48" fmla="*/ 100 w 273"/>
                <a:gd name="T49" fmla="*/ 5 h 271"/>
                <a:gd name="T50" fmla="*/ 92 w 273"/>
                <a:gd name="T51" fmla="*/ 6 h 271"/>
                <a:gd name="T52" fmla="*/ 84 w 273"/>
                <a:gd name="T53" fmla="*/ 9 h 271"/>
                <a:gd name="T54" fmla="*/ 76 w 273"/>
                <a:gd name="T55" fmla="*/ 13 h 271"/>
                <a:gd name="T56" fmla="*/ 68 w 273"/>
                <a:gd name="T57" fmla="*/ 17 h 271"/>
                <a:gd name="T58" fmla="*/ 53 w 273"/>
                <a:gd name="T59" fmla="*/ 27 h 271"/>
                <a:gd name="T60" fmla="*/ 41 w 273"/>
                <a:gd name="T61" fmla="*/ 37 h 271"/>
                <a:gd name="T62" fmla="*/ 29 w 273"/>
                <a:gd name="T63" fmla="*/ 49 h 271"/>
                <a:gd name="T64" fmla="*/ 20 w 273"/>
                <a:gd name="T65" fmla="*/ 64 h 271"/>
                <a:gd name="T66" fmla="*/ 12 w 273"/>
                <a:gd name="T67" fmla="*/ 79 h 271"/>
                <a:gd name="T68" fmla="*/ 6 w 273"/>
                <a:gd name="T69" fmla="*/ 95 h 271"/>
                <a:gd name="T70" fmla="*/ 2 w 273"/>
                <a:gd name="T71" fmla="*/ 112 h 271"/>
                <a:gd name="T72" fmla="*/ 0 w 273"/>
                <a:gd name="T73" fmla="*/ 129 h 271"/>
                <a:gd name="T74" fmla="*/ 0 w 273"/>
                <a:gd name="T75" fmla="*/ 146 h 271"/>
                <a:gd name="T76" fmla="*/ 2 w 273"/>
                <a:gd name="T77" fmla="*/ 163 h 271"/>
                <a:gd name="T78" fmla="*/ 6 w 273"/>
                <a:gd name="T79" fmla="*/ 179 h 271"/>
                <a:gd name="T80" fmla="*/ 12 w 273"/>
                <a:gd name="T81" fmla="*/ 196 h 271"/>
                <a:gd name="T82" fmla="*/ 21 w 273"/>
                <a:gd name="T83" fmla="*/ 210 h 271"/>
                <a:gd name="T84" fmla="*/ 32 w 273"/>
                <a:gd name="T85" fmla="*/ 224 h 271"/>
                <a:gd name="T86" fmla="*/ 39 w 273"/>
                <a:gd name="T87" fmla="*/ 232 h 271"/>
                <a:gd name="T88" fmla="*/ 44 w 273"/>
                <a:gd name="T89" fmla="*/ 238 h 271"/>
                <a:gd name="T90" fmla="*/ 51 w 273"/>
                <a:gd name="T91" fmla="*/ 244 h 271"/>
                <a:gd name="T92" fmla="*/ 59 w 273"/>
                <a:gd name="T93" fmla="*/ 249 h 271"/>
                <a:gd name="T94" fmla="*/ 73 w 273"/>
                <a:gd name="T95" fmla="*/ 259 h 271"/>
                <a:gd name="T96" fmla="*/ 89 w 273"/>
                <a:gd name="T97" fmla="*/ 264 h 271"/>
                <a:gd name="T98" fmla="*/ 107 w 273"/>
                <a:gd name="T99" fmla="*/ 269 h 271"/>
                <a:gd name="T100" fmla="*/ 124 w 273"/>
                <a:gd name="T101" fmla="*/ 271 h 271"/>
                <a:gd name="T102" fmla="*/ 142 w 273"/>
                <a:gd name="T103" fmla="*/ 271 h 271"/>
                <a:gd name="T104" fmla="*/ 159 w 273"/>
                <a:gd name="T105" fmla="*/ 269 h 271"/>
                <a:gd name="T106" fmla="*/ 177 w 273"/>
                <a:gd name="T107" fmla="*/ 265 h 271"/>
                <a:gd name="T108" fmla="*/ 193 w 273"/>
                <a:gd name="T109" fmla="*/ 259 h 271"/>
                <a:gd name="T110" fmla="*/ 209 w 273"/>
                <a:gd name="T111" fmla="*/ 251 h 271"/>
                <a:gd name="T112" fmla="*/ 224 w 273"/>
                <a:gd name="T113" fmla="*/ 240 h 271"/>
                <a:gd name="T114" fmla="*/ 236 w 273"/>
                <a:gd name="T115" fmla="*/ 229 h 271"/>
                <a:gd name="T116" fmla="*/ 248 w 273"/>
                <a:gd name="T117" fmla="*/ 214 h 271"/>
                <a:gd name="T118" fmla="*/ 252 w 273"/>
                <a:gd name="T119" fmla="*/ 208 h 271"/>
                <a:gd name="T120" fmla="*/ 256 w 273"/>
                <a:gd name="T121" fmla="*/ 200 h 271"/>
                <a:gd name="T122" fmla="*/ 260 w 273"/>
                <a:gd name="T123" fmla="*/ 192 h 271"/>
                <a:gd name="T124" fmla="*/ 262 w 273"/>
                <a:gd name="T125" fmla="*/ 18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3" h="271">
                  <a:moveTo>
                    <a:pt x="262" y="182"/>
                  </a:moveTo>
                  <a:lnTo>
                    <a:pt x="266" y="173"/>
                  </a:lnTo>
                  <a:lnTo>
                    <a:pt x="269" y="165"/>
                  </a:lnTo>
                  <a:lnTo>
                    <a:pt x="272" y="155"/>
                  </a:lnTo>
                  <a:lnTo>
                    <a:pt x="273" y="146"/>
                  </a:lnTo>
                  <a:lnTo>
                    <a:pt x="273" y="137"/>
                  </a:lnTo>
                  <a:lnTo>
                    <a:pt x="273" y="127"/>
                  </a:lnTo>
                  <a:lnTo>
                    <a:pt x="272" y="119"/>
                  </a:lnTo>
                  <a:lnTo>
                    <a:pt x="270" y="110"/>
                  </a:lnTo>
                  <a:lnTo>
                    <a:pt x="265" y="92"/>
                  </a:lnTo>
                  <a:lnTo>
                    <a:pt x="257" y="76"/>
                  </a:lnTo>
                  <a:lnTo>
                    <a:pt x="246" y="60"/>
                  </a:lnTo>
                  <a:lnTo>
                    <a:pt x="236" y="45"/>
                  </a:lnTo>
                  <a:lnTo>
                    <a:pt x="222" y="33"/>
                  </a:lnTo>
                  <a:lnTo>
                    <a:pt x="207" y="23"/>
                  </a:lnTo>
                  <a:lnTo>
                    <a:pt x="191" y="13"/>
                  </a:lnTo>
                  <a:lnTo>
                    <a:pt x="174" y="6"/>
                  </a:lnTo>
                  <a:lnTo>
                    <a:pt x="165" y="4"/>
                  </a:lnTo>
                  <a:lnTo>
                    <a:pt x="157" y="1"/>
                  </a:lnTo>
                  <a:lnTo>
                    <a:pt x="147" y="0"/>
                  </a:lnTo>
                  <a:lnTo>
                    <a:pt x="138" y="0"/>
                  </a:lnTo>
                  <a:lnTo>
                    <a:pt x="128" y="0"/>
                  </a:lnTo>
                  <a:lnTo>
                    <a:pt x="119" y="1"/>
                  </a:lnTo>
                  <a:lnTo>
                    <a:pt x="110" y="2"/>
                  </a:lnTo>
                  <a:lnTo>
                    <a:pt x="100" y="5"/>
                  </a:lnTo>
                  <a:lnTo>
                    <a:pt x="92" y="6"/>
                  </a:lnTo>
                  <a:lnTo>
                    <a:pt x="84" y="9"/>
                  </a:lnTo>
                  <a:lnTo>
                    <a:pt x="76" y="13"/>
                  </a:lnTo>
                  <a:lnTo>
                    <a:pt x="68" y="17"/>
                  </a:lnTo>
                  <a:lnTo>
                    <a:pt x="53" y="27"/>
                  </a:lnTo>
                  <a:lnTo>
                    <a:pt x="41" y="37"/>
                  </a:lnTo>
                  <a:lnTo>
                    <a:pt x="29" y="49"/>
                  </a:lnTo>
                  <a:lnTo>
                    <a:pt x="20" y="64"/>
                  </a:lnTo>
                  <a:lnTo>
                    <a:pt x="12" y="79"/>
                  </a:lnTo>
                  <a:lnTo>
                    <a:pt x="6" y="95"/>
                  </a:lnTo>
                  <a:lnTo>
                    <a:pt x="2" y="112"/>
                  </a:lnTo>
                  <a:lnTo>
                    <a:pt x="0" y="129"/>
                  </a:lnTo>
                  <a:lnTo>
                    <a:pt x="0" y="146"/>
                  </a:lnTo>
                  <a:lnTo>
                    <a:pt x="2" y="163"/>
                  </a:lnTo>
                  <a:lnTo>
                    <a:pt x="6" y="179"/>
                  </a:lnTo>
                  <a:lnTo>
                    <a:pt x="12" y="196"/>
                  </a:lnTo>
                  <a:lnTo>
                    <a:pt x="21" y="210"/>
                  </a:lnTo>
                  <a:lnTo>
                    <a:pt x="32" y="224"/>
                  </a:lnTo>
                  <a:lnTo>
                    <a:pt x="39" y="232"/>
                  </a:lnTo>
                  <a:lnTo>
                    <a:pt x="44" y="238"/>
                  </a:lnTo>
                  <a:lnTo>
                    <a:pt x="51" y="244"/>
                  </a:lnTo>
                  <a:lnTo>
                    <a:pt x="59" y="249"/>
                  </a:lnTo>
                  <a:lnTo>
                    <a:pt x="73" y="259"/>
                  </a:lnTo>
                  <a:lnTo>
                    <a:pt x="89" y="264"/>
                  </a:lnTo>
                  <a:lnTo>
                    <a:pt x="107" y="269"/>
                  </a:lnTo>
                  <a:lnTo>
                    <a:pt x="124" y="271"/>
                  </a:lnTo>
                  <a:lnTo>
                    <a:pt x="142" y="271"/>
                  </a:lnTo>
                  <a:lnTo>
                    <a:pt x="159" y="269"/>
                  </a:lnTo>
                  <a:lnTo>
                    <a:pt x="177" y="265"/>
                  </a:lnTo>
                  <a:lnTo>
                    <a:pt x="193" y="259"/>
                  </a:lnTo>
                  <a:lnTo>
                    <a:pt x="209" y="251"/>
                  </a:lnTo>
                  <a:lnTo>
                    <a:pt x="224" y="240"/>
                  </a:lnTo>
                  <a:lnTo>
                    <a:pt x="236" y="229"/>
                  </a:lnTo>
                  <a:lnTo>
                    <a:pt x="248" y="214"/>
                  </a:lnTo>
                  <a:lnTo>
                    <a:pt x="252" y="208"/>
                  </a:lnTo>
                  <a:lnTo>
                    <a:pt x="256" y="200"/>
                  </a:lnTo>
                  <a:lnTo>
                    <a:pt x="260" y="192"/>
                  </a:lnTo>
                  <a:lnTo>
                    <a:pt x="262" y="182"/>
                  </a:lnTo>
                  <a:close/>
                </a:path>
              </a:pathLst>
            </a:custGeom>
            <a:grpFill/>
            <a:ln w="9525">
              <a:noFill/>
              <a:round/>
            </a:ln>
          </p:spPr>
          <p:txBody>
            <a:bodyPr vert="horz" wrap="square" lIns="91440" tIns="45720" rIns="91440" bIns="45720" numCol="1" anchor="t" anchorCtr="0" compatLnSpc="1"/>
            <a:lstStyle/>
            <a:p>
              <a:endParaRPr lang="en-US"/>
            </a:p>
          </p:txBody>
        </p:sp>
        <p:sp>
          <p:nvSpPr>
            <p:cNvPr id="148" name="Freeform 57"/>
            <p:cNvSpPr/>
            <p:nvPr/>
          </p:nvSpPr>
          <p:spPr bwMode="auto">
            <a:xfrm>
              <a:off x="3647164" y="2569982"/>
              <a:ext cx="231047" cy="486357"/>
            </a:xfrm>
            <a:custGeom>
              <a:avLst/>
              <a:gdLst>
                <a:gd name="T0" fmla="*/ 566 w 658"/>
                <a:gd name="T1" fmla="*/ 20 h 1383"/>
                <a:gd name="T2" fmla="*/ 506 w 658"/>
                <a:gd name="T3" fmla="*/ 4 h 1383"/>
                <a:gd name="T4" fmla="*/ 396 w 658"/>
                <a:gd name="T5" fmla="*/ 0 h 1383"/>
                <a:gd name="T6" fmla="*/ 259 w 658"/>
                <a:gd name="T7" fmla="*/ 0 h 1383"/>
                <a:gd name="T8" fmla="*/ 136 w 658"/>
                <a:gd name="T9" fmla="*/ 8 h 1383"/>
                <a:gd name="T10" fmla="*/ 74 w 658"/>
                <a:gd name="T11" fmla="*/ 27 h 1383"/>
                <a:gd name="T12" fmla="*/ 40 w 658"/>
                <a:gd name="T13" fmla="*/ 53 h 1383"/>
                <a:gd name="T14" fmla="*/ 16 w 658"/>
                <a:gd name="T15" fmla="*/ 90 h 1383"/>
                <a:gd name="T16" fmla="*/ 4 w 658"/>
                <a:gd name="T17" fmla="*/ 131 h 1383"/>
                <a:gd name="T18" fmla="*/ 2 w 658"/>
                <a:gd name="T19" fmla="*/ 220 h 1383"/>
                <a:gd name="T20" fmla="*/ 0 w 658"/>
                <a:gd name="T21" fmla="*/ 448 h 1383"/>
                <a:gd name="T22" fmla="*/ 2 w 658"/>
                <a:gd name="T23" fmla="*/ 629 h 1383"/>
                <a:gd name="T24" fmla="*/ 19 w 658"/>
                <a:gd name="T25" fmla="*/ 665 h 1383"/>
                <a:gd name="T26" fmla="*/ 42 w 658"/>
                <a:gd name="T27" fmla="*/ 676 h 1383"/>
                <a:gd name="T28" fmla="*/ 73 w 658"/>
                <a:gd name="T29" fmla="*/ 676 h 1383"/>
                <a:gd name="T30" fmla="*/ 97 w 658"/>
                <a:gd name="T31" fmla="*/ 657 h 1383"/>
                <a:gd name="T32" fmla="*/ 117 w 658"/>
                <a:gd name="T33" fmla="*/ 602 h 1383"/>
                <a:gd name="T34" fmla="*/ 118 w 658"/>
                <a:gd name="T35" fmla="*/ 452 h 1383"/>
                <a:gd name="T36" fmla="*/ 118 w 658"/>
                <a:gd name="T37" fmla="*/ 273 h 1383"/>
                <a:gd name="T38" fmla="*/ 153 w 658"/>
                <a:gd name="T39" fmla="*/ 296 h 1383"/>
                <a:gd name="T40" fmla="*/ 153 w 658"/>
                <a:gd name="T41" fmla="*/ 566 h 1383"/>
                <a:gd name="T42" fmla="*/ 153 w 658"/>
                <a:gd name="T43" fmla="*/ 836 h 1383"/>
                <a:gd name="T44" fmla="*/ 153 w 658"/>
                <a:gd name="T45" fmla="*/ 1107 h 1383"/>
                <a:gd name="T46" fmla="*/ 154 w 658"/>
                <a:gd name="T47" fmla="*/ 1323 h 1383"/>
                <a:gd name="T48" fmla="*/ 175 w 658"/>
                <a:gd name="T49" fmla="*/ 1363 h 1383"/>
                <a:gd name="T50" fmla="*/ 215 w 658"/>
                <a:gd name="T51" fmla="*/ 1382 h 1383"/>
                <a:gd name="T52" fmla="*/ 262 w 658"/>
                <a:gd name="T53" fmla="*/ 1379 h 1383"/>
                <a:gd name="T54" fmla="*/ 299 w 658"/>
                <a:gd name="T55" fmla="*/ 1349 h 1383"/>
                <a:gd name="T56" fmla="*/ 311 w 658"/>
                <a:gd name="T57" fmla="*/ 1272 h 1383"/>
                <a:gd name="T58" fmla="*/ 311 w 658"/>
                <a:gd name="T59" fmla="*/ 1030 h 1383"/>
                <a:gd name="T60" fmla="*/ 313 w 658"/>
                <a:gd name="T61" fmla="*/ 745 h 1383"/>
                <a:gd name="T62" fmla="*/ 347 w 658"/>
                <a:gd name="T63" fmla="*/ 756 h 1383"/>
                <a:gd name="T64" fmla="*/ 347 w 658"/>
                <a:gd name="T65" fmla="*/ 1082 h 1383"/>
                <a:gd name="T66" fmla="*/ 350 w 658"/>
                <a:gd name="T67" fmla="*/ 1333 h 1383"/>
                <a:gd name="T68" fmla="*/ 361 w 658"/>
                <a:gd name="T69" fmla="*/ 1359 h 1383"/>
                <a:gd name="T70" fmla="*/ 388 w 658"/>
                <a:gd name="T71" fmla="*/ 1378 h 1383"/>
                <a:gd name="T72" fmla="*/ 444 w 658"/>
                <a:gd name="T73" fmla="*/ 1379 h 1383"/>
                <a:gd name="T74" fmla="*/ 484 w 658"/>
                <a:gd name="T75" fmla="*/ 1355 h 1383"/>
                <a:gd name="T76" fmla="*/ 496 w 658"/>
                <a:gd name="T77" fmla="*/ 1331 h 1383"/>
                <a:gd name="T78" fmla="*/ 499 w 658"/>
                <a:gd name="T79" fmla="*/ 1240 h 1383"/>
                <a:gd name="T80" fmla="*/ 499 w 658"/>
                <a:gd name="T81" fmla="*/ 971 h 1383"/>
                <a:gd name="T82" fmla="*/ 499 w 658"/>
                <a:gd name="T83" fmla="*/ 700 h 1383"/>
                <a:gd name="T84" fmla="*/ 499 w 658"/>
                <a:gd name="T85" fmla="*/ 429 h 1383"/>
                <a:gd name="T86" fmla="*/ 510 w 658"/>
                <a:gd name="T87" fmla="*/ 226 h 1383"/>
                <a:gd name="T88" fmla="*/ 542 w 658"/>
                <a:gd name="T89" fmla="*/ 273 h 1383"/>
                <a:gd name="T90" fmla="*/ 542 w 658"/>
                <a:gd name="T91" fmla="*/ 461 h 1383"/>
                <a:gd name="T92" fmla="*/ 543 w 658"/>
                <a:gd name="T93" fmla="*/ 617 h 1383"/>
                <a:gd name="T94" fmla="*/ 565 w 658"/>
                <a:gd name="T95" fmla="*/ 662 h 1383"/>
                <a:gd name="T96" fmla="*/ 589 w 658"/>
                <a:gd name="T97" fmla="*/ 676 h 1383"/>
                <a:gd name="T98" fmla="*/ 618 w 658"/>
                <a:gd name="T99" fmla="*/ 676 h 1383"/>
                <a:gd name="T100" fmla="*/ 638 w 658"/>
                <a:gd name="T101" fmla="*/ 665 h 1383"/>
                <a:gd name="T102" fmla="*/ 653 w 658"/>
                <a:gd name="T103" fmla="*/ 639 h 1383"/>
                <a:gd name="T104" fmla="*/ 658 w 658"/>
                <a:gd name="T105" fmla="*/ 555 h 1383"/>
                <a:gd name="T106" fmla="*/ 658 w 658"/>
                <a:gd name="T107" fmla="*/ 360 h 1383"/>
                <a:gd name="T108" fmla="*/ 658 w 658"/>
                <a:gd name="T109" fmla="*/ 192 h 1383"/>
                <a:gd name="T110" fmla="*/ 648 w 658"/>
                <a:gd name="T111" fmla="*/ 111 h 1383"/>
                <a:gd name="T112" fmla="*/ 629 w 658"/>
                <a:gd name="T113" fmla="*/ 71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8" h="1383">
                  <a:moveTo>
                    <a:pt x="605" y="45"/>
                  </a:moveTo>
                  <a:lnTo>
                    <a:pt x="593" y="36"/>
                  </a:lnTo>
                  <a:lnTo>
                    <a:pt x="579" y="27"/>
                  </a:lnTo>
                  <a:lnTo>
                    <a:pt x="566" y="20"/>
                  </a:lnTo>
                  <a:lnTo>
                    <a:pt x="551" y="15"/>
                  </a:lnTo>
                  <a:lnTo>
                    <a:pt x="536" y="11"/>
                  </a:lnTo>
                  <a:lnTo>
                    <a:pt x="522" y="6"/>
                  </a:lnTo>
                  <a:lnTo>
                    <a:pt x="506" y="4"/>
                  </a:lnTo>
                  <a:lnTo>
                    <a:pt x="491" y="2"/>
                  </a:lnTo>
                  <a:lnTo>
                    <a:pt x="459" y="0"/>
                  </a:lnTo>
                  <a:lnTo>
                    <a:pt x="427" y="0"/>
                  </a:lnTo>
                  <a:lnTo>
                    <a:pt x="396" y="0"/>
                  </a:lnTo>
                  <a:lnTo>
                    <a:pt x="365" y="0"/>
                  </a:lnTo>
                  <a:lnTo>
                    <a:pt x="330" y="1"/>
                  </a:lnTo>
                  <a:lnTo>
                    <a:pt x="294" y="0"/>
                  </a:lnTo>
                  <a:lnTo>
                    <a:pt x="259" y="0"/>
                  </a:lnTo>
                  <a:lnTo>
                    <a:pt x="223" y="0"/>
                  </a:lnTo>
                  <a:lnTo>
                    <a:pt x="188" y="1"/>
                  </a:lnTo>
                  <a:lnTo>
                    <a:pt x="153" y="4"/>
                  </a:lnTo>
                  <a:lnTo>
                    <a:pt x="136" y="8"/>
                  </a:lnTo>
                  <a:lnTo>
                    <a:pt x="118" y="12"/>
                  </a:lnTo>
                  <a:lnTo>
                    <a:pt x="101" y="16"/>
                  </a:lnTo>
                  <a:lnTo>
                    <a:pt x="85" y="23"/>
                  </a:lnTo>
                  <a:lnTo>
                    <a:pt x="74" y="27"/>
                  </a:lnTo>
                  <a:lnTo>
                    <a:pt x="65" y="32"/>
                  </a:lnTo>
                  <a:lnTo>
                    <a:pt x="55" y="39"/>
                  </a:lnTo>
                  <a:lnTo>
                    <a:pt x="47" y="45"/>
                  </a:lnTo>
                  <a:lnTo>
                    <a:pt x="40" y="53"/>
                  </a:lnTo>
                  <a:lnTo>
                    <a:pt x="32" y="61"/>
                  </a:lnTo>
                  <a:lnTo>
                    <a:pt x="27" y="70"/>
                  </a:lnTo>
                  <a:lnTo>
                    <a:pt x="22" y="79"/>
                  </a:lnTo>
                  <a:lnTo>
                    <a:pt x="16" y="90"/>
                  </a:lnTo>
                  <a:lnTo>
                    <a:pt x="12" y="99"/>
                  </a:lnTo>
                  <a:lnTo>
                    <a:pt x="8" y="110"/>
                  </a:lnTo>
                  <a:lnTo>
                    <a:pt x="6" y="120"/>
                  </a:lnTo>
                  <a:lnTo>
                    <a:pt x="4" y="131"/>
                  </a:lnTo>
                  <a:lnTo>
                    <a:pt x="2" y="142"/>
                  </a:lnTo>
                  <a:lnTo>
                    <a:pt x="2" y="153"/>
                  </a:lnTo>
                  <a:lnTo>
                    <a:pt x="2" y="163"/>
                  </a:lnTo>
                  <a:lnTo>
                    <a:pt x="2" y="220"/>
                  </a:lnTo>
                  <a:lnTo>
                    <a:pt x="2" y="277"/>
                  </a:lnTo>
                  <a:lnTo>
                    <a:pt x="0" y="334"/>
                  </a:lnTo>
                  <a:lnTo>
                    <a:pt x="0" y="390"/>
                  </a:lnTo>
                  <a:lnTo>
                    <a:pt x="0" y="448"/>
                  </a:lnTo>
                  <a:lnTo>
                    <a:pt x="2" y="504"/>
                  </a:lnTo>
                  <a:lnTo>
                    <a:pt x="2" y="562"/>
                  </a:lnTo>
                  <a:lnTo>
                    <a:pt x="2" y="618"/>
                  </a:lnTo>
                  <a:lnTo>
                    <a:pt x="2" y="629"/>
                  </a:lnTo>
                  <a:lnTo>
                    <a:pt x="4" y="638"/>
                  </a:lnTo>
                  <a:lnTo>
                    <a:pt x="7" y="649"/>
                  </a:lnTo>
                  <a:lnTo>
                    <a:pt x="12" y="658"/>
                  </a:lnTo>
                  <a:lnTo>
                    <a:pt x="19" y="665"/>
                  </a:lnTo>
                  <a:lnTo>
                    <a:pt x="28" y="672"/>
                  </a:lnTo>
                  <a:lnTo>
                    <a:pt x="32" y="673"/>
                  </a:lnTo>
                  <a:lnTo>
                    <a:pt x="38" y="676"/>
                  </a:lnTo>
                  <a:lnTo>
                    <a:pt x="42" y="676"/>
                  </a:lnTo>
                  <a:lnTo>
                    <a:pt x="47" y="676"/>
                  </a:lnTo>
                  <a:lnTo>
                    <a:pt x="57" y="677"/>
                  </a:lnTo>
                  <a:lnTo>
                    <a:pt x="65" y="677"/>
                  </a:lnTo>
                  <a:lnTo>
                    <a:pt x="73" y="676"/>
                  </a:lnTo>
                  <a:lnTo>
                    <a:pt x="79" y="672"/>
                  </a:lnTo>
                  <a:lnTo>
                    <a:pt x="86" y="667"/>
                  </a:lnTo>
                  <a:lnTo>
                    <a:pt x="91" y="663"/>
                  </a:lnTo>
                  <a:lnTo>
                    <a:pt x="97" y="657"/>
                  </a:lnTo>
                  <a:lnTo>
                    <a:pt x="101" y="650"/>
                  </a:lnTo>
                  <a:lnTo>
                    <a:pt x="109" y="635"/>
                  </a:lnTo>
                  <a:lnTo>
                    <a:pt x="114" y="619"/>
                  </a:lnTo>
                  <a:lnTo>
                    <a:pt x="117" y="602"/>
                  </a:lnTo>
                  <a:lnTo>
                    <a:pt x="117" y="587"/>
                  </a:lnTo>
                  <a:lnTo>
                    <a:pt x="118" y="541"/>
                  </a:lnTo>
                  <a:lnTo>
                    <a:pt x="118" y="497"/>
                  </a:lnTo>
                  <a:lnTo>
                    <a:pt x="118" y="452"/>
                  </a:lnTo>
                  <a:lnTo>
                    <a:pt x="117" y="407"/>
                  </a:lnTo>
                  <a:lnTo>
                    <a:pt x="117" y="362"/>
                  </a:lnTo>
                  <a:lnTo>
                    <a:pt x="117" y="318"/>
                  </a:lnTo>
                  <a:lnTo>
                    <a:pt x="118" y="273"/>
                  </a:lnTo>
                  <a:lnTo>
                    <a:pt x="118" y="228"/>
                  </a:lnTo>
                  <a:lnTo>
                    <a:pt x="136" y="228"/>
                  </a:lnTo>
                  <a:lnTo>
                    <a:pt x="152" y="228"/>
                  </a:lnTo>
                  <a:lnTo>
                    <a:pt x="153" y="296"/>
                  </a:lnTo>
                  <a:lnTo>
                    <a:pt x="153" y="363"/>
                  </a:lnTo>
                  <a:lnTo>
                    <a:pt x="153" y="430"/>
                  </a:lnTo>
                  <a:lnTo>
                    <a:pt x="153" y="499"/>
                  </a:lnTo>
                  <a:lnTo>
                    <a:pt x="153" y="566"/>
                  </a:lnTo>
                  <a:lnTo>
                    <a:pt x="153" y="634"/>
                  </a:lnTo>
                  <a:lnTo>
                    <a:pt x="153" y="701"/>
                  </a:lnTo>
                  <a:lnTo>
                    <a:pt x="153" y="769"/>
                  </a:lnTo>
                  <a:lnTo>
                    <a:pt x="153" y="836"/>
                  </a:lnTo>
                  <a:lnTo>
                    <a:pt x="153" y="903"/>
                  </a:lnTo>
                  <a:lnTo>
                    <a:pt x="153" y="972"/>
                  </a:lnTo>
                  <a:lnTo>
                    <a:pt x="153" y="1039"/>
                  </a:lnTo>
                  <a:lnTo>
                    <a:pt x="153" y="1107"/>
                  </a:lnTo>
                  <a:lnTo>
                    <a:pt x="153" y="1174"/>
                  </a:lnTo>
                  <a:lnTo>
                    <a:pt x="153" y="1243"/>
                  </a:lnTo>
                  <a:lnTo>
                    <a:pt x="154" y="1310"/>
                  </a:lnTo>
                  <a:lnTo>
                    <a:pt x="154" y="1323"/>
                  </a:lnTo>
                  <a:lnTo>
                    <a:pt x="157" y="1335"/>
                  </a:lnTo>
                  <a:lnTo>
                    <a:pt x="161" y="1346"/>
                  </a:lnTo>
                  <a:lnTo>
                    <a:pt x="168" y="1355"/>
                  </a:lnTo>
                  <a:lnTo>
                    <a:pt x="175" y="1363"/>
                  </a:lnTo>
                  <a:lnTo>
                    <a:pt x="184" y="1370"/>
                  </a:lnTo>
                  <a:lnTo>
                    <a:pt x="193" y="1375"/>
                  </a:lnTo>
                  <a:lnTo>
                    <a:pt x="204" y="1379"/>
                  </a:lnTo>
                  <a:lnTo>
                    <a:pt x="215" y="1382"/>
                  </a:lnTo>
                  <a:lnTo>
                    <a:pt x="227" y="1383"/>
                  </a:lnTo>
                  <a:lnTo>
                    <a:pt x="239" y="1383"/>
                  </a:lnTo>
                  <a:lnTo>
                    <a:pt x="251" y="1382"/>
                  </a:lnTo>
                  <a:lnTo>
                    <a:pt x="262" y="1379"/>
                  </a:lnTo>
                  <a:lnTo>
                    <a:pt x="274" y="1375"/>
                  </a:lnTo>
                  <a:lnTo>
                    <a:pt x="283" y="1370"/>
                  </a:lnTo>
                  <a:lnTo>
                    <a:pt x="294" y="1363"/>
                  </a:lnTo>
                  <a:lnTo>
                    <a:pt x="299" y="1349"/>
                  </a:lnTo>
                  <a:lnTo>
                    <a:pt x="303" y="1334"/>
                  </a:lnTo>
                  <a:lnTo>
                    <a:pt x="306" y="1319"/>
                  </a:lnTo>
                  <a:lnTo>
                    <a:pt x="309" y="1303"/>
                  </a:lnTo>
                  <a:lnTo>
                    <a:pt x="311" y="1272"/>
                  </a:lnTo>
                  <a:lnTo>
                    <a:pt x="313" y="1241"/>
                  </a:lnTo>
                  <a:lnTo>
                    <a:pt x="313" y="1170"/>
                  </a:lnTo>
                  <a:lnTo>
                    <a:pt x="311" y="1101"/>
                  </a:lnTo>
                  <a:lnTo>
                    <a:pt x="311" y="1030"/>
                  </a:lnTo>
                  <a:lnTo>
                    <a:pt x="311" y="958"/>
                  </a:lnTo>
                  <a:lnTo>
                    <a:pt x="311" y="887"/>
                  </a:lnTo>
                  <a:lnTo>
                    <a:pt x="313" y="816"/>
                  </a:lnTo>
                  <a:lnTo>
                    <a:pt x="313" y="745"/>
                  </a:lnTo>
                  <a:lnTo>
                    <a:pt x="313" y="674"/>
                  </a:lnTo>
                  <a:lnTo>
                    <a:pt x="330" y="674"/>
                  </a:lnTo>
                  <a:lnTo>
                    <a:pt x="347" y="674"/>
                  </a:lnTo>
                  <a:lnTo>
                    <a:pt x="347" y="756"/>
                  </a:lnTo>
                  <a:lnTo>
                    <a:pt x="347" y="838"/>
                  </a:lnTo>
                  <a:lnTo>
                    <a:pt x="347" y="918"/>
                  </a:lnTo>
                  <a:lnTo>
                    <a:pt x="347" y="1000"/>
                  </a:lnTo>
                  <a:lnTo>
                    <a:pt x="347" y="1082"/>
                  </a:lnTo>
                  <a:lnTo>
                    <a:pt x="347" y="1162"/>
                  </a:lnTo>
                  <a:lnTo>
                    <a:pt x="347" y="1244"/>
                  </a:lnTo>
                  <a:lnTo>
                    <a:pt x="349" y="1324"/>
                  </a:lnTo>
                  <a:lnTo>
                    <a:pt x="350" y="1333"/>
                  </a:lnTo>
                  <a:lnTo>
                    <a:pt x="351" y="1341"/>
                  </a:lnTo>
                  <a:lnTo>
                    <a:pt x="354" y="1347"/>
                  </a:lnTo>
                  <a:lnTo>
                    <a:pt x="357" y="1354"/>
                  </a:lnTo>
                  <a:lnTo>
                    <a:pt x="361" y="1359"/>
                  </a:lnTo>
                  <a:lnTo>
                    <a:pt x="366" y="1363"/>
                  </a:lnTo>
                  <a:lnTo>
                    <a:pt x="370" y="1369"/>
                  </a:lnTo>
                  <a:lnTo>
                    <a:pt x="377" y="1373"/>
                  </a:lnTo>
                  <a:lnTo>
                    <a:pt x="388" y="1378"/>
                  </a:lnTo>
                  <a:lnTo>
                    <a:pt x="401" y="1382"/>
                  </a:lnTo>
                  <a:lnTo>
                    <a:pt x="416" y="1383"/>
                  </a:lnTo>
                  <a:lnTo>
                    <a:pt x="429" y="1382"/>
                  </a:lnTo>
                  <a:lnTo>
                    <a:pt x="444" y="1379"/>
                  </a:lnTo>
                  <a:lnTo>
                    <a:pt x="457" y="1375"/>
                  </a:lnTo>
                  <a:lnTo>
                    <a:pt x="469" y="1369"/>
                  </a:lnTo>
                  <a:lnTo>
                    <a:pt x="480" y="1359"/>
                  </a:lnTo>
                  <a:lnTo>
                    <a:pt x="484" y="1355"/>
                  </a:lnTo>
                  <a:lnTo>
                    <a:pt x="488" y="1350"/>
                  </a:lnTo>
                  <a:lnTo>
                    <a:pt x="492" y="1343"/>
                  </a:lnTo>
                  <a:lnTo>
                    <a:pt x="495" y="1338"/>
                  </a:lnTo>
                  <a:lnTo>
                    <a:pt x="496" y="1331"/>
                  </a:lnTo>
                  <a:lnTo>
                    <a:pt x="498" y="1323"/>
                  </a:lnTo>
                  <a:lnTo>
                    <a:pt x="499" y="1316"/>
                  </a:lnTo>
                  <a:lnTo>
                    <a:pt x="498" y="1308"/>
                  </a:lnTo>
                  <a:lnTo>
                    <a:pt x="499" y="1240"/>
                  </a:lnTo>
                  <a:lnTo>
                    <a:pt x="499" y="1173"/>
                  </a:lnTo>
                  <a:lnTo>
                    <a:pt x="499" y="1106"/>
                  </a:lnTo>
                  <a:lnTo>
                    <a:pt x="499" y="1038"/>
                  </a:lnTo>
                  <a:lnTo>
                    <a:pt x="499" y="971"/>
                  </a:lnTo>
                  <a:lnTo>
                    <a:pt x="499" y="902"/>
                  </a:lnTo>
                  <a:lnTo>
                    <a:pt x="499" y="835"/>
                  </a:lnTo>
                  <a:lnTo>
                    <a:pt x="499" y="767"/>
                  </a:lnTo>
                  <a:lnTo>
                    <a:pt x="499" y="700"/>
                  </a:lnTo>
                  <a:lnTo>
                    <a:pt x="499" y="633"/>
                  </a:lnTo>
                  <a:lnTo>
                    <a:pt x="499" y="564"/>
                  </a:lnTo>
                  <a:lnTo>
                    <a:pt x="499" y="497"/>
                  </a:lnTo>
                  <a:lnTo>
                    <a:pt x="499" y="429"/>
                  </a:lnTo>
                  <a:lnTo>
                    <a:pt x="499" y="362"/>
                  </a:lnTo>
                  <a:lnTo>
                    <a:pt x="499" y="293"/>
                  </a:lnTo>
                  <a:lnTo>
                    <a:pt x="499" y="226"/>
                  </a:lnTo>
                  <a:lnTo>
                    <a:pt x="510" y="226"/>
                  </a:lnTo>
                  <a:lnTo>
                    <a:pt x="520" y="226"/>
                  </a:lnTo>
                  <a:lnTo>
                    <a:pt x="532" y="226"/>
                  </a:lnTo>
                  <a:lnTo>
                    <a:pt x="542" y="225"/>
                  </a:lnTo>
                  <a:lnTo>
                    <a:pt x="542" y="273"/>
                  </a:lnTo>
                  <a:lnTo>
                    <a:pt x="542" y="320"/>
                  </a:lnTo>
                  <a:lnTo>
                    <a:pt x="542" y="367"/>
                  </a:lnTo>
                  <a:lnTo>
                    <a:pt x="542" y="414"/>
                  </a:lnTo>
                  <a:lnTo>
                    <a:pt x="542" y="461"/>
                  </a:lnTo>
                  <a:lnTo>
                    <a:pt x="542" y="508"/>
                  </a:lnTo>
                  <a:lnTo>
                    <a:pt x="542" y="556"/>
                  </a:lnTo>
                  <a:lnTo>
                    <a:pt x="542" y="603"/>
                  </a:lnTo>
                  <a:lnTo>
                    <a:pt x="543" y="617"/>
                  </a:lnTo>
                  <a:lnTo>
                    <a:pt x="546" y="631"/>
                  </a:lnTo>
                  <a:lnTo>
                    <a:pt x="553" y="645"/>
                  </a:lnTo>
                  <a:lnTo>
                    <a:pt x="561" y="657"/>
                  </a:lnTo>
                  <a:lnTo>
                    <a:pt x="565" y="662"/>
                  </a:lnTo>
                  <a:lnTo>
                    <a:pt x="570" y="667"/>
                  </a:lnTo>
                  <a:lnTo>
                    <a:pt x="577" y="670"/>
                  </a:lnTo>
                  <a:lnTo>
                    <a:pt x="582" y="674"/>
                  </a:lnTo>
                  <a:lnTo>
                    <a:pt x="589" y="676"/>
                  </a:lnTo>
                  <a:lnTo>
                    <a:pt x="597" y="677"/>
                  </a:lnTo>
                  <a:lnTo>
                    <a:pt x="604" y="677"/>
                  </a:lnTo>
                  <a:lnTo>
                    <a:pt x="612" y="676"/>
                  </a:lnTo>
                  <a:lnTo>
                    <a:pt x="618" y="676"/>
                  </a:lnTo>
                  <a:lnTo>
                    <a:pt x="624" y="674"/>
                  </a:lnTo>
                  <a:lnTo>
                    <a:pt x="629" y="672"/>
                  </a:lnTo>
                  <a:lnTo>
                    <a:pt x="634" y="669"/>
                  </a:lnTo>
                  <a:lnTo>
                    <a:pt x="638" y="665"/>
                  </a:lnTo>
                  <a:lnTo>
                    <a:pt x="642" y="661"/>
                  </a:lnTo>
                  <a:lnTo>
                    <a:pt x="645" y="655"/>
                  </a:lnTo>
                  <a:lnTo>
                    <a:pt x="649" y="650"/>
                  </a:lnTo>
                  <a:lnTo>
                    <a:pt x="653" y="639"/>
                  </a:lnTo>
                  <a:lnTo>
                    <a:pt x="656" y="627"/>
                  </a:lnTo>
                  <a:lnTo>
                    <a:pt x="658" y="615"/>
                  </a:lnTo>
                  <a:lnTo>
                    <a:pt x="658" y="603"/>
                  </a:lnTo>
                  <a:lnTo>
                    <a:pt x="658" y="555"/>
                  </a:lnTo>
                  <a:lnTo>
                    <a:pt x="658" y="505"/>
                  </a:lnTo>
                  <a:lnTo>
                    <a:pt x="658" y="457"/>
                  </a:lnTo>
                  <a:lnTo>
                    <a:pt x="658" y="409"/>
                  </a:lnTo>
                  <a:lnTo>
                    <a:pt x="658" y="360"/>
                  </a:lnTo>
                  <a:lnTo>
                    <a:pt x="658" y="311"/>
                  </a:lnTo>
                  <a:lnTo>
                    <a:pt x="658" y="263"/>
                  </a:lnTo>
                  <a:lnTo>
                    <a:pt x="658" y="214"/>
                  </a:lnTo>
                  <a:lnTo>
                    <a:pt x="658" y="192"/>
                  </a:lnTo>
                  <a:lnTo>
                    <a:pt x="657" y="169"/>
                  </a:lnTo>
                  <a:lnTo>
                    <a:pt x="654" y="146"/>
                  </a:lnTo>
                  <a:lnTo>
                    <a:pt x="650" y="123"/>
                  </a:lnTo>
                  <a:lnTo>
                    <a:pt x="648" y="111"/>
                  </a:lnTo>
                  <a:lnTo>
                    <a:pt x="644" y="100"/>
                  </a:lnTo>
                  <a:lnTo>
                    <a:pt x="640" y="90"/>
                  </a:lnTo>
                  <a:lnTo>
                    <a:pt x="634" y="80"/>
                  </a:lnTo>
                  <a:lnTo>
                    <a:pt x="629" y="71"/>
                  </a:lnTo>
                  <a:lnTo>
                    <a:pt x="622" y="61"/>
                  </a:lnTo>
                  <a:lnTo>
                    <a:pt x="614" y="53"/>
                  </a:lnTo>
                  <a:lnTo>
                    <a:pt x="605" y="45"/>
                  </a:lnTo>
                  <a:close/>
                </a:path>
              </a:pathLst>
            </a:custGeom>
            <a:grpFill/>
            <a:ln w="9525">
              <a:noFill/>
              <a:round/>
            </a:ln>
          </p:spPr>
          <p:txBody>
            <a:bodyPr vert="horz" wrap="square" lIns="91440" tIns="45720" rIns="91440" bIns="45720" numCol="1" anchor="t" anchorCtr="0" compatLnSpc="1"/>
            <a:lstStyle/>
            <a:p>
              <a:endParaRPr lang="en-US"/>
            </a:p>
          </p:txBody>
        </p:sp>
      </p:grpSp>
      <p:grpSp>
        <p:nvGrpSpPr>
          <p:cNvPr id="149" name="Group 148"/>
          <p:cNvGrpSpPr/>
          <p:nvPr/>
        </p:nvGrpSpPr>
        <p:grpSpPr>
          <a:xfrm>
            <a:off x="-110315" y="-141204"/>
            <a:ext cx="1197076" cy="506329"/>
            <a:chOff x="-110315" y="-141204"/>
            <a:chExt cx="1656388" cy="700605"/>
          </a:xfrm>
        </p:grpSpPr>
        <p:sp>
          <p:nvSpPr>
            <p:cNvPr id="150" name="Freeform 149"/>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bg1">
                <a:alpha val="4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1" name="Freeform 150"/>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bg1">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52" name="Rectangle 151"/>
          <p:cNvSpPr/>
          <p:nvPr/>
        </p:nvSpPr>
        <p:spPr>
          <a:xfrm>
            <a:off x="8966211" y="2521666"/>
            <a:ext cx="1955394" cy="646331"/>
          </a:xfrm>
          <a:prstGeom prst="rect">
            <a:avLst/>
          </a:prstGeom>
          <a:noFill/>
          <a:ln>
            <a:noFill/>
            <a:prstDash val="dash"/>
          </a:ln>
        </p:spPr>
        <p:txBody>
          <a:bodyPr wrap="square" anchor="ctr">
            <a:spAutoFit/>
          </a:bodyPr>
          <a:lstStyle/>
          <a:p>
            <a:pPr>
              <a:buClr>
                <a:srgbClr val="E24848"/>
              </a:buClr>
              <a:defRPr/>
            </a:pPr>
            <a:r>
              <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nc enim sem</a:t>
            </a:r>
            <a:endPar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grpSp>
        <p:nvGrpSpPr>
          <p:cNvPr id="153" name="Group 152"/>
          <p:cNvGrpSpPr/>
          <p:nvPr/>
        </p:nvGrpSpPr>
        <p:grpSpPr>
          <a:xfrm>
            <a:off x="8190014" y="2654186"/>
            <a:ext cx="442192" cy="381291"/>
            <a:chOff x="8763000" y="873125"/>
            <a:chExt cx="265113" cy="228600"/>
          </a:xfrm>
          <a:solidFill>
            <a:schemeClr val="accent1"/>
          </a:solidFill>
        </p:grpSpPr>
        <p:sp>
          <p:nvSpPr>
            <p:cNvPr id="154" name="Freeform 4348"/>
            <p:cNvSpPr/>
            <p:nvPr/>
          </p:nvSpPr>
          <p:spPr bwMode="auto">
            <a:xfrm>
              <a:off x="8763000" y="996950"/>
              <a:ext cx="265113" cy="104775"/>
            </a:xfrm>
            <a:custGeom>
              <a:avLst/>
              <a:gdLst>
                <a:gd name="T0" fmla="*/ 479 w 837"/>
                <a:gd name="T1" fmla="*/ 74 h 329"/>
                <a:gd name="T2" fmla="*/ 478 w 837"/>
                <a:gd name="T3" fmla="*/ 78 h 329"/>
                <a:gd name="T4" fmla="*/ 478 w 837"/>
                <a:gd name="T5" fmla="*/ 81 h 329"/>
                <a:gd name="T6" fmla="*/ 475 w 837"/>
                <a:gd name="T7" fmla="*/ 83 h 329"/>
                <a:gd name="T8" fmla="*/ 474 w 837"/>
                <a:gd name="T9" fmla="*/ 85 h 329"/>
                <a:gd name="T10" fmla="*/ 472 w 837"/>
                <a:gd name="T11" fmla="*/ 87 h 329"/>
                <a:gd name="T12" fmla="*/ 469 w 837"/>
                <a:gd name="T13" fmla="*/ 88 h 329"/>
                <a:gd name="T14" fmla="*/ 467 w 837"/>
                <a:gd name="T15" fmla="*/ 89 h 329"/>
                <a:gd name="T16" fmla="*/ 464 w 837"/>
                <a:gd name="T17" fmla="*/ 89 h 329"/>
                <a:gd name="T18" fmla="*/ 344 w 837"/>
                <a:gd name="T19" fmla="*/ 89 h 329"/>
                <a:gd name="T20" fmla="*/ 341 w 837"/>
                <a:gd name="T21" fmla="*/ 89 h 329"/>
                <a:gd name="T22" fmla="*/ 338 w 837"/>
                <a:gd name="T23" fmla="*/ 88 h 329"/>
                <a:gd name="T24" fmla="*/ 335 w 837"/>
                <a:gd name="T25" fmla="*/ 87 h 329"/>
                <a:gd name="T26" fmla="*/ 333 w 837"/>
                <a:gd name="T27" fmla="*/ 85 h 329"/>
                <a:gd name="T28" fmla="*/ 331 w 837"/>
                <a:gd name="T29" fmla="*/ 83 h 329"/>
                <a:gd name="T30" fmla="*/ 330 w 837"/>
                <a:gd name="T31" fmla="*/ 81 h 329"/>
                <a:gd name="T32" fmla="*/ 329 w 837"/>
                <a:gd name="T33" fmla="*/ 78 h 329"/>
                <a:gd name="T34" fmla="*/ 329 w 837"/>
                <a:gd name="T35" fmla="*/ 74 h 329"/>
                <a:gd name="T36" fmla="*/ 329 w 837"/>
                <a:gd name="T37" fmla="*/ 0 h 329"/>
                <a:gd name="T38" fmla="*/ 0 w 837"/>
                <a:gd name="T39" fmla="*/ 0 h 329"/>
                <a:gd name="T40" fmla="*/ 0 w 837"/>
                <a:gd name="T41" fmla="*/ 314 h 329"/>
                <a:gd name="T42" fmla="*/ 0 w 837"/>
                <a:gd name="T43" fmla="*/ 317 h 329"/>
                <a:gd name="T44" fmla="*/ 1 w 837"/>
                <a:gd name="T45" fmla="*/ 319 h 329"/>
                <a:gd name="T46" fmla="*/ 2 w 837"/>
                <a:gd name="T47" fmla="*/ 323 h 329"/>
                <a:gd name="T48" fmla="*/ 5 w 837"/>
                <a:gd name="T49" fmla="*/ 325 h 329"/>
                <a:gd name="T50" fmla="*/ 7 w 837"/>
                <a:gd name="T51" fmla="*/ 326 h 329"/>
                <a:gd name="T52" fmla="*/ 9 w 837"/>
                <a:gd name="T53" fmla="*/ 328 h 329"/>
                <a:gd name="T54" fmla="*/ 12 w 837"/>
                <a:gd name="T55" fmla="*/ 328 h 329"/>
                <a:gd name="T56" fmla="*/ 14 w 837"/>
                <a:gd name="T57" fmla="*/ 329 h 329"/>
                <a:gd name="T58" fmla="*/ 822 w 837"/>
                <a:gd name="T59" fmla="*/ 329 h 329"/>
                <a:gd name="T60" fmla="*/ 825 w 837"/>
                <a:gd name="T61" fmla="*/ 328 h 329"/>
                <a:gd name="T62" fmla="*/ 828 w 837"/>
                <a:gd name="T63" fmla="*/ 328 h 329"/>
                <a:gd name="T64" fmla="*/ 831 w 837"/>
                <a:gd name="T65" fmla="*/ 326 h 329"/>
                <a:gd name="T66" fmla="*/ 833 w 837"/>
                <a:gd name="T67" fmla="*/ 325 h 329"/>
                <a:gd name="T68" fmla="*/ 835 w 837"/>
                <a:gd name="T69" fmla="*/ 323 h 329"/>
                <a:gd name="T70" fmla="*/ 836 w 837"/>
                <a:gd name="T71" fmla="*/ 319 h 329"/>
                <a:gd name="T72" fmla="*/ 837 w 837"/>
                <a:gd name="T73" fmla="*/ 317 h 329"/>
                <a:gd name="T74" fmla="*/ 837 w 837"/>
                <a:gd name="T75" fmla="*/ 314 h 329"/>
                <a:gd name="T76" fmla="*/ 837 w 837"/>
                <a:gd name="T77" fmla="*/ 0 h 329"/>
                <a:gd name="T78" fmla="*/ 479 w 837"/>
                <a:gd name="T79" fmla="*/ 0 h 329"/>
                <a:gd name="T80" fmla="*/ 479 w 837"/>
                <a:gd name="T81" fmla="*/ 7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37" h="329">
                  <a:moveTo>
                    <a:pt x="479" y="74"/>
                  </a:moveTo>
                  <a:lnTo>
                    <a:pt x="478" y="78"/>
                  </a:lnTo>
                  <a:lnTo>
                    <a:pt x="478" y="81"/>
                  </a:lnTo>
                  <a:lnTo>
                    <a:pt x="475" y="83"/>
                  </a:lnTo>
                  <a:lnTo>
                    <a:pt x="474" y="85"/>
                  </a:lnTo>
                  <a:lnTo>
                    <a:pt x="472" y="87"/>
                  </a:lnTo>
                  <a:lnTo>
                    <a:pt x="469" y="88"/>
                  </a:lnTo>
                  <a:lnTo>
                    <a:pt x="467" y="89"/>
                  </a:lnTo>
                  <a:lnTo>
                    <a:pt x="464" y="89"/>
                  </a:lnTo>
                  <a:lnTo>
                    <a:pt x="344" y="89"/>
                  </a:lnTo>
                  <a:lnTo>
                    <a:pt x="341" y="89"/>
                  </a:lnTo>
                  <a:lnTo>
                    <a:pt x="338" y="88"/>
                  </a:lnTo>
                  <a:lnTo>
                    <a:pt x="335" y="87"/>
                  </a:lnTo>
                  <a:lnTo>
                    <a:pt x="333" y="85"/>
                  </a:lnTo>
                  <a:lnTo>
                    <a:pt x="331" y="83"/>
                  </a:lnTo>
                  <a:lnTo>
                    <a:pt x="330" y="81"/>
                  </a:lnTo>
                  <a:lnTo>
                    <a:pt x="329" y="78"/>
                  </a:lnTo>
                  <a:lnTo>
                    <a:pt x="329" y="74"/>
                  </a:lnTo>
                  <a:lnTo>
                    <a:pt x="329" y="0"/>
                  </a:lnTo>
                  <a:lnTo>
                    <a:pt x="0" y="0"/>
                  </a:lnTo>
                  <a:lnTo>
                    <a:pt x="0" y="314"/>
                  </a:lnTo>
                  <a:lnTo>
                    <a:pt x="0" y="317"/>
                  </a:lnTo>
                  <a:lnTo>
                    <a:pt x="1" y="319"/>
                  </a:lnTo>
                  <a:lnTo>
                    <a:pt x="2" y="323"/>
                  </a:lnTo>
                  <a:lnTo>
                    <a:pt x="5" y="325"/>
                  </a:lnTo>
                  <a:lnTo>
                    <a:pt x="7" y="326"/>
                  </a:lnTo>
                  <a:lnTo>
                    <a:pt x="9" y="328"/>
                  </a:lnTo>
                  <a:lnTo>
                    <a:pt x="12" y="328"/>
                  </a:lnTo>
                  <a:lnTo>
                    <a:pt x="14" y="329"/>
                  </a:lnTo>
                  <a:lnTo>
                    <a:pt x="822" y="329"/>
                  </a:lnTo>
                  <a:lnTo>
                    <a:pt x="825" y="328"/>
                  </a:lnTo>
                  <a:lnTo>
                    <a:pt x="828" y="328"/>
                  </a:lnTo>
                  <a:lnTo>
                    <a:pt x="831" y="326"/>
                  </a:lnTo>
                  <a:lnTo>
                    <a:pt x="833" y="325"/>
                  </a:lnTo>
                  <a:lnTo>
                    <a:pt x="835" y="323"/>
                  </a:lnTo>
                  <a:lnTo>
                    <a:pt x="836" y="319"/>
                  </a:lnTo>
                  <a:lnTo>
                    <a:pt x="837" y="317"/>
                  </a:lnTo>
                  <a:lnTo>
                    <a:pt x="837" y="314"/>
                  </a:lnTo>
                  <a:lnTo>
                    <a:pt x="837" y="0"/>
                  </a:lnTo>
                  <a:lnTo>
                    <a:pt x="479" y="0"/>
                  </a:lnTo>
                  <a:lnTo>
                    <a:pt x="479" y="7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b="1"/>
            </a:p>
          </p:txBody>
        </p:sp>
        <p:sp>
          <p:nvSpPr>
            <p:cNvPr id="155" name="Freeform 4349"/>
            <p:cNvSpPr>
              <a:spLocks noEditPoints="1"/>
            </p:cNvSpPr>
            <p:nvPr/>
          </p:nvSpPr>
          <p:spPr bwMode="auto">
            <a:xfrm>
              <a:off x="8763000" y="873125"/>
              <a:ext cx="265113" cy="114300"/>
            </a:xfrm>
            <a:custGeom>
              <a:avLst/>
              <a:gdLst>
                <a:gd name="T0" fmla="*/ 272 w 837"/>
                <a:gd name="T1" fmla="*/ 137 h 359"/>
                <a:gd name="T2" fmla="*/ 278 w 837"/>
                <a:gd name="T3" fmla="*/ 114 h 359"/>
                <a:gd name="T4" fmla="*/ 290 w 837"/>
                <a:gd name="T5" fmla="*/ 92 h 359"/>
                <a:gd name="T6" fmla="*/ 304 w 837"/>
                <a:gd name="T7" fmla="*/ 73 h 359"/>
                <a:gd name="T8" fmla="*/ 322 w 837"/>
                <a:gd name="T9" fmla="*/ 57 h 359"/>
                <a:gd name="T10" fmla="*/ 343 w 837"/>
                <a:gd name="T11" fmla="*/ 44 h 359"/>
                <a:gd name="T12" fmla="*/ 365 w 837"/>
                <a:gd name="T13" fmla="*/ 36 h 359"/>
                <a:gd name="T14" fmla="*/ 391 w 837"/>
                <a:gd name="T15" fmla="*/ 30 h 359"/>
                <a:gd name="T16" fmla="*/ 417 w 837"/>
                <a:gd name="T17" fmla="*/ 30 h 359"/>
                <a:gd name="T18" fmla="*/ 441 w 837"/>
                <a:gd name="T19" fmla="*/ 36 h 359"/>
                <a:gd name="T20" fmla="*/ 465 w 837"/>
                <a:gd name="T21" fmla="*/ 44 h 359"/>
                <a:gd name="T22" fmla="*/ 485 w 837"/>
                <a:gd name="T23" fmla="*/ 57 h 359"/>
                <a:gd name="T24" fmla="*/ 502 w 837"/>
                <a:gd name="T25" fmla="*/ 73 h 359"/>
                <a:gd name="T26" fmla="*/ 517 w 837"/>
                <a:gd name="T27" fmla="*/ 92 h 359"/>
                <a:gd name="T28" fmla="*/ 528 w 837"/>
                <a:gd name="T29" fmla="*/ 114 h 359"/>
                <a:gd name="T30" fmla="*/ 535 w 837"/>
                <a:gd name="T31" fmla="*/ 137 h 359"/>
                <a:gd name="T32" fmla="*/ 270 w 837"/>
                <a:gd name="T33" fmla="*/ 149 h 359"/>
                <a:gd name="T34" fmla="*/ 567 w 837"/>
                <a:gd name="T35" fmla="*/ 149 h 359"/>
                <a:gd name="T36" fmla="*/ 562 w 837"/>
                <a:gd name="T37" fmla="*/ 119 h 359"/>
                <a:gd name="T38" fmla="*/ 551 w 837"/>
                <a:gd name="T39" fmla="*/ 91 h 359"/>
                <a:gd name="T40" fmla="*/ 535 w 837"/>
                <a:gd name="T41" fmla="*/ 65 h 359"/>
                <a:gd name="T42" fmla="*/ 515 w 837"/>
                <a:gd name="T43" fmla="*/ 43 h 359"/>
                <a:gd name="T44" fmla="*/ 491 w 837"/>
                <a:gd name="T45" fmla="*/ 25 h 359"/>
                <a:gd name="T46" fmla="*/ 465 w 837"/>
                <a:gd name="T47" fmla="*/ 11 h 359"/>
                <a:gd name="T48" fmla="*/ 436 w 837"/>
                <a:gd name="T49" fmla="*/ 2 h 359"/>
                <a:gd name="T50" fmla="*/ 404 w 837"/>
                <a:gd name="T51" fmla="*/ 0 h 359"/>
                <a:gd name="T52" fmla="*/ 372 w 837"/>
                <a:gd name="T53" fmla="*/ 2 h 359"/>
                <a:gd name="T54" fmla="*/ 343 w 837"/>
                <a:gd name="T55" fmla="*/ 11 h 359"/>
                <a:gd name="T56" fmla="*/ 315 w 837"/>
                <a:gd name="T57" fmla="*/ 25 h 359"/>
                <a:gd name="T58" fmla="*/ 291 w 837"/>
                <a:gd name="T59" fmla="*/ 43 h 359"/>
                <a:gd name="T60" fmla="*/ 272 w 837"/>
                <a:gd name="T61" fmla="*/ 65 h 359"/>
                <a:gd name="T62" fmla="*/ 256 w 837"/>
                <a:gd name="T63" fmla="*/ 91 h 359"/>
                <a:gd name="T64" fmla="*/ 245 w 837"/>
                <a:gd name="T65" fmla="*/ 119 h 359"/>
                <a:gd name="T66" fmla="*/ 240 w 837"/>
                <a:gd name="T67" fmla="*/ 149 h 359"/>
                <a:gd name="T68" fmla="*/ 12 w 837"/>
                <a:gd name="T69" fmla="*/ 150 h 359"/>
                <a:gd name="T70" fmla="*/ 7 w 837"/>
                <a:gd name="T71" fmla="*/ 152 h 359"/>
                <a:gd name="T72" fmla="*/ 2 w 837"/>
                <a:gd name="T73" fmla="*/ 156 h 359"/>
                <a:gd name="T74" fmla="*/ 0 w 837"/>
                <a:gd name="T75" fmla="*/ 162 h 359"/>
                <a:gd name="T76" fmla="*/ 0 w 837"/>
                <a:gd name="T77" fmla="*/ 359 h 359"/>
                <a:gd name="T78" fmla="*/ 329 w 837"/>
                <a:gd name="T79" fmla="*/ 314 h 359"/>
                <a:gd name="T80" fmla="*/ 330 w 837"/>
                <a:gd name="T81" fmla="*/ 308 h 359"/>
                <a:gd name="T82" fmla="*/ 333 w 837"/>
                <a:gd name="T83" fmla="*/ 304 h 359"/>
                <a:gd name="T84" fmla="*/ 338 w 837"/>
                <a:gd name="T85" fmla="*/ 300 h 359"/>
                <a:gd name="T86" fmla="*/ 344 w 837"/>
                <a:gd name="T87" fmla="*/ 299 h 359"/>
                <a:gd name="T88" fmla="*/ 467 w 837"/>
                <a:gd name="T89" fmla="*/ 299 h 359"/>
                <a:gd name="T90" fmla="*/ 472 w 837"/>
                <a:gd name="T91" fmla="*/ 302 h 359"/>
                <a:gd name="T92" fmla="*/ 475 w 837"/>
                <a:gd name="T93" fmla="*/ 306 h 359"/>
                <a:gd name="T94" fmla="*/ 478 w 837"/>
                <a:gd name="T95" fmla="*/ 312 h 359"/>
                <a:gd name="T96" fmla="*/ 479 w 837"/>
                <a:gd name="T97" fmla="*/ 359 h 359"/>
                <a:gd name="T98" fmla="*/ 837 w 837"/>
                <a:gd name="T99" fmla="*/ 164 h 359"/>
                <a:gd name="T100" fmla="*/ 836 w 837"/>
                <a:gd name="T101" fmla="*/ 159 h 359"/>
                <a:gd name="T102" fmla="*/ 833 w 837"/>
                <a:gd name="T103" fmla="*/ 154 h 359"/>
                <a:gd name="T104" fmla="*/ 828 w 837"/>
                <a:gd name="T105" fmla="*/ 151 h 359"/>
                <a:gd name="T106" fmla="*/ 822 w 837"/>
                <a:gd name="T107" fmla="*/ 14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7" h="359">
                  <a:moveTo>
                    <a:pt x="270" y="149"/>
                  </a:moveTo>
                  <a:lnTo>
                    <a:pt x="272" y="137"/>
                  </a:lnTo>
                  <a:lnTo>
                    <a:pt x="274" y="125"/>
                  </a:lnTo>
                  <a:lnTo>
                    <a:pt x="278" y="114"/>
                  </a:lnTo>
                  <a:lnTo>
                    <a:pt x="284" y="102"/>
                  </a:lnTo>
                  <a:lnTo>
                    <a:pt x="290" y="92"/>
                  </a:lnTo>
                  <a:lnTo>
                    <a:pt x="297" y="82"/>
                  </a:lnTo>
                  <a:lnTo>
                    <a:pt x="304" y="73"/>
                  </a:lnTo>
                  <a:lnTo>
                    <a:pt x="313" y="64"/>
                  </a:lnTo>
                  <a:lnTo>
                    <a:pt x="322" y="57"/>
                  </a:lnTo>
                  <a:lnTo>
                    <a:pt x="332" y="49"/>
                  </a:lnTo>
                  <a:lnTo>
                    <a:pt x="343" y="44"/>
                  </a:lnTo>
                  <a:lnTo>
                    <a:pt x="354" y="39"/>
                  </a:lnTo>
                  <a:lnTo>
                    <a:pt x="365" y="36"/>
                  </a:lnTo>
                  <a:lnTo>
                    <a:pt x="378" y="32"/>
                  </a:lnTo>
                  <a:lnTo>
                    <a:pt x="391" y="30"/>
                  </a:lnTo>
                  <a:lnTo>
                    <a:pt x="404" y="30"/>
                  </a:lnTo>
                  <a:lnTo>
                    <a:pt x="417" y="30"/>
                  </a:lnTo>
                  <a:lnTo>
                    <a:pt x="429" y="32"/>
                  </a:lnTo>
                  <a:lnTo>
                    <a:pt x="441" y="36"/>
                  </a:lnTo>
                  <a:lnTo>
                    <a:pt x="453" y="39"/>
                  </a:lnTo>
                  <a:lnTo>
                    <a:pt x="465" y="44"/>
                  </a:lnTo>
                  <a:lnTo>
                    <a:pt x="475" y="49"/>
                  </a:lnTo>
                  <a:lnTo>
                    <a:pt x="485" y="57"/>
                  </a:lnTo>
                  <a:lnTo>
                    <a:pt x="495" y="64"/>
                  </a:lnTo>
                  <a:lnTo>
                    <a:pt x="502" y="73"/>
                  </a:lnTo>
                  <a:lnTo>
                    <a:pt x="511" y="82"/>
                  </a:lnTo>
                  <a:lnTo>
                    <a:pt x="517" y="92"/>
                  </a:lnTo>
                  <a:lnTo>
                    <a:pt x="524" y="102"/>
                  </a:lnTo>
                  <a:lnTo>
                    <a:pt x="528" y="114"/>
                  </a:lnTo>
                  <a:lnTo>
                    <a:pt x="532" y="125"/>
                  </a:lnTo>
                  <a:lnTo>
                    <a:pt x="535" y="137"/>
                  </a:lnTo>
                  <a:lnTo>
                    <a:pt x="537" y="149"/>
                  </a:lnTo>
                  <a:lnTo>
                    <a:pt x="270" y="149"/>
                  </a:lnTo>
                  <a:close/>
                  <a:moveTo>
                    <a:pt x="822" y="149"/>
                  </a:moveTo>
                  <a:lnTo>
                    <a:pt x="567" y="149"/>
                  </a:lnTo>
                  <a:lnTo>
                    <a:pt x="565" y="134"/>
                  </a:lnTo>
                  <a:lnTo>
                    <a:pt x="562" y="119"/>
                  </a:lnTo>
                  <a:lnTo>
                    <a:pt x="557" y="104"/>
                  </a:lnTo>
                  <a:lnTo>
                    <a:pt x="551" y="91"/>
                  </a:lnTo>
                  <a:lnTo>
                    <a:pt x="544" y="77"/>
                  </a:lnTo>
                  <a:lnTo>
                    <a:pt x="535" y="65"/>
                  </a:lnTo>
                  <a:lnTo>
                    <a:pt x="526" y="54"/>
                  </a:lnTo>
                  <a:lnTo>
                    <a:pt x="515" y="43"/>
                  </a:lnTo>
                  <a:lnTo>
                    <a:pt x="504" y="33"/>
                  </a:lnTo>
                  <a:lnTo>
                    <a:pt x="491" y="25"/>
                  </a:lnTo>
                  <a:lnTo>
                    <a:pt x="479" y="17"/>
                  </a:lnTo>
                  <a:lnTo>
                    <a:pt x="465" y="11"/>
                  </a:lnTo>
                  <a:lnTo>
                    <a:pt x="451" y="7"/>
                  </a:lnTo>
                  <a:lnTo>
                    <a:pt x="436" y="2"/>
                  </a:lnTo>
                  <a:lnTo>
                    <a:pt x="420" y="0"/>
                  </a:lnTo>
                  <a:lnTo>
                    <a:pt x="404" y="0"/>
                  </a:lnTo>
                  <a:lnTo>
                    <a:pt x="388" y="0"/>
                  </a:lnTo>
                  <a:lnTo>
                    <a:pt x="372" y="2"/>
                  </a:lnTo>
                  <a:lnTo>
                    <a:pt x="357" y="7"/>
                  </a:lnTo>
                  <a:lnTo>
                    <a:pt x="343" y="11"/>
                  </a:lnTo>
                  <a:lnTo>
                    <a:pt x="329" y="17"/>
                  </a:lnTo>
                  <a:lnTo>
                    <a:pt x="315" y="25"/>
                  </a:lnTo>
                  <a:lnTo>
                    <a:pt x="303" y="33"/>
                  </a:lnTo>
                  <a:lnTo>
                    <a:pt x="291" y="43"/>
                  </a:lnTo>
                  <a:lnTo>
                    <a:pt x="282" y="54"/>
                  </a:lnTo>
                  <a:lnTo>
                    <a:pt x="272" y="65"/>
                  </a:lnTo>
                  <a:lnTo>
                    <a:pt x="264" y="77"/>
                  </a:lnTo>
                  <a:lnTo>
                    <a:pt x="256" y="91"/>
                  </a:lnTo>
                  <a:lnTo>
                    <a:pt x="251" y="104"/>
                  </a:lnTo>
                  <a:lnTo>
                    <a:pt x="245" y="119"/>
                  </a:lnTo>
                  <a:lnTo>
                    <a:pt x="242" y="134"/>
                  </a:lnTo>
                  <a:lnTo>
                    <a:pt x="240" y="149"/>
                  </a:lnTo>
                  <a:lnTo>
                    <a:pt x="14" y="149"/>
                  </a:lnTo>
                  <a:lnTo>
                    <a:pt x="12" y="150"/>
                  </a:lnTo>
                  <a:lnTo>
                    <a:pt x="9" y="151"/>
                  </a:lnTo>
                  <a:lnTo>
                    <a:pt x="7" y="152"/>
                  </a:lnTo>
                  <a:lnTo>
                    <a:pt x="5" y="154"/>
                  </a:lnTo>
                  <a:lnTo>
                    <a:pt x="2" y="156"/>
                  </a:lnTo>
                  <a:lnTo>
                    <a:pt x="1" y="159"/>
                  </a:lnTo>
                  <a:lnTo>
                    <a:pt x="0" y="162"/>
                  </a:lnTo>
                  <a:lnTo>
                    <a:pt x="0" y="164"/>
                  </a:lnTo>
                  <a:lnTo>
                    <a:pt x="0" y="359"/>
                  </a:lnTo>
                  <a:lnTo>
                    <a:pt x="329" y="359"/>
                  </a:lnTo>
                  <a:lnTo>
                    <a:pt x="329" y="314"/>
                  </a:lnTo>
                  <a:lnTo>
                    <a:pt x="329" y="312"/>
                  </a:lnTo>
                  <a:lnTo>
                    <a:pt x="330" y="308"/>
                  </a:lnTo>
                  <a:lnTo>
                    <a:pt x="331" y="306"/>
                  </a:lnTo>
                  <a:lnTo>
                    <a:pt x="333" y="304"/>
                  </a:lnTo>
                  <a:lnTo>
                    <a:pt x="335" y="302"/>
                  </a:lnTo>
                  <a:lnTo>
                    <a:pt x="338" y="300"/>
                  </a:lnTo>
                  <a:lnTo>
                    <a:pt x="341" y="299"/>
                  </a:lnTo>
                  <a:lnTo>
                    <a:pt x="344" y="299"/>
                  </a:lnTo>
                  <a:lnTo>
                    <a:pt x="464" y="299"/>
                  </a:lnTo>
                  <a:lnTo>
                    <a:pt x="467" y="299"/>
                  </a:lnTo>
                  <a:lnTo>
                    <a:pt x="469" y="300"/>
                  </a:lnTo>
                  <a:lnTo>
                    <a:pt x="472" y="302"/>
                  </a:lnTo>
                  <a:lnTo>
                    <a:pt x="474" y="304"/>
                  </a:lnTo>
                  <a:lnTo>
                    <a:pt x="475" y="306"/>
                  </a:lnTo>
                  <a:lnTo>
                    <a:pt x="478" y="308"/>
                  </a:lnTo>
                  <a:lnTo>
                    <a:pt x="478" y="312"/>
                  </a:lnTo>
                  <a:lnTo>
                    <a:pt x="479" y="314"/>
                  </a:lnTo>
                  <a:lnTo>
                    <a:pt x="479" y="359"/>
                  </a:lnTo>
                  <a:lnTo>
                    <a:pt x="837" y="359"/>
                  </a:lnTo>
                  <a:lnTo>
                    <a:pt x="837" y="164"/>
                  </a:lnTo>
                  <a:lnTo>
                    <a:pt x="837" y="162"/>
                  </a:lnTo>
                  <a:lnTo>
                    <a:pt x="836" y="159"/>
                  </a:lnTo>
                  <a:lnTo>
                    <a:pt x="835" y="156"/>
                  </a:lnTo>
                  <a:lnTo>
                    <a:pt x="833" y="154"/>
                  </a:lnTo>
                  <a:lnTo>
                    <a:pt x="831" y="152"/>
                  </a:lnTo>
                  <a:lnTo>
                    <a:pt x="828" y="151"/>
                  </a:lnTo>
                  <a:lnTo>
                    <a:pt x="825" y="150"/>
                  </a:lnTo>
                  <a:lnTo>
                    <a:pt x="822" y="14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b="1"/>
            </a:p>
          </p:txBody>
        </p:sp>
      </p:grpSp>
      <p:grpSp>
        <p:nvGrpSpPr>
          <p:cNvPr id="156" name="Group 155"/>
          <p:cNvGrpSpPr/>
          <p:nvPr/>
        </p:nvGrpSpPr>
        <p:grpSpPr>
          <a:xfrm>
            <a:off x="8164627" y="4625765"/>
            <a:ext cx="499487" cy="445779"/>
            <a:chOff x="3817938" y="3571875"/>
            <a:chExt cx="295275" cy="263525"/>
          </a:xfrm>
          <a:solidFill>
            <a:schemeClr val="accent1"/>
          </a:solidFill>
        </p:grpSpPr>
        <p:sp>
          <p:nvSpPr>
            <p:cNvPr id="157" name="Freeform 123"/>
            <p:cNvSpPr/>
            <p:nvPr/>
          </p:nvSpPr>
          <p:spPr bwMode="auto">
            <a:xfrm>
              <a:off x="3833813" y="3660775"/>
              <a:ext cx="69850" cy="69850"/>
            </a:xfrm>
            <a:custGeom>
              <a:avLst/>
              <a:gdLst>
                <a:gd name="T0" fmla="*/ 22 w 44"/>
                <a:gd name="T1" fmla="*/ 44 h 44"/>
                <a:gd name="T2" fmla="*/ 22 w 44"/>
                <a:gd name="T3" fmla="*/ 44 h 44"/>
                <a:gd name="T4" fmla="*/ 30 w 44"/>
                <a:gd name="T5" fmla="*/ 42 h 44"/>
                <a:gd name="T6" fmla="*/ 38 w 44"/>
                <a:gd name="T7" fmla="*/ 38 h 44"/>
                <a:gd name="T8" fmla="*/ 42 w 44"/>
                <a:gd name="T9" fmla="*/ 30 h 44"/>
                <a:gd name="T10" fmla="*/ 44 w 44"/>
                <a:gd name="T11" fmla="*/ 22 h 44"/>
                <a:gd name="T12" fmla="*/ 44 w 44"/>
                <a:gd name="T13" fmla="*/ 22 h 44"/>
                <a:gd name="T14" fmla="*/ 42 w 44"/>
                <a:gd name="T15" fmla="*/ 12 h 44"/>
                <a:gd name="T16" fmla="*/ 38 w 44"/>
                <a:gd name="T17" fmla="*/ 6 h 44"/>
                <a:gd name="T18" fmla="*/ 30 w 44"/>
                <a:gd name="T19" fmla="*/ 2 h 44"/>
                <a:gd name="T20" fmla="*/ 22 w 44"/>
                <a:gd name="T21" fmla="*/ 0 h 44"/>
                <a:gd name="T22" fmla="*/ 22 w 44"/>
                <a:gd name="T23" fmla="*/ 0 h 44"/>
                <a:gd name="T24" fmla="*/ 14 w 44"/>
                <a:gd name="T25" fmla="*/ 2 h 44"/>
                <a:gd name="T26" fmla="*/ 6 w 44"/>
                <a:gd name="T27" fmla="*/ 6 h 44"/>
                <a:gd name="T28" fmla="*/ 2 w 44"/>
                <a:gd name="T29" fmla="*/ 12 h 44"/>
                <a:gd name="T30" fmla="*/ 0 w 44"/>
                <a:gd name="T31" fmla="*/ 22 h 44"/>
                <a:gd name="T32" fmla="*/ 0 w 44"/>
                <a:gd name="T33" fmla="*/ 22 h 44"/>
                <a:gd name="T34" fmla="*/ 2 w 44"/>
                <a:gd name="T35" fmla="*/ 30 h 44"/>
                <a:gd name="T36" fmla="*/ 6 w 44"/>
                <a:gd name="T37" fmla="*/ 38 h 44"/>
                <a:gd name="T38" fmla="*/ 14 w 44"/>
                <a:gd name="T39" fmla="*/ 42 h 44"/>
                <a:gd name="T40" fmla="*/ 22 w 44"/>
                <a:gd name="T41" fmla="*/ 44 h 44"/>
                <a:gd name="T42" fmla="*/ 22 w 44"/>
                <a:gd name="T4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44">
                  <a:moveTo>
                    <a:pt x="22" y="44"/>
                  </a:moveTo>
                  <a:lnTo>
                    <a:pt x="22" y="44"/>
                  </a:lnTo>
                  <a:lnTo>
                    <a:pt x="30" y="42"/>
                  </a:lnTo>
                  <a:lnTo>
                    <a:pt x="38" y="38"/>
                  </a:lnTo>
                  <a:lnTo>
                    <a:pt x="42" y="30"/>
                  </a:lnTo>
                  <a:lnTo>
                    <a:pt x="44" y="22"/>
                  </a:lnTo>
                  <a:lnTo>
                    <a:pt x="44" y="22"/>
                  </a:lnTo>
                  <a:lnTo>
                    <a:pt x="42" y="12"/>
                  </a:lnTo>
                  <a:lnTo>
                    <a:pt x="38" y="6"/>
                  </a:lnTo>
                  <a:lnTo>
                    <a:pt x="30" y="2"/>
                  </a:lnTo>
                  <a:lnTo>
                    <a:pt x="22" y="0"/>
                  </a:lnTo>
                  <a:lnTo>
                    <a:pt x="22" y="0"/>
                  </a:lnTo>
                  <a:lnTo>
                    <a:pt x="14" y="2"/>
                  </a:lnTo>
                  <a:lnTo>
                    <a:pt x="6" y="6"/>
                  </a:lnTo>
                  <a:lnTo>
                    <a:pt x="2" y="12"/>
                  </a:lnTo>
                  <a:lnTo>
                    <a:pt x="0" y="22"/>
                  </a:lnTo>
                  <a:lnTo>
                    <a:pt x="0" y="22"/>
                  </a:lnTo>
                  <a:lnTo>
                    <a:pt x="2" y="30"/>
                  </a:lnTo>
                  <a:lnTo>
                    <a:pt x="6" y="38"/>
                  </a:lnTo>
                  <a:lnTo>
                    <a:pt x="14" y="42"/>
                  </a:lnTo>
                  <a:lnTo>
                    <a:pt x="22" y="44"/>
                  </a:lnTo>
                  <a:lnTo>
                    <a:pt x="22" y="4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8" name="Freeform 124"/>
            <p:cNvSpPr/>
            <p:nvPr/>
          </p:nvSpPr>
          <p:spPr bwMode="auto">
            <a:xfrm>
              <a:off x="3817938" y="3740150"/>
              <a:ext cx="101600" cy="95250"/>
            </a:xfrm>
            <a:custGeom>
              <a:avLst/>
              <a:gdLst>
                <a:gd name="T0" fmla="*/ 32 w 64"/>
                <a:gd name="T1" fmla="*/ 0 h 60"/>
                <a:gd name="T2" fmla="*/ 32 w 64"/>
                <a:gd name="T3" fmla="*/ 0 h 60"/>
                <a:gd name="T4" fmla="*/ 26 w 64"/>
                <a:gd name="T5" fmla="*/ 2 h 60"/>
                <a:gd name="T6" fmla="*/ 20 w 64"/>
                <a:gd name="T7" fmla="*/ 4 h 60"/>
                <a:gd name="T8" fmla="*/ 10 w 64"/>
                <a:gd name="T9" fmla="*/ 10 h 60"/>
                <a:gd name="T10" fmla="*/ 2 w 64"/>
                <a:gd name="T11" fmla="*/ 20 h 60"/>
                <a:gd name="T12" fmla="*/ 0 w 64"/>
                <a:gd name="T13" fmla="*/ 26 h 60"/>
                <a:gd name="T14" fmla="*/ 0 w 64"/>
                <a:gd name="T15" fmla="*/ 32 h 60"/>
                <a:gd name="T16" fmla="*/ 0 w 64"/>
                <a:gd name="T17" fmla="*/ 60 h 60"/>
                <a:gd name="T18" fmla="*/ 64 w 64"/>
                <a:gd name="T19" fmla="*/ 60 h 60"/>
                <a:gd name="T20" fmla="*/ 64 w 64"/>
                <a:gd name="T21" fmla="*/ 32 h 60"/>
                <a:gd name="T22" fmla="*/ 64 w 64"/>
                <a:gd name="T23" fmla="*/ 32 h 60"/>
                <a:gd name="T24" fmla="*/ 64 w 64"/>
                <a:gd name="T25" fmla="*/ 26 h 60"/>
                <a:gd name="T26" fmla="*/ 62 w 64"/>
                <a:gd name="T27" fmla="*/ 20 h 60"/>
                <a:gd name="T28" fmla="*/ 54 w 64"/>
                <a:gd name="T29" fmla="*/ 10 h 60"/>
                <a:gd name="T30" fmla="*/ 44 w 64"/>
                <a:gd name="T31" fmla="*/ 4 h 60"/>
                <a:gd name="T32" fmla="*/ 38 w 64"/>
                <a:gd name="T33" fmla="*/ 2 h 60"/>
                <a:gd name="T34" fmla="*/ 32 w 64"/>
                <a:gd name="T35" fmla="*/ 0 h 60"/>
                <a:gd name="T36" fmla="*/ 32 w 64"/>
                <a:gd name="T3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60">
                  <a:moveTo>
                    <a:pt x="32" y="0"/>
                  </a:moveTo>
                  <a:lnTo>
                    <a:pt x="32" y="0"/>
                  </a:lnTo>
                  <a:lnTo>
                    <a:pt x="26" y="2"/>
                  </a:lnTo>
                  <a:lnTo>
                    <a:pt x="20" y="4"/>
                  </a:lnTo>
                  <a:lnTo>
                    <a:pt x="10" y="10"/>
                  </a:lnTo>
                  <a:lnTo>
                    <a:pt x="2" y="20"/>
                  </a:lnTo>
                  <a:lnTo>
                    <a:pt x="0" y="26"/>
                  </a:lnTo>
                  <a:lnTo>
                    <a:pt x="0" y="32"/>
                  </a:lnTo>
                  <a:lnTo>
                    <a:pt x="0" y="60"/>
                  </a:lnTo>
                  <a:lnTo>
                    <a:pt x="64" y="60"/>
                  </a:lnTo>
                  <a:lnTo>
                    <a:pt x="64" y="32"/>
                  </a:lnTo>
                  <a:lnTo>
                    <a:pt x="64" y="32"/>
                  </a:lnTo>
                  <a:lnTo>
                    <a:pt x="64" y="26"/>
                  </a:lnTo>
                  <a:lnTo>
                    <a:pt x="62" y="20"/>
                  </a:lnTo>
                  <a:lnTo>
                    <a:pt x="54" y="10"/>
                  </a:lnTo>
                  <a:lnTo>
                    <a:pt x="44" y="4"/>
                  </a:lnTo>
                  <a:lnTo>
                    <a:pt x="38" y="2"/>
                  </a:lnTo>
                  <a:lnTo>
                    <a:pt x="32" y="0"/>
                  </a:lnTo>
                  <a:lnTo>
                    <a:pt x="3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9" name="Freeform 125"/>
            <p:cNvSpPr/>
            <p:nvPr/>
          </p:nvSpPr>
          <p:spPr bwMode="auto">
            <a:xfrm>
              <a:off x="4027488" y="3660775"/>
              <a:ext cx="69850" cy="69850"/>
            </a:xfrm>
            <a:custGeom>
              <a:avLst/>
              <a:gdLst>
                <a:gd name="T0" fmla="*/ 22 w 44"/>
                <a:gd name="T1" fmla="*/ 44 h 44"/>
                <a:gd name="T2" fmla="*/ 22 w 44"/>
                <a:gd name="T3" fmla="*/ 44 h 44"/>
                <a:gd name="T4" fmla="*/ 32 w 44"/>
                <a:gd name="T5" fmla="*/ 42 h 44"/>
                <a:gd name="T6" fmla="*/ 38 w 44"/>
                <a:gd name="T7" fmla="*/ 38 h 44"/>
                <a:gd name="T8" fmla="*/ 42 w 44"/>
                <a:gd name="T9" fmla="*/ 30 h 44"/>
                <a:gd name="T10" fmla="*/ 44 w 44"/>
                <a:gd name="T11" fmla="*/ 22 h 44"/>
                <a:gd name="T12" fmla="*/ 44 w 44"/>
                <a:gd name="T13" fmla="*/ 22 h 44"/>
                <a:gd name="T14" fmla="*/ 42 w 44"/>
                <a:gd name="T15" fmla="*/ 12 h 44"/>
                <a:gd name="T16" fmla="*/ 38 w 44"/>
                <a:gd name="T17" fmla="*/ 6 h 44"/>
                <a:gd name="T18" fmla="*/ 32 w 44"/>
                <a:gd name="T19" fmla="*/ 2 h 44"/>
                <a:gd name="T20" fmla="*/ 22 w 44"/>
                <a:gd name="T21" fmla="*/ 0 h 44"/>
                <a:gd name="T22" fmla="*/ 22 w 44"/>
                <a:gd name="T23" fmla="*/ 0 h 44"/>
                <a:gd name="T24" fmla="*/ 14 w 44"/>
                <a:gd name="T25" fmla="*/ 2 h 44"/>
                <a:gd name="T26" fmla="*/ 6 w 44"/>
                <a:gd name="T27" fmla="*/ 6 h 44"/>
                <a:gd name="T28" fmla="*/ 2 w 44"/>
                <a:gd name="T29" fmla="*/ 12 h 44"/>
                <a:gd name="T30" fmla="*/ 0 w 44"/>
                <a:gd name="T31" fmla="*/ 22 h 44"/>
                <a:gd name="T32" fmla="*/ 0 w 44"/>
                <a:gd name="T33" fmla="*/ 22 h 44"/>
                <a:gd name="T34" fmla="*/ 2 w 44"/>
                <a:gd name="T35" fmla="*/ 30 h 44"/>
                <a:gd name="T36" fmla="*/ 6 w 44"/>
                <a:gd name="T37" fmla="*/ 38 h 44"/>
                <a:gd name="T38" fmla="*/ 14 w 44"/>
                <a:gd name="T39" fmla="*/ 42 h 44"/>
                <a:gd name="T40" fmla="*/ 22 w 44"/>
                <a:gd name="T41" fmla="*/ 44 h 44"/>
                <a:gd name="T42" fmla="*/ 22 w 44"/>
                <a:gd name="T4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44">
                  <a:moveTo>
                    <a:pt x="22" y="44"/>
                  </a:moveTo>
                  <a:lnTo>
                    <a:pt x="22" y="44"/>
                  </a:lnTo>
                  <a:lnTo>
                    <a:pt x="32" y="42"/>
                  </a:lnTo>
                  <a:lnTo>
                    <a:pt x="38" y="38"/>
                  </a:lnTo>
                  <a:lnTo>
                    <a:pt x="42" y="30"/>
                  </a:lnTo>
                  <a:lnTo>
                    <a:pt x="44" y="22"/>
                  </a:lnTo>
                  <a:lnTo>
                    <a:pt x="44" y="22"/>
                  </a:lnTo>
                  <a:lnTo>
                    <a:pt x="42" y="12"/>
                  </a:lnTo>
                  <a:lnTo>
                    <a:pt x="38" y="6"/>
                  </a:lnTo>
                  <a:lnTo>
                    <a:pt x="32" y="2"/>
                  </a:lnTo>
                  <a:lnTo>
                    <a:pt x="22" y="0"/>
                  </a:lnTo>
                  <a:lnTo>
                    <a:pt x="22" y="0"/>
                  </a:lnTo>
                  <a:lnTo>
                    <a:pt x="14" y="2"/>
                  </a:lnTo>
                  <a:lnTo>
                    <a:pt x="6" y="6"/>
                  </a:lnTo>
                  <a:lnTo>
                    <a:pt x="2" y="12"/>
                  </a:lnTo>
                  <a:lnTo>
                    <a:pt x="0" y="22"/>
                  </a:lnTo>
                  <a:lnTo>
                    <a:pt x="0" y="22"/>
                  </a:lnTo>
                  <a:lnTo>
                    <a:pt x="2" y="30"/>
                  </a:lnTo>
                  <a:lnTo>
                    <a:pt x="6" y="38"/>
                  </a:lnTo>
                  <a:lnTo>
                    <a:pt x="14" y="42"/>
                  </a:lnTo>
                  <a:lnTo>
                    <a:pt x="22" y="44"/>
                  </a:lnTo>
                  <a:lnTo>
                    <a:pt x="22" y="4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0" name="Freeform 126"/>
            <p:cNvSpPr/>
            <p:nvPr/>
          </p:nvSpPr>
          <p:spPr bwMode="auto">
            <a:xfrm>
              <a:off x="4011613" y="3740150"/>
              <a:ext cx="101600" cy="95250"/>
            </a:xfrm>
            <a:custGeom>
              <a:avLst/>
              <a:gdLst>
                <a:gd name="T0" fmla="*/ 32 w 64"/>
                <a:gd name="T1" fmla="*/ 0 h 60"/>
                <a:gd name="T2" fmla="*/ 32 w 64"/>
                <a:gd name="T3" fmla="*/ 0 h 60"/>
                <a:gd name="T4" fmla="*/ 26 w 64"/>
                <a:gd name="T5" fmla="*/ 2 h 60"/>
                <a:gd name="T6" fmla="*/ 20 w 64"/>
                <a:gd name="T7" fmla="*/ 4 h 60"/>
                <a:gd name="T8" fmla="*/ 10 w 64"/>
                <a:gd name="T9" fmla="*/ 10 h 60"/>
                <a:gd name="T10" fmla="*/ 4 w 64"/>
                <a:gd name="T11" fmla="*/ 20 h 60"/>
                <a:gd name="T12" fmla="*/ 2 w 64"/>
                <a:gd name="T13" fmla="*/ 26 h 60"/>
                <a:gd name="T14" fmla="*/ 0 w 64"/>
                <a:gd name="T15" fmla="*/ 32 h 60"/>
                <a:gd name="T16" fmla="*/ 0 w 64"/>
                <a:gd name="T17" fmla="*/ 60 h 60"/>
                <a:gd name="T18" fmla="*/ 64 w 64"/>
                <a:gd name="T19" fmla="*/ 60 h 60"/>
                <a:gd name="T20" fmla="*/ 64 w 64"/>
                <a:gd name="T21" fmla="*/ 32 h 60"/>
                <a:gd name="T22" fmla="*/ 64 w 64"/>
                <a:gd name="T23" fmla="*/ 32 h 60"/>
                <a:gd name="T24" fmla="*/ 64 w 64"/>
                <a:gd name="T25" fmla="*/ 26 h 60"/>
                <a:gd name="T26" fmla="*/ 62 w 64"/>
                <a:gd name="T27" fmla="*/ 20 h 60"/>
                <a:gd name="T28" fmla="*/ 54 w 64"/>
                <a:gd name="T29" fmla="*/ 10 h 60"/>
                <a:gd name="T30" fmla="*/ 44 w 64"/>
                <a:gd name="T31" fmla="*/ 4 h 60"/>
                <a:gd name="T32" fmla="*/ 38 w 64"/>
                <a:gd name="T33" fmla="*/ 2 h 60"/>
                <a:gd name="T34" fmla="*/ 32 w 64"/>
                <a:gd name="T35" fmla="*/ 0 h 60"/>
                <a:gd name="T36" fmla="*/ 32 w 64"/>
                <a:gd name="T3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60">
                  <a:moveTo>
                    <a:pt x="32" y="0"/>
                  </a:moveTo>
                  <a:lnTo>
                    <a:pt x="32" y="0"/>
                  </a:lnTo>
                  <a:lnTo>
                    <a:pt x="26" y="2"/>
                  </a:lnTo>
                  <a:lnTo>
                    <a:pt x="20" y="4"/>
                  </a:lnTo>
                  <a:lnTo>
                    <a:pt x="10" y="10"/>
                  </a:lnTo>
                  <a:lnTo>
                    <a:pt x="4" y="20"/>
                  </a:lnTo>
                  <a:lnTo>
                    <a:pt x="2" y="26"/>
                  </a:lnTo>
                  <a:lnTo>
                    <a:pt x="0" y="32"/>
                  </a:lnTo>
                  <a:lnTo>
                    <a:pt x="0" y="60"/>
                  </a:lnTo>
                  <a:lnTo>
                    <a:pt x="64" y="60"/>
                  </a:lnTo>
                  <a:lnTo>
                    <a:pt x="64" y="32"/>
                  </a:lnTo>
                  <a:lnTo>
                    <a:pt x="64" y="32"/>
                  </a:lnTo>
                  <a:lnTo>
                    <a:pt x="64" y="26"/>
                  </a:lnTo>
                  <a:lnTo>
                    <a:pt x="62" y="20"/>
                  </a:lnTo>
                  <a:lnTo>
                    <a:pt x="54" y="10"/>
                  </a:lnTo>
                  <a:lnTo>
                    <a:pt x="44" y="4"/>
                  </a:lnTo>
                  <a:lnTo>
                    <a:pt x="38" y="2"/>
                  </a:lnTo>
                  <a:lnTo>
                    <a:pt x="32" y="0"/>
                  </a:lnTo>
                  <a:lnTo>
                    <a:pt x="3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1" name="Freeform 127"/>
            <p:cNvSpPr/>
            <p:nvPr/>
          </p:nvSpPr>
          <p:spPr bwMode="auto">
            <a:xfrm>
              <a:off x="3929063" y="3571875"/>
              <a:ext cx="73025" cy="73025"/>
            </a:xfrm>
            <a:custGeom>
              <a:avLst/>
              <a:gdLst>
                <a:gd name="T0" fmla="*/ 24 w 46"/>
                <a:gd name="T1" fmla="*/ 46 h 46"/>
                <a:gd name="T2" fmla="*/ 24 w 46"/>
                <a:gd name="T3" fmla="*/ 46 h 46"/>
                <a:gd name="T4" fmla="*/ 32 w 46"/>
                <a:gd name="T5" fmla="*/ 44 h 46"/>
                <a:gd name="T6" fmla="*/ 38 w 46"/>
                <a:gd name="T7" fmla="*/ 38 h 46"/>
                <a:gd name="T8" fmla="*/ 44 w 46"/>
                <a:gd name="T9" fmla="*/ 32 h 46"/>
                <a:gd name="T10" fmla="*/ 46 w 46"/>
                <a:gd name="T11" fmla="*/ 22 h 46"/>
                <a:gd name="T12" fmla="*/ 46 w 46"/>
                <a:gd name="T13" fmla="*/ 22 h 46"/>
                <a:gd name="T14" fmla="*/ 44 w 46"/>
                <a:gd name="T15" fmla="*/ 14 h 46"/>
                <a:gd name="T16" fmla="*/ 38 w 46"/>
                <a:gd name="T17" fmla="*/ 8 h 46"/>
                <a:gd name="T18" fmla="*/ 32 w 46"/>
                <a:gd name="T19" fmla="*/ 2 h 46"/>
                <a:gd name="T20" fmla="*/ 24 w 46"/>
                <a:gd name="T21" fmla="*/ 0 h 46"/>
                <a:gd name="T22" fmla="*/ 24 w 46"/>
                <a:gd name="T23" fmla="*/ 0 h 46"/>
                <a:gd name="T24" fmla="*/ 14 w 46"/>
                <a:gd name="T25" fmla="*/ 2 h 46"/>
                <a:gd name="T26" fmla="*/ 8 w 46"/>
                <a:gd name="T27" fmla="*/ 8 h 46"/>
                <a:gd name="T28" fmla="*/ 2 w 46"/>
                <a:gd name="T29" fmla="*/ 14 h 46"/>
                <a:gd name="T30" fmla="*/ 0 w 46"/>
                <a:gd name="T31" fmla="*/ 22 h 46"/>
                <a:gd name="T32" fmla="*/ 0 w 46"/>
                <a:gd name="T33" fmla="*/ 22 h 46"/>
                <a:gd name="T34" fmla="*/ 2 w 46"/>
                <a:gd name="T35" fmla="*/ 32 h 46"/>
                <a:gd name="T36" fmla="*/ 8 w 46"/>
                <a:gd name="T37" fmla="*/ 38 h 46"/>
                <a:gd name="T38" fmla="*/ 14 w 46"/>
                <a:gd name="T39" fmla="*/ 44 h 46"/>
                <a:gd name="T40" fmla="*/ 24 w 46"/>
                <a:gd name="T41" fmla="*/ 46 h 46"/>
                <a:gd name="T42" fmla="*/ 24 w 46"/>
                <a:gd name="T43"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46">
                  <a:moveTo>
                    <a:pt x="24" y="46"/>
                  </a:moveTo>
                  <a:lnTo>
                    <a:pt x="24" y="46"/>
                  </a:lnTo>
                  <a:lnTo>
                    <a:pt x="32" y="44"/>
                  </a:lnTo>
                  <a:lnTo>
                    <a:pt x="38" y="38"/>
                  </a:lnTo>
                  <a:lnTo>
                    <a:pt x="44" y="32"/>
                  </a:lnTo>
                  <a:lnTo>
                    <a:pt x="46" y="22"/>
                  </a:lnTo>
                  <a:lnTo>
                    <a:pt x="46" y="22"/>
                  </a:lnTo>
                  <a:lnTo>
                    <a:pt x="44" y="14"/>
                  </a:lnTo>
                  <a:lnTo>
                    <a:pt x="38" y="8"/>
                  </a:lnTo>
                  <a:lnTo>
                    <a:pt x="32" y="2"/>
                  </a:lnTo>
                  <a:lnTo>
                    <a:pt x="24" y="0"/>
                  </a:lnTo>
                  <a:lnTo>
                    <a:pt x="24" y="0"/>
                  </a:lnTo>
                  <a:lnTo>
                    <a:pt x="14" y="2"/>
                  </a:lnTo>
                  <a:lnTo>
                    <a:pt x="8" y="8"/>
                  </a:lnTo>
                  <a:lnTo>
                    <a:pt x="2" y="14"/>
                  </a:lnTo>
                  <a:lnTo>
                    <a:pt x="0" y="22"/>
                  </a:lnTo>
                  <a:lnTo>
                    <a:pt x="0" y="22"/>
                  </a:lnTo>
                  <a:lnTo>
                    <a:pt x="2" y="32"/>
                  </a:lnTo>
                  <a:lnTo>
                    <a:pt x="8" y="38"/>
                  </a:lnTo>
                  <a:lnTo>
                    <a:pt x="14" y="44"/>
                  </a:lnTo>
                  <a:lnTo>
                    <a:pt x="24" y="46"/>
                  </a:lnTo>
                  <a:lnTo>
                    <a:pt x="24" y="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2" name="Freeform 128"/>
            <p:cNvSpPr/>
            <p:nvPr/>
          </p:nvSpPr>
          <p:spPr bwMode="auto">
            <a:xfrm>
              <a:off x="3916363" y="3654425"/>
              <a:ext cx="98425" cy="95250"/>
            </a:xfrm>
            <a:custGeom>
              <a:avLst/>
              <a:gdLst>
                <a:gd name="T0" fmla="*/ 62 w 62"/>
                <a:gd name="T1" fmla="*/ 32 h 60"/>
                <a:gd name="T2" fmla="*/ 62 w 62"/>
                <a:gd name="T3" fmla="*/ 32 h 60"/>
                <a:gd name="T4" fmla="*/ 62 w 62"/>
                <a:gd name="T5" fmla="*/ 26 h 60"/>
                <a:gd name="T6" fmla="*/ 60 w 62"/>
                <a:gd name="T7" fmla="*/ 20 h 60"/>
                <a:gd name="T8" fmla="*/ 54 w 62"/>
                <a:gd name="T9" fmla="*/ 10 h 60"/>
                <a:gd name="T10" fmla="*/ 44 w 62"/>
                <a:gd name="T11" fmla="*/ 2 h 60"/>
                <a:gd name="T12" fmla="*/ 38 w 62"/>
                <a:gd name="T13" fmla="*/ 0 h 60"/>
                <a:gd name="T14" fmla="*/ 32 w 62"/>
                <a:gd name="T15" fmla="*/ 0 h 60"/>
                <a:gd name="T16" fmla="*/ 32 w 62"/>
                <a:gd name="T17" fmla="*/ 0 h 60"/>
                <a:gd name="T18" fmla="*/ 24 w 62"/>
                <a:gd name="T19" fmla="*/ 0 h 60"/>
                <a:gd name="T20" fmla="*/ 18 w 62"/>
                <a:gd name="T21" fmla="*/ 2 h 60"/>
                <a:gd name="T22" fmla="*/ 8 w 62"/>
                <a:gd name="T23" fmla="*/ 10 h 60"/>
                <a:gd name="T24" fmla="*/ 2 w 62"/>
                <a:gd name="T25" fmla="*/ 20 h 60"/>
                <a:gd name="T26" fmla="*/ 0 w 62"/>
                <a:gd name="T27" fmla="*/ 26 h 60"/>
                <a:gd name="T28" fmla="*/ 0 w 62"/>
                <a:gd name="T29" fmla="*/ 32 h 60"/>
                <a:gd name="T30" fmla="*/ 0 w 62"/>
                <a:gd name="T31" fmla="*/ 60 h 60"/>
                <a:gd name="T32" fmla="*/ 62 w 62"/>
                <a:gd name="T33" fmla="*/ 60 h 60"/>
                <a:gd name="T34" fmla="*/ 62 w 62"/>
                <a:gd name="T35" fmla="*/ 3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0">
                  <a:moveTo>
                    <a:pt x="62" y="32"/>
                  </a:moveTo>
                  <a:lnTo>
                    <a:pt x="62" y="32"/>
                  </a:lnTo>
                  <a:lnTo>
                    <a:pt x="62" y="26"/>
                  </a:lnTo>
                  <a:lnTo>
                    <a:pt x="60" y="20"/>
                  </a:lnTo>
                  <a:lnTo>
                    <a:pt x="54" y="10"/>
                  </a:lnTo>
                  <a:lnTo>
                    <a:pt x="44" y="2"/>
                  </a:lnTo>
                  <a:lnTo>
                    <a:pt x="38" y="0"/>
                  </a:lnTo>
                  <a:lnTo>
                    <a:pt x="32" y="0"/>
                  </a:lnTo>
                  <a:lnTo>
                    <a:pt x="32" y="0"/>
                  </a:lnTo>
                  <a:lnTo>
                    <a:pt x="24" y="0"/>
                  </a:lnTo>
                  <a:lnTo>
                    <a:pt x="18" y="2"/>
                  </a:lnTo>
                  <a:lnTo>
                    <a:pt x="8" y="10"/>
                  </a:lnTo>
                  <a:lnTo>
                    <a:pt x="2" y="20"/>
                  </a:lnTo>
                  <a:lnTo>
                    <a:pt x="0" y="26"/>
                  </a:lnTo>
                  <a:lnTo>
                    <a:pt x="0" y="32"/>
                  </a:lnTo>
                  <a:lnTo>
                    <a:pt x="0" y="60"/>
                  </a:lnTo>
                  <a:lnTo>
                    <a:pt x="62" y="60"/>
                  </a:lnTo>
                  <a:lnTo>
                    <a:pt x="62" y="3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163" name="Rectangle 162"/>
          <p:cNvSpPr/>
          <p:nvPr/>
        </p:nvSpPr>
        <p:spPr>
          <a:xfrm>
            <a:off x="8980181" y="4525489"/>
            <a:ext cx="1955394" cy="646331"/>
          </a:xfrm>
          <a:prstGeom prst="rect">
            <a:avLst/>
          </a:prstGeom>
          <a:noFill/>
          <a:ln>
            <a:noFill/>
            <a:prstDash val="dash"/>
          </a:ln>
        </p:spPr>
        <p:txBody>
          <a:bodyPr wrap="square" anchor="ctr">
            <a:spAutoFit/>
          </a:bodyPr>
          <a:lstStyle/>
          <a:p>
            <a:pPr>
              <a:buClr>
                <a:srgbClr val="E24848"/>
              </a:buClr>
              <a:defRPr/>
            </a:pPr>
            <a:r>
              <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nc enim sem</a:t>
            </a:r>
            <a:endPar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83" name="文本框 82"/>
          <p:cNvSpPr txBox="1"/>
          <p:nvPr/>
        </p:nvSpPr>
        <p:spPr>
          <a:xfrm>
            <a:off x="11056366" y="6193325"/>
            <a:ext cx="842154" cy="276999"/>
          </a:xfrm>
          <a:prstGeom prst="rect">
            <a:avLst/>
          </a:prstGeom>
          <a:noFill/>
        </p:spPr>
        <p:txBody>
          <a:bodyPr wrap="none" rtlCol="0">
            <a:spAutoFit/>
          </a:bodyPr>
          <a:lstStyle/>
          <a:p>
            <a:r>
              <a:rPr lang="en-US" altLang="zh-CN" sz="1200" dirty="0">
                <a:solidFill>
                  <a:schemeClr val="bg1"/>
                </a:solidFill>
                <a:latin typeface="Arial Black" panose="020B0A04020102020204" pitchFamily="34" charset="0"/>
              </a:rPr>
              <a:t>IBAOTU</a:t>
            </a:r>
            <a:endParaRPr lang="zh-CN" altLang="en-US" sz="1200" dirty="0">
              <a:solidFill>
                <a:schemeClr val="bg1"/>
              </a:solidFill>
              <a:latin typeface="Arial Black" panose="020B0A04020102020204" pitchFamily="34" charset="0"/>
            </a:endParaRPr>
          </a:p>
        </p:txBody>
      </p:sp>
    </p:spTree>
  </p:cSld>
  <p:clrMapOvr>
    <a:masterClrMapping/>
  </p:clrMapOvr>
  <p:transition spd="slow" advClick="0" advTm="0">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p:nvPr/>
        </p:nvSpPr>
        <p:spPr>
          <a:xfrm>
            <a:off x="3919551" y="644336"/>
            <a:ext cx="4352898"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3600" b="1" spc="-151" dirty="0">
                <a:solidFill>
                  <a:schemeClr val="accent1"/>
                </a:solidFill>
                <a:latin typeface="Playfair Display" panose="00000500000000000000" pitchFamily="2" charset="0"/>
                <a:ea typeface="Open Sans" panose="020B0606030504020204" pitchFamily="34" charset="0"/>
                <a:cs typeface="Lato" panose="020F0502020204030203" pitchFamily="34" charset="0"/>
              </a:rPr>
              <a:t>The </a:t>
            </a:r>
            <a:r>
              <a:rPr lang="en-US" sz="3600"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Problem</a:t>
            </a:r>
            <a:endParaRPr lang="en-US" sz="3600"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4" name="Rectangle 3"/>
          <p:cNvSpPr/>
          <p:nvPr/>
        </p:nvSpPr>
        <p:spPr>
          <a:xfrm>
            <a:off x="5017995" y="1290667"/>
            <a:ext cx="2156010" cy="261610"/>
          </a:xfrm>
          <a:prstGeom prst="rect">
            <a:avLst/>
          </a:prstGeom>
        </p:spPr>
        <p:txBody>
          <a:bodyPr wrap="square">
            <a:spAutoFit/>
          </a:bodyPr>
          <a:lstStyle/>
          <a:p>
            <a:pPr algn="ctr">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sp>
        <p:nvSpPr>
          <p:cNvPr id="6" name="Arc 5"/>
          <p:cNvSpPr/>
          <p:nvPr/>
        </p:nvSpPr>
        <p:spPr>
          <a:xfrm>
            <a:off x="770557" y="3954448"/>
            <a:ext cx="2179398" cy="2179398"/>
          </a:xfrm>
          <a:prstGeom prst="arc">
            <a:avLst>
              <a:gd name="adj1" fmla="val 16200000"/>
              <a:gd name="adj2" fmla="val 15405695"/>
            </a:avLst>
          </a:prstGeom>
          <a:noFill/>
          <a:ln w="762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8" name="Oval 7"/>
          <p:cNvSpPr/>
          <p:nvPr/>
        </p:nvSpPr>
        <p:spPr>
          <a:xfrm>
            <a:off x="1303234" y="2047952"/>
            <a:ext cx="1099894" cy="109989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9" name="Arc 8"/>
          <p:cNvSpPr/>
          <p:nvPr/>
        </p:nvSpPr>
        <p:spPr>
          <a:xfrm>
            <a:off x="770557" y="3957338"/>
            <a:ext cx="2179398" cy="2179398"/>
          </a:xfrm>
          <a:prstGeom prst="arc">
            <a:avLst>
              <a:gd name="adj1" fmla="val 16200000"/>
              <a:gd name="adj2" fmla="val 3059559"/>
            </a:avLst>
          </a:prstGeom>
          <a:solidFill>
            <a:schemeClr val="bg1">
              <a:lumMod val="75000"/>
            </a:schemeClr>
          </a:solidFill>
          <a:ln w="762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cxnSp>
        <p:nvCxnSpPr>
          <p:cNvPr id="10" name="Straight Connector 9"/>
          <p:cNvCxnSpPr/>
          <p:nvPr/>
        </p:nvCxnSpPr>
        <p:spPr>
          <a:xfrm>
            <a:off x="1846103" y="3245095"/>
            <a:ext cx="0" cy="717305"/>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641711" y="2033204"/>
            <a:ext cx="958917" cy="646331"/>
          </a:xfrm>
          <a:prstGeom prst="rect">
            <a:avLst/>
          </a:prstGeom>
          <a:noFill/>
        </p:spPr>
        <p:txBody>
          <a:bodyPr wrap="none" rtlCol="0">
            <a:spAutoFit/>
          </a:bodyPr>
          <a:lstStyle/>
          <a:p>
            <a:r>
              <a:rPr lang="en-US" sz="3600" b="1" dirty="0">
                <a:solidFill>
                  <a:schemeClr val="tx1">
                    <a:lumMod val="75000"/>
                    <a:lumOff val="25000"/>
                  </a:schemeClr>
                </a:solidFill>
                <a:latin typeface="Playfair Display" panose="00000500000000000000" pitchFamily="2" charset="0"/>
                <a:ea typeface="Roboto" panose="02000000000000000000" pitchFamily="2" charset="0"/>
                <a:cs typeface="Lato" panose="020F0502020204030203" pitchFamily="34" charset="0"/>
              </a:rPr>
              <a:t>35%</a:t>
            </a:r>
            <a:endParaRPr lang="en-US" sz="3600" b="1" dirty="0">
              <a:solidFill>
                <a:schemeClr val="tx1">
                  <a:lumMod val="75000"/>
                  <a:lumOff val="25000"/>
                </a:schemeClr>
              </a:solidFill>
              <a:latin typeface="Playfair Display" panose="00000500000000000000" pitchFamily="2" charset="0"/>
              <a:ea typeface="Roboto" panose="02000000000000000000" pitchFamily="2" charset="0"/>
              <a:cs typeface="Lato" panose="020F0502020204030203" pitchFamily="34" charset="0"/>
            </a:endParaRPr>
          </a:p>
        </p:txBody>
      </p:sp>
      <p:sp>
        <p:nvSpPr>
          <p:cNvPr id="15" name="Rectangle 14"/>
          <p:cNvSpPr/>
          <p:nvPr/>
        </p:nvSpPr>
        <p:spPr>
          <a:xfrm>
            <a:off x="2708546" y="2646210"/>
            <a:ext cx="865943" cy="338554"/>
          </a:xfrm>
          <a:prstGeom prst="rect">
            <a:avLst/>
          </a:prstGeom>
        </p:spPr>
        <p:txBody>
          <a:bodyPr wrap="none">
            <a:spAutoFit/>
          </a:bodyPr>
          <a:lstStyle/>
          <a:p>
            <a:r>
              <a:rPr lang="en-US" sz="1600" b="1" dirty="0">
                <a:solidFill>
                  <a:schemeClr val="tx1">
                    <a:lumMod val="75000"/>
                    <a:lumOff val="25000"/>
                  </a:schemeClr>
                </a:solidFill>
                <a:latin typeface="Playfair Display" panose="00000500000000000000" pitchFamily="2" charset="0"/>
                <a:ea typeface="Roboto" panose="02000000000000000000" pitchFamily="2" charset="0"/>
                <a:cs typeface="Lato" panose="020F0502020204030203" pitchFamily="34" charset="0"/>
              </a:rPr>
              <a:t>Project</a:t>
            </a:r>
            <a:endParaRPr lang="en-US" sz="1600" b="1" dirty="0">
              <a:solidFill>
                <a:schemeClr val="tx1">
                  <a:lumMod val="75000"/>
                  <a:lumOff val="25000"/>
                </a:schemeClr>
              </a:solidFill>
              <a:latin typeface="Playfair Display" panose="00000500000000000000" pitchFamily="2" charset="0"/>
              <a:ea typeface="Roboto" panose="02000000000000000000" pitchFamily="2" charset="0"/>
              <a:cs typeface="Lato" panose="020F0502020204030203" pitchFamily="34" charset="0"/>
            </a:endParaRPr>
          </a:p>
        </p:txBody>
      </p:sp>
      <p:sp>
        <p:nvSpPr>
          <p:cNvPr id="16" name="Rectangle 15"/>
          <p:cNvSpPr/>
          <p:nvPr/>
        </p:nvSpPr>
        <p:spPr>
          <a:xfrm>
            <a:off x="2706821" y="3049197"/>
            <a:ext cx="1989734" cy="830997"/>
          </a:xfrm>
          <a:prstGeom prst="rect">
            <a:avLst/>
          </a:prstGeom>
        </p:spPr>
        <p:txBody>
          <a:bodyPr wrap="square">
            <a:spAutoFit/>
          </a:bodyPr>
          <a:lstStyle/>
          <a:p>
            <a:pPr>
              <a:buClr>
                <a:srgbClr val="E24848"/>
              </a:buClr>
              <a:defRPr/>
            </a:pPr>
            <a:r>
              <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t>
            </a:r>
            <a:endParaRPr lang="en-US" sz="1200" noProof="1">
              <a:solidFill>
                <a:schemeClr val="tx1">
                  <a:lumMod val="65000"/>
                  <a:lumOff val="35000"/>
                </a:schemeClr>
              </a:solidFill>
              <a:latin typeface="+mj-lt"/>
              <a:ea typeface="Open Sans Light" panose="020B0306030504020204" pitchFamily="34" charset="0"/>
              <a:cs typeface="Open Sans Light" panose="020B0306030504020204" pitchFamily="34" charset="0"/>
            </a:endParaRPr>
          </a:p>
        </p:txBody>
      </p:sp>
      <p:sp>
        <p:nvSpPr>
          <p:cNvPr id="23" name="Freeform 22"/>
          <p:cNvSpPr>
            <a:spLocks noEditPoints="1"/>
          </p:cNvSpPr>
          <p:nvPr>
            <p:custDataLst>
              <p:tags r:id="rId1"/>
            </p:custDataLst>
          </p:nvPr>
        </p:nvSpPr>
        <p:spPr bwMode="auto">
          <a:xfrm>
            <a:off x="1395440" y="4424966"/>
            <a:ext cx="848067" cy="1283709"/>
          </a:xfrm>
          <a:custGeom>
            <a:avLst/>
            <a:gdLst>
              <a:gd name="T0" fmla="*/ 5 w 913"/>
              <a:gd name="T1" fmla="*/ 402 h 1382"/>
              <a:gd name="T2" fmla="*/ 46 w 913"/>
              <a:gd name="T3" fmla="*/ 264 h 1382"/>
              <a:gd name="T4" fmla="*/ 90 w 913"/>
              <a:gd name="T5" fmla="*/ 187 h 1382"/>
              <a:gd name="T6" fmla="*/ 145 w 913"/>
              <a:gd name="T7" fmla="*/ 122 h 1382"/>
              <a:gd name="T8" fmla="*/ 246 w 913"/>
              <a:gd name="T9" fmla="*/ 49 h 1382"/>
              <a:gd name="T10" fmla="*/ 306 w 913"/>
              <a:gd name="T11" fmla="*/ 25 h 1382"/>
              <a:gd name="T12" fmla="*/ 370 w 913"/>
              <a:gd name="T13" fmla="*/ 9 h 1382"/>
              <a:gd name="T14" fmla="*/ 460 w 913"/>
              <a:gd name="T15" fmla="*/ 0 h 1382"/>
              <a:gd name="T16" fmla="*/ 602 w 913"/>
              <a:gd name="T17" fmla="*/ 16 h 1382"/>
              <a:gd name="T18" fmla="*/ 685 w 913"/>
              <a:gd name="T19" fmla="*/ 46 h 1382"/>
              <a:gd name="T20" fmla="*/ 787 w 913"/>
              <a:gd name="T21" fmla="*/ 110 h 1382"/>
              <a:gd name="T22" fmla="*/ 841 w 913"/>
              <a:gd name="T23" fmla="*/ 166 h 1382"/>
              <a:gd name="T24" fmla="*/ 881 w 913"/>
              <a:gd name="T25" fmla="*/ 233 h 1382"/>
              <a:gd name="T26" fmla="*/ 901 w 913"/>
              <a:gd name="T27" fmla="*/ 288 h 1382"/>
              <a:gd name="T28" fmla="*/ 911 w 913"/>
              <a:gd name="T29" fmla="*/ 348 h 1382"/>
              <a:gd name="T30" fmla="*/ 913 w 913"/>
              <a:gd name="T31" fmla="*/ 414 h 1382"/>
              <a:gd name="T32" fmla="*/ 902 w 913"/>
              <a:gd name="T33" fmla="*/ 481 h 1382"/>
              <a:gd name="T34" fmla="*/ 879 w 913"/>
              <a:gd name="T35" fmla="*/ 547 h 1382"/>
              <a:gd name="T36" fmla="*/ 858 w 913"/>
              <a:gd name="T37" fmla="*/ 586 h 1382"/>
              <a:gd name="T38" fmla="*/ 810 w 913"/>
              <a:gd name="T39" fmla="*/ 651 h 1382"/>
              <a:gd name="T40" fmla="*/ 741 w 913"/>
              <a:gd name="T41" fmla="*/ 718 h 1382"/>
              <a:gd name="T42" fmla="*/ 669 w 913"/>
              <a:gd name="T43" fmla="*/ 780 h 1382"/>
              <a:gd name="T44" fmla="*/ 619 w 913"/>
              <a:gd name="T45" fmla="*/ 830 h 1382"/>
              <a:gd name="T46" fmla="*/ 593 w 913"/>
              <a:gd name="T47" fmla="*/ 869 h 1382"/>
              <a:gd name="T48" fmla="*/ 584 w 913"/>
              <a:gd name="T49" fmla="*/ 899 h 1382"/>
              <a:gd name="T50" fmla="*/ 573 w 913"/>
              <a:gd name="T51" fmla="*/ 998 h 1382"/>
              <a:gd name="T52" fmla="*/ 334 w 913"/>
              <a:gd name="T53" fmla="*/ 1067 h 1382"/>
              <a:gd name="T54" fmla="*/ 342 w 913"/>
              <a:gd name="T55" fmla="*/ 927 h 1382"/>
              <a:gd name="T56" fmla="*/ 350 w 913"/>
              <a:gd name="T57" fmla="*/ 855 h 1382"/>
              <a:gd name="T58" fmla="*/ 377 w 913"/>
              <a:gd name="T59" fmla="*/ 773 h 1382"/>
              <a:gd name="T60" fmla="*/ 402 w 913"/>
              <a:gd name="T61" fmla="*/ 731 h 1382"/>
              <a:gd name="T62" fmla="*/ 455 w 913"/>
              <a:gd name="T63" fmla="*/ 665 h 1382"/>
              <a:gd name="T64" fmla="*/ 526 w 913"/>
              <a:gd name="T65" fmla="*/ 598 h 1382"/>
              <a:gd name="T66" fmla="*/ 600 w 913"/>
              <a:gd name="T67" fmla="*/ 531 h 1382"/>
              <a:gd name="T68" fmla="*/ 641 w 913"/>
              <a:gd name="T69" fmla="*/ 481 h 1382"/>
              <a:gd name="T70" fmla="*/ 655 w 913"/>
              <a:gd name="T71" fmla="*/ 451 h 1382"/>
              <a:gd name="T72" fmla="*/ 660 w 913"/>
              <a:gd name="T73" fmla="*/ 421 h 1382"/>
              <a:gd name="T74" fmla="*/ 660 w 913"/>
              <a:gd name="T75" fmla="*/ 380 h 1382"/>
              <a:gd name="T76" fmla="*/ 646 w 913"/>
              <a:gd name="T77" fmla="*/ 324 h 1382"/>
              <a:gd name="T78" fmla="*/ 628 w 913"/>
              <a:gd name="T79" fmla="*/ 292 h 1382"/>
              <a:gd name="T80" fmla="*/ 605 w 913"/>
              <a:gd name="T81" fmla="*/ 264 h 1382"/>
              <a:gd name="T82" fmla="*/ 561 w 913"/>
              <a:gd name="T83" fmla="*/ 232 h 1382"/>
              <a:gd name="T84" fmla="*/ 524 w 913"/>
              <a:gd name="T85" fmla="*/ 218 h 1382"/>
              <a:gd name="T86" fmla="*/ 462 w 913"/>
              <a:gd name="T87" fmla="*/ 210 h 1382"/>
              <a:gd name="T88" fmla="*/ 421 w 913"/>
              <a:gd name="T89" fmla="*/ 214 h 1382"/>
              <a:gd name="T90" fmla="*/ 368 w 913"/>
              <a:gd name="T91" fmla="*/ 233 h 1382"/>
              <a:gd name="T92" fmla="*/ 324 w 913"/>
              <a:gd name="T93" fmla="*/ 271 h 1382"/>
              <a:gd name="T94" fmla="*/ 288 w 913"/>
              <a:gd name="T95" fmla="*/ 324 h 1382"/>
              <a:gd name="T96" fmla="*/ 264 w 913"/>
              <a:gd name="T97" fmla="*/ 394 h 1382"/>
              <a:gd name="T98" fmla="*/ 0 w 913"/>
              <a:gd name="T99" fmla="*/ 451 h 1382"/>
              <a:gd name="T100" fmla="*/ 327 w 913"/>
              <a:gd name="T101" fmla="*/ 1122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3" h="1382">
                <a:moveTo>
                  <a:pt x="0" y="451"/>
                </a:moveTo>
                <a:lnTo>
                  <a:pt x="0" y="451"/>
                </a:lnTo>
                <a:lnTo>
                  <a:pt x="5" y="402"/>
                </a:lnTo>
                <a:lnTo>
                  <a:pt x="16" y="352"/>
                </a:lnTo>
                <a:lnTo>
                  <a:pt x="28" y="308"/>
                </a:lnTo>
                <a:lnTo>
                  <a:pt x="46" y="264"/>
                </a:lnTo>
                <a:lnTo>
                  <a:pt x="46" y="264"/>
                </a:lnTo>
                <a:lnTo>
                  <a:pt x="67" y="225"/>
                </a:lnTo>
                <a:lnTo>
                  <a:pt x="90" y="187"/>
                </a:lnTo>
                <a:lnTo>
                  <a:pt x="115" y="154"/>
                </a:lnTo>
                <a:lnTo>
                  <a:pt x="145" y="122"/>
                </a:lnTo>
                <a:lnTo>
                  <a:pt x="145" y="122"/>
                </a:lnTo>
                <a:lnTo>
                  <a:pt x="175" y="95"/>
                </a:lnTo>
                <a:lnTo>
                  <a:pt x="211" y="71"/>
                </a:lnTo>
                <a:lnTo>
                  <a:pt x="246" y="49"/>
                </a:lnTo>
                <a:lnTo>
                  <a:pt x="285" y="32"/>
                </a:lnTo>
                <a:lnTo>
                  <a:pt x="285" y="32"/>
                </a:lnTo>
                <a:lnTo>
                  <a:pt x="306" y="25"/>
                </a:lnTo>
                <a:lnTo>
                  <a:pt x="326" y="18"/>
                </a:lnTo>
                <a:lnTo>
                  <a:pt x="347" y="12"/>
                </a:lnTo>
                <a:lnTo>
                  <a:pt x="370" y="9"/>
                </a:lnTo>
                <a:lnTo>
                  <a:pt x="414" y="2"/>
                </a:lnTo>
                <a:lnTo>
                  <a:pt x="460" y="0"/>
                </a:lnTo>
                <a:lnTo>
                  <a:pt x="460" y="0"/>
                </a:lnTo>
                <a:lnTo>
                  <a:pt x="510" y="2"/>
                </a:lnTo>
                <a:lnTo>
                  <a:pt x="557" y="7"/>
                </a:lnTo>
                <a:lnTo>
                  <a:pt x="602" y="16"/>
                </a:lnTo>
                <a:lnTo>
                  <a:pt x="644" y="30"/>
                </a:lnTo>
                <a:lnTo>
                  <a:pt x="644" y="30"/>
                </a:lnTo>
                <a:lnTo>
                  <a:pt x="685" y="46"/>
                </a:lnTo>
                <a:lnTo>
                  <a:pt x="722" y="64"/>
                </a:lnTo>
                <a:lnTo>
                  <a:pt x="757" y="85"/>
                </a:lnTo>
                <a:lnTo>
                  <a:pt x="787" y="110"/>
                </a:lnTo>
                <a:lnTo>
                  <a:pt x="787" y="110"/>
                </a:lnTo>
                <a:lnTo>
                  <a:pt x="816" y="138"/>
                </a:lnTo>
                <a:lnTo>
                  <a:pt x="841" y="166"/>
                </a:lnTo>
                <a:lnTo>
                  <a:pt x="862" y="198"/>
                </a:lnTo>
                <a:lnTo>
                  <a:pt x="881" y="233"/>
                </a:lnTo>
                <a:lnTo>
                  <a:pt x="881" y="233"/>
                </a:lnTo>
                <a:lnTo>
                  <a:pt x="888" y="251"/>
                </a:lnTo>
                <a:lnTo>
                  <a:pt x="895" y="271"/>
                </a:lnTo>
                <a:lnTo>
                  <a:pt x="901" y="288"/>
                </a:lnTo>
                <a:lnTo>
                  <a:pt x="906" y="308"/>
                </a:lnTo>
                <a:lnTo>
                  <a:pt x="910" y="327"/>
                </a:lnTo>
                <a:lnTo>
                  <a:pt x="911" y="348"/>
                </a:lnTo>
                <a:lnTo>
                  <a:pt x="913" y="389"/>
                </a:lnTo>
                <a:lnTo>
                  <a:pt x="913" y="389"/>
                </a:lnTo>
                <a:lnTo>
                  <a:pt x="913" y="414"/>
                </a:lnTo>
                <a:lnTo>
                  <a:pt x="911" y="437"/>
                </a:lnTo>
                <a:lnTo>
                  <a:pt x="908" y="460"/>
                </a:lnTo>
                <a:lnTo>
                  <a:pt x="902" y="481"/>
                </a:lnTo>
                <a:lnTo>
                  <a:pt x="897" y="504"/>
                </a:lnTo>
                <a:lnTo>
                  <a:pt x="888" y="525"/>
                </a:lnTo>
                <a:lnTo>
                  <a:pt x="879" y="547"/>
                </a:lnTo>
                <a:lnTo>
                  <a:pt x="869" y="566"/>
                </a:lnTo>
                <a:lnTo>
                  <a:pt x="869" y="566"/>
                </a:lnTo>
                <a:lnTo>
                  <a:pt x="858" y="586"/>
                </a:lnTo>
                <a:lnTo>
                  <a:pt x="844" y="607"/>
                </a:lnTo>
                <a:lnTo>
                  <a:pt x="828" y="628"/>
                </a:lnTo>
                <a:lnTo>
                  <a:pt x="810" y="651"/>
                </a:lnTo>
                <a:lnTo>
                  <a:pt x="789" y="672"/>
                </a:lnTo>
                <a:lnTo>
                  <a:pt x="766" y="695"/>
                </a:lnTo>
                <a:lnTo>
                  <a:pt x="741" y="718"/>
                </a:lnTo>
                <a:lnTo>
                  <a:pt x="713" y="741"/>
                </a:lnTo>
                <a:lnTo>
                  <a:pt x="713" y="741"/>
                </a:lnTo>
                <a:lnTo>
                  <a:pt x="669" y="780"/>
                </a:lnTo>
                <a:lnTo>
                  <a:pt x="634" y="814"/>
                </a:lnTo>
                <a:lnTo>
                  <a:pt x="634" y="814"/>
                </a:lnTo>
                <a:lnTo>
                  <a:pt x="619" y="830"/>
                </a:lnTo>
                <a:lnTo>
                  <a:pt x="609" y="844"/>
                </a:lnTo>
                <a:lnTo>
                  <a:pt x="600" y="856"/>
                </a:lnTo>
                <a:lnTo>
                  <a:pt x="593" y="869"/>
                </a:lnTo>
                <a:lnTo>
                  <a:pt x="593" y="869"/>
                </a:lnTo>
                <a:lnTo>
                  <a:pt x="589" y="881"/>
                </a:lnTo>
                <a:lnTo>
                  <a:pt x="584" y="899"/>
                </a:lnTo>
                <a:lnTo>
                  <a:pt x="580" y="918"/>
                </a:lnTo>
                <a:lnTo>
                  <a:pt x="579" y="941"/>
                </a:lnTo>
                <a:lnTo>
                  <a:pt x="573" y="998"/>
                </a:lnTo>
                <a:lnTo>
                  <a:pt x="573" y="1067"/>
                </a:lnTo>
                <a:lnTo>
                  <a:pt x="334" y="1067"/>
                </a:lnTo>
                <a:lnTo>
                  <a:pt x="334" y="1067"/>
                </a:lnTo>
                <a:lnTo>
                  <a:pt x="336" y="1017"/>
                </a:lnTo>
                <a:lnTo>
                  <a:pt x="338" y="970"/>
                </a:lnTo>
                <a:lnTo>
                  <a:pt x="342" y="927"/>
                </a:lnTo>
                <a:lnTo>
                  <a:pt x="345" y="888"/>
                </a:lnTo>
                <a:lnTo>
                  <a:pt x="345" y="888"/>
                </a:lnTo>
                <a:lnTo>
                  <a:pt x="350" y="855"/>
                </a:lnTo>
                <a:lnTo>
                  <a:pt x="357" y="823"/>
                </a:lnTo>
                <a:lnTo>
                  <a:pt x="366" y="796"/>
                </a:lnTo>
                <a:lnTo>
                  <a:pt x="377" y="773"/>
                </a:lnTo>
                <a:lnTo>
                  <a:pt x="377" y="773"/>
                </a:lnTo>
                <a:lnTo>
                  <a:pt x="388" y="752"/>
                </a:lnTo>
                <a:lnTo>
                  <a:pt x="402" y="731"/>
                </a:lnTo>
                <a:lnTo>
                  <a:pt x="416" y="708"/>
                </a:lnTo>
                <a:lnTo>
                  <a:pt x="434" y="686"/>
                </a:lnTo>
                <a:lnTo>
                  <a:pt x="455" y="665"/>
                </a:lnTo>
                <a:lnTo>
                  <a:pt x="476" y="642"/>
                </a:lnTo>
                <a:lnTo>
                  <a:pt x="499" y="621"/>
                </a:lnTo>
                <a:lnTo>
                  <a:pt x="526" y="598"/>
                </a:lnTo>
                <a:lnTo>
                  <a:pt x="526" y="598"/>
                </a:lnTo>
                <a:lnTo>
                  <a:pt x="568" y="561"/>
                </a:lnTo>
                <a:lnTo>
                  <a:pt x="600" y="531"/>
                </a:lnTo>
                <a:lnTo>
                  <a:pt x="600" y="531"/>
                </a:lnTo>
                <a:lnTo>
                  <a:pt x="623" y="504"/>
                </a:lnTo>
                <a:lnTo>
                  <a:pt x="641" y="481"/>
                </a:lnTo>
                <a:lnTo>
                  <a:pt x="641" y="481"/>
                </a:lnTo>
                <a:lnTo>
                  <a:pt x="651" y="460"/>
                </a:lnTo>
                <a:lnTo>
                  <a:pt x="655" y="451"/>
                </a:lnTo>
                <a:lnTo>
                  <a:pt x="657" y="441"/>
                </a:lnTo>
                <a:lnTo>
                  <a:pt x="657" y="441"/>
                </a:lnTo>
                <a:lnTo>
                  <a:pt x="660" y="421"/>
                </a:lnTo>
                <a:lnTo>
                  <a:pt x="660" y="400"/>
                </a:lnTo>
                <a:lnTo>
                  <a:pt x="660" y="400"/>
                </a:lnTo>
                <a:lnTo>
                  <a:pt x="660" y="380"/>
                </a:lnTo>
                <a:lnTo>
                  <a:pt x="657" y="361"/>
                </a:lnTo>
                <a:lnTo>
                  <a:pt x="653" y="341"/>
                </a:lnTo>
                <a:lnTo>
                  <a:pt x="646" y="324"/>
                </a:lnTo>
                <a:lnTo>
                  <a:pt x="646" y="324"/>
                </a:lnTo>
                <a:lnTo>
                  <a:pt x="637" y="308"/>
                </a:lnTo>
                <a:lnTo>
                  <a:pt x="628" y="292"/>
                </a:lnTo>
                <a:lnTo>
                  <a:pt x="618" y="278"/>
                </a:lnTo>
                <a:lnTo>
                  <a:pt x="605" y="264"/>
                </a:lnTo>
                <a:lnTo>
                  <a:pt x="605" y="264"/>
                </a:lnTo>
                <a:lnTo>
                  <a:pt x="591" y="253"/>
                </a:lnTo>
                <a:lnTo>
                  <a:pt x="577" y="242"/>
                </a:lnTo>
                <a:lnTo>
                  <a:pt x="561" y="232"/>
                </a:lnTo>
                <a:lnTo>
                  <a:pt x="543" y="225"/>
                </a:lnTo>
                <a:lnTo>
                  <a:pt x="543" y="225"/>
                </a:lnTo>
                <a:lnTo>
                  <a:pt x="524" y="218"/>
                </a:lnTo>
                <a:lnTo>
                  <a:pt x="504" y="214"/>
                </a:lnTo>
                <a:lnTo>
                  <a:pt x="485" y="210"/>
                </a:lnTo>
                <a:lnTo>
                  <a:pt x="462" y="210"/>
                </a:lnTo>
                <a:lnTo>
                  <a:pt x="462" y="210"/>
                </a:lnTo>
                <a:lnTo>
                  <a:pt x="441" y="210"/>
                </a:lnTo>
                <a:lnTo>
                  <a:pt x="421" y="214"/>
                </a:lnTo>
                <a:lnTo>
                  <a:pt x="402" y="219"/>
                </a:lnTo>
                <a:lnTo>
                  <a:pt x="384" y="225"/>
                </a:lnTo>
                <a:lnTo>
                  <a:pt x="368" y="233"/>
                </a:lnTo>
                <a:lnTo>
                  <a:pt x="352" y="244"/>
                </a:lnTo>
                <a:lnTo>
                  <a:pt x="336" y="256"/>
                </a:lnTo>
                <a:lnTo>
                  <a:pt x="324" y="271"/>
                </a:lnTo>
                <a:lnTo>
                  <a:pt x="311" y="287"/>
                </a:lnTo>
                <a:lnTo>
                  <a:pt x="299" y="304"/>
                </a:lnTo>
                <a:lnTo>
                  <a:pt x="288" y="324"/>
                </a:lnTo>
                <a:lnTo>
                  <a:pt x="280" y="347"/>
                </a:lnTo>
                <a:lnTo>
                  <a:pt x="271" y="370"/>
                </a:lnTo>
                <a:lnTo>
                  <a:pt x="264" y="394"/>
                </a:lnTo>
                <a:lnTo>
                  <a:pt x="258" y="423"/>
                </a:lnTo>
                <a:lnTo>
                  <a:pt x="253" y="451"/>
                </a:lnTo>
                <a:lnTo>
                  <a:pt x="0" y="451"/>
                </a:lnTo>
                <a:close/>
                <a:moveTo>
                  <a:pt x="591" y="1382"/>
                </a:moveTo>
                <a:lnTo>
                  <a:pt x="327" y="1382"/>
                </a:lnTo>
                <a:lnTo>
                  <a:pt x="327" y="1122"/>
                </a:lnTo>
                <a:lnTo>
                  <a:pt x="591" y="1122"/>
                </a:lnTo>
                <a:lnTo>
                  <a:pt x="591" y="1382"/>
                </a:lnTo>
                <a:close/>
              </a:path>
            </a:pathLst>
          </a:custGeom>
          <a:solidFill>
            <a:schemeClr val="tx1">
              <a:lumMod val="85000"/>
              <a:lumOff val="15000"/>
            </a:schemeClr>
          </a:solidFill>
          <a:ln>
            <a:noFill/>
          </a:ln>
          <a:effectLst/>
        </p:spPr>
        <p:txBody>
          <a:bodyPr vert="horz" wrap="square" lIns="91440" tIns="45720" rIns="91440" bIns="45720" numCol="1" anchor="t" anchorCtr="0" compatLnSpc="1"/>
          <a:lstStyle/>
          <a:p>
            <a:endParaRPr lang="en-US" dirty="0"/>
          </a:p>
        </p:txBody>
      </p:sp>
      <p:cxnSp>
        <p:nvCxnSpPr>
          <p:cNvPr id="24" name="Straight Connector 23"/>
          <p:cNvCxnSpPr/>
          <p:nvPr/>
        </p:nvCxnSpPr>
        <p:spPr>
          <a:xfrm>
            <a:off x="5051105" y="2038405"/>
            <a:ext cx="0" cy="369067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5300571" y="2537774"/>
            <a:ext cx="5189629" cy="646331"/>
          </a:xfrm>
          <a:prstGeom prst="rect">
            <a:avLst/>
          </a:prstGeom>
        </p:spPr>
        <p:txBody>
          <a:bodyPr wrap="square">
            <a:spAutoFit/>
          </a:bodyPr>
          <a:lstStyle/>
          <a:p>
            <a:pPr>
              <a:buClr>
                <a:srgbClr val="E24848"/>
              </a:buClr>
              <a:defRPr/>
            </a:pPr>
            <a:r>
              <a:rPr lang="en-US" sz="12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dolor sit amet consectetur adipiscing elit. Nunc enim sem commodo a rhoncus sit amet, elementum ut mi. Vivamus tincidunt est a lectus pharetra placerat adipiscing nisi lacinia</a:t>
            </a:r>
            <a:endParaRPr lang="en-US" sz="1200"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sp>
        <p:nvSpPr>
          <p:cNvPr id="26" name="Rectangle 3"/>
          <p:cNvSpPr txBox="1">
            <a:spLocks noChangeArrowheads="1"/>
          </p:cNvSpPr>
          <p:nvPr/>
        </p:nvSpPr>
        <p:spPr>
          <a:xfrm>
            <a:off x="5300571" y="1972265"/>
            <a:ext cx="3216615" cy="656209"/>
          </a:xfrm>
          <a:prstGeom prst="rect">
            <a:avLst/>
          </a:prstGeom>
        </p:spPr>
        <p:txBody>
          <a:bodyPr vert="horz" lIns="0" tIns="0" rIns="0" bIns="0" rtlCol="0" anchor="ctr">
            <a:noAutofit/>
          </a:bodyPr>
          <a:lstStyle>
            <a:lvl1pPr marL="227330" indent="-227330" algn="l" defTabSz="914400" rtl="0" eaLnBrk="1" latinLnBrk="0" hangingPunct="1">
              <a:spcBef>
                <a:spcPts val="1200"/>
              </a:spcBef>
              <a:buClr>
                <a:schemeClr val="bg2"/>
              </a:buClr>
              <a:buSzPct val="80000"/>
              <a:buFont typeface="Arial" panose="020B0604020202020204" pitchFamily="34" charset="0"/>
              <a:buChar char="•"/>
              <a:defRPr sz="2400" kern="1200">
                <a:solidFill>
                  <a:schemeClr val="tx1"/>
                </a:solidFill>
                <a:latin typeface="+mn-lt"/>
                <a:ea typeface="+mn-ea"/>
                <a:cs typeface="+mn-cs"/>
              </a:defRPr>
            </a:lvl1pPr>
            <a:lvl2pPr marL="457200" indent="-228600" algn="l" defTabSz="914400" rtl="0" eaLnBrk="1" latinLnBrk="0" hangingPunct="1">
              <a:spcBef>
                <a:spcPts val="600"/>
              </a:spcBef>
              <a:spcAft>
                <a:spcPts val="0"/>
              </a:spcAft>
              <a:buClr>
                <a:schemeClr val="bg2"/>
              </a:buClr>
              <a:buSzPct val="80000"/>
              <a:buFont typeface="BentonSansF Book" pitchFamily="50" charset="0"/>
              <a:buChar char="–"/>
              <a:defRPr sz="2000" kern="1200">
                <a:solidFill>
                  <a:schemeClr val="tx1"/>
                </a:solidFill>
                <a:latin typeface="+mn-lt"/>
                <a:ea typeface="+mn-ea"/>
                <a:cs typeface="+mn-cs"/>
              </a:defRPr>
            </a:lvl2pPr>
            <a:lvl3pPr marL="685800" indent="-215900" algn="l" defTabSz="914400" rtl="0" eaLnBrk="1" latinLnBrk="0" hangingPunct="1">
              <a:spcBef>
                <a:spcPts val="400"/>
              </a:spcBef>
              <a:spcAft>
                <a:spcPts val="400"/>
              </a:spcAft>
              <a:buClr>
                <a:schemeClr val="accent1"/>
              </a:buClr>
              <a:buSzPct val="80000"/>
              <a:buFont typeface="Arial" panose="020B0604020202020204" pitchFamily="34" charset="0"/>
              <a:buChar char="•"/>
              <a:defRPr sz="1800" kern="1200">
                <a:solidFill>
                  <a:schemeClr val="tx1"/>
                </a:solidFill>
                <a:latin typeface="+mn-lt"/>
                <a:ea typeface="+mn-ea"/>
                <a:cs typeface="+mn-cs"/>
              </a:defRPr>
            </a:lvl3pPr>
            <a:lvl4pPr marL="914400"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30505" algn="l" defTabSz="914400" rtl="0" eaLnBrk="1" latinLnBrk="0" hangingPunct="1">
              <a:spcBef>
                <a:spcPts val="0"/>
              </a:spcBef>
              <a:spcAft>
                <a:spcPts val="400"/>
              </a:spcAft>
              <a:buClr>
                <a:schemeClr val="bg2"/>
              </a:buClr>
              <a:buSzPct val="80000"/>
              <a:buFont typeface="Arial" panose="020B0604020202020204" pitchFamily="34" charset="0"/>
              <a:buChar char="•"/>
              <a:defRPr sz="1400" kern="1200">
                <a:solidFill>
                  <a:schemeClr val="tx1"/>
                </a:solidFill>
                <a:latin typeface="+mn-lt"/>
                <a:ea typeface="+mn-ea"/>
                <a:cs typeface="+mn-cs"/>
              </a:defRPr>
            </a:lvl5pPr>
            <a:lvl6pPr marL="1143000" indent="-228600" algn="l" defTabSz="914400" rtl="0" eaLnBrk="1" latinLnBrk="0" hangingPunct="1">
              <a:spcBef>
                <a:spcPts val="960"/>
              </a:spcBef>
              <a:buClr>
                <a:schemeClr val="bg2"/>
              </a:buClr>
              <a:buSzPct val="80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71755" indent="0">
              <a:spcBef>
                <a:spcPts val="0"/>
              </a:spcBef>
              <a:buClr>
                <a:srgbClr val="1D5B2D"/>
              </a:buClr>
              <a:buSzPct val="100000"/>
              <a:buNone/>
            </a:pPr>
            <a:r>
              <a:rPr lang="en-US" sz="1800"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Describe The Problem</a:t>
            </a:r>
            <a:endParaRPr lang="en-US" sz="1800"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27" name="Freeform 26"/>
          <p:cNvSpPr/>
          <p:nvPr/>
        </p:nvSpPr>
        <p:spPr bwMode="auto">
          <a:xfrm>
            <a:off x="1261431" y="2002258"/>
            <a:ext cx="1197650" cy="917044"/>
          </a:xfrm>
          <a:custGeom>
            <a:avLst/>
            <a:gdLst>
              <a:gd name="connsiteX0" fmla="*/ 182563 w 935038"/>
              <a:gd name="connsiteY0" fmla="*/ 592138 h 715963"/>
              <a:gd name="connsiteX1" fmla="*/ 168275 w 935038"/>
              <a:gd name="connsiteY1" fmla="*/ 601339 h 715963"/>
              <a:gd name="connsiteX2" fmla="*/ 168275 w 935038"/>
              <a:gd name="connsiteY2" fmla="*/ 615951 h 715963"/>
              <a:gd name="connsiteX3" fmla="*/ 182563 w 935038"/>
              <a:gd name="connsiteY3" fmla="*/ 606210 h 715963"/>
              <a:gd name="connsiteX4" fmla="*/ 204788 w 935038"/>
              <a:gd name="connsiteY4" fmla="*/ 577850 h 715963"/>
              <a:gd name="connsiteX5" fmla="*/ 192088 w 935038"/>
              <a:gd name="connsiteY5" fmla="*/ 586942 h 715963"/>
              <a:gd name="connsiteX6" fmla="*/ 192088 w 935038"/>
              <a:gd name="connsiteY6" fmla="*/ 600075 h 715963"/>
              <a:gd name="connsiteX7" fmla="*/ 204788 w 935038"/>
              <a:gd name="connsiteY7" fmla="*/ 590983 h 715963"/>
              <a:gd name="connsiteX8" fmla="*/ 276225 w 935038"/>
              <a:gd name="connsiteY8" fmla="*/ 576263 h 715963"/>
              <a:gd name="connsiteX9" fmla="*/ 276225 w 935038"/>
              <a:gd name="connsiteY9" fmla="*/ 590415 h 715963"/>
              <a:gd name="connsiteX10" fmla="*/ 295275 w 935038"/>
              <a:gd name="connsiteY10" fmla="*/ 595313 h 715963"/>
              <a:gd name="connsiteX11" fmla="*/ 295275 w 935038"/>
              <a:gd name="connsiteY11" fmla="*/ 580618 h 715963"/>
              <a:gd name="connsiteX12" fmla="*/ 250825 w 935038"/>
              <a:gd name="connsiteY12" fmla="*/ 569913 h 715963"/>
              <a:gd name="connsiteX13" fmla="*/ 250825 w 935038"/>
              <a:gd name="connsiteY13" fmla="*/ 584065 h 715963"/>
              <a:gd name="connsiteX14" fmla="*/ 269875 w 935038"/>
              <a:gd name="connsiteY14" fmla="*/ 588963 h 715963"/>
              <a:gd name="connsiteX15" fmla="*/ 269875 w 935038"/>
              <a:gd name="connsiteY15" fmla="*/ 574812 h 715963"/>
              <a:gd name="connsiteX16" fmla="*/ 649288 w 935038"/>
              <a:gd name="connsiteY16" fmla="*/ 554038 h 715963"/>
              <a:gd name="connsiteX17" fmla="*/ 588963 w 935038"/>
              <a:gd name="connsiteY17" fmla="*/ 572760 h 715963"/>
              <a:gd name="connsiteX18" fmla="*/ 588963 w 935038"/>
              <a:gd name="connsiteY18" fmla="*/ 584201 h 715963"/>
              <a:gd name="connsiteX19" fmla="*/ 649288 w 935038"/>
              <a:gd name="connsiteY19" fmla="*/ 565479 h 715963"/>
              <a:gd name="connsiteX20" fmla="*/ 377825 w 935038"/>
              <a:gd name="connsiteY20" fmla="*/ 552450 h 715963"/>
              <a:gd name="connsiteX21" fmla="*/ 352425 w 935038"/>
              <a:gd name="connsiteY21" fmla="*/ 567796 h 715963"/>
              <a:gd name="connsiteX22" fmla="*/ 352425 w 935038"/>
              <a:gd name="connsiteY22" fmla="*/ 590550 h 715963"/>
              <a:gd name="connsiteX23" fmla="*/ 377825 w 935038"/>
              <a:gd name="connsiteY23" fmla="*/ 575204 h 715963"/>
              <a:gd name="connsiteX24" fmla="*/ 182563 w 935038"/>
              <a:gd name="connsiteY24" fmla="*/ 552450 h 715963"/>
              <a:gd name="connsiteX25" fmla="*/ 168275 w 935038"/>
              <a:gd name="connsiteY25" fmla="*/ 561975 h 715963"/>
              <a:gd name="connsiteX26" fmla="*/ 168275 w 935038"/>
              <a:gd name="connsiteY26" fmla="*/ 574675 h 715963"/>
              <a:gd name="connsiteX27" fmla="*/ 182563 w 935038"/>
              <a:gd name="connsiteY27" fmla="*/ 565679 h 715963"/>
              <a:gd name="connsiteX28" fmla="*/ 684213 w 935038"/>
              <a:gd name="connsiteY28" fmla="*/ 550863 h 715963"/>
              <a:gd name="connsiteX29" fmla="*/ 684213 w 935038"/>
              <a:gd name="connsiteY29" fmla="*/ 564924 h 715963"/>
              <a:gd name="connsiteX30" fmla="*/ 744538 w 935038"/>
              <a:gd name="connsiteY30" fmla="*/ 600076 h 715963"/>
              <a:gd name="connsiteX31" fmla="*/ 744004 w 935038"/>
              <a:gd name="connsiteY31" fmla="*/ 586015 h 715963"/>
              <a:gd name="connsiteX32" fmla="*/ 276225 w 935038"/>
              <a:gd name="connsiteY32" fmla="*/ 536575 h 715963"/>
              <a:gd name="connsiteX33" fmla="*/ 276225 w 935038"/>
              <a:gd name="connsiteY33" fmla="*/ 550726 h 715963"/>
              <a:gd name="connsiteX34" fmla="*/ 295275 w 935038"/>
              <a:gd name="connsiteY34" fmla="*/ 555625 h 715963"/>
              <a:gd name="connsiteX35" fmla="*/ 295275 w 935038"/>
              <a:gd name="connsiteY35" fmla="*/ 541473 h 715963"/>
              <a:gd name="connsiteX36" fmla="*/ 204788 w 935038"/>
              <a:gd name="connsiteY36" fmla="*/ 536575 h 715963"/>
              <a:gd name="connsiteX37" fmla="*/ 192088 w 935038"/>
              <a:gd name="connsiteY37" fmla="*/ 545775 h 715963"/>
              <a:gd name="connsiteX38" fmla="*/ 192088 w 935038"/>
              <a:gd name="connsiteY38" fmla="*/ 560388 h 715963"/>
              <a:gd name="connsiteX39" fmla="*/ 204788 w 935038"/>
              <a:gd name="connsiteY39" fmla="*/ 550646 h 715963"/>
              <a:gd name="connsiteX40" fmla="*/ 250825 w 935038"/>
              <a:gd name="connsiteY40" fmla="*/ 530225 h 715963"/>
              <a:gd name="connsiteX41" fmla="*/ 250825 w 935038"/>
              <a:gd name="connsiteY41" fmla="*/ 544376 h 715963"/>
              <a:gd name="connsiteX42" fmla="*/ 269875 w 935038"/>
              <a:gd name="connsiteY42" fmla="*/ 549275 h 715963"/>
              <a:gd name="connsiteX43" fmla="*/ 269875 w 935038"/>
              <a:gd name="connsiteY43" fmla="*/ 535123 h 715963"/>
              <a:gd name="connsiteX44" fmla="*/ 415925 w 935038"/>
              <a:gd name="connsiteY44" fmla="*/ 528638 h 715963"/>
              <a:gd name="connsiteX45" fmla="*/ 390525 w 935038"/>
              <a:gd name="connsiteY45" fmla="*/ 543773 h 715963"/>
              <a:gd name="connsiteX46" fmla="*/ 390525 w 935038"/>
              <a:gd name="connsiteY46" fmla="*/ 566738 h 715963"/>
              <a:gd name="connsiteX47" fmla="*/ 415925 w 935038"/>
              <a:gd name="connsiteY47" fmla="*/ 551602 h 715963"/>
              <a:gd name="connsiteX48" fmla="*/ 515938 w 935038"/>
              <a:gd name="connsiteY48" fmla="*/ 517525 h 715963"/>
              <a:gd name="connsiteX49" fmla="*/ 515938 w 935038"/>
              <a:gd name="connsiteY49" fmla="*/ 543983 h 715963"/>
              <a:gd name="connsiteX50" fmla="*/ 544513 w 935038"/>
              <a:gd name="connsiteY50" fmla="*/ 561975 h 715963"/>
              <a:gd name="connsiteX51" fmla="*/ 544513 w 935038"/>
              <a:gd name="connsiteY51" fmla="*/ 535516 h 715963"/>
              <a:gd name="connsiteX52" fmla="*/ 649288 w 935038"/>
              <a:gd name="connsiteY52" fmla="*/ 514350 h 715963"/>
              <a:gd name="connsiteX53" fmla="*/ 588963 w 935038"/>
              <a:gd name="connsiteY53" fmla="*/ 533929 h 715963"/>
              <a:gd name="connsiteX54" fmla="*/ 588963 w 935038"/>
              <a:gd name="connsiteY54" fmla="*/ 546100 h 715963"/>
              <a:gd name="connsiteX55" fmla="*/ 649288 w 935038"/>
              <a:gd name="connsiteY55" fmla="*/ 525991 h 715963"/>
              <a:gd name="connsiteX56" fmla="*/ 182563 w 935038"/>
              <a:gd name="connsiteY56" fmla="*/ 511175 h 715963"/>
              <a:gd name="connsiteX57" fmla="*/ 168275 w 935038"/>
              <a:gd name="connsiteY57" fmla="*/ 520375 h 715963"/>
              <a:gd name="connsiteX58" fmla="*/ 168275 w 935038"/>
              <a:gd name="connsiteY58" fmla="*/ 534988 h 715963"/>
              <a:gd name="connsiteX59" fmla="*/ 182563 w 935038"/>
              <a:gd name="connsiteY59" fmla="*/ 525246 h 715963"/>
              <a:gd name="connsiteX60" fmla="*/ 684213 w 935038"/>
              <a:gd name="connsiteY60" fmla="*/ 503238 h 715963"/>
              <a:gd name="connsiteX61" fmla="*/ 684213 w 935038"/>
              <a:gd name="connsiteY61" fmla="*/ 517141 h 715963"/>
              <a:gd name="connsiteX62" fmla="*/ 742951 w 935038"/>
              <a:gd name="connsiteY62" fmla="*/ 554038 h 715963"/>
              <a:gd name="connsiteX63" fmla="*/ 742951 w 935038"/>
              <a:gd name="connsiteY63" fmla="*/ 540669 h 715963"/>
              <a:gd name="connsiteX64" fmla="*/ 276225 w 935038"/>
              <a:gd name="connsiteY64" fmla="*/ 496888 h 715963"/>
              <a:gd name="connsiteX65" fmla="*/ 276225 w 935038"/>
              <a:gd name="connsiteY65" fmla="*/ 509860 h 715963"/>
              <a:gd name="connsiteX66" fmla="*/ 295275 w 935038"/>
              <a:gd name="connsiteY66" fmla="*/ 514351 h 715963"/>
              <a:gd name="connsiteX67" fmla="*/ 295275 w 935038"/>
              <a:gd name="connsiteY67" fmla="*/ 501378 h 715963"/>
              <a:gd name="connsiteX68" fmla="*/ 204788 w 935038"/>
              <a:gd name="connsiteY68" fmla="*/ 495300 h 715963"/>
              <a:gd name="connsiteX69" fmla="*/ 192088 w 935038"/>
              <a:gd name="connsiteY69" fmla="*/ 505822 h 715963"/>
              <a:gd name="connsiteX70" fmla="*/ 192088 w 935038"/>
              <a:gd name="connsiteY70" fmla="*/ 519113 h 715963"/>
              <a:gd name="connsiteX71" fmla="*/ 204788 w 935038"/>
              <a:gd name="connsiteY71" fmla="*/ 509698 h 715963"/>
              <a:gd name="connsiteX72" fmla="*/ 250825 w 935038"/>
              <a:gd name="connsiteY72" fmla="*/ 490538 h 715963"/>
              <a:gd name="connsiteX73" fmla="*/ 250825 w 935038"/>
              <a:gd name="connsiteY73" fmla="*/ 504009 h 715963"/>
              <a:gd name="connsiteX74" fmla="*/ 269875 w 935038"/>
              <a:gd name="connsiteY74" fmla="*/ 508001 h 715963"/>
              <a:gd name="connsiteX75" fmla="*/ 269875 w 935038"/>
              <a:gd name="connsiteY75" fmla="*/ 495028 h 715963"/>
              <a:gd name="connsiteX76" fmla="*/ 471488 w 935038"/>
              <a:gd name="connsiteY76" fmla="*/ 487363 h 715963"/>
              <a:gd name="connsiteX77" fmla="*/ 471488 w 935038"/>
              <a:gd name="connsiteY77" fmla="*/ 514140 h 715963"/>
              <a:gd name="connsiteX78" fmla="*/ 500063 w 935038"/>
              <a:gd name="connsiteY78" fmla="*/ 531813 h 715963"/>
              <a:gd name="connsiteX79" fmla="*/ 500063 w 935038"/>
              <a:gd name="connsiteY79" fmla="*/ 506107 h 715963"/>
              <a:gd name="connsiteX80" fmla="*/ 377825 w 935038"/>
              <a:gd name="connsiteY80" fmla="*/ 484188 h 715963"/>
              <a:gd name="connsiteX81" fmla="*/ 352425 w 935038"/>
              <a:gd name="connsiteY81" fmla="*/ 499954 h 715963"/>
              <a:gd name="connsiteX82" fmla="*/ 352425 w 935038"/>
              <a:gd name="connsiteY82" fmla="*/ 523876 h 715963"/>
              <a:gd name="connsiteX83" fmla="*/ 377825 w 935038"/>
              <a:gd name="connsiteY83" fmla="*/ 508109 h 715963"/>
              <a:gd name="connsiteX84" fmla="*/ 649288 w 935038"/>
              <a:gd name="connsiteY84" fmla="*/ 476250 h 715963"/>
              <a:gd name="connsiteX85" fmla="*/ 588963 w 935038"/>
              <a:gd name="connsiteY85" fmla="*/ 495829 h 715963"/>
              <a:gd name="connsiteX86" fmla="*/ 588963 w 935038"/>
              <a:gd name="connsiteY86" fmla="*/ 508000 h 715963"/>
              <a:gd name="connsiteX87" fmla="*/ 649288 w 935038"/>
              <a:gd name="connsiteY87" fmla="*/ 487891 h 715963"/>
              <a:gd name="connsiteX88" fmla="*/ 182563 w 935038"/>
              <a:gd name="connsiteY88" fmla="*/ 471488 h 715963"/>
              <a:gd name="connsiteX89" fmla="*/ 168275 w 935038"/>
              <a:gd name="connsiteY89" fmla="*/ 481229 h 715963"/>
              <a:gd name="connsiteX90" fmla="*/ 168275 w 935038"/>
              <a:gd name="connsiteY90" fmla="*/ 495301 h 715963"/>
              <a:gd name="connsiteX91" fmla="*/ 182563 w 935038"/>
              <a:gd name="connsiteY91" fmla="*/ 486100 h 715963"/>
              <a:gd name="connsiteX92" fmla="*/ 415925 w 935038"/>
              <a:gd name="connsiteY92" fmla="*/ 458788 h 715963"/>
              <a:gd name="connsiteX93" fmla="*/ 390525 w 935038"/>
              <a:gd name="connsiteY93" fmla="*/ 475642 h 715963"/>
              <a:gd name="connsiteX94" fmla="*/ 390525 w 935038"/>
              <a:gd name="connsiteY94" fmla="*/ 498476 h 715963"/>
              <a:gd name="connsiteX95" fmla="*/ 415925 w 935038"/>
              <a:gd name="connsiteY95" fmla="*/ 482709 h 715963"/>
              <a:gd name="connsiteX96" fmla="*/ 204788 w 935038"/>
              <a:gd name="connsiteY96" fmla="*/ 457200 h 715963"/>
              <a:gd name="connsiteX97" fmla="*/ 192088 w 935038"/>
              <a:gd name="connsiteY97" fmla="*/ 466196 h 715963"/>
              <a:gd name="connsiteX98" fmla="*/ 192088 w 935038"/>
              <a:gd name="connsiteY98" fmla="*/ 479425 h 715963"/>
              <a:gd name="connsiteX99" fmla="*/ 204788 w 935038"/>
              <a:gd name="connsiteY99" fmla="*/ 470429 h 715963"/>
              <a:gd name="connsiteX100" fmla="*/ 684213 w 935038"/>
              <a:gd name="connsiteY100" fmla="*/ 455613 h 715963"/>
              <a:gd name="connsiteX101" fmla="*/ 684213 w 935038"/>
              <a:gd name="connsiteY101" fmla="*/ 470195 h 715963"/>
              <a:gd name="connsiteX102" fmla="*/ 742951 w 935038"/>
              <a:gd name="connsiteY102" fmla="*/ 508001 h 715963"/>
              <a:gd name="connsiteX103" fmla="*/ 742951 w 935038"/>
              <a:gd name="connsiteY103" fmla="*/ 493419 h 715963"/>
              <a:gd name="connsiteX104" fmla="*/ 276225 w 935038"/>
              <a:gd name="connsiteY104" fmla="*/ 455613 h 715963"/>
              <a:gd name="connsiteX105" fmla="*/ 276225 w 935038"/>
              <a:gd name="connsiteY105" fmla="*/ 470308 h 715963"/>
              <a:gd name="connsiteX106" fmla="*/ 295275 w 935038"/>
              <a:gd name="connsiteY106" fmla="*/ 474663 h 715963"/>
              <a:gd name="connsiteX107" fmla="*/ 295275 w 935038"/>
              <a:gd name="connsiteY107" fmla="*/ 460511 h 715963"/>
              <a:gd name="connsiteX108" fmla="*/ 250825 w 935038"/>
              <a:gd name="connsiteY108" fmla="*/ 450850 h 715963"/>
              <a:gd name="connsiteX109" fmla="*/ 250825 w 935038"/>
              <a:gd name="connsiteY109" fmla="*/ 463822 h 715963"/>
              <a:gd name="connsiteX110" fmla="*/ 269875 w 935038"/>
              <a:gd name="connsiteY110" fmla="*/ 468313 h 715963"/>
              <a:gd name="connsiteX111" fmla="*/ 269875 w 935038"/>
              <a:gd name="connsiteY111" fmla="*/ 454841 h 715963"/>
              <a:gd name="connsiteX112" fmla="*/ 649288 w 935038"/>
              <a:gd name="connsiteY112" fmla="*/ 439738 h 715963"/>
              <a:gd name="connsiteX113" fmla="*/ 588963 w 935038"/>
              <a:gd name="connsiteY113" fmla="*/ 459111 h 715963"/>
              <a:gd name="connsiteX114" fmla="*/ 588963 w 935038"/>
              <a:gd name="connsiteY114" fmla="*/ 471488 h 715963"/>
              <a:gd name="connsiteX115" fmla="*/ 649288 w 935038"/>
              <a:gd name="connsiteY115" fmla="*/ 451577 h 715963"/>
              <a:gd name="connsiteX116" fmla="*/ 515938 w 935038"/>
              <a:gd name="connsiteY116" fmla="*/ 438150 h 715963"/>
              <a:gd name="connsiteX117" fmla="*/ 515938 w 935038"/>
              <a:gd name="connsiteY117" fmla="*/ 464391 h 715963"/>
              <a:gd name="connsiteX118" fmla="*/ 544513 w 935038"/>
              <a:gd name="connsiteY118" fmla="*/ 482600 h 715963"/>
              <a:gd name="connsiteX119" fmla="*/ 544513 w 935038"/>
              <a:gd name="connsiteY119" fmla="*/ 455823 h 715963"/>
              <a:gd name="connsiteX120" fmla="*/ 182563 w 935038"/>
              <a:gd name="connsiteY120" fmla="*/ 430213 h 715963"/>
              <a:gd name="connsiteX121" fmla="*/ 168275 w 935038"/>
              <a:gd name="connsiteY121" fmla="*/ 439954 h 715963"/>
              <a:gd name="connsiteX122" fmla="*/ 168275 w 935038"/>
              <a:gd name="connsiteY122" fmla="*/ 454026 h 715963"/>
              <a:gd name="connsiteX123" fmla="*/ 182563 w 935038"/>
              <a:gd name="connsiteY123" fmla="*/ 444284 h 715963"/>
              <a:gd name="connsiteX124" fmla="*/ 377825 w 935038"/>
              <a:gd name="connsiteY124" fmla="*/ 417513 h 715963"/>
              <a:gd name="connsiteX125" fmla="*/ 352425 w 935038"/>
              <a:gd name="connsiteY125" fmla="*/ 432648 h 715963"/>
              <a:gd name="connsiteX126" fmla="*/ 352425 w 935038"/>
              <a:gd name="connsiteY126" fmla="*/ 455613 h 715963"/>
              <a:gd name="connsiteX127" fmla="*/ 377825 w 935038"/>
              <a:gd name="connsiteY127" fmla="*/ 440477 h 715963"/>
              <a:gd name="connsiteX128" fmla="*/ 276225 w 935038"/>
              <a:gd name="connsiteY128" fmla="*/ 415925 h 715963"/>
              <a:gd name="connsiteX129" fmla="*/ 276225 w 935038"/>
              <a:gd name="connsiteY129" fmla="*/ 430076 h 715963"/>
              <a:gd name="connsiteX130" fmla="*/ 295275 w 935038"/>
              <a:gd name="connsiteY130" fmla="*/ 434975 h 715963"/>
              <a:gd name="connsiteX131" fmla="*/ 295275 w 935038"/>
              <a:gd name="connsiteY131" fmla="*/ 420279 h 715963"/>
              <a:gd name="connsiteX132" fmla="*/ 204788 w 935038"/>
              <a:gd name="connsiteY132" fmla="*/ 415925 h 715963"/>
              <a:gd name="connsiteX133" fmla="*/ 192088 w 935038"/>
              <a:gd name="connsiteY133" fmla="*/ 425339 h 715963"/>
              <a:gd name="connsiteX134" fmla="*/ 192088 w 935038"/>
              <a:gd name="connsiteY134" fmla="*/ 439738 h 715963"/>
              <a:gd name="connsiteX135" fmla="*/ 204788 w 935038"/>
              <a:gd name="connsiteY135" fmla="*/ 430323 h 715963"/>
              <a:gd name="connsiteX136" fmla="*/ 471488 w 935038"/>
              <a:gd name="connsiteY136" fmla="*/ 409575 h 715963"/>
              <a:gd name="connsiteX137" fmla="*/ 471488 w 935038"/>
              <a:gd name="connsiteY137" fmla="*/ 436245 h 715963"/>
              <a:gd name="connsiteX138" fmla="*/ 500063 w 935038"/>
              <a:gd name="connsiteY138" fmla="*/ 454025 h 715963"/>
              <a:gd name="connsiteX139" fmla="*/ 500063 w 935038"/>
              <a:gd name="connsiteY139" fmla="*/ 427878 h 715963"/>
              <a:gd name="connsiteX140" fmla="*/ 250825 w 935038"/>
              <a:gd name="connsiteY140" fmla="*/ 409575 h 715963"/>
              <a:gd name="connsiteX141" fmla="*/ 250825 w 935038"/>
              <a:gd name="connsiteY141" fmla="*/ 423726 h 715963"/>
              <a:gd name="connsiteX142" fmla="*/ 269875 w 935038"/>
              <a:gd name="connsiteY142" fmla="*/ 428625 h 715963"/>
              <a:gd name="connsiteX143" fmla="*/ 269875 w 935038"/>
              <a:gd name="connsiteY143" fmla="*/ 414473 h 715963"/>
              <a:gd name="connsiteX144" fmla="*/ 684213 w 935038"/>
              <a:gd name="connsiteY144" fmla="*/ 407988 h 715963"/>
              <a:gd name="connsiteX145" fmla="*/ 684213 w 935038"/>
              <a:gd name="connsiteY145" fmla="*/ 422128 h 715963"/>
              <a:gd name="connsiteX146" fmla="*/ 742951 w 935038"/>
              <a:gd name="connsiteY146" fmla="*/ 458788 h 715963"/>
              <a:gd name="connsiteX147" fmla="*/ 742951 w 935038"/>
              <a:gd name="connsiteY147" fmla="*/ 444648 h 715963"/>
              <a:gd name="connsiteX148" fmla="*/ 649288 w 935038"/>
              <a:gd name="connsiteY148" fmla="*/ 403225 h 715963"/>
              <a:gd name="connsiteX149" fmla="*/ 588963 w 935038"/>
              <a:gd name="connsiteY149" fmla="*/ 422804 h 715963"/>
              <a:gd name="connsiteX150" fmla="*/ 588963 w 935038"/>
              <a:gd name="connsiteY150" fmla="*/ 434975 h 715963"/>
              <a:gd name="connsiteX151" fmla="*/ 649288 w 935038"/>
              <a:gd name="connsiteY151" fmla="*/ 414866 h 715963"/>
              <a:gd name="connsiteX152" fmla="*/ 415925 w 935038"/>
              <a:gd name="connsiteY152" fmla="*/ 392113 h 715963"/>
              <a:gd name="connsiteX153" fmla="*/ 390525 w 935038"/>
              <a:gd name="connsiteY153" fmla="*/ 407770 h 715963"/>
              <a:gd name="connsiteX154" fmla="*/ 390525 w 935038"/>
              <a:gd name="connsiteY154" fmla="*/ 430213 h 715963"/>
              <a:gd name="connsiteX155" fmla="*/ 415925 w 935038"/>
              <a:gd name="connsiteY155" fmla="*/ 415077 h 715963"/>
              <a:gd name="connsiteX156" fmla="*/ 182563 w 935038"/>
              <a:gd name="connsiteY156" fmla="*/ 390525 h 715963"/>
              <a:gd name="connsiteX157" fmla="*/ 168275 w 935038"/>
              <a:gd name="connsiteY157" fmla="*/ 400266 h 715963"/>
              <a:gd name="connsiteX158" fmla="*/ 168275 w 935038"/>
              <a:gd name="connsiteY158" fmla="*/ 414338 h 715963"/>
              <a:gd name="connsiteX159" fmla="*/ 182563 w 935038"/>
              <a:gd name="connsiteY159" fmla="*/ 405137 h 715963"/>
              <a:gd name="connsiteX160" fmla="*/ 276225 w 935038"/>
              <a:gd name="connsiteY160" fmla="*/ 376238 h 715963"/>
              <a:gd name="connsiteX161" fmla="*/ 276225 w 935038"/>
              <a:gd name="connsiteY161" fmla="*/ 390389 h 715963"/>
              <a:gd name="connsiteX162" fmla="*/ 295275 w 935038"/>
              <a:gd name="connsiteY162" fmla="*/ 395288 h 715963"/>
              <a:gd name="connsiteX163" fmla="*/ 295275 w 935038"/>
              <a:gd name="connsiteY163" fmla="*/ 380592 h 715963"/>
              <a:gd name="connsiteX164" fmla="*/ 204788 w 935038"/>
              <a:gd name="connsiteY164" fmla="*/ 374650 h 715963"/>
              <a:gd name="connsiteX165" fmla="*/ 192088 w 935038"/>
              <a:gd name="connsiteY165" fmla="*/ 384933 h 715963"/>
              <a:gd name="connsiteX166" fmla="*/ 192088 w 935038"/>
              <a:gd name="connsiteY166" fmla="*/ 398463 h 715963"/>
              <a:gd name="connsiteX167" fmla="*/ 204788 w 935038"/>
              <a:gd name="connsiteY167" fmla="*/ 389262 h 715963"/>
              <a:gd name="connsiteX168" fmla="*/ 250825 w 935038"/>
              <a:gd name="connsiteY168" fmla="*/ 369888 h 715963"/>
              <a:gd name="connsiteX169" fmla="*/ 250825 w 935038"/>
              <a:gd name="connsiteY169" fmla="*/ 384039 h 715963"/>
              <a:gd name="connsiteX170" fmla="*/ 269875 w 935038"/>
              <a:gd name="connsiteY170" fmla="*/ 388938 h 715963"/>
              <a:gd name="connsiteX171" fmla="*/ 269875 w 935038"/>
              <a:gd name="connsiteY171" fmla="*/ 374786 h 715963"/>
              <a:gd name="connsiteX172" fmla="*/ 515938 w 935038"/>
              <a:gd name="connsiteY172" fmla="*/ 360363 h 715963"/>
              <a:gd name="connsiteX173" fmla="*/ 515938 w 935038"/>
              <a:gd name="connsiteY173" fmla="*/ 387033 h 715963"/>
              <a:gd name="connsiteX174" fmla="*/ 544513 w 935038"/>
              <a:gd name="connsiteY174" fmla="*/ 404813 h 715963"/>
              <a:gd name="connsiteX175" fmla="*/ 544513 w 935038"/>
              <a:gd name="connsiteY175" fmla="*/ 378143 h 715963"/>
              <a:gd name="connsiteX176" fmla="*/ 377825 w 935038"/>
              <a:gd name="connsiteY176" fmla="*/ 355600 h 715963"/>
              <a:gd name="connsiteX177" fmla="*/ 352425 w 935038"/>
              <a:gd name="connsiteY177" fmla="*/ 371257 h 715963"/>
              <a:gd name="connsiteX178" fmla="*/ 352425 w 935038"/>
              <a:gd name="connsiteY178" fmla="*/ 393700 h 715963"/>
              <a:gd name="connsiteX179" fmla="*/ 377825 w 935038"/>
              <a:gd name="connsiteY179" fmla="*/ 378564 h 715963"/>
              <a:gd name="connsiteX180" fmla="*/ 471488 w 935038"/>
              <a:gd name="connsiteY180" fmla="*/ 331788 h 715963"/>
              <a:gd name="connsiteX181" fmla="*/ 471488 w 935038"/>
              <a:gd name="connsiteY181" fmla="*/ 357609 h 715963"/>
              <a:gd name="connsiteX182" fmla="*/ 500063 w 935038"/>
              <a:gd name="connsiteY182" fmla="*/ 374651 h 715963"/>
              <a:gd name="connsiteX183" fmla="*/ 500063 w 935038"/>
              <a:gd name="connsiteY183" fmla="*/ 349863 h 715963"/>
              <a:gd name="connsiteX184" fmla="*/ 415925 w 935038"/>
              <a:gd name="connsiteY184" fmla="*/ 330200 h 715963"/>
              <a:gd name="connsiteX185" fmla="*/ 390525 w 935038"/>
              <a:gd name="connsiteY185" fmla="*/ 346379 h 715963"/>
              <a:gd name="connsiteX186" fmla="*/ 390525 w 935038"/>
              <a:gd name="connsiteY186" fmla="*/ 368300 h 715963"/>
              <a:gd name="connsiteX187" fmla="*/ 415925 w 935038"/>
              <a:gd name="connsiteY187" fmla="*/ 353164 h 715963"/>
              <a:gd name="connsiteX188" fmla="*/ 515938 w 935038"/>
              <a:gd name="connsiteY188" fmla="*/ 288925 h 715963"/>
              <a:gd name="connsiteX189" fmla="*/ 515938 w 935038"/>
              <a:gd name="connsiteY189" fmla="*/ 315383 h 715963"/>
              <a:gd name="connsiteX190" fmla="*/ 544513 w 935038"/>
              <a:gd name="connsiteY190" fmla="*/ 333375 h 715963"/>
              <a:gd name="connsiteX191" fmla="*/ 544513 w 935038"/>
              <a:gd name="connsiteY191" fmla="*/ 306916 h 715963"/>
              <a:gd name="connsiteX192" fmla="*/ 377825 w 935038"/>
              <a:gd name="connsiteY192" fmla="*/ 287338 h 715963"/>
              <a:gd name="connsiteX193" fmla="*/ 352425 w 935038"/>
              <a:gd name="connsiteY193" fmla="*/ 302684 h 715963"/>
              <a:gd name="connsiteX194" fmla="*/ 352425 w 935038"/>
              <a:gd name="connsiteY194" fmla="*/ 325438 h 715963"/>
              <a:gd name="connsiteX195" fmla="*/ 377825 w 935038"/>
              <a:gd name="connsiteY195" fmla="*/ 309563 h 715963"/>
              <a:gd name="connsiteX196" fmla="*/ 415925 w 935038"/>
              <a:gd name="connsiteY196" fmla="*/ 261938 h 715963"/>
              <a:gd name="connsiteX197" fmla="*/ 390525 w 935038"/>
              <a:gd name="connsiteY197" fmla="*/ 278117 h 715963"/>
              <a:gd name="connsiteX198" fmla="*/ 390525 w 935038"/>
              <a:gd name="connsiteY198" fmla="*/ 300038 h 715963"/>
              <a:gd name="connsiteX199" fmla="*/ 415925 w 935038"/>
              <a:gd name="connsiteY199" fmla="*/ 284902 h 715963"/>
              <a:gd name="connsiteX200" fmla="*/ 471488 w 935038"/>
              <a:gd name="connsiteY200" fmla="*/ 260350 h 715963"/>
              <a:gd name="connsiteX201" fmla="*/ 471488 w 935038"/>
              <a:gd name="connsiteY201" fmla="*/ 287127 h 715963"/>
              <a:gd name="connsiteX202" fmla="*/ 500063 w 935038"/>
              <a:gd name="connsiteY202" fmla="*/ 304800 h 715963"/>
              <a:gd name="connsiteX203" fmla="*/ 500063 w 935038"/>
              <a:gd name="connsiteY203" fmla="*/ 279094 h 715963"/>
              <a:gd name="connsiteX204" fmla="*/ 377825 w 935038"/>
              <a:gd name="connsiteY204" fmla="*/ 219075 h 715963"/>
              <a:gd name="connsiteX205" fmla="*/ 352425 w 935038"/>
              <a:gd name="connsiteY205" fmla="*/ 234732 h 715963"/>
              <a:gd name="connsiteX206" fmla="*/ 352425 w 935038"/>
              <a:gd name="connsiteY206" fmla="*/ 257175 h 715963"/>
              <a:gd name="connsiteX207" fmla="*/ 377825 w 935038"/>
              <a:gd name="connsiteY207" fmla="*/ 242039 h 715963"/>
              <a:gd name="connsiteX208" fmla="*/ 515938 w 935038"/>
              <a:gd name="connsiteY208" fmla="*/ 211138 h 715963"/>
              <a:gd name="connsiteX209" fmla="*/ 515938 w 935038"/>
              <a:gd name="connsiteY209" fmla="*/ 237379 h 715963"/>
              <a:gd name="connsiteX210" fmla="*/ 544513 w 935038"/>
              <a:gd name="connsiteY210" fmla="*/ 255588 h 715963"/>
              <a:gd name="connsiteX211" fmla="*/ 544513 w 935038"/>
              <a:gd name="connsiteY211" fmla="*/ 228811 h 715963"/>
              <a:gd name="connsiteX212" fmla="*/ 415925 w 935038"/>
              <a:gd name="connsiteY212" fmla="*/ 198438 h 715963"/>
              <a:gd name="connsiteX213" fmla="*/ 390525 w 935038"/>
              <a:gd name="connsiteY213" fmla="*/ 214617 h 715963"/>
              <a:gd name="connsiteX214" fmla="*/ 390525 w 935038"/>
              <a:gd name="connsiteY214" fmla="*/ 236538 h 715963"/>
              <a:gd name="connsiteX215" fmla="*/ 415925 w 935038"/>
              <a:gd name="connsiteY215" fmla="*/ 221402 h 715963"/>
              <a:gd name="connsiteX216" fmla="*/ 471488 w 935038"/>
              <a:gd name="connsiteY216" fmla="*/ 180975 h 715963"/>
              <a:gd name="connsiteX217" fmla="*/ 471488 w 935038"/>
              <a:gd name="connsiteY217" fmla="*/ 208598 h 715963"/>
              <a:gd name="connsiteX218" fmla="*/ 500063 w 935038"/>
              <a:gd name="connsiteY218" fmla="*/ 227013 h 715963"/>
              <a:gd name="connsiteX219" fmla="*/ 500063 w 935038"/>
              <a:gd name="connsiteY219" fmla="*/ 199932 h 715963"/>
              <a:gd name="connsiteX220" fmla="*/ 515938 w 935038"/>
              <a:gd name="connsiteY220" fmla="*/ 131763 h 715963"/>
              <a:gd name="connsiteX221" fmla="*/ 515938 w 935038"/>
              <a:gd name="connsiteY221" fmla="*/ 159386 h 715963"/>
              <a:gd name="connsiteX222" fmla="*/ 544513 w 935038"/>
              <a:gd name="connsiteY222" fmla="*/ 177801 h 715963"/>
              <a:gd name="connsiteX223" fmla="*/ 544513 w 935038"/>
              <a:gd name="connsiteY223" fmla="*/ 150178 h 715963"/>
              <a:gd name="connsiteX224" fmla="*/ 471488 w 935038"/>
              <a:gd name="connsiteY224" fmla="*/ 107950 h 715963"/>
              <a:gd name="connsiteX225" fmla="*/ 471488 w 935038"/>
              <a:gd name="connsiteY225" fmla="*/ 134727 h 715963"/>
              <a:gd name="connsiteX226" fmla="*/ 500063 w 935038"/>
              <a:gd name="connsiteY226" fmla="*/ 152400 h 715963"/>
              <a:gd name="connsiteX227" fmla="*/ 500063 w 935038"/>
              <a:gd name="connsiteY227" fmla="*/ 126694 h 715963"/>
              <a:gd name="connsiteX228" fmla="*/ 437903 w 935038"/>
              <a:gd name="connsiteY228" fmla="*/ 0 h 715963"/>
              <a:gd name="connsiteX229" fmla="*/ 440018 w 935038"/>
              <a:gd name="connsiteY229" fmla="*/ 0 h 715963"/>
              <a:gd name="connsiteX230" fmla="*/ 441605 w 935038"/>
              <a:gd name="connsiteY230" fmla="*/ 530 h 715963"/>
              <a:gd name="connsiteX231" fmla="*/ 444249 w 935038"/>
              <a:gd name="connsiteY231" fmla="*/ 1590 h 715963"/>
              <a:gd name="connsiteX232" fmla="*/ 570648 w 935038"/>
              <a:gd name="connsiteY232" fmla="*/ 93272 h 715963"/>
              <a:gd name="connsiteX233" fmla="*/ 573293 w 935038"/>
              <a:gd name="connsiteY233" fmla="*/ 96451 h 715963"/>
              <a:gd name="connsiteX234" fmla="*/ 573293 w 935038"/>
              <a:gd name="connsiteY234" fmla="*/ 98041 h 715963"/>
              <a:gd name="connsiteX235" fmla="*/ 574350 w 935038"/>
              <a:gd name="connsiteY235" fmla="*/ 100161 h 715963"/>
              <a:gd name="connsiteX236" fmla="*/ 573293 w 935038"/>
              <a:gd name="connsiteY236" fmla="*/ 388454 h 715963"/>
              <a:gd name="connsiteX237" fmla="*/ 663729 w 935038"/>
              <a:gd name="connsiteY237" fmla="*/ 358247 h 715963"/>
              <a:gd name="connsiteX238" fmla="*/ 669018 w 935038"/>
              <a:gd name="connsiteY238" fmla="*/ 359307 h 715963"/>
              <a:gd name="connsiteX239" fmla="*/ 761041 w 935038"/>
              <a:gd name="connsiteY239" fmla="*/ 417601 h 715963"/>
              <a:gd name="connsiteX240" fmla="*/ 763156 w 935038"/>
              <a:gd name="connsiteY240" fmla="*/ 423431 h 715963"/>
              <a:gd name="connsiteX241" fmla="*/ 763156 w 935038"/>
              <a:gd name="connsiteY241" fmla="*/ 540020 h 715963"/>
              <a:gd name="connsiteX242" fmla="*/ 802292 w 935038"/>
              <a:gd name="connsiteY242" fmla="*/ 564397 h 715963"/>
              <a:gd name="connsiteX243" fmla="*/ 805466 w 935038"/>
              <a:gd name="connsiteY243" fmla="*/ 570227 h 715963"/>
              <a:gd name="connsiteX244" fmla="*/ 805466 w 935038"/>
              <a:gd name="connsiteY244" fmla="*/ 655549 h 715963"/>
              <a:gd name="connsiteX245" fmla="*/ 844073 w 935038"/>
              <a:gd name="connsiteY245" fmla="*/ 670387 h 715963"/>
              <a:gd name="connsiteX246" fmla="*/ 861526 w 935038"/>
              <a:gd name="connsiteY246" fmla="*/ 678337 h 715963"/>
              <a:gd name="connsiteX247" fmla="*/ 879507 w 935038"/>
              <a:gd name="connsiteY247" fmla="*/ 685756 h 715963"/>
              <a:gd name="connsiteX248" fmla="*/ 894844 w 935038"/>
              <a:gd name="connsiteY248" fmla="*/ 693705 h 715963"/>
              <a:gd name="connsiteX249" fmla="*/ 909653 w 935038"/>
              <a:gd name="connsiteY249" fmla="*/ 700595 h 715963"/>
              <a:gd name="connsiteX250" fmla="*/ 923403 w 935038"/>
              <a:gd name="connsiteY250" fmla="*/ 708014 h 715963"/>
              <a:gd name="connsiteX251" fmla="*/ 935038 w 935038"/>
              <a:gd name="connsiteY251" fmla="*/ 715963 h 715963"/>
              <a:gd name="connsiteX252" fmla="*/ 925519 w 935038"/>
              <a:gd name="connsiteY252" fmla="*/ 712254 h 715963"/>
              <a:gd name="connsiteX253" fmla="*/ 898546 w 935038"/>
              <a:gd name="connsiteY253" fmla="*/ 702714 h 715963"/>
              <a:gd name="connsiteX254" fmla="*/ 879507 w 935038"/>
              <a:gd name="connsiteY254" fmla="*/ 695825 h 715963"/>
              <a:gd name="connsiteX255" fmla="*/ 856237 w 935038"/>
              <a:gd name="connsiteY255" fmla="*/ 688936 h 715963"/>
              <a:gd name="connsiteX256" fmla="*/ 829265 w 935038"/>
              <a:gd name="connsiteY256" fmla="*/ 680986 h 715963"/>
              <a:gd name="connsiteX257" fmla="*/ 798590 w 935038"/>
              <a:gd name="connsiteY257" fmla="*/ 673567 h 715963"/>
              <a:gd name="connsiteX258" fmla="*/ 765272 w 935038"/>
              <a:gd name="connsiteY258" fmla="*/ 665088 h 715963"/>
              <a:gd name="connsiteX259" fmla="*/ 728251 w 935038"/>
              <a:gd name="connsiteY259" fmla="*/ 658199 h 715963"/>
              <a:gd name="connsiteX260" fmla="*/ 688586 w 935038"/>
              <a:gd name="connsiteY260" fmla="*/ 650249 h 715963"/>
              <a:gd name="connsiteX261" fmla="*/ 645748 w 935038"/>
              <a:gd name="connsiteY261" fmla="*/ 643890 h 715963"/>
              <a:gd name="connsiteX262" fmla="*/ 601323 w 935038"/>
              <a:gd name="connsiteY262" fmla="*/ 639650 h 715963"/>
              <a:gd name="connsiteX263" fmla="*/ 553725 w 935038"/>
              <a:gd name="connsiteY263" fmla="*/ 634881 h 715963"/>
              <a:gd name="connsiteX264" fmla="*/ 504011 w 935038"/>
              <a:gd name="connsiteY264" fmla="*/ 632761 h 715963"/>
              <a:gd name="connsiteX265" fmla="*/ 478097 w 935038"/>
              <a:gd name="connsiteY265" fmla="*/ 632761 h 715963"/>
              <a:gd name="connsiteX266" fmla="*/ 452711 w 935038"/>
              <a:gd name="connsiteY266" fmla="*/ 632761 h 715963"/>
              <a:gd name="connsiteX267" fmla="*/ 424152 w 935038"/>
              <a:gd name="connsiteY267" fmla="*/ 632761 h 715963"/>
              <a:gd name="connsiteX268" fmla="*/ 395593 w 935038"/>
              <a:gd name="connsiteY268" fmla="*/ 634351 h 715963"/>
              <a:gd name="connsiteX269" fmla="*/ 367034 w 935038"/>
              <a:gd name="connsiteY269" fmla="*/ 636471 h 715963"/>
              <a:gd name="connsiteX270" fmla="*/ 338476 w 935038"/>
              <a:gd name="connsiteY270" fmla="*/ 638590 h 715963"/>
              <a:gd name="connsiteX271" fmla="*/ 309917 w 935038"/>
              <a:gd name="connsiteY271" fmla="*/ 641770 h 715963"/>
              <a:gd name="connsiteX272" fmla="*/ 282416 w 935038"/>
              <a:gd name="connsiteY272" fmla="*/ 644950 h 715963"/>
              <a:gd name="connsiteX273" fmla="*/ 227413 w 935038"/>
              <a:gd name="connsiteY273" fmla="*/ 653429 h 715963"/>
              <a:gd name="connsiteX274" fmla="*/ 215249 w 935038"/>
              <a:gd name="connsiteY274" fmla="*/ 655549 h 715963"/>
              <a:gd name="connsiteX275" fmla="*/ 215249 w 935038"/>
              <a:gd name="connsiteY275" fmla="*/ 655019 h 715963"/>
              <a:gd name="connsiteX276" fmla="*/ 170296 w 935038"/>
              <a:gd name="connsiteY276" fmla="*/ 662438 h 715963"/>
              <a:gd name="connsiteX277" fmla="*/ 130631 w 935038"/>
              <a:gd name="connsiteY277" fmla="*/ 671447 h 715963"/>
              <a:gd name="connsiteX278" fmla="*/ 93610 w 935038"/>
              <a:gd name="connsiteY278" fmla="*/ 678867 h 715963"/>
              <a:gd name="connsiteX279" fmla="*/ 61878 w 935038"/>
              <a:gd name="connsiteY279" fmla="*/ 685756 h 715963"/>
              <a:gd name="connsiteX280" fmla="*/ 16395 w 935038"/>
              <a:gd name="connsiteY280" fmla="*/ 697415 h 715963"/>
              <a:gd name="connsiteX281" fmla="*/ 0 w 935038"/>
              <a:gd name="connsiteY281" fmla="*/ 701125 h 715963"/>
              <a:gd name="connsiteX282" fmla="*/ 10049 w 935038"/>
              <a:gd name="connsiteY282" fmla="*/ 695825 h 715963"/>
              <a:gd name="connsiteX283" fmla="*/ 21684 w 935038"/>
              <a:gd name="connsiteY283" fmla="*/ 689466 h 715963"/>
              <a:gd name="connsiteX284" fmla="*/ 38608 w 935038"/>
              <a:gd name="connsiteY284" fmla="*/ 682046 h 715963"/>
              <a:gd name="connsiteX285" fmla="*/ 59762 w 935038"/>
              <a:gd name="connsiteY285" fmla="*/ 672507 h 715963"/>
              <a:gd name="connsiteX286" fmla="*/ 85148 w 935038"/>
              <a:gd name="connsiteY286" fmla="*/ 661908 h 715963"/>
              <a:gd name="connsiteX287" fmla="*/ 114236 w 935038"/>
              <a:gd name="connsiteY287" fmla="*/ 651309 h 715963"/>
              <a:gd name="connsiteX288" fmla="*/ 147554 w 935038"/>
              <a:gd name="connsiteY288" fmla="*/ 640180 h 715963"/>
              <a:gd name="connsiteX289" fmla="*/ 147554 w 935038"/>
              <a:gd name="connsiteY289" fmla="*/ 380505 h 715963"/>
              <a:gd name="connsiteX290" fmla="*/ 148083 w 935038"/>
              <a:gd name="connsiteY290" fmla="*/ 378385 h 715963"/>
              <a:gd name="connsiteX291" fmla="*/ 149670 w 935038"/>
              <a:gd name="connsiteY291" fmla="*/ 376265 h 715963"/>
              <a:gd name="connsiteX292" fmla="*/ 217365 w 935038"/>
              <a:gd name="connsiteY292" fmla="*/ 326450 h 715963"/>
              <a:gd name="connsiteX293" fmla="*/ 217365 w 935038"/>
              <a:gd name="connsiteY293" fmla="*/ 325920 h 715963"/>
              <a:gd name="connsiteX294" fmla="*/ 220009 w 935038"/>
              <a:gd name="connsiteY294" fmla="*/ 325390 h 715963"/>
              <a:gd name="connsiteX295" fmla="*/ 221596 w 935038"/>
              <a:gd name="connsiteY295" fmla="*/ 325390 h 715963"/>
              <a:gd name="connsiteX296" fmla="*/ 223711 w 935038"/>
              <a:gd name="connsiteY296" fmla="*/ 325390 h 715963"/>
              <a:gd name="connsiteX297" fmla="*/ 322081 w 935038"/>
              <a:gd name="connsiteY297" fmla="*/ 357717 h 715963"/>
              <a:gd name="connsiteX298" fmla="*/ 322081 w 935038"/>
              <a:gd name="connsiteY298" fmla="*/ 196082 h 715963"/>
              <a:gd name="connsiteX299" fmla="*/ 322081 w 935038"/>
              <a:gd name="connsiteY299" fmla="*/ 193962 h 715963"/>
              <a:gd name="connsiteX300" fmla="*/ 323138 w 935038"/>
              <a:gd name="connsiteY300" fmla="*/ 192372 h 715963"/>
              <a:gd name="connsiteX301" fmla="*/ 324725 w 935038"/>
              <a:gd name="connsiteY301" fmla="*/ 190782 h 715963"/>
              <a:gd name="connsiteX302" fmla="*/ 326312 w 935038"/>
              <a:gd name="connsiteY302" fmla="*/ 189193 h 715963"/>
              <a:gd name="connsiteX303" fmla="*/ 431027 w 935038"/>
              <a:gd name="connsiteY303" fmla="*/ 124539 h 715963"/>
              <a:gd name="connsiteX304" fmla="*/ 431027 w 935038"/>
              <a:gd name="connsiteY304" fmla="*/ 8479 h 715963"/>
              <a:gd name="connsiteX305" fmla="*/ 431027 w 935038"/>
              <a:gd name="connsiteY305" fmla="*/ 6360 h 715963"/>
              <a:gd name="connsiteX306" fmla="*/ 432614 w 935038"/>
              <a:gd name="connsiteY306" fmla="*/ 3710 h 715963"/>
              <a:gd name="connsiteX307" fmla="*/ 433143 w 935038"/>
              <a:gd name="connsiteY307" fmla="*/ 2120 h 715963"/>
              <a:gd name="connsiteX308" fmla="*/ 435787 w 935038"/>
              <a:gd name="connsiteY308" fmla="*/ 530 h 71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Lst>
            <a:rect l="l" t="t" r="r" b="b"/>
            <a:pathLst>
              <a:path w="935038" h="715963">
                <a:moveTo>
                  <a:pt x="182563" y="592138"/>
                </a:moveTo>
                <a:lnTo>
                  <a:pt x="168275" y="601339"/>
                </a:lnTo>
                <a:lnTo>
                  <a:pt x="168275" y="615951"/>
                </a:lnTo>
                <a:lnTo>
                  <a:pt x="182563" y="606210"/>
                </a:lnTo>
                <a:close/>
                <a:moveTo>
                  <a:pt x="204788" y="577850"/>
                </a:moveTo>
                <a:lnTo>
                  <a:pt x="192088" y="586942"/>
                </a:lnTo>
                <a:lnTo>
                  <a:pt x="192088" y="600075"/>
                </a:lnTo>
                <a:lnTo>
                  <a:pt x="204788" y="590983"/>
                </a:lnTo>
                <a:close/>
                <a:moveTo>
                  <a:pt x="276225" y="576263"/>
                </a:moveTo>
                <a:lnTo>
                  <a:pt x="276225" y="590415"/>
                </a:lnTo>
                <a:lnTo>
                  <a:pt x="295275" y="595313"/>
                </a:lnTo>
                <a:lnTo>
                  <a:pt x="295275" y="580618"/>
                </a:lnTo>
                <a:close/>
                <a:moveTo>
                  <a:pt x="250825" y="569913"/>
                </a:moveTo>
                <a:lnTo>
                  <a:pt x="250825" y="584065"/>
                </a:lnTo>
                <a:lnTo>
                  <a:pt x="269875" y="588963"/>
                </a:lnTo>
                <a:lnTo>
                  <a:pt x="269875" y="574812"/>
                </a:lnTo>
                <a:close/>
                <a:moveTo>
                  <a:pt x="649288" y="554038"/>
                </a:moveTo>
                <a:lnTo>
                  <a:pt x="588963" y="572760"/>
                </a:lnTo>
                <a:lnTo>
                  <a:pt x="588963" y="584201"/>
                </a:lnTo>
                <a:lnTo>
                  <a:pt x="649288" y="565479"/>
                </a:lnTo>
                <a:close/>
                <a:moveTo>
                  <a:pt x="377825" y="552450"/>
                </a:moveTo>
                <a:lnTo>
                  <a:pt x="352425" y="567796"/>
                </a:lnTo>
                <a:lnTo>
                  <a:pt x="352425" y="590550"/>
                </a:lnTo>
                <a:lnTo>
                  <a:pt x="377825" y="575204"/>
                </a:lnTo>
                <a:close/>
                <a:moveTo>
                  <a:pt x="182563" y="552450"/>
                </a:moveTo>
                <a:lnTo>
                  <a:pt x="168275" y="561975"/>
                </a:lnTo>
                <a:lnTo>
                  <a:pt x="168275" y="574675"/>
                </a:lnTo>
                <a:lnTo>
                  <a:pt x="182563" y="565679"/>
                </a:lnTo>
                <a:close/>
                <a:moveTo>
                  <a:pt x="684213" y="550863"/>
                </a:moveTo>
                <a:lnTo>
                  <a:pt x="684213" y="564924"/>
                </a:lnTo>
                <a:lnTo>
                  <a:pt x="744538" y="600076"/>
                </a:lnTo>
                <a:lnTo>
                  <a:pt x="744004" y="586015"/>
                </a:lnTo>
                <a:close/>
                <a:moveTo>
                  <a:pt x="276225" y="536575"/>
                </a:moveTo>
                <a:lnTo>
                  <a:pt x="276225" y="550726"/>
                </a:lnTo>
                <a:lnTo>
                  <a:pt x="295275" y="555625"/>
                </a:lnTo>
                <a:lnTo>
                  <a:pt x="295275" y="541473"/>
                </a:lnTo>
                <a:close/>
                <a:moveTo>
                  <a:pt x="204788" y="536575"/>
                </a:moveTo>
                <a:lnTo>
                  <a:pt x="192088" y="545775"/>
                </a:lnTo>
                <a:lnTo>
                  <a:pt x="192088" y="560388"/>
                </a:lnTo>
                <a:lnTo>
                  <a:pt x="204788" y="550646"/>
                </a:lnTo>
                <a:close/>
                <a:moveTo>
                  <a:pt x="250825" y="530225"/>
                </a:moveTo>
                <a:lnTo>
                  <a:pt x="250825" y="544376"/>
                </a:lnTo>
                <a:lnTo>
                  <a:pt x="269875" y="549275"/>
                </a:lnTo>
                <a:lnTo>
                  <a:pt x="269875" y="535123"/>
                </a:lnTo>
                <a:close/>
                <a:moveTo>
                  <a:pt x="415925" y="528638"/>
                </a:moveTo>
                <a:lnTo>
                  <a:pt x="390525" y="543773"/>
                </a:lnTo>
                <a:lnTo>
                  <a:pt x="390525" y="566738"/>
                </a:lnTo>
                <a:lnTo>
                  <a:pt x="415925" y="551602"/>
                </a:lnTo>
                <a:close/>
                <a:moveTo>
                  <a:pt x="515938" y="517525"/>
                </a:moveTo>
                <a:lnTo>
                  <a:pt x="515938" y="543983"/>
                </a:lnTo>
                <a:lnTo>
                  <a:pt x="544513" y="561975"/>
                </a:lnTo>
                <a:lnTo>
                  <a:pt x="544513" y="535516"/>
                </a:lnTo>
                <a:close/>
                <a:moveTo>
                  <a:pt x="649288" y="514350"/>
                </a:moveTo>
                <a:lnTo>
                  <a:pt x="588963" y="533929"/>
                </a:lnTo>
                <a:lnTo>
                  <a:pt x="588963" y="546100"/>
                </a:lnTo>
                <a:lnTo>
                  <a:pt x="649288" y="525991"/>
                </a:lnTo>
                <a:close/>
                <a:moveTo>
                  <a:pt x="182563" y="511175"/>
                </a:moveTo>
                <a:lnTo>
                  <a:pt x="168275" y="520375"/>
                </a:lnTo>
                <a:lnTo>
                  <a:pt x="168275" y="534988"/>
                </a:lnTo>
                <a:lnTo>
                  <a:pt x="182563" y="525246"/>
                </a:lnTo>
                <a:close/>
                <a:moveTo>
                  <a:pt x="684213" y="503238"/>
                </a:moveTo>
                <a:lnTo>
                  <a:pt x="684213" y="517141"/>
                </a:lnTo>
                <a:lnTo>
                  <a:pt x="742951" y="554038"/>
                </a:lnTo>
                <a:lnTo>
                  <a:pt x="742951" y="540669"/>
                </a:lnTo>
                <a:close/>
                <a:moveTo>
                  <a:pt x="276225" y="496888"/>
                </a:moveTo>
                <a:lnTo>
                  <a:pt x="276225" y="509860"/>
                </a:lnTo>
                <a:lnTo>
                  <a:pt x="295275" y="514351"/>
                </a:lnTo>
                <a:lnTo>
                  <a:pt x="295275" y="501378"/>
                </a:lnTo>
                <a:close/>
                <a:moveTo>
                  <a:pt x="204788" y="495300"/>
                </a:moveTo>
                <a:lnTo>
                  <a:pt x="192088" y="505822"/>
                </a:lnTo>
                <a:lnTo>
                  <a:pt x="192088" y="519113"/>
                </a:lnTo>
                <a:lnTo>
                  <a:pt x="204788" y="509698"/>
                </a:lnTo>
                <a:close/>
                <a:moveTo>
                  <a:pt x="250825" y="490538"/>
                </a:moveTo>
                <a:lnTo>
                  <a:pt x="250825" y="504009"/>
                </a:lnTo>
                <a:lnTo>
                  <a:pt x="269875" y="508001"/>
                </a:lnTo>
                <a:lnTo>
                  <a:pt x="269875" y="495028"/>
                </a:lnTo>
                <a:close/>
                <a:moveTo>
                  <a:pt x="471488" y="487363"/>
                </a:moveTo>
                <a:lnTo>
                  <a:pt x="471488" y="514140"/>
                </a:lnTo>
                <a:lnTo>
                  <a:pt x="500063" y="531813"/>
                </a:lnTo>
                <a:lnTo>
                  <a:pt x="500063" y="506107"/>
                </a:lnTo>
                <a:close/>
                <a:moveTo>
                  <a:pt x="377825" y="484188"/>
                </a:moveTo>
                <a:lnTo>
                  <a:pt x="352425" y="499954"/>
                </a:lnTo>
                <a:lnTo>
                  <a:pt x="352425" y="523876"/>
                </a:lnTo>
                <a:lnTo>
                  <a:pt x="377825" y="508109"/>
                </a:lnTo>
                <a:close/>
                <a:moveTo>
                  <a:pt x="649288" y="476250"/>
                </a:moveTo>
                <a:lnTo>
                  <a:pt x="588963" y="495829"/>
                </a:lnTo>
                <a:lnTo>
                  <a:pt x="588963" y="508000"/>
                </a:lnTo>
                <a:lnTo>
                  <a:pt x="649288" y="487891"/>
                </a:lnTo>
                <a:close/>
                <a:moveTo>
                  <a:pt x="182563" y="471488"/>
                </a:moveTo>
                <a:lnTo>
                  <a:pt x="168275" y="481229"/>
                </a:lnTo>
                <a:lnTo>
                  <a:pt x="168275" y="495301"/>
                </a:lnTo>
                <a:lnTo>
                  <a:pt x="182563" y="486100"/>
                </a:lnTo>
                <a:close/>
                <a:moveTo>
                  <a:pt x="415925" y="458788"/>
                </a:moveTo>
                <a:lnTo>
                  <a:pt x="390525" y="475642"/>
                </a:lnTo>
                <a:lnTo>
                  <a:pt x="390525" y="498476"/>
                </a:lnTo>
                <a:lnTo>
                  <a:pt x="415925" y="482709"/>
                </a:lnTo>
                <a:close/>
                <a:moveTo>
                  <a:pt x="204788" y="457200"/>
                </a:moveTo>
                <a:lnTo>
                  <a:pt x="192088" y="466196"/>
                </a:lnTo>
                <a:lnTo>
                  <a:pt x="192088" y="479425"/>
                </a:lnTo>
                <a:lnTo>
                  <a:pt x="204788" y="470429"/>
                </a:lnTo>
                <a:close/>
                <a:moveTo>
                  <a:pt x="684213" y="455613"/>
                </a:moveTo>
                <a:lnTo>
                  <a:pt x="684213" y="470195"/>
                </a:lnTo>
                <a:lnTo>
                  <a:pt x="742951" y="508001"/>
                </a:lnTo>
                <a:lnTo>
                  <a:pt x="742951" y="493419"/>
                </a:lnTo>
                <a:close/>
                <a:moveTo>
                  <a:pt x="276225" y="455613"/>
                </a:moveTo>
                <a:lnTo>
                  <a:pt x="276225" y="470308"/>
                </a:lnTo>
                <a:lnTo>
                  <a:pt x="295275" y="474663"/>
                </a:lnTo>
                <a:lnTo>
                  <a:pt x="295275" y="460511"/>
                </a:lnTo>
                <a:close/>
                <a:moveTo>
                  <a:pt x="250825" y="450850"/>
                </a:moveTo>
                <a:lnTo>
                  <a:pt x="250825" y="463822"/>
                </a:lnTo>
                <a:lnTo>
                  <a:pt x="269875" y="468313"/>
                </a:lnTo>
                <a:lnTo>
                  <a:pt x="269875" y="454841"/>
                </a:lnTo>
                <a:close/>
                <a:moveTo>
                  <a:pt x="649288" y="439738"/>
                </a:moveTo>
                <a:lnTo>
                  <a:pt x="588963" y="459111"/>
                </a:lnTo>
                <a:lnTo>
                  <a:pt x="588963" y="471488"/>
                </a:lnTo>
                <a:lnTo>
                  <a:pt x="649288" y="451577"/>
                </a:lnTo>
                <a:close/>
                <a:moveTo>
                  <a:pt x="515938" y="438150"/>
                </a:moveTo>
                <a:lnTo>
                  <a:pt x="515938" y="464391"/>
                </a:lnTo>
                <a:lnTo>
                  <a:pt x="544513" y="482600"/>
                </a:lnTo>
                <a:lnTo>
                  <a:pt x="544513" y="455823"/>
                </a:lnTo>
                <a:close/>
                <a:moveTo>
                  <a:pt x="182563" y="430213"/>
                </a:moveTo>
                <a:lnTo>
                  <a:pt x="168275" y="439954"/>
                </a:lnTo>
                <a:lnTo>
                  <a:pt x="168275" y="454026"/>
                </a:lnTo>
                <a:lnTo>
                  <a:pt x="182563" y="444284"/>
                </a:lnTo>
                <a:close/>
                <a:moveTo>
                  <a:pt x="377825" y="417513"/>
                </a:moveTo>
                <a:lnTo>
                  <a:pt x="352425" y="432648"/>
                </a:lnTo>
                <a:lnTo>
                  <a:pt x="352425" y="455613"/>
                </a:lnTo>
                <a:lnTo>
                  <a:pt x="377825" y="440477"/>
                </a:lnTo>
                <a:close/>
                <a:moveTo>
                  <a:pt x="276225" y="415925"/>
                </a:moveTo>
                <a:lnTo>
                  <a:pt x="276225" y="430076"/>
                </a:lnTo>
                <a:lnTo>
                  <a:pt x="295275" y="434975"/>
                </a:lnTo>
                <a:lnTo>
                  <a:pt x="295275" y="420279"/>
                </a:lnTo>
                <a:close/>
                <a:moveTo>
                  <a:pt x="204788" y="415925"/>
                </a:moveTo>
                <a:lnTo>
                  <a:pt x="192088" y="425339"/>
                </a:lnTo>
                <a:lnTo>
                  <a:pt x="192088" y="439738"/>
                </a:lnTo>
                <a:lnTo>
                  <a:pt x="204788" y="430323"/>
                </a:lnTo>
                <a:close/>
                <a:moveTo>
                  <a:pt x="471488" y="409575"/>
                </a:moveTo>
                <a:lnTo>
                  <a:pt x="471488" y="436245"/>
                </a:lnTo>
                <a:lnTo>
                  <a:pt x="500063" y="454025"/>
                </a:lnTo>
                <a:lnTo>
                  <a:pt x="500063" y="427878"/>
                </a:lnTo>
                <a:close/>
                <a:moveTo>
                  <a:pt x="250825" y="409575"/>
                </a:moveTo>
                <a:lnTo>
                  <a:pt x="250825" y="423726"/>
                </a:lnTo>
                <a:lnTo>
                  <a:pt x="269875" y="428625"/>
                </a:lnTo>
                <a:lnTo>
                  <a:pt x="269875" y="414473"/>
                </a:lnTo>
                <a:close/>
                <a:moveTo>
                  <a:pt x="684213" y="407988"/>
                </a:moveTo>
                <a:lnTo>
                  <a:pt x="684213" y="422128"/>
                </a:lnTo>
                <a:lnTo>
                  <a:pt x="742951" y="458788"/>
                </a:lnTo>
                <a:lnTo>
                  <a:pt x="742951" y="444648"/>
                </a:lnTo>
                <a:close/>
                <a:moveTo>
                  <a:pt x="649288" y="403225"/>
                </a:moveTo>
                <a:lnTo>
                  <a:pt x="588963" y="422804"/>
                </a:lnTo>
                <a:lnTo>
                  <a:pt x="588963" y="434975"/>
                </a:lnTo>
                <a:lnTo>
                  <a:pt x="649288" y="414866"/>
                </a:lnTo>
                <a:close/>
                <a:moveTo>
                  <a:pt x="415925" y="392113"/>
                </a:moveTo>
                <a:lnTo>
                  <a:pt x="390525" y="407770"/>
                </a:lnTo>
                <a:lnTo>
                  <a:pt x="390525" y="430213"/>
                </a:lnTo>
                <a:lnTo>
                  <a:pt x="415925" y="415077"/>
                </a:lnTo>
                <a:close/>
                <a:moveTo>
                  <a:pt x="182563" y="390525"/>
                </a:moveTo>
                <a:lnTo>
                  <a:pt x="168275" y="400266"/>
                </a:lnTo>
                <a:lnTo>
                  <a:pt x="168275" y="414338"/>
                </a:lnTo>
                <a:lnTo>
                  <a:pt x="182563" y="405137"/>
                </a:lnTo>
                <a:close/>
                <a:moveTo>
                  <a:pt x="276225" y="376238"/>
                </a:moveTo>
                <a:lnTo>
                  <a:pt x="276225" y="390389"/>
                </a:lnTo>
                <a:lnTo>
                  <a:pt x="295275" y="395288"/>
                </a:lnTo>
                <a:lnTo>
                  <a:pt x="295275" y="380592"/>
                </a:lnTo>
                <a:close/>
                <a:moveTo>
                  <a:pt x="204788" y="374650"/>
                </a:moveTo>
                <a:lnTo>
                  <a:pt x="192088" y="384933"/>
                </a:lnTo>
                <a:lnTo>
                  <a:pt x="192088" y="398463"/>
                </a:lnTo>
                <a:lnTo>
                  <a:pt x="204788" y="389262"/>
                </a:lnTo>
                <a:close/>
                <a:moveTo>
                  <a:pt x="250825" y="369888"/>
                </a:moveTo>
                <a:lnTo>
                  <a:pt x="250825" y="384039"/>
                </a:lnTo>
                <a:lnTo>
                  <a:pt x="269875" y="388938"/>
                </a:lnTo>
                <a:lnTo>
                  <a:pt x="269875" y="374786"/>
                </a:lnTo>
                <a:close/>
                <a:moveTo>
                  <a:pt x="515938" y="360363"/>
                </a:moveTo>
                <a:lnTo>
                  <a:pt x="515938" y="387033"/>
                </a:lnTo>
                <a:lnTo>
                  <a:pt x="544513" y="404813"/>
                </a:lnTo>
                <a:lnTo>
                  <a:pt x="544513" y="378143"/>
                </a:lnTo>
                <a:close/>
                <a:moveTo>
                  <a:pt x="377825" y="355600"/>
                </a:moveTo>
                <a:lnTo>
                  <a:pt x="352425" y="371257"/>
                </a:lnTo>
                <a:lnTo>
                  <a:pt x="352425" y="393700"/>
                </a:lnTo>
                <a:lnTo>
                  <a:pt x="377825" y="378564"/>
                </a:lnTo>
                <a:close/>
                <a:moveTo>
                  <a:pt x="471488" y="331788"/>
                </a:moveTo>
                <a:lnTo>
                  <a:pt x="471488" y="357609"/>
                </a:lnTo>
                <a:lnTo>
                  <a:pt x="500063" y="374651"/>
                </a:lnTo>
                <a:lnTo>
                  <a:pt x="500063" y="349863"/>
                </a:lnTo>
                <a:close/>
                <a:moveTo>
                  <a:pt x="415925" y="330200"/>
                </a:moveTo>
                <a:lnTo>
                  <a:pt x="390525" y="346379"/>
                </a:lnTo>
                <a:lnTo>
                  <a:pt x="390525" y="368300"/>
                </a:lnTo>
                <a:lnTo>
                  <a:pt x="415925" y="353164"/>
                </a:lnTo>
                <a:close/>
                <a:moveTo>
                  <a:pt x="515938" y="288925"/>
                </a:moveTo>
                <a:lnTo>
                  <a:pt x="515938" y="315383"/>
                </a:lnTo>
                <a:lnTo>
                  <a:pt x="544513" y="333375"/>
                </a:lnTo>
                <a:lnTo>
                  <a:pt x="544513" y="306916"/>
                </a:lnTo>
                <a:close/>
                <a:moveTo>
                  <a:pt x="377825" y="287338"/>
                </a:moveTo>
                <a:lnTo>
                  <a:pt x="352425" y="302684"/>
                </a:lnTo>
                <a:lnTo>
                  <a:pt x="352425" y="325438"/>
                </a:lnTo>
                <a:lnTo>
                  <a:pt x="377825" y="309563"/>
                </a:lnTo>
                <a:close/>
                <a:moveTo>
                  <a:pt x="415925" y="261938"/>
                </a:moveTo>
                <a:lnTo>
                  <a:pt x="390525" y="278117"/>
                </a:lnTo>
                <a:lnTo>
                  <a:pt x="390525" y="300038"/>
                </a:lnTo>
                <a:lnTo>
                  <a:pt x="415925" y="284902"/>
                </a:lnTo>
                <a:close/>
                <a:moveTo>
                  <a:pt x="471488" y="260350"/>
                </a:moveTo>
                <a:lnTo>
                  <a:pt x="471488" y="287127"/>
                </a:lnTo>
                <a:lnTo>
                  <a:pt x="500063" y="304800"/>
                </a:lnTo>
                <a:lnTo>
                  <a:pt x="500063" y="279094"/>
                </a:lnTo>
                <a:close/>
                <a:moveTo>
                  <a:pt x="377825" y="219075"/>
                </a:moveTo>
                <a:lnTo>
                  <a:pt x="352425" y="234732"/>
                </a:lnTo>
                <a:lnTo>
                  <a:pt x="352425" y="257175"/>
                </a:lnTo>
                <a:lnTo>
                  <a:pt x="377825" y="242039"/>
                </a:lnTo>
                <a:close/>
                <a:moveTo>
                  <a:pt x="515938" y="211138"/>
                </a:moveTo>
                <a:lnTo>
                  <a:pt x="515938" y="237379"/>
                </a:lnTo>
                <a:lnTo>
                  <a:pt x="544513" y="255588"/>
                </a:lnTo>
                <a:lnTo>
                  <a:pt x="544513" y="228811"/>
                </a:lnTo>
                <a:close/>
                <a:moveTo>
                  <a:pt x="415925" y="198438"/>
                </a:moveTo>
                <a:lnTo>
                  <a:pt x="390525" y="214617"/>
                </a:lnTo>
                <a:lnTo>
                  <a:pt x="390525" y="236538"/>
                </a:lnTo>
                <a:lnTo>
                  <a:pt x="415925" y="221402"/>
                </a:lnTo>
                <a:close/>
                <a:moveTo>
                  <a:pt x="471488" y="180975"/>
                </a:moveTo>
                <a:lnTo>
                  <a:pt x="471488" y="208598"/>
                </a:lnTo>
                <a:lnTo>
                  <a:pt x="500063" y="227013"/>
                </a:lnTo>
                <a:lnTo>
                  <a:pt x="500063" y="199932"/>
                </a:lnTo>
                <a:close/>
                <a:moveTo>
                  <a:pt x="515938" y="131763"/>
                </a:moveTo>
                <a:lnTo>
                  <a:pt x="515938" y="159386"/>
                </a:lnTo>
                <a:lnTo>
                  <a:pt x="544513" y="177801"/>
                </a:lnTo>
                <a:lnTo>
                  <a:pt x="544513" y="150178"/>
                </a:lnTo>
                <a:close/>
                <a:moveTo>
                  <a:pt x="471488" y="107950"/>
                </a:moveTo>
                <a:lnTo>
                  <a:pt x="471488" y="134727"/>
                </a:lnTo>
                <a:lnTo>
                  <a:pt x="500063" y="152400"/>
                </a:lnTo>
                <a:lnTo>
                  <a:pt x="500063" y="126694"/>
                </a:lnTo>
                <a:close/>
                <a:moveTo>
                  <a:pt x="437903" y="0"/>
                </a:moveTo>
                <a:lnTo>
                  <a:pt x="440018" y="0"/>
                </a:lnTo>
                <a:lnTo>
                  <a:pt x="441605" y="530"/>
                </a:lnTo>
                <a:lnTo>
                  <a:pt x="444249" y="1590"/>
                </a:lnTo>
                <a:lnTo>
                  <a:pt x="570648" y="93272"/>
                </a:lnTo>
                <a:lnTo>
                  <a:pt x="573293" y="96451"/>
                </a:lnTo>
                <a:lnTo>
                  <a:pt x="573293" y="98041"/>
                </a:lnTo>
                <a:lnTo>
                  <a:pt x="574350" y="100161"/>
                </a:lnTo>
                <a:lnTo>
                  <a:pt x="573293" y="388454"/>
                </a:lnTo>
                <a:lnTo>
                  <a:pt x="663729" y="358247"/>
                </a:lnTo>
                <a:lnTo>
                  <a:pt x="669018" y="359307"/>
                </a:lnTo>
                <a:lnTo>
                  <a:pt x="761041" y="417601"/>
                </a:lnTo>
                <a:lnTo>
                  <a:pt x="763156" y="423431"/>
                </a:lnTo>
                <a:lnTo>
                  <a:pt x="763156" y="540020"/>
                </a:lnTo>
                <a:lnTo>
                  <a:pt x="802292" y="564397"/>
                </a:lnTo>
                <a:lnTo>
                  <a:pt x="805466" y="570227"/>
                </a:lnTo>
                <a:lnTo>
                  <a:pt x="805466" y="655549"/>
                </a:lnTo>
                <a:lnTo>
                  <a:pt x="844073" y="670387"/>
                </a:lnTo>
                <a:lnTo>
                  <a:pt x="861526" y="678337"/>
                </a:lnTo>
                <a:lnTo>
                  <a:pt x="879507" y="685756"/>
                </a:lnTo>
                <a:lnTo>
                  <a:pt x="894844" y="693705"/>
                </a:lnTo>
                <a:lnTo>
                  <a:pt x="909653" y="700595"/>
                </a:lnTo>
                <a:lnTo>
                  <a:pt x="923403" y="708014"/>
                </a:lnTo>
                <a:lnTo>
                  <a:pt x="935038" y="715963"/>
                </a:lnTo>
                <a:lnTo>
                  <a:pt x="925519" y="712254"/>
                </a:lnTo>
                <a:lnTo>
                  <a:pt x="898546" y="702714"/>
                </a:lnTo>
                <a:lnTo>
                  <a:pt x="879507" y="695825"/>
                </a:lnTo>
                <a:lnTo>
                  <a:pt x="856237" y="688936"/>
                </a:lnTo>
                <a:lnTo>
                  <a:pt x="829265" y="680986"/>
                </a:lnTo>
                <a:lnTo>
                  <a:pt x="798590" y="673567"/>
                </a:lnTo>
                <a:lnTo>
                  <a:pt x="765272" y="665088"/>
                </a:lnTo>
                <a:lnTo>
                  <a:pt x="728251" y="658199"/>
                </a:lnTo>
                <a:lnTo>
                  <a:pt x="688586" y="650249"/>
                </a:lnTo>
                <a:lnTo>
                  <a:pt x="645748" y="643890"/>
                </a:lnTo>
                <a:lnTo>
                  <a:pt x="601323" y="639650"/>
                </a:lnTo>
                <a:lnTo>
                  <a:pt x="553725" y="634881"/>
                </a:lnTo>
                <a:lnTo>
                  <a:pt x="504011" y="632761"/>
                </a:lnTo>
                <a:lnTo>
                  <a:pt x="478097" y="632761"/>
                </a:lnTo>
                <a:lnTo>
                  <a:pt x="452711" y="632761"/>
                </a:lnTo>
                <a:lnTo>
                  <a:pt x="424152" y="632761"/>
                </a:lnTo>
                <a:lnTo>
                  <a:pt x="395593" y="634351"/>
                </a:lnTo>
                <a:lnTo>
                  <a:pt x="367034" y="636471"/>
                </a:lnTo>
                <a:lnTo>
                  <a:pt x="338476" y="638590"/>
                </a:lnTo>
                <a:lnTo>
                  <a:pt x="309917" y="641770"/>
                </a:lnTo>
                <a:lnTo>
                  <a:pt x="282416" y="644950"/>
                </a:lnTo>
                <a:lnTo>
                  <a:pt x="227413" y="653429"/>
                </a:lnTo>
                <a:lnTo>
                  <a:pt x="215249" y="655549"/>
                </a:lnTo>
                <a:lnTo>
                  <a:pt x="215249" y="655019"/>
                </a:lnTo>
                <a:lnTo>
                  <a:pt x="170296" y="662438"/>
                </a:lnTo>
                <a:lnTo>
                  <a:pt x="130631" y="671447"/>
                </a:lnTo>
                <a:lnTo>
                  <a:pt x="93610" y="678867"/>
                </a:lnTo>
                <a:lnTo>
                  <a:pt x="61878" y="685756"/>
                </a:lnTo>
                <a:lnTo>
                  <a:pt x="16395" y="697415"/>
                </a:lnTo>
                <a:lnTo>
                  <a:pt x="0" y="701125"/>
                </a:lnTo>
                <a:lnTo>
                  <a:pt x="10049" y="695825"/>
                </a:lnTo>
                <a:lnTo>
                  <a:pt x="21684" y="689466"/>
                </a:lnTo>
                <a:lnTo>
                  <a:pt x="38608" y="682046"/>
                </a:lnTo>
                <a:lnTo>
                  <a:pt x="59762" y="672507"/>
                </a:lnTo>
                <a:lnTo>
                  <a:pt x="85148" y="661908"/>
                </a:lnTo>
                <a:lnTo>
                  <a:pt x="114236" y="651309"/>
                </a:lnTo>
                <a:lnTo>
                  <a:pt x="147554" y="640180"/>
                </a:lnTo>
                <a:lnTo>
                  <a:pt x="147554" y="380505"/>
                </a:lnTo>
                <a:lnTo>
                  <a:pt x="148083" y="378385"/>
                </a:lnTo>
                <a:lnTo>
                  <a:pt x="149670" y="376265"/>
                </a:lnTo>
                <a:lnTo>
                  <a:pt x="217365" y="326450"/>
                </a:lnTo>
                <a:lnTo>
                  <a:pt x="217365" y="325920"/>
                </a:lnTo>
                <a:lnTo>
                  <a:pt x="220009" y="325390"/>
                </a:lnTo>
                <a:lnTo>
                  <a:pt x="221596" y="325390"/>
                </a:lnTo>
                <a:lnTo>
                  <a:pt x="223711" y="325390"/>
                </a:lnTo>
                <a:lnTo>
                  <a:pt x="322081" y="357717"/>
                </a:lnTo>
                <a:lnTo>
                  <a:pt x="322081" y="196082"/>
                </a:lnTo>
                <a:lnTo>
                  <a:pt x="322081" y="193962"/>
                </a:lnTo>
                <a:lnTo>
                  <a:pt x="323138" y="192372"/>
                </a:lnTo>
                <a:lnTo>
                  <a:pt x="324725" y="190782"/>
                </a:lnTo>
                <a:lnTo>
                  <a:pt x="326312" y="189193"/>
                </a:lnTo>
                <a:lnTo>
                  <a:pt x="431027" y="124539"/>
                </a:lnTo>
                <a:lnTo>
                  <a:pt x="431027" y="8479"/>
                </a:lnTo>
                <a:lnTo>
                  <a:pt x="431027" y="6360"/>
                </a:lnTo>
                <a:lnTo>
                  <a:pt x="432614" y="3710"/>
                </a:lnTo>
                <a:lnTo>
                  <a:pt x="433143" y="2120"/>
                </a:lnTo>
                <a:lnTo>
                  <a:pt x="435787" y="530"/>
                </a:lnTo>
                <a:close/>
              </a:path>
            </a:pathLst>
          </a:cu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dirty="0">
              <a:solidFill>
                <a:schemeClr val="lt1"/>
              </a:solidFill>
            </a:endParaRPr>
          </a:p>
        </p:txBody>
      </p:sp>
      <p:sp>
        <p:nvSpPr>
          <p:cNvPr id="32" name="Rectangle 31"/>
          <p:cNvSpPr/>
          <p:nvPr/>
        </p:nvSpPr>
        <p:spPr>
          <a:xfrm>
            <a:off x="6300713" y="3574084"/>
            <a:ext cx="1955394" cy="646331"/>
          </a:xfrm>
          <a:prstGeom prst="rect">
            <a:avLst/>
          </a:prstGeom>
          <a:noFill/>
          <a:ln>
            <a:noFill/>
            <a:prstDash val="dash"/>
          </a:ln>
        </p:spPr>
        <p:txBody>
          <a:bodyPr wrap="square" anchor="ctr">
            <a:spAutoFit/>
          </a:bodyPr>
          <a:lstStyle/>
          <a:p>
            <a:pPr>
              <a:buClr>
                <a:srgbClr val="E24848"/>
              </a:buClr>
              <a:defRPr/>
            </a:pPr>
            <a:r>
              <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nc enim sem</a:t>
            </a:r>
            <a:endPar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33" name="Rectangle 32"/>
          <p:cNvSpPr/>
          <p:nvPr/>
        </p:nvSpPr>
        <p:spPr>
          <a:xfrm>
            <a:off x="6300713" y="4647493"/>
            <a:ext cx="1955394" cy="646331"/>
          </a:xfrm>
          <a:prstGeom prst="rect">
            <a:avLst/>
          </a:prstGeom>
          <a:noFill/>
          <a:ln>
            <a:noFill/>
            <a:prstDash val="dash"/>
          </a:ln>
        </p:spPr>
        <p:txBody>
          <a:bodyPr wrap="square" anchor="ctr">
            <a:spAutoFit/>
          </a:bodyPr>
          <a:lstStyle/>
          <a:p>
            <a:pPr>
              <a:buClr>
                <a:srgbClr val="E24848"/>
              </a:buClr>
              <a:defRPr/>
            </a:pPr>
            <a:r>
              <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nc enim sem</a:t>
            </a:r>
            <a:endPar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grpSp>
        <p:nvGrpSpPr>
          <p:cNvPr id="34" name="Group 33"/>
          <p:cNvGrpSpPr/>
          <p:nvPr/>
        </p:nvGrpSpPr>
        <p:grpSpPr>
          <a:xfrm>
            <a:off x="5502407" y="3645036"/>
            <a:ext cx="486411" cy="419420"/>
            <a:chOff x="8763000" y="873125"/>
            <a:chExt cx="265113" cy="228600"/>
          </a:xfrm>
          <a:solidFill>
            <a:schemeClr val="accent2"/>
          </a:solidFill>
        </p:grpSpPr>
        <p:sp>
          <p:nvSpPr>
            <p:cNvPr id="35" name="Freeform 4348"/>
            <p:cNvSpPr/>
            <p:nvPr/>
          </p:nvSpPr>
          <p:spPr bwMode="auto">
            <a:xfrm>
              <a:off x="8763000" y="996950"/>
              <a:ext cx="265113" cy="104775"/>
            </a:xfrm>
            <a:custGeom>
              <a:avLst/>
              <a:gdLst>
                <a:gd name="T0" fmla="*/ 479 w 837"/>
                <a:gd name="T1" fmla="*/ 74 h 329"/>
                <a:gd name="T2" fmla="*/ 478 w 837"/>
                <a:gd name="T3" fmla="*/ 78 h 329"/>
                <a:gd name="T4" fmla="*/ 478 w 837"/>
                <a:gd name="T5" fmla="*/ 81 h 329"/>
                <a:gd name="T6" fmla="*/ 475 w 837"/>
                <a:gd name="T7" fmla="*/ 83 h 329"/>
                <a:gd name="T8" fmla="*/ 474 w 837"/>
                <a:gd name="T9" fmla="*/ 85 h 329"/>
                <a:gd name="T10" fmla="*/ 472 w 837"/>
                <a:gd name="T11" fmla="*/ 87 h 329"/>
                <a:gd name="T12" fmla="*/ 469 w 837"/>
                <a:gd name="T13" fmla="*/ 88 h 329"/>
                <a:gd name="T14" fmla="*/ 467 w 837"/>
                <a:gd name="T15" fmla="*/ 89 h 329"/>
                <a:gd name="T16" fmla="*/ 464 w 837"/>
                <a:gd name="T17" fmla="*/ 89 h 329"/>
                <a:gd name="T18" fmla="*/ 344 w 837"/>
                <a:gd name="T19" fmla="*/ 89 h 329"/>
                <a:gd name="T20" fmla="*/ 341 w 837"/>
                <a:gd name="T21" fmla="*/ 89 h 329"/>
                <a:gd name="T22" fmla="*/ 338 w 837"/>
                <a:gd name="T23" fmla="*/ 88 h 329"/>
                <a:gd name="T24" fmla="*/ 335 w 837"/>
                <a:gd name="T25" fmla="*/ 87 h 329"/>
                <a:gd name="T26" fmla="*/ 333 w 837"/>
                <a:gd name="T27" fmla="*/ 85 h 329"/>
                <a:gd name="T28" fmla="*/ 331 w 837"/>
                <a:gd name="T29" fmla="*/ 83 h 329"/>
                <a:gd name="T30" fmla="*/ 330 w 837"/>
                <a:gd name="T31" fmla="*/ 81 h 329"/>
                <a:gd name="T32" fmla="*/ 329 w 837"/>
                <a:gd name="T33" fmla="*/ 78 h 329"/>
                <a:gd name="T34" fmla="*/ 329 w 837"/>
                <a:gd name="T35" fmla="*/ 74 h 329"/>
                <a:gd name="T36" fmla="*/ 329 w 837"/>
                <a:gd name="T37" fmla="*/ 0 h 329"/>
                <a:gd name="T38" fmla="*/ 0 w 837"/>
                <a:gd name="T39" fmla="*/ 0 h 329"/>
                <a:gd name="T40" fmla="*/ 0 w 837"/>
                <a:gd name="T41" fmla="*/ 314 h 329"/>
                <a:gd name="T42" fmla="*/ 0 w 837"/>
                <a:gd name="T43" fmla="*/ 317 h 329"/>
                <a:gd name="T44" fmla="*/ 1 w 837"/>
                <a:gd name="T45" fmla="*/ 319 h 329"/>
                <a:gd name="T46" fmla="*/ 2 w 837"/>
                <a:gd name="T47" fmla="*/ 323 h 329"/>
                <a:gd name="T48" fmla="*/ 5 w 837"/>
                <a:gd name="T49" fmla="*/ 325 h 329"/>
                <a:gd name="T50" fmla="*/ 7 w 837"/>
                <a:gd name="T51" fmla="*/ 326 h 329"/>
                <a:gd name="T52" fmla="*/ 9 w 837"/>
                <a:gd name="T53" fmla="*/ 328 h 329"/>
                <a:gd name="T54" fmla="*/ 12 w 837"/>
                <a:gd name="T55" fmla="*/ 328 h 329"/>
                <a:gd name="T56" fmla="*/ 14 w 837"/>
                <a:gd name="T57" fmla="*/ 329 h 329"/>
                <a:gd name="T58" fmla="*/ 822 w 837"/>
                <a:gd name="T59" fmla="*/ 329 h 329"/>
                <a:gd name="T60" fmla="*/ 825 w 837"/>
                <a:gd name="T61" fmla="*/ 328 h 329"/>
                <a:gd name="T62" fmla="*/ 828 w 837"/>
                <a:gd name="T63" fmla="*/ 328 h 329"/>
                <a:gd name="T64" fmla="*/ 831 w 837"/>
                <a:gd name="T65" fmla="*/ 326 h 329"/>
                <a:gd name="T66" fmla="*/ 833 w 837"/>
                <a:gd name="T67" fmla="*/ 325 h 329"/>
                <a:gd name="T68" fmla="*/ 835 w 837"/>
                <a:gd name="T69" fmla="*/ 323 h 329"/>
                <a:gd name="T70" fmla="*/ 836 w 837"/>
                <a:gd name="T71" fmla="*/ 319 h 329"/>
                <a:gd name="T72" fmla="*/ 837 w 837"/>
                <a:gd name="T73" fmla="*/ 317 h 329"/>
                <a:gd name="T74" fmla="*/ 837 w 837"/>
                <a:gd name="T75" fmla="*/ 314 h 329"/>
                <a:gd name="T76" fmla="*/ 837 w 837"/>
                <a:gd name="T77" fmla="*/ 0 h 329"/>
                <a:gd name="T78" fmla="*/ 479 w 837"/>
                <a:gd name="T79" fmla="*/ 0 h 329"/>
                <a:gd name="T80" fmla="*/ 479 w 837"/>
                <a:gd name="T81" fmla="*/ 7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37" h="329">
                  <a:moveTo>
                    <a:pt x="479" y="74"/>
                  </a:moveTo>
                  <a:lnTo>
                    <a:pt x="478" y="78"/>
                  </a:lnTo>
                  <a:lnTo>
                    <a:pt x="478" y="81"/>
                  </a:lnTo>
                  <a:lnTo>
                    <a:pt x="475" y="83"/>
                  </a:lnTo>
                  <a:lnTo>
                    <a:pt x="474" y="85"/>
                  </a:lnTo>
                  <a:lnTo>
                    <a:pt x="472" y="87"/>
                  </a:lnTo>
                  <a:lnTo>
                    <a:pt x="469" y="88"/>
                  </a:lnTo>
                  <a:lnTo>
                    <a:pt x="467" y="89"/>
                  </a:lnTo>
                  <a:lnTo>
                    <a:pt x="464" y="89"/>
                  </a:lnTo>
                  <a:lnTo>
                    <a:pt x="344" y="89"/>
                  </a:lnTo>
                  <a:lnTo>
                    <a:pt x="341" y="89"/>
                  </a:lnTo>
                  <a:lnTo>
                    <a:pt x="338" y="88"/>
                  </a:lnTo>
                  <a:lnTo>
                    <a:pt x="335" y="87"/>
                  </a:lnTo>
                  <a:lnTo>
                    <a:pt x="333" y="85"/>
                  </a:lnTo>
                  <a:lnTo>
                    <a:pt x="331" y="83"/>
                  </a:lnTo>
                  <a:lnTo>
                    <a:pt x="330" y="81"/>
                  </a:lnTo>
                  <a:lnTo>
                    <a:pt x="329" y="78"/>
                  </a:lnTo>
                  <a:lnTo>
                    <a:pt x="329" y="74"/>
                  </a:lnTo>
                  <a:lnTo>
                    <a:pt x="329" y="0"/>
                  </a:lnTo>
                  <a:lnTo>
                    <a:pt x="0" y="0"/>
                  </a:lnTo>
                  <a:lnTo>
                    <a:pt x="0" y="314"/>
                  </a:lnTo>
                  <a:lnTo>
                    <a:pt x="0" y="317"/>
                  </a:lnTo>
                  <a:lnTo>
                    <a:pt x="1" y="319"/>
                  </a:lnTo>
                  <a:lnTo>
                    <a:pt x="2" y="323"/>
                  </a:lnTo>
                  <a:lnTo>
                    <a:pt x="5" y="325"/>
                  </a:lnTo>
                  <a:lnTo>
                    <a:pt x="7" y="326"/>
                  </a:lnTo>
                  <a:lnTo>
                    <a:pt x="9" y="328"/>
                  </a:lnTo>
                  <a:lnTo>
                    <a:pt x="12" y="328"/>
                  </a:lnTo>
                  <a:lnTo>
                    <a:pt x="14" y="329"/>
                  </a:lnTo>
                  <a:lnTo>
                    <a:pt x="822" y="329"/>
                  </a:lnTo>
                  <a:lnTo>
                    <a:pt x="825" y="328"/>
                  </a:lnTo>
                  <a:lnTo>
                    <a:pt x="828" y="328"/>
                  </a:lnTo>
                  <a:lnTo>
                    <a:pt x="831" y="326"/>
                  </a:lnTo>
                  <a:lnTo>
                    <a:pt x="833" y="325"/>
                  </a:lnTo>
                  <a:lnTo>
                    <a:pt x="835" y="323"/>
                  </a:lnTo>
                  <a:lnTo>
                    <a:pt x="836" y="319"/>
                  </a:lnTo>
                  <a:lnTo>
                    <a:pt x="837" y="317"/>
                  </a:lnTo>
                  <a:lnTo>
                    <a:pt x="837" y="314"/>
                  </a:lnTo>
                  <a:lnTo>
                    <a:pt x="837" y="0"/>
                  </a:lnTo>
                  <a:lnTo>
                    <a:pt x="479" y="0"/>
                  </a:lnTo>
                  <a:lnTo>
                    <a:pt x="479" y="7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b="1"/>
            </a:p>
          </p:txBody>
        </p:sp>
        <p:sp>
          <p:nvSpPr>
            <p:cNvPr id="36" name="Freeform 4349"/>
            <p:cNvSpPr>
              <a:spLocks noEditPoints="1"/>
            </p:cNvSpPr>
            <p:nvPr/>
          </p:nvSpPr>
          <p:spPr bwMode="auto">
            <a:xfrm>
              <a:off x="8763000" y="873125"/>
              <a:ext cx="265113" cy="114300"/>
            </a:xfrm>
            <a:custGeom>
              <a:avLst/>
              <a:gdLst>
                <a:gd name="T0" fmla="*/ 272 w 837"/>
                <a:gd name="T1" fmla="*/ 137 h 359"/>
                <a:gd name="T2" fmla="*/ 278 w 837"/>
                <a:gd name="T3" fmla="*/ 114 h 359"/>
                <a:gd name="T4" fmla="*/ 290 w 837"/>
                <a:gd name="T5" fmla="*/ 92 h 359"/>
                <a:gd name="T6" fmla="*/ 304 w 837"/>
                <a:gd name="T7" fmla="*/ 73 h 359"/>
                <a:gd name="T8" fmla="*/ 322 w 837"/>
                <a:gd name="T9" fmla="*/ 57 h 359"/>
                <a:gd name="T10" fmla="*/ 343 w 837"/>
                <a:gd name="T11" fmla="*/ 44 h 359"/>
                <a:gd name="T12" fmla="*/ 365 w 837"/>
                <a:gd name="T13" fmla="*/ 36 h 359"/>
                <a:gd name="T14" fmla="*/ 391 w 837"/>
                <a:gd name="T15" fmla="*/ 30 h 359"/>
                <a:gd name="T16" fmla="*/ 417 w 837"/>
                <a:gd name="T17" fmla="*/ 30 h 359"/>
                <a:gd name="T18" fmla="*/ 441 w 837"/>
                <a:gd name="T19" fmla="*/ 36 h 359"/>
                <a:gd name="T20" fmla="*/ 465 w 837"/>
                <a:gd name="T21" fmla="*/ 44 h 359"/>
                <a:gd name="T22" fmla="*/ 485 w 837"/>
                <a:gd name="T23" fmla="*/ 57 h 359"/>
                <a:gd name="T24" fmla="*/ 502 w 837"/>
                <a:gd name="T25" fmla="*/ 73 h 359"/>
                <a:gd name="T26" fmla="*/ 517 w 837"/>
                <a:gd name="T27" fmla="*/ 92 h 359"/>
                <a:gd name="T28" fmla="*/ 528 w 837"/>
                <a:gd name="T29" fmla="*/ 114 h 359"/>
                <a:gd name="T30" fmla="*/ 535 w 837"/>
                <a:gd name="T31" fmla="*/ 137 h 359"/>
                <a:gd name="T32" fmla="*/ 270 w 837"/>
                <a:gd name="T33" fmla="*/ 149 h 359"/>
                <a:gd name="T34" fmla="*/ 567 w 837"/>
                <a:gd name="T35" fmla="*/ 149 h 359"/>
                <a:gd name="T36" fmla="*/ 562 w 837"/>
                <a:gd name="T37" fmla="*/ 119 h 359"/>
                <a:gd name="T38" fmla="*/ 551 w 837"/>
                <a:gd name="T39" fmla="*/ 91 h 359"/>
                <a:gd name="T40" fmla="*/ 535 w 837"/>
                <a:gd name="T41" fmla="*/ 65 h 359"/>
                <a:gd name="T42" fmla="*/ 515 w 837"/>
                <a:gd name="T43" fmla="*/ 43 h 359"/>
                <a:gd name="T44" fmla="*/ 491 w 837"/>
                <a:gd name="T45" fmla="*/ 25 h 359"/>
                <a:gd name="T46" fmla="*/ 465 w 837"/>
                <a:gd name="T47" fmla="*/ 11 h 359"/>
                <a:gd name="T48" fmla="*/ 436 w 837"/>
                <a:gd name="T49" fmla="*/ 2 h 359"/>
                <a:gd name="T50" fmla="*/ 404 w 837"/>
                <a:gd name="T51" fmla="*/ 0 h 359"/>
                <a:gd name="T52" fmla="*/ 372 w 837"/>
                <a:gd name="T53" fmla="*/ 2 h 359"/>
                <a:gd name="T54" fmla="*/ 343 w 837"/>
                <a:gd name="T55" fmla="*/ 11 h 359"/>
                <a:gd name="T56" fmla="*/ 315 w 837"/>
                <a:gd name="T57" fmla="*/ 25 h 359"/>
                <a:gd name="T58" fmla="*/ 291 w 837"/>
                <a:gd name="T59" fmla="*/ 43 h 359"/>
                <a:gd name="T60" fmla="*/ 272 w 837"/>
                <a:gd name="T61" fmla="*/ 65 h 359"/>
                <a:gd name="T62" fmla="*/ 256 w 837"/>
                <a:gd name="T63" fmla="*/ 91 h 359"/>
                <a:gd name="T64" fmla="*/ 245 w 837"/>
                <a:gd name="T65" fmla="*/ 119 h 359"/>
                <a:gd name="T66" fmla="*/ 240 w 837"/>
                <a:gd name="T67" fmla="*/ 149 h 359"/>
                <a:gd name="T68" fmla="*/ 12 w 837"/>
                <a:gd name="T69" fmla="*/ 150 h 359"/>
                <a:gd name="T70" fmla="*/ 7 w 837"/>
                <a:gd name="T71" fmla="*/ 152 h 359"/>
                <a:gd name="T72" fmla="*/ 2 w 837"/>
                <a:gd name="T73" fmla="*/ 156 h 359"/>
                <a:gd name="T74" fmla="*/ 0 w 837"/>
                <a:gd name="T75" fmla="*/ 162 h 359"/>
                <a:gd name="T76" fmla="*/ 0 w 837"/>
                <a:gd name="T77" fmla="*/ 359 h 359"/>
                <a:gd name="T78" fmla="*/ 329 w 837"/>
                <a:gd name="T79" fmla="*/ 314 h 359"/>
                <a:gd name="T80" fmla="*/ 330 w 837"/>
                <a:gd name="T81" fmla="*/ 308 h 359"/>
                <a:gd name="T82" fmla="*/ 333 w 837"/>
                <a:gd name="T83" fmla="*/ 304 h 359"/>
                <a:gd name="T84" fmla="*/ 338 w 837"/>
                <a:gd name="T85" fmla="*/ 300 h 359"/>
                <a:gd name="T86" fmla="*/ 344 w 837"/>
                <a:gd name="T87" fmla="*/ 299 h 359"/>
                <a:gd name="T88" fmla="*/ 467 w 837"/>
                <a:gd name="T89" fmla="*/ 299 h 359"/>
                <a:gd name="T90" fmla="*/ 472 w 837"/>
                <a:gd name="T91" fmla="*/ 302 h 359"/>
                <a:gd name="T92" fmla="*/ 475 w 837"/>
                <a:gd name="T93" fmla="*/ 306 h 359"/>
                <a:gd name="T94" fmla="*/ 478 w 837"/>
                <a:gd name="T95" fmla="*/ 312 h 359"/>
                <a:gd name="T96" fmla="*/ 479 w 837"/>
                <a:gd name="T97" fmla="*/ 359 h 359"/>
                <a:gd name="T98" fmla="*/ 837 w 837"/>
                <a:gd name="T99" fmla="*/ 164 h 359"/>
                <a:gd name="T100" fmla="*/ 836 w 837"/>
                <a:gd name="T101" fmla="*/ 159 h 359"/>
                <a:gd name="T102" fmla="*/ 833 w 837"/>
                <a:gd name="T103" fmla="*/ 154 h 359"/>
                <a:gd name="T104" fmla="*/ 828 w 837"/>
                <a:gd name="T105" fmla="*/ 151 h 359"/>
                <a:gd name="T106" fmla="*/ 822 w 837"/>
                <a:gd name="T107" fmla="*/ 14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7" h="359">
                  <a:moveTo>
                    <a:pt x="270" y="149"/>
                  </a:moveTo>
                  <a:lnTo>
                    <a:pt x="272" y="137"/>
                  </a:lnTo>
                  <a:lnTo>
                    <a:pt x="274" y="125"/>
                  </a:lnTo>
                  <a:lnTo>
                    <a:pt x="278" y="114"/>
                  </a:lnTo>
                  <a:lnTo>
                    <a:pt x="284" y="102"/>
                  </a:lnTo>
                  <a:lnTo>
                    <a:pt x="290" y="92"/>
                  </a:lnTo>
                  <a:lnTo>
                    <a:pt x="297" y="82"/>
                  </a:lnTo>
                  <a:lnTo>
                    <a:pt x="304" y="73"/>
                  </a:lnTo>
                  <a:lnTo>
                    <a:pt x="313" y="64"/>
                  </a:lnTo>
                  <a:lnTo>
                    <a:pt x="322" y="57"/>
                  </a:lnTo>
                  <a:lnTo>
                    <a:pt x="332" y="49"/>
                  </a:lnTo>
                  <a:lnTo>
                    <a:pt x="343" y="44"/>
                  </a:lnTo>
                  <a:lnTo>
                    <a:pt x="354" y="39"/>
                  </a:lnTo>
                  <a:lnTo>
                    <a:pt x="365" y="36"/>
                  </a:lnTo>
                  <a:lnTo>
                    <a:pt x="378" y="32"/>
                  </a:lnTo>
                  <a:lnTo>
                    <a:pt x="391" y="30"/>
                  </a:lnTo>
                  <a:lnTo>
                    <a:pt x="404" y="30"/>
                  </a:lnTo>
                  <a:lnTo>
                    <a:pt x="417" y="30"/>
                  </a:lnTo>
                  <a:lnTo>
                    <a:pt x="429" y="32"/>
                  </a:lnTo>
                  <a:lnTo>
                    <a:pt x="441" y="36"/>
                  </a:lnTo>
                  <a:lnTo>
                    <a:pt x="453" y="39"/>
                  </a:lnTo>
                  <a:lnTo>
                    <a:pt x="465" y="44"/>
                  </a:lnTo>
                  <a:lnTo>
                    <a:pt x="475" y="49"/>
                  </a:lnTo>
                  <a:lnTo>
                    <a:pt x="485" y="57"/>
                  </a:lnTo>
                  <a:lnTo>
                    <a:pt x="495" y="64"/>
                  </a:lnTo>
                  <a:lnTo>
                    <a:pt x="502" y="73"/>
                  </a:lnTo>
                  <a:lnTo>
                    <a:pt x="511" y="82"/>
                  </a:lnTo>
                  <a:lnTo>
                    <a:pt x="517" y="92"/>
                  </a:lnTo>
                  <a:lnTo>
                    <a:pt x="524" y="102"/>
                  </a:lnTo>
                  <a:lnTo>
                    <a:pt x="528" y="114"/>
                  </a:lnTo>
                  <a:lnTo>
                    <a:pt x="532" y="125"/>
                  </a:lnTo>
                  <a:lnTo>
                    <a:pt x="535" y="137"/>
                  </a:lnTo>
                  <a:lnTo>
                    <a:pt x="537" y="149"/>
                  </a:lnTo>
                  <a:lnTo>
                    <a:pt x="270" y="149"/>
                  </a:lnTo>
                  <a:close/>
                  <a:moveTo>
                    <a:pt x="822" y="149"/>
                  </a:moveTo>
                  <a:lnTo>
                    <a:pt x="567" y="149"/>
                  </a:lnTo>
                  <a:lnTo>
                    <a:pt x="565" y="134"/>
                  </a:lnTo>
                  <a:lnTo>
                    <a:pt x="562" y="119"/>
                  </a:lnTo>
                  <a:lnTo>
                    <a:pt x="557" y="104"/>
                  </a:lnTo>
                  <a:lnTo>
                    <a:pt x="551" y="91"/>
                  </a:lnTo>
                  <a:lnTo>
                    <a:pt x="544" y="77"/>
                  </a:lnTo>
                  <a:lnTo>
                    <a:pt x="535" y="65"/>
                  </a:lnTo>
                  <a:lnTo>
                    <a:pt x="526" y="54"/>
                  </a:lnTo>
                  <a:lnTo>
                    <a:pt x="515" y="43"/>
                  </a:lnTo>
                  <a:lnTo>
                    <a:pt x="504" y="33"/>
                  </a:lnTo>
                  <a:lnTo>
                    <a:pt x="491" y="25"/>
                  </a:lnTo>
                  <a:lnTo>
                    <a:pt x="479" y="17"/>
                  </a:lnTo>
                  <a:lnTo>
                    <a:pt x="465" y="11"/>
                  </a:lnTo>
                  <a:lnTo>
                    <a:pt x="451" y="7"/>
                  </a:lnTo>
                  <a:lnTo>
                    <a:pt x="436" y="2"/>
                  </a:lnTo>
                  <a:lnTo>
                    <a:pt x="420" y="0"/>
                  </a:lnTo>
                  <a:lnTo>
                    <a:pt x="404" y="0"/>
                  </a:lnTo>
                  <a:lnTo>
                    <a:pt x="388" y="0"/>
                  </a:lnTo>
                  <a:lnTo>
                    <a:pt x="372" y="2"/>
                  </a:lnTo>
                  <a:lnTo>
                    <a:pt x="357" y="7"/>
                  </a:lnTo>
                  <a:lnTo>
                    <a:pt x="343" y="11"/>
                  </a:lnTo>
                  <a:lnTo>
                    <a:pt x="329" y="17"/>
                  </a:lnTo>
                  <a:lnTo>
                    <a:pt x="315" y="25"/>
                  </a:lnTo>
                  <a:lnTo>
                    <a:pt x="303" y="33"/>
                  </a:lnTo>
                  <a:lnTo>
                    <a:pt x="291" y="43"/>
                  </a:lnTo>
                  <a:lnTo>
                    <a:pt x="282" y="54"/>
                  </a:lnTo>
                  <a:lnTo>
                    <a:pt x="272" y="65"/>
                  </a:lnTo>
                  <a:lnTo>
                    <a:pt x="264" y="77"/>
                  </a:lnTo>
                  <a:lnTo>
                    <a:pt x="256" y="91"/>
                  </a:lnTo>
                  <a:lnTo>
                    <a:pt x="251" y="104"/>
                  </a:lnTo>
                  <a:lnTo>
                    <a:pt x="245" y="119"/>
                  </a:lnTo>
                  <a:lnTo>
                    <a:pt x="242" y="134"/>
                  </a:lnTo>
                  <a:lnTo>
                    <a:pt x="240" y="149"/>
                  </a:lnTo>
                  <a:lnTo>
                    <a:pt x="14" y="149"/>
                  </a:lnTo>
                  <a:lnTo>
                    <a:pt x="12" y="150"/>
                  </a:lnTo>
                  <a:lnTo>
                    <a:pt x="9" y="151"/>
                  </a:lnTo>
                  <a:lnTo>
                    <a:pt x="7" y="152"/>
                  </a:lnTo>
                  <a:lnTo>
                    <a:pt x="5" y="154"/>
                  </a:lnTo>
                  <a:lnTo>
                    <a:pt x="2" y="156"/>
                  </a:lnTo>
                  <a:lnTo>
                    <a:pt x="1" y="159"/>
                  </a:lnTo>
                  <a:lnTo>
                    <a:pt x="0" y="162"/>
                  </a:lnTo>
                  <a:lnTo>
                    <a:pt x="0" y="164"/>
                  </a:lnTo>
                  <a:lnTo>
                    <a:pt x="0" y="359"/>
                  </a:lnTo>
                  <a:lnTo>
                    <a:pt x="329" y="359"/>
                  </a:lnTo>
                  <a:lnTo>
                    <a:pt x="329" y="314"/>
                  </a:lnTo>
                  <a:lnTo>
                    <a:pt x="329" y="312"/>
                  </a:lnTo>
                  <a:lnTo>
                    <a:pt x="330" y="308"/>
                  </a:lnTo>
                  <a:lnTo>
                    <a:pt x="331" y="306"/>
                  </a:lnTo>
                  <a:lnTo>
                    <a:pt x="333" y="304"/>
                  </a:lnTo>
                  <a:lnTo>
                    <a:pt x="335" y="302"/>
                  </a:lnTo>
                  <a:lnTo>
                    <a:pt x="338" y="300"/>
                  </a:lnTo>
                  <a:lnTo>
                    <a:pt x="341" y="299"/>
                  </a:lnTo>
                  <a:lnTo>
                    <a:pt x="344" y="299"/>
                  </a:lnTo>
                  <a:lnTo>
                    <a:pt x="464" y="299"/>
                  </a:lnTo>
                  <a:lnTo>
                    <a:pt x="467" y="299"/>
                  </a:lnTo>
                  <a:lnTo>
                    <a:pt x="469" y="300"/>
                  </a:lnTo>
                  <a:lnTo>
                    <a:pt x="472" y="302"/>
                  </a:lnTo>
                  <a:lnTo>
                    <a:pt x="474" y="304"/>
                  </a:lnTo>
                  <a:lnTo>
                    <a:pt x="475" y="306"/>
                  </a:lnTo>
                  <a:lnTo>
                    <a:pt x="478" y="308"/>
                  </a:lnTo>
                  <a:lnTo>
                    <a:pt x="478" y="312"/>
                  </a:lnTo>
                  <a:lnTo>
                    <a:pt x="479" y="314"/>
                  </a:lnTo>
                  <a:lnTo>
                    <a:pt x="479" y="359"/>
                  </a:lnTo>
                  <a:lnTo>
                    <a:pt x="837" y="359"/>
                  </a:lnTo>
                  <a:lnTo>
                    <a:pt x="837" y="164"/>
                  </a:lnTo>
                  <a:lnTo>
                    <a:pt x="837" y="162"/>
                  </a:lnTo>
                  <a:lnTo>
                    <a:pt x="836" y="159"/>
                  </a:lnTo>
                  <a:lnTo>
                    <a:pt x="835" y="156"/>
                  </a:lnTo>
                  <a:lnTo>
                    <a:pt x="833" y="154"/>
                  </a:lnTo>
                  <a:lnTo>
                    <a:pt x="831" y="152"/>
                  </a:lnTo>
                  <a:lnTo>
                    <a:pt x="828" y="151"/>
                  </a:lnTo>
                  <a:lnTo>
                    <a:pt x="825" y="150"/>
                  </a:lnTo>
                  <a:lnTo>
                    <a:pt x="822" y="14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b="1"/>
            </a:p>
          </p:txBody>
        </p:sp>
      </p:grpSp>
      <p:grpSp>
        <p:nvGrpSpPr>
          <p:cNvPr id="37" name="Group 36"/>
          <p:cNvGrpSpPr/>
          <p:nvPr/>
        </p:nvGrpSpPr>
        <p:grpSpPr>
          <a:xfrm>
            <a:off x="5405656" y="4647493"/>
            <a:ext cx="538163" cy="533400"/>
            <a:chOff x="3805238" y="5505451"/>
            <a:chExt cx="538163" cy="533400"/>
          </a:xfrm>
          <a:solidFill>
            <a:schemeClr val="accent2"/>
          </a:solidFill>
        </p:grpSpPr>
        <p:sp>
          <p:nvSpPr>
            <p:cNvPr id="38" name="Freeform 369"/>
            <p:cNvSpPr/>
            <p:nvPr/>
          </p:nvSpPr>
          <p:spPr bwMode="auto">
            <a:xfrm>
              <a:off x="3805238" y="5505451"/>
              <a:ext cx="538163" cy="195263"/>
            </a:xfrm>
            <a:custGeom>
              <a:avLst/>
              <a:gdLst>
                <a:gd name="T0" fmla="*/ 80 w 678"/>
                <a:gd name="T1" fmla="*/ 247 h 247"/>
                <a:gd name="T2" fmla="*/ 338 w 678"/>
                <a:gd name="T3" fmla="*/ 59 h 247"/>
                <a:gd name="T4" fmla="*/ 596 w 678"/>
                <a:gd name="T5" fmla="*/ 247 h 247"/>
                <a:gd name="T6" fmla="*/ 678 w 678"/>
                <a:gd name="T7" fmla="*/ 247 h 247"/>
                <a:gd name="T8" fmla="*/ 338 w 678"/>
                <a:gd name="T9" fmla="*/ 0 h 247"/>
                <a:gd name="T10" fmla="*/ 0 w 678"/>
                <a:gd name="T11" fmla="*/ 247 h 247"/>
                <a:gd name="T12" fmla="*/ 80 w 678"/>
                <a:gd name="T13" fmla="*/ 247 h 247"/>
              </a:gdLst>
              <a:ahLst/>
              <a:cxnLst>
                <a:cxn ang="0">
                  <a:pos x="T0" y="T1"/>
                </a:cxn>
                <a:cxn ang="0">
                  <a:pos x="T2" y="T3"/>
                </a:cxn>
                <a:cxn ang="0">
                  <a:pos x="T4" y="T5"/>
                </a:cxn>
                <a:cxn ang="0">
                  <a:pos x="T6" y="T7"/>
                </a:cxn>
                <a:cxn ang="0">
                  <a:pos x="T8" y="T9"/>
                </a:cxn>
                <a:cxn ang="0">
                  <a:pos x="T10" y="T11"/>
                </a:cxn>
                <a:cxn ang="0">
                  <a:pos x="T12" y="T13"/>
                </a:cxn>
              </a:cxnLst>
              <a:rect l="0" t="0" r="r" b="b"/>
              <a:pathLst>
                <a:path w="678" h="247">
                  <a:moveTo>
                    <a:pt x="80" y="247"/>
                  </a:moveTo>
                  <a:lnTo>
                    <a:pt x="338" y="59"/>
                  </a:lnTo>
                  <a:lnTo>
                    <a:pt x="596" y="247"/>
                  </a:lnTo>
                  <a:lnTo>
                    <a:pt x="678" y="247"/>
                  </a:lnTo>
                  <a:lnTo>
                    <a:pt x="338" y="0"/>
                  </a:lnTo>
                  <a:lnTo>
                    <a:pt x="0" y="247"/>
                  </a:lnTo>
                  <a:lnTo>
                    <a:pt x="80" y="2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 name="Rectangle 370"/>
            <p:cNvSpPr>
              <a:spLocks noChangeArrowheads="1"/>
            </p:cNvSpPr>
            <p:nvPr/>
          </p:nvSpPr>
          <p:spPr bwMode="auto">
            <a:xfrm>
              <a:off x="3871913" y="5934076"/>
              <a:ext cx="403225"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40" name="Rectangle 371"/>
            <p:cNvSpPr>
              <a:spLocks noChangeArrowheads="1"/>
            </p:cNvSpPr>
            <p:nvPr/>
          </p:nvSpPr>
          <p:spPr bwMode="auto">
            <a:xfrm>
              <a:off x="3814763" y="5997576"/>
              <a:ext cx="517525"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p>
          </p:txBody>
        </p:sp>
        <p:sp>
          <p:nvSpPr>
            <p:cNvPr id="41" name="Freeform 372"/>
            <p:cNvSpPr/>
            <p:nvPr/>
          </p:nvSpPr>
          <p:spPr bwMode="auto">
            <a:xfrm>
              <a:off x="4079876" y="5784851"/>
              <a:ext cx="31750" cy="65088"/>
            </a:xfrm>
            <a:custGeom>
              <a:avLst/>
              <a:gdLst>
                <a:gd name="T0" fmla="*/ 28 w 41"/>
                <a:gd name="T1" fmla="*/ 11 h 81"/>
                <a:gd name="T2" fmla="*/ 28 w 41"/>
                <a:gd name="T3" fmla="*/ 11 h 81"/>
                <a:gd name="T4" fmla="*/ 16 w 41"/>
                <a:gd name="T5" fmla="*/ 5 h 81"/>
                <a:gd name="T6" fmla="*/ 0 w 41"/>
                <a:gd name="T7" fmla="*/ 0 h 81"/>
                <a:gd name="T8" fmla="*/ 0 w 41"/>
                <a:gd name="T9" fmla="*/ 81 h 81"/>
                <a:gd name="T10" fmla="*/ 0 w 41"/>
                <a:gd name="T11" fmla="*/ 81 h 81"/>
                <a:gd name="T12" fmla="*/ 12 w 41"/>
                <a:gd name="T13" fmla="*/ 80 h 81"/>
                <a:gd name="T14" fmla="*/ 21 w 41"/>
                <a:gd name="T15" fmla="*/ 75 h 81"/>
                <a:gd name="T16" fmla="*/ 30 w 41"/>
                <a:gd name="T17" fmla="*/ 70 h 81"/>
                <a:gd name="T18" fmla="*/ 36 w 41"/>
                <a:gd name="T19" fmla="*/ 62 h 81"/>
                <a:gd name="T20" fmla="*/ 36 w 41"/>
                <a:gd name="T21" fmla="*/ 62 h 81"/>
                <a:gd name="T22" fmla="*/ 39 w 41"/>
                <a:gd name="T23" fmla="*/ 52 h 81"/>
                <a:gd name="T24" fmla="*/ 41 w 41"/>
                <a:gd name="T25" fmla="*/ 41 h 81"/>
                <a:gd name="T26" fmla="*/ 41 w 41"/>
                <a:gd name="T27" fmla="*/ 41 h 81"/>
                <a:gd name="T28" fmla="*/ 41 w 41"/>
                <a:gd name="T29" fmla="*/ 31 h 81"/>
                <a:gd name="T30" fmla="*/ 38 w 41"/>
                <a:gd name="T31" fmla="*/ 23 h 81"/>
                <a:gd name="T32" fmla="*/ 33 w 41"/>
                <a:gd name="T33" fmla="*/ 16 h 81"/>
                <a:gd name="T34" fmla="*/ 28 w 41"/>
                <a:gd name="T35" fmla="*/ 11 h 81"/>
                <a:gd name="T36" fmla="*/ 28 w 41"/>
                <a:gd name="T37" fmla="*/ 1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1" h="81">
                  <a:moveTo>
                    <a:pt x="28" y="11"/>
                  </a:moveTo>
                  <a:lnTo>
                    <a:pt x="28" y="11"/>
                  </a:lnTo>
                  <a:lnTo>
                    <a:pt x="16" y="5"/>
                  </a:lnTo>
                  <a:lnTo>
                    <a:pt x="0" y="0"/>
                  </a:lnTo>
                  <a:lnTo>
                    <a:pt x="0" y="81"/>
                  </a:lnTo>
                  <a:lnTo>
                    <a:pt x="0" y="81"/>
                  </a:lnTo>
                  <a:lnTo>
                    <a:pt x="12" y="80"/>
                  </a:lnTo>
                  <a:lnTo>
                    <a:pt x="21" y="75"/>
                  </a:lnTo>
                  <a:lnTo>
                    <a:pt x="30" y="70"/>
                  </a:lnTo>
                  <a:lnTo>
                    <a:pt x="36" y="62"/>
                  </a:lnTo>
                  <a:lnTo>
                    <a:pt x="36" y="62"/>
                  </a:lnTo>
                  <a:lnTo>
                    <a:pt x="39" y="52"/>
                  </a:lnTo>
                  <a:lnTo>
                    <a:pt x="41" y="41"/>
                  </a:lnTo>
                  <a:lnTo>
                    <a:pt x="41" y="41"/>
                  </a:lnTo>
                  <a:lnTo>
                    <a:pt x="41" y="31"/>
                  </a:lnTo>
                  <a:lnTo>
                    <a:pt x="38" y="23"/>
                  </a:lnTo>
                  <a:lnTo>
                    <a:pt x="33" y="16"/>
                  </a:lnTo>
                  <a:lnTo>
                    <a:pt x="28" y="11"/>
                  </a:lnTo>
                  <a:lnTo>
                    <a:pt x="28" y="1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2" name="Freeform 373"/>
            <p:cNvSpPr/>
            <p:nvPr/>
          </p:nvSpPr>
          <p:spPr bwMode="auto">
            <a:xfrm>
              <a:off x="4038601" y="5702301"/>
              <a:ext cx="30163" cy="58738"/>
            </a:xfrm>
            <a:custGeom>
              <a:avLst/>
              <a:gdLst>
                <a:gd name="T0" fmla="*/ 8 w 37"/>
                <a:gd name="T1" fmla="*/ 13 h 74"/>
                <a:gd name="T2" fmla="*/ 8 w 37"/>
                <a:gd name="T3" fmla="*/ 13 h 74"/>
                <a:gd name="T4" fmla="*/ 5 w 37"/>
                <a:gd name="T5" fmla="*/ 20 h 74"/>
                <a:gd name="T6" fmla="*/ 1 w 37"/>
                <a:gd name="T7" fmla="*/ 25 h 74"/>
                <a:gd name="T8" fmla="*/ 0 w 37"/>
                <a:gd name="T9" fmla="*/ 31 h 74"/>
                <a:gd name="T10" fmla="*/ 0 w 37"/>
                <a:gd name="T11" fmla="*/ 38 h 74"/>
                <a:gd name="T12" fmla="*/ 0 w 37"/>
                <a:gd name="T13" fmla="*/ 38 h 74"/>
                <a:gd name="T14" fmla="*/ 0 w 37"/>
                <a:gd name="T15" fmla="*/ 44 h 74"/>
                <a:gd name="T16" fmla="*/ 1 w 37"/>
                <a:gd name="T17" fmla="*/ 51 h 74"/>
                <a:gd name="T18" fmla="*/ 5 w 37"/>
                <a:gd name="T19" fmla="*/ 56 h 74"/>
                <a:gd name="T20" fmla="*/ 10 w 37"/>
                <a:gd name="T21" fmla="*/ 61 h 74"/>
                <a:gd name="T22" fmla="*/ 10 w 37"/>
                <a:gd name="T23" fmla="*/ 61 h 74"/>
                <a:gd name="T24" fmla="*/ 16 w 37"/>
                <a:gd name="T25" fmla="*/ 66 h 74"/>
                <a:gd name="T26" fmla="*/ 21 w 37"/>
                <a:gd name="T27" fmla="*/ 69 h 74"/>
                <a:gd name="T28" fmla="*/ 37 w 37"/>
                <a:gd name="T29" fmla="*/ 74 h 74"/>
                <a:gd name="T30" fmla="*/ 37 w 37"/>
                <a:gd name="T31" fmla="*/ 0 h 74"/>
                <a:gd name="T32" fmla="*/ 37 w 37"/>
                <a:gd name="T33" fmla="*/ 0 h 74"/>
                <a:gd name="T34" fmla="*/ 28 w 37"/>
                <a:gd name="T35" fmla="*/ 2 h 74"/>
                <a:gd name="T36" fmla="*/ 19 w 37"/>
                <a:gd name="T37" fmla="*/ 5 h 74"/>
                <a:gd name="T38" fmla="*/ 13 w 37"/>
                <a:gd name="T39" fmla="*/ 8 h 74"/>
                <a:gd name="T40" fmla="*/ 8 w 37"/>
                <a:gd name="T41" fmla="*/ 13 h 74"/>
                <a:gd name="T42" fmla="*/ 8 w 37"/>
                <a:gd name="T43" fmla="*/ 1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74">
                  <a:moveTo>
                    <a:pt x="8" y="13"/>
                  </a:moveTo>
                  <a:lnTo>
                    <a:pt x="8" y="13"/>
                  </a:lnTo>
                  <a:lnTo>
                    <a:pt x="5" y="20"/>
                  </a:lnTo>
                  <a:lnTo>
                    <a:pt x="1" y="25"/>
                  </a:lnTo>
                  <a:lnTo>
                    <a:pt x="0" y="31"/>
                  </a:lnTo>
                  <a:lnTo>
                    <a:pt x="0" y="38"/>
                  </a:lnTo>
                  <a:lnTo>
                    <a:pt x="0" y="38"/>
                  </a:lnTo>
                  <a:lnTo>
                    <a:pt x="0" y="44"/>
                  </a:lnTo>
                  <a:lnTo>
                    <a:pt x="1" y="51"/>
                  </a:lnTo>
                  <a:lnTo>
                    <a:pt x="5" y="56"/>
                  </a:lnTo>
                  <a:lnTo>
                    <a:pt x="10" y="61"/>
                  </a:lnTo>
                  <a:lnTo>
                    <a:pt x="10" y="61"/>
                  </a:lnTo>
                  <a:lnTo>
                    <a:pt x="16" y="66"/>
                  </a:lnTo>
                  <a:lnTo>
                    <a:pt x="21" y="69"/>
                  </a:lnTo>
                  <a:lnTo>
                    <a:pt x="37" y="74"/>
                  </a:lnTo>
                  <a:lnTo>
                    <a:pt x="37" y="0"/>
                  </a:lnTo>
                  <a:lnTo>
                    <a:pt x="37" y="0"/>
                  </a:lnTo>
                  <a:lnTo>
                    <a:pt x="28" y="2"/>
                  </a:lnTo>
                  <a:lnTo>
                    <a:pt x="19" y="5"/>
                  </a:lnTo>
                  <a:lnTo>
                    <a:pt x="13" y="8"/>
                  </a:lnTo>
                  <a:lnTo>
                    <a:pt x="8" y="13"/>
                  </a:lnTo>
                  <a:lnTo>
                    <a:pt x="8"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3" name="Freeform 374"/>
            <p:cNvSpPr>
              <a:spLocks noEditPoints="1"/>
            </p:cNvSpPr>
            <p:nvPr/>
          </p:nvSpPr>
          <p:spPr bwMode="auto">
            <a:xfrm>
              <a:off x="3933826" y="5640388"/>
              <a:ext cx="280988" cy="279400"/>
            </a:xfrm>
            <a:custGeom>
              <a:avLst/>
              <a:gdLst>
                <a:gd name="T0" fmla="*/ 159 w 355"/>
                <a:gd name="T1" fmla="*/ 0 h 353"/>
                <a:gd name="T2" fmla="*/ 108 w 355"/>
                <a:gd name="T3" fmla="*/ 13 h 353"/>
                <a:gd name="T4" fmla="*/ 64 w 355"/>
                <a:gd name="T5" fmla="*/ 39 h 353"/>
                <a:gd name="T6" fmla="*/ 32 w 355"/>
                <a:gd name="T7" fmla="*/ 77 h 353"/>
                <a:gd name="T8" fmla="*/ 9 w 355"/>
                <a:gd name="T9" fmla="*/ 124 h 353"/>
                <a:gd name="T10" fmla="*/ 0 w 355"/>
                <a:gd name="T11" fmla="*/ 176 h 353"/>
                <a:gd name="T12" fmla="*/ 4 w 355"/>
                <a:gd name="T13" fmla="*/ 212 h 353"/>
                <a:gd name="T14" fmla="*/ 22 w 355"/>
                <a:gd name="T15" fmla="*/ 260 h 353"/>
                <a:gd name="T16" fmla="*/ 53 w 355"/>
                <a:gd name="T17" fmla="*/ 300 h 353"/>
                <a:gd name="T18" fmla="*/ 94 w 355"/>
                <a:gd name="T19" fmla="*/ 331 h 353"/>
                <a:gd name="T20" fmla="*/ 141 w 355"/>
                <a:gd name="T21" fmla="*/ 349 h 353"/>
                <a:gd name="T22" fmla="*/ 177 w 355"/>
                <a:gd name="T23" fmla="*/ 353 h 353"/>
                <a:gd name="T24" fmla="*/ 229 w 355"/>
                <a:gd name="T25" fmla="*/ 345 h 353"/>
                <a:gd name="T26" fmla="*/ 277 w 355"/>
                <a:gd name="T27" fmla="*/ 323 h 353"/>
                <a:gd name="T28" fmla="*/ 314 w 355"/>
                <a:gd name="T29" fmla="*/ 289 h 353"/>
                <a:gd name="T30" fmla="*/ 340 w 355"/>
                <a:gd name="T31" fmla="*/ 245 h 353"/>
                <a:gd name="T32" fmla="*/ 353 w 355"/>
                <a:gd name="T33" fmla="*/ 194 h 353"/>
                <a:gd name="T34" fmla="*/ 353 w 355"/>
                <a:gd name="T35" fmla="*/ 158 h 353"/>
                <a:gd name="T36" fmla="*/ 340 w 355"/>
                <a:gd name="T37" fmla="*/ 108 h 353"/>
                <a:gd name="T38" fmla="*/ 314 w 355"/>
                <a:gd name="T39" fmla="*/ 64 h 353"/>
                <a:gd name="T40" fmla="*/ 277 w 355"/>
                <a:gd name="T41" fmla="*/ 29 h 353"/>
                <a:gd name="T42" fmla="*/ 229 w 355"/>
                <a:gd name="T43" fmla="*/ 6 h 353"/>
                <a:gd name="T44" fmla="*/ 177 w 355"/>
                <a:gd name="T45" fmla="*/ 0 h 353"/>
                <a:gd name="T46" fmla="*/ 228 w 355"/>
                <a:gd name="T47" fmla="*/ 274 h 353"/>
                <a:gd name="T48" fmla="*/ 198 w 355"/>
                <a:gd name="T49" fmla="*/ 284 h 353"/>
                <a:gd name="T50" fmla="*/ 170 w 355"/>
                <a:gd name="T51" fmla="*/ 317 h 353"/>
                <a:gd name="T52" fmla="*/ 149 w 355"/>
                <a:gd name="T53" fmla="*/ 284 h 353"/>
                <a:gd name="T54" fmla="*/ 126 w 355"/>
                <a:gd name="T55" fmla="*/ 273 h 353"/>
                <a:gd name="T56" fmla="*/ 110 w 355"/>
                <a:gd name="T57" fmla="*/ 255 h 353"/>
                <a:gd name="T58" fmla="*/ 103 w 355"/>
                <a:gd name="T59" fmla="*/ 237 h 353"/>
                <a:gd name="T60" fmla="*/ 128 w 355"/>
                <a:gd name="T61" fmla="*/ 212 h 353"/>
                <a:gd name="T62" fmla="*/ 134 w 355"/>
                <a:gd name="T63" fmla="*/ 243 h 353"/>
                <a:gd name="T64" fmla="*/ 148 w 355"/>
                <a:gd name="T65" fmla="*/ 256 h 353"/>
                <a:gd name="T66" fmla="*/ 170 w 355"/>
                <a:gd name="T67" fmla="*/ 180 h 353"/>
                <a:gd name="T68" fmla="*/ 141 w 355"/>
                <a:gd name="T69" fmla="*/ 171 h 353"/>
                <a:gd name="T70" fmla="*/ 121 w 355"/>
                <a:gd name="T71" fmla="*/ 158 h 353"/>
                <a:gd name="T72" fmla="*/ 107 w 355"/>
                <a:gd name="T73" fmla="*/ 129 h 353"/>
                <a:gd name="T74" fmla="*/ 107 w 355"/>
                <a:gd name="T75" fmla="*/ 106 h 353"/>
                <a:gd name="T76" fmla="*/ 121 w 355"/>
                <a:gd name="T77" fmla="*/ 75 h 353"/>
                <a:gd name="T78" fmla="*/ 143 w 355"/>
                <a:gd name="T79" fmla="*/ 60 h 353"/>
                <a:gd name="T80" fmla="*/ 170 w 355"/>
                <a:gd name="T81" fmla="*/ 36 h 353"/>
                <a:gd name="T82" fmla="*/ 185 w 355"/>
                <a:gd name="T83" fmla="*/ 55 h 353"/>
                <a:gd name="T84" fmla="*/ 223 w 355"/>
                <a:gd name="T85" fmla="*/ 67 h 353"/>
                <a:gd name="T86" fmla="*/ 239 w 355"/>
                <a:gd name="T87" fmla="*/ 81 h 353"/>
                <a:gd name="T88" fmla="*/ 249 w 355"/>
                <a:gd name="T89" fmla="*/ 116 h 353"/>
                <a:gd name="T90" fmla="*/ 219 w 355"/>
                <a:gd name="T91" fmla="*/ 104 h 353"/>
                <a:gd name="T92" fmla="*/ 210 w 355"/>
                <a:gd name="T93" fmla="*/ 88 h 353"/>
                <a:gd name="T94" fmla="*/ 185 w 355"/>
                <a:gd name="T95" fmla="*/ 80 h 353"/>
                <a:gd name="T96" fmla="*/ 215 w 355"/>
                <a:gd name="T97" fmla="*/ 163 h 353"/>
                <a:gd name="T98" fmla="*/ 234 w 355"/>
                <a:gd name="T99" fmla="*/ 173 h 353"/>
                <a:gd name="T100" fmla="*/ 252 w 355"/>
                <a:gd name="T101" fmla="*/ 202 h 353"/>
                <a:gd name="T102" fmla="*/ 252 w 355"/>
                <a:gd name="T103" fmla="*/ 235 h 353"/>
                <a:gd name="T104" fmla="*/ 244 w 355"/>
                <a:gd name="T105" fmla="*/ 258 h 353"/>
                <a:gd name="T106" fmla="*/ 228 w 355"/>
                <a:gd name="T107" fmla="*/ 27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5" h="353">
                  <a:moveTo>
                    <a:pt x="177" y="0"/>
                  </a:moveTo>
                  <a:lnTo>
                    <a:pt x="177" y="0"/>
                  </a:lnTo>
                  <a:lnTo>
                    <a:pt x="159" y="0"/>
                  </a:lnTo>
                  <a:lnTo>
                    <a:pt x="141" y="3"/>
                  </a:lnTo>
                  <a:lnTo>
                    <a:pt x="125" y="6"/>
                  </a:lnTo>
                  <a:lnTo>
                    <a:pt x="108" y="13"/>
                  </a:lnTo>
                  <a:lnTo>
                    <a:pt x="94" y="21"/>
                  </a:lnTo>
                  <a:lnTo>
                    <a:pt x="79" y="29"/>
                  </a:lnTo>
                  <a:lnTo>
                    <a:pt x="64" y="39"/>
                  </a:lnTo>
                  <a:lnTo>
                    <a:pt x="53" y="50"/>
                  </a:lnTo>
                  <a:lnTo>
                    <a:pt x="41" y="64"/>
                  </a:lnTo>
                  <a:lnTo>
                    <a:pt x="32" y="77"/>
                  </a:lnTo>
                  <a:lnTo>
                    <a:pt x="22" y="91"/>
                  </a:lnTo>
                  <a:lnTo>
                    <a:pt x="15" y="108"/>
                  </a:lnTo>
                  <a:lnTo>
                    <a:pt x="9" y="124"/>
                  </a:lnTo>
                  <a:lnTo>
                    <a:pt x="4" y="140"/>
                  </a:lnTo>
                  <a:lnTo>
                    <a:pt x="2" y="158"/>
                  </a:lnTo>
                  <a:lnTo>
                    <a:pt x="0" y="176"/>
                  </a:lnTo>
                  <a:lnTo>
                    <a:pt x="0" y="176"/>
                  </a:lnTo>
                  <a:lnTo>
                    <a:pt x="2" y="194"/>
                  </a:lnTo>
                  <a:lnTo>
                    <a:pt x="4" y="212"/>
                  </a:lnTo>
                  <a:lnTo>
                    <a:pt x="9" y="229"/>
                  </a:lnTo>
                  <a:lnTo>
                    <a:pt x="15" y="245"/>
                  </a:lnTo>
                  <a:lnTo>
                    <a:pt x="22" y="260"/>
                  </a:lnTo>
                  <a:lnTo>
                    <a:pt x="32" y="274"/>
                  </a:lnTo>
                  <a:lnTo>
                    <a:pt x="41" y="289"/>
                  </a:lnTo>
                  <a:lnTo>
                    <a:pt x="53" y="300"/>
                  </a:lnTo>
                  <a:lnTo>
                    <a:pt x="64" y="312"/>
                  </a:lnTo>
                  <a:lnTo>
                    <a:pt x="79" y="323"/>
                  </a:lnTo>
                  <a:lnTo>
                    <a:pt x="94" y="331"/>
                  </a:lnTo>
                  <a:lnTo>
                    <a:pt x="108" y="338"/>
                  </a:lnTo>
                  <a:lnTo>
                    <a:pt x="125" y="345"/>
                  </a:lnTo>
                  <a:lnTo>
                    <a:pt x="141" y="349"/>
                  </a:lnTo>
                  <a:lnTo>
                    <a:pt x="159" y="351"/>
                  </a:lnTo>
                  <a:lnTo>
                    <a:pt x="177" y="353"/>
                  </a:lnTo>
                  <a:lnTo>
                    <a:pt x="177" y="353"/>
                  </a:lnTo>
                  <a:lnTo>
                    <a:pt x="195" y="351"/>
                  </a:lnTo>
                  <a:lnTo>
                    <a:pt x="213" y="349"/>
                  </a:lnTo>
                  <a:lnTo>
                    <a:pt x="229" y="345"/>
                  </a:lnTo>
                  <a:lnTo>
                    <a:pt x="246" y="338"/>
                  </a:lnTo>
                  <a:lnTo>
                    <a:pt x="262" y="331"/>
                  </a:lnTo>
                  <a:lnTo>
                    <a:pt x="277" y="323"/>
                  </a:lnTo>
                  <a:lnTo>
                    <a:pt x="290" y="312"/>
                  </a:lnTo>
                  <a:lnTo>
                    <a:pt x="303" y="300"/>
                  </a:lnTo>
                  <a:lnTo>
                    <a:pt x="314" y="289"/>
                  </a:lnTo>
                  <a:lnTo>
                    <a:pt x="324" y="274"/>
                  </a:lnTo>
                  <a:lnTo>
                    <a:pt x="332" y="260"/>
                  </a:lnTo>
                  <a:lnTo>
                    <a:pt x="340" y="245"/>
                  </a:lnTo>
                  <a:lnTo>
                    <a:pt x="347" y="229"/>
                  </a:lnTo>
                  <a:lnTo>
                    <a:pt x="350" y="212"/>
                  </a:lnTo>
                  <a:lnTo>
                    <a:pt x="353" y="194"/>
                  </a:lnTo>
                  <a:lnTo>
                    <a:pt x="355" y="176"/>
                  </a:lnTo>
                  <a:lnTo>
                    <a:pt x="355" y="176"/>
                  </a:lnTo>
                  <a:lnTo>
                    <a:pt x="353" y="158"/>
                  </a:lnTo>
                  <a:lnTo>
                    <a:pt x="350" y="140"/>
                  </a:lnTo>
                  <a:lnTo>
                    <a:pt x="347" y="124"/>
                  </a:lnTo>
                  <a:lnTo>
                    <a:pt x="340" y="108"/>
                  </a:lnTo>
                  <a:lnTo>
                    <a:pt x="332" y="91"/>
                  </a:lnTo>
                  <a:lnTo>
                    <a:pt x="324" y="77"/>
                  </a:lnTo>
                  <a:lnTo>
                    <a:pt x="314" y="64"/>
                  </a:lnTo>
                  <a:lnTo>
                    <a:pt x="303" y="50"/>
                  </a:lnTo>
                  <a:lnTo>
                    <a:pt x="290" y="39"/>
                  </a:lnTo>
                  <a:lnTo>
                    <a:pt x="277" y="29"/>
                  </a:lnTo>
                  <a:lnTo>
                    <a:pt x="262" y="21"/>
                  </a:lnTo>
                  <a:lnTo>
                    <a:pt x="246" y="13"/>
                  </a:lnTo>
                  <a:lnTo>
                    <a:pt x="229" y="6"/>
                  </a:lnTo>
                  <a:lnTo>
                    <a:pt x="213" y="3"/>
                  </a:lnTo>
                  <a:lnTo>
                    <a:pt x="195" y="0"/>
                  </a:lnTo>
                  <a:lnTo>
                    <a:pt x="177" y="0"/>
                  </a:lnTo>
                  <a:lnTo>
                    <a:pt x="177" y="0"/>
                  </a:lnTo>
                  <a:close/>
                  <a:moveTo>
                    <a:pt x="228" y="274"/>
                  </a:moveTo>
                  <a:lnTo>
                    <a:pt x="228" y="274"/>
                  </a:lnTo>
                  <a:lnTo>
                    <a:pt x="219" y="278"/>
                  </a:lnTo>
                  <a:lnTo>
                    <a:pt x="210" y="282"/>
                  </a:lnTo>
                  <a:lnTo>
                    <a:pt x="198" y="284"/>
                  </a:lnTo>
                  <a:lnTo>
                    <a:pt x="185" y="286"/>
                  </a:lnTo>
                  <a:lnTo>
                    <a:pt x="185" y="317"/>
                  </a:lnTo>
                  <a:lnTo>
                    <a:pt x="170" y="317"/>
                  </a:lnTo>
                  <a:lnTo>
                    <a:pt x="170" y="286"/>
                  </a:lnTo>
                  <a:lnTo>
                    <a:pt x="170" y="286"/>
                  </a:lnTo>
                  <a:lnTo>
                    <a:pt x="149" y="284"/>
                  </a:lnTo>
                  <a:lnTo>
                    <a:pt x="141" y="281"/>
                  </a:lnTo>
                  <a:lnTo>
                    <a:pt x="133" y="278"/>
                  </a:lnTo>
                  <a:lnTo>
                    <a:pt x="126" y="273"/>
                  </a:lnTo>
                  <a:lnTo>
                    <a:pt x="120" y="268"/>
                  </a:lnTo>
                  <a:lnTo>
                    <a:pt x="113" y="261"/>
                  </a:lnTo>
                  <a:lnTo>
                    <a:pt x="110" y="255"/>
                  </a:lnTo>
                  <a:lnTo>
                    <a:pt x="110" y="255"/>
                  </a:lnTo>
                  <a:lnTo>
                    <a:pt x="105" y="246"/>
                  </a:lnTo>
                  <a:lnTo>
                    <a:pt x="103" y="237"/>
                  </a:lnTo>
                  <a:lnTo>
                    <a:pt x="102" y="225"/>
                  </a:lnTo>
                  <a:lnTo>
                    <a:pt x="100" y="212"/>
                  </a:lnTo>
                  <a:lnTo>
                    <a:pt x="128" y="212"/>
                  </a:lnTo>
                  <a:lnTo>
                    <a:pt x="128" y="212"/>
                  </a:lnTo>
                  <a:lnTo>
                    <a:pt x="130" y="230"/>
                  </a:lnTo>
                  <a:lnTo>
                    <a:pt x="134" y="243"/>
                  </a:lnTo>
                  <a:lnTo>
                    <a:pt x="134" y="243"/>
                  </a:lnTo>
                  <a:lnTo>
                    <a:pt x="141" y="251"/>
                  </a:lnTo>
                  <a:lnTo>
                    <a:pt x="148" y="256"/>
                  </a:lnTo>
                  <a:lnTo>
                    <a:pt x="159" y="261"/>
                  </a:lnTo>
                  <a:lnTo>
                    <a:pt x="170" y="263"/>
                  </a:lnTo>
                  <a:lnTo>
                    <a:pt x="170" y="180"/>
                  </a:lnTo>
                  <a:lnTo>
                    <a:pt x="170" y="180"/>
                  </a:lnTo>
                  <a:lnTo>
                    <a:pt x="154" y="176"/>
                  </a:lnTo>
                  <a:lnTo>
                    <a:pt x="141" y="171"/>
                  </a:lnTo>
                  <a:lnTo>
                    <a:pt x="130" y="165"/>
                  </a:lnTo>
                  <a:lnTo>
                    <a:pt x="121" y="158"/>
                  </a:lnTo>
                  <a:lnTo>
                    <a:pt x="121" y="158"/>
                  </a:lnTo>
                  <a:lnTo>
                    <a:pt x="113" y="150"/>
                  </a:lnTo>
                  <a:lnTo>
                    <a:pt x="108" y="140"/>
                  </a:lnTo>
                  <a:lnTo>
                    <a:pt x="107" y="129"/>
                  </a:lnTo>
                  <a:lnTo>
                    <a:pt x="105" y="117"/>
                  </a:lnTo>
                  <a:lnTo>
                    <a:pt x="105" y="117"/>
                  </a:lnTo>
                  <a:lnTo>
                    <a:pt x="107" y="106"/>
                  </a:lnTo>
                  <a:lnTo>
                    <a:pt x="110" y="95"/>
                  </a:lnTo>
                  <a:lnTo>
                    <a:pt x="115" y="85"/>
                  </a:lnTo>
                  <a:lnTo>
                    <a:pt x="121" y="75"/>
                  </a:lnTo>
                  <a:lnTo>
                    <a:pt x="121" y="75"/>
                  </a:lnTo>
                  <a:lnTo>
                    <a:pt x="131" y="67"/>
                  </a:lnTo>
                  <a:lnTo>
                    <a:pt x="143" y="60"/>
                  </a:lnTo>
                  <a:lnTo>
                    <a:pt x="156" y="57"/>
                  </a:lnTo>
                  <a:lnTo>
                    <a:pt x="170" y="55"/>
                  </a:lnTo>
                  <a:lnTo>
                    <a:pt x="170" y="36"/>
                  </a:lnTo>
                  <a:lnTo>
                    <a:pt x="185" y="36"/>
                  </a:lnTo>
                  <a:lnTo>
                    <a:pt x="185" y="55"/>
                  </a:lnTo>
                  <a:lnTo>
                    <a:pt x="185" y="55"/>
                  </a:lnTo>
                  <a:lnTo>
                    <a:pt x="200" y="57"/>
                  </a:lnTo>
                  <a:lnTo>
                    <a:pt x="211" y="62"/>
                  </a:lnTo>
                  <a:lnTo>
                    <a:pt x="223" y="67"/>
                  </a:lnTo>
                  <a:lnTo>
                    <a:pt x="232" y="73"/>
                  </a:lnTo>
                  <a:lnTo>
                    <a:pt x="232" y="73"/>
                  </a:lnTo>
                  <a:lnTo>
                    <a:pt x="239" y="81"/>
                  </a:lnTo>
                  <a:lnTo>
                    <a:pt x="244" y="93"/>
                  </a:lnTo>
                  <a:lnTo>
                    <a:pt x="247" y="103"/>
                  </a:lnTo>
                  <a:lnTo>
                    <a:pt x="249" y="116"/>
                  </a:lnTo>
                  <a:lnTo>
                    <a:pt x="223" y="116"/>
                  </a:lnTo>
                  <a:lnTo>
                    <a:pt x="223" y="116"/>
                  </a:lnTo>
                  <a:lnTo>
                    <a:pt x="219" y="104"/>
                  </a:lnTo>
                  <a:lnTo>
                    <a:pt x="216" y="96"/>
                  </a:lnTo>
                  <a:lnTo>
                    <a:pt x="216" y="96"/>
                  </a:lnTo>
                  <a:lnTo>
                    <a:pt x="210" y="88"/>
                  </a:lnTo>
                  <a:lnTo>
                    <a:pt x="203" y="83"/>
                  </a:lnTo>
                  <a:lnTo>
                    <a:pt x="195" y="80"/>
                  </a:lnTo>
                  <a:lnTo>
                    <a:pt x="185" y="80"/>
                  </a:lnTo>
                  <a:lnTo>
                    <a:pt x="185" y="153"/>
                  </a:lnTo>
                  <a:lnTo>
                    <a:pt x="185" y="153"/>
                  </a:lnTo>
                  <a:lnTo>
                    <a:pt x="215" y="163"/>
                  </a:lnTo>
                  <a:lnTo>
                    <a:pt x="226" y="168"/>
                  </a:lnTo>
                  <a:lnTo>
                    <a:pt x="234" y="173"/>
                  </a:lnTo>
                  <a:lnTo>
                    <a:pt x="234" y="173"/>
                  </a:lnTo>
                  <a:lnTo>
                    <a:pt x="242" y="181"/>
                  </a:lnTo>
                  <a:lnTo>
                    <a:pt x="249" y="191"/>
                  </a:lnTo>
                  <a:lnTo>
                    <a:pt x="252" y="202"/>
                  </a:lnTo>
                  <a:lnTo>
                    <a:pt x="254" y="215"/>
                  </a:lnTo>
                  <a:lnTo>
                    <a:pt x="254" y="215"/>
                  </a:lnTo>
                  <a:lnTo>
                    <a:pt x="252" y="235"/>
                  </a:lnTo>
                  <a:lnTo>
                    <a:pt x="250" y="243"/>
                  </a:lnTo>
                  <a:lnTo>
                    <a:pt x="247" y="251"/>
                  </a:lnTo>
                  <a:lnTo>
                    <a:pt x="244" y="258"/>
                  </a:lnTo>
                  <a:lnTo>
                    <a:pt x="239" y="263"/>
                  </a:lnTo>
                  <a:lnTo>
                    <a:pt x="234" y="269"/>
                  </a:lnTo>
                  <a:lnTo>
                    <a:pt x="228" y="274"/>
                  </a:lnTo>
                  <a:lnTo>
                    <a:pt x="228" y="27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44" name="Group 43"/>
          <p:cNvGrpSpPr/>
          <p:nvPr/>
        </p:nvGrpSpPr>
        <p:grpSpPr>
          <a:xfrm>
            <a:off x="8723352" y="3687322"/>
            <a:ext cx="536575" cy="409576"/>
            <a:chOff x="6678613" y="4643438"/>
            <a:chExt cx="536575" cy="409576"/>
          </a:xfrm>
          <a:solidFill>
            <a:schemeClr val="accent2"/>
          </a:solidFill>
        </p:grpSpPr>
        <p:sp>
          <p:nvSpPr>
            <p:cNvPr id="45" name="Freeform 325"/>
            <p:cNvSpPr>
              <a:spLocks noEditPoints="1"/>
            </p:cNvSpPr>
            <p:nvPr/>
          </p:nvSpPr>
          <p:spPr bwMode="auto">
            <a:xfrm>
              <a:off x="6861176" y="4778376"/>
              <a:ext cx="65088" cy="122238"/>
            </a:xfrm>
            <a:custGeom>
              <a:avLst/>
              <a:gdLst>
                <a:gd name="T0" fmla="*/ 12 w 84"/>
                <a:gd name="T1" fmla="*/ 23 h 153"/>
                <a:gd name="T2" fmla="*/ 23 w 84"/>
                <a:gd name="T3" fmla="*/ 15 h 153"/>
                <a:gd name="T4" fmla="*/ 38 w 84"/>
                <a:gd name="T5" fmla="*/ 11 h 153"/>
                <a:gd name="T6" fmla="*/ 46 w 84"/>
                <a:gd name="T7" fmla="*/ 0 h 153"/>
                <a:gd name="T8" fmla="*/ 46 w 84"/>
                <a:gd name="T9" fmla="*/ 11 h 153"/>
                <a:gd name="T10" fmla="*/ 61 w 84"/>
                <a:gd name="T11" fmla="*/ 15 h 153"/>
                <a:gd name="T12" fmla="*/ 72 w 84"/>
                <a:gd name="T13" fmla="*/ 21 h 153"/>
                <a:gd name="T14" fmla="*/ 75 w 84"/>
                <a:gd name="T15" fmla="*/ 26 h 153"/>
                <a:gd name="T16" fmla="*/ 80 w 84"/>
                <a:gd name="T17" fmla="*/ 37 h 153"/>
                <a:gd name="T18" fmla="*/ 67 w 84"/>
                <a:gd name="T19" fmla="*/ 44 h 153"/>
                <a:gd name="T20" fmla="*/ 66 w 84"/>
                <a:gd name="T21" fmla="*/ 37 h 153"/>
                <a:gd name="T22" fmla="*/ 64 w 84"/>
                <a:gd name="T23" fmla="*/ 33 h 153"/>
                <a:gd name="T24" fmla="*/ 56 w 84"/>
                <a:gd name="T25" fmla="*/ 26 h 153"/>
                <a:gd name="T26" fmla="*/ 46 w 84"/>
                <a:gd name="T27" fmla="*/ 24 h 153"/>
                <a:gd name="T28" fmla="*/ 46 w 84"/>
                <a:gd name="T29" fmla="*/ 65 h 153"/>
                <a:gd name="T30" fmla="*/ 72 w 84"/>
                <a:gd name="T31" fmla="*/ 75 h 153"/>
                <a:gd name="T32" fmla="*/ 77 w 84"/>
                <a:gd name="T33" fmla="*/ 80 h 153"/>
                <a:gd name="T34" fmla="*/ 84 w 84"/>
                <a:gd name="T35" fmla="*/ 91 h 153"/>
                <a:gd name="T36" fmla="*/ 84 w 84"/>
                <a:gd name="T37" fmla="*/ 98 h 153"/>
                <a:gd name="T38" fmla="*/ 80 w 84"/>
                <a:gd name="T39" fmla="*/ 118 h 153"/>
                <a:gd name="T40" fmla="*/ 69 w 84"/>
                <a:gd name="T41" fmla="*/ 131 h 153"/>
                <a:gd name="T42" fmla="*/ 59 w 84"/>
                <a:gd name="T43" fmla="*/ 134 h 153"/>
                <a:gd name="T44" fmla="*/ 46 w 84"/>
                <a:gd name="T45" fmla="*/ 153 h 153"/>
                <a:gd name="T46" fmla="*/ 38 w 84"/>
                <a:gd name="T47" fmla="*/ 137 h 153"/>
                <a:gd name="T48" fmla="*/ 28 w 84"/>
                <a:gd name="T49" fmla="*/ 135 h 153"/>
                <a:gd name="T50" fmla="*/ 10 w 84"/>
                <a:gd name="T51" fmla="*/ 127 h 153"/>
                <a:gd name="T52" fmla="*/ 5 w 84"/>
                <a:gd name="T53" fmla="*/ 119 h 153"/>
                <a:gd name="T54" fmla="*/ 0 w 84"/>
                <a:gd name="T55" fmla="*/ 96 h 153"/>
                <a:gd name="T56" fmla="*/ 15 w 84"/>
                <a:gd name="T57" fmla="*/ 96 h 153"/>
                <a:gd name="T58" fmla="*/ 20 w 84"/>
                <a:gd name="T59" fmla="*/ 114 h 153"/>
                <a:gd name="T60" fmla="*/ 21 w 84"/>
                <a:gd name="T61" fmla="*/ 118 h 153"/>
                <a:gd name="T62" fmla="*/ 31 w 84"/>
                <a:gd name="T63" fmla="*/ 122 h 153"/>
                <a:gd name="T64" fmla="*/ 38 w 84"/>
                <a:gd name="T65" fmla="*/ 78 h 153"/>
                <a:gd name="T66" fmla="*/ 23 w 84"/>
                <a:gd name="T67" fmla="*/ 73 h 153"/>
                <a:gd name="T68" fmla="*/ 12 w 84"/>
                <a:gd name="T69" fmla="*/ 67 h 153"/>
                <a:gd name="T70" fmla="*/ 8 w 84"/>
                <a:gd name="T71" fmla="*/ 62 h 153"/>
                <a:gd name="T72" fmla="*/ 3 w 84"/>
                <a:gd name="T73" fmla="*/ 52 h 153"/>
                <a:gd name="T74" fmla="*/ 3 w 84"/>
                <a:gd name="T75" fmla="*/ 46 h 153"/>
                <a:gd name="T76" fmla="*/ 5 w 84"/>
                <a:gd name="T77" fmla="*/ 33 h 153"/>
                <a:gd name="T78" fmla="*/ 12 w 84"/>
                <a:gd name="T79" fmla="*/ 23 h 153"/>
                <a:gd name="T80" fmla="*/ 23 w 84"/>
                <a:gd name="T81" fmla="*/ 57 h 153"/>
                <a:gd name="T82" fmla="*/ 30 w 84"/>
                <a:gd name="T83" fmla="*/ 60 h 153"/>
                <a:gd name="T84" fmla="*/ 38 w 84"/>
                <a:gd name="T85" fmla="*/ 24 h 153"/>
                <a:gd name="T86" fmla="*/ 30 w 84"/>
                <a:gd name="T87" fmla="*/ 26 h 153"/>
                <a:gd name="T88" fmla="*/ 23 w 84"/>
                <a:gd name="T89" fmla="*/ 31 h 153"/>
                <a:gd name="T90" fmla="*/ 20 w 84"/>
                <a:gd name="T91" fmla="*/ 37 h 153"/>
                <a:gd name="T92" fmla="*/ 18 w 84"/>
                <a:gd name="T93" fmla="*/ 44 h 153"/>
                <a:gd name="T94" fmla="*/ 23 w 84"/>
                <a:gd name="T95" fmla="*/ 57 h 153"/>
                <a:gd name="T96" fmla="*/ 66 w 84"/>
                <a:gd name="T97" fmla="*/ 114 h 153"/>
                <a:gd name="T98" fmla="*/ 69 w 84"/>
                <a:gd name="T99" fmla="*/ 109 h 153"/>
                <a:gd name="T100" fmla="*/ 69 w 84"/>
                <a:gd name="T101" fmla="*/ 103 h 153"/>
                <a:gd name="T102" fmla="*/ 67 w 84"/>
                <a:gd name="T103" fmla="*/ 93 h 153"/>
                <a:gd name="T104" fmla="*/ 61 w 84"/>
                <a:gd name="T105" fmla="*/ 86 h 153"/>
                <a:gd name="T106" fmla="*/ 56 w 84"/>
                <a:gd name="T107" fmla="*/ 83 h 153"/>
                <a:gd name="T108" fmla="*/ 46 w 84"/>
                <a:gd name="T109" fmla="*/ 124 h 153"/>
                <a:gd name="T110" fmla="*/ 52 w 84"/>
                <a:gd name="T111" fmla="*/ 124 h 153"/>
                <a:gd name="T112" fmla="*/ 62 w 84"/>
                <a:gd name="T113" fmla="*/ 119 h 153"/>
                <a:gd name="T114" fmla="*/ 66 w 84"/>
                <a:gd name="T115" fmla="*/ 11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4" h="153">
                  <a:moveTo>
                    <a:pt x="12" y="23"/>
                  </a:moveTo>
                  <a:lnTo>
                    <a:pt x="12" y="23"/>
                  </a:lnTo>
                  <a:lnTo>
                    <a:pt x="18" y="18"/>
                  </a:lnTo>
                  <a:lnTo>
                    <a:pt x="23" y="15"/>
                  </a:lnTo>
                  <a:lnTo>
                    <a:pt x="31" y="13"/>
                  </a:lnTo>
                  <a:lnTo>
                    <a:pt x="38" y="11"/>
                  </a:lnTo>
                  <a:lnTo>
                    <a:pt x="38" y="0"/>
                  </a:lnTo>
                  <a:lnTo>
                    <a:pt x="46" y="0"/>
                  </a:lnTo>
                  <a:lnTo>
                    <a:pt x="46" y="11"/>
                  </a:lnTo>
                  <a:lnTo>
                    <a:pt x="46" y="11"/>
                  </a:lnTo>
                  <a:lnTo>
                    <a:pt x="54" y="13"/>
                  </a:lnTo>
                  <a:lnTo>
                    <a:pt x="61" y="15"/>
                  </a:lnTo>
                  <a:lnTo>
                    <a:pt x="67" y="18"/>
                  </a:lnTo>
                  <a:lnTo>
                    <a:pt x="72" y="21"/>
                  </a:lnTo>
                  <a:lnTo>
                    <a:pt x="72" y="21"/>
                  </a:lnTo>
                  <a:lnTo>
                    <a:pt x="75" y="26"/>
                  </a:lnTo>
                  <a:lnTo>
                    <a:pt x="79" y="31"/>
                  </a:lnTo>
                  <a:lnTo>
                    <a:pt x="80" y="37"/>
                  </a:lnTo>
                  <a:lnTo>
                    <a:pt x="82" y="44"/>
                  </a:lnTo>
                  <a:lnTo>
                    <a:pt x="67" y="44"/>
                  </a:lnTo>
                  <a:lnTo>
                    <a:pt x="67" y="44"/>
                  </a:lnTo>
                  <a:lnTo>
                    <a:pt x="66" y="37"/>
                  </a:lnTo>
                  <a:lnTo>
                    <a:pt x="64" y="33"/>
                  </a:lnTo>
                  <a:lnTo>
                    <a:pt x="64" y="33"/>
                  </a:lnTo>
                  <a:lnTo>
                    <a:pt x="61" y="29"/>
                  </a:lnTo>
                  <a:lnTo>
                    <a:pt x="56" y="26"/>
                  </a:lnTo>
                  <a:lnTo>
                    <a:pt x="52" y="24"/>
                  </a:lnTo>
                  <a:lnTo>
                    <a:pt x="46" y="24"/>
                  </a:lnTo>
                  <a:lnTo>
                    <a:pt x="46" y="65"/>
                  </a:lnTo>
                  <a:lnTo>
                    <a:pt x="46" y="65"/>
                  </a:lnTo>
                  <a:lnTo>
                    <a:pt x="62" y="70"/>
                  </a:lnTo>
                  <a:lnTo>
                    <a:pt x="72" y="75"/>
                  </a:lnTo>
                  <a:lnTo>
                    <a:pt x="72" y="75"/>
                  </a:lnTo>
                  <a:lnTo>
                    <a:pt x="77" y="80"/>
                  </a:lnTo>
                  <a:lnTo>
                    <a:pt x="82" y="85"/>
                  </a:lnTo>
                  <a:lnTo>
                    <a:pt x="84" y="91"/>
                  </a:lnTo>
                  <a:lnTo>
                    <a:pt x="84" y="98"/>
                  </a:lnTo>
                  <a:lnTo>
                    <a:pt x="84" y="98"/>
                  </a:lnTo>
                  <a:lnTo>
                    <a:pt x="84" y="109"/>
                  </a:lnTo>
                  <a:lnTo>
                    <a:pt x="80" y="118"/>
                  </a:lnTo>
                  <a:lnTo>
                    <a:pt x="75" y="124"/>
                  </a:lnTo>
                  <a:lnTo>
                    <a:pt x="69" y="131"/>
                  </a:lnTo>
                  <a:lnTo>
                    <a:pt x="69" y="131"/>
                  </a:lnTo>
                  <a:lnTo>
                    <a:pt x="59" y="134"/>
                  </a:lnTo>
                  <a:lnTo>
                    <a:pt x="46" y="137"/>
                  </a:lnTo>
                  <a:lnTo>
                    <a:pt x="46" y="153"/>
                  </a:lnTo>
                  <a:lnTo>
                    <a:pt x="38" y="153"/>
                  </a:lnTo>
                  <a:lnTo>
                    <a:pt x="38" y="137"/>
                  </a:lnTo>
                  <a:lnTo>
                    <a:pt x="38" y="137"/>
                  </a:lnTo>
                  <a:lnTo>
                    <a:pt x="28" y="135"/>
                  </a:lnTo>
                  <a:lnTo>
                    <a:pt x="18" y="132"/>
                  </a:lnTo>
                  <a:lnTo>
                    <a:pt x="10" y="127"/>
                  </a:lnTo>
                  <a:lnTo>
                    <a:pt x="5" y="119"/>
                  </a:lnTo>
                  <a:lnTo>
                    <a:pt x="5" y="119"/>
                  </a:lnTo>
                  <a:lnTo>
                    <a:pt x="2" y="109"/>
                  </a:lnTo>
                  <a:lnTo>
                    <a:pt x="0" y="96"/>
                  </a:lnTo>
                  <a:lnTo>
                    <a:pt x="15" y="96"/>
                  </a:lnTo>
                  <a:lnTo>
                    <a:pt x="15" y="96"/>
                  </a:lnTo>
                  <a:lnTo>
                    <a:pt x="17" y="106"/>
                  </a:lnTo>
                  <a:lnTo>
                    <a:pt x="20" y="114"/>
                  </a:lnTo>
                  <a:lnTo>
                    <a:pt x="20" y="114"/>
                  </a:lnTo>
                  <a:lnTo>
                    <a:pt x="21" y="118"/>
                  </a:lnTo>
                  <a:lnTo>
                    <a:pt x="26" y="121"/>
                  </a:lnTo>
                  <a:lnTo>
                    <a:pt x="31" y="122"/>
                  </a:lnTo>
                  <a:lnTo>
                    <a:pt x="38" y="124"/>
                  </a:lnTo>
                  <a:lnTo>
                    <a:pt x="38" y="78"/>
                  </a:lnTo>
                  <a:lnTo>
                    <a:pt x="38" y="78"/>
                  </a:lnTo>
                  <a:lnTo>
                    <a:pt x="23" y="73"/>
                  </a:lnTo>
                  <a:lnTo>
                    <a:pt x="17" y="70"/>
                  </a:lnTo>
                  <a:lnTo>
                    <a:pt x="12" y="67"/>
                  </a:lnTo>
                  <a:lnTo>
                    <a:pt x="12" y="67"/>
                  </a:lnTo>
                  <a:lnTo>
                    <a:pt x="8" y="62"/>
                  </a:lnTo>
                  <a:lnTo>
                    <a:pt x="5" y="57"/>
                  </a:lnTo>
                  <a:lnTo>
                    <a:pt x="3" y="52"/>
                  </a:lnTo>
                  <a:lnTo>
                    <a:pt x="3" y="46"/>
                  </a:lnTo>
                  <a:lnTo>
                    <a:pt x="3" y="46"/>
                  </a:lnTo>
                  <a:lnTo>
                    <a:pt x="3" y="39"/>
                  </a:lnTo>
                  <a:lnTo>
                    <a:pt x="5" y="33"/>
                  </a:lnTo>
                  <a:lnTo>
                    <a:pt x="8" y="28"/>
                  </a:lnTo>
                  <a:lnTo>
                    <a:pt x="12" y="23"/>
                  </a:lnTo>
                  <a:lnTo>
                    <a:pt x="12" y="23"/>
                  </a:lnTo>
                  <a:close/>
                  <a:moveTo>
                    <a:pt x="23" y="57"/>
                  </a:moveTo>
                  <a:lnTo>
                    <a:pt x="23" y="57"/>
                  </a:lnTo>
                  <a:lnTo>
                    <a:pt x="30" y="60"/>
                  </a:lnTo>
                  <a:lnTo>
                    <a:pt x="38" y="64"/>
                  </a:lnTo>
                  <a:lnTo>
                    <a:pt x="38" y="24"/>
                  </a:lnTo>
                  <a:lnTo>
                    <a:pt x="38" y="24"/>
                  </a:lnTo>
                  <a:lnTo>
                    <a:pt x="30" y="26"/>
                  </a:lnTo>
                  <a:lnTo>
                    <a:pt x="25" y="28"/>
                  </a:lnTo>
                  <a:lnTo>
                    <a:pt x="23" y="31"/>
                  </a:lnTo>
                  <a:lnTo>
                    <a:pt x="23" y="31"/>
                  </a:lnTo>
                  <a:lnTo>
                    <a:pt x="20" y="37"/>
                  </a:lnTo>
                  <a:lnTo>
                    <a:pt x="18" y="44"/>
                  </a:lnTo>
                  <a:lnTo>
                    <a:pt x="18" y="44"/>
                  </a:lnTo>
                  <a:lnTo>
                    <a:pt x="20" y="52"/>
                  </a:lnTo>
                  <a:lnTo>
                    <a:pt x="23" y="57"/>
                  </a:lnTo>
                  <a:lnTo>
                    <a:pt x="23" y="57"/>
                  </a:lnTo>
                  <a:close/>
                  <a:moveTo>
                    <a:pt x="66" y="114"/>
                  </a:moveTo>
                  <a:lnTo>
                    <a:pt x="66" y="114"/>
                  </a:lnTo>
                  <a:lnTo>
                    <a:pt x="69" y="109"/>
                  </a:lnTo>
                  <a:lnTo>
                    <a:pt x="69" y="103"/>
                  </a:lnTo>
                  <a:lnTo>
                    <a:pt x="69" y="103"/>
                  </a:lnTo>
                  <a:lnTo>
                    <a:pt x="69" y="98"/>
                  </a:lnTo>
                  <a:lnTo>
                    <a:pt x="67" y="93"/>
                  </a:lnTo>
                  <a:lnTo>
                    <a:pt x="64" y="90"/>
                  </a:lnTo>
                  <a:lnTo>
                    <a:pt x="61" y="86"/>
                  </a:lnTo>
                  <a:lnTo>
                    <a:pt x="61" y="86"/>
                  </a:lnTo>
                  <a:lnTo>
                    <a:pt x="56" y="83"/>
                  </a:lnTo>
                  <a:lnTo>
                    <a:pt x="46" y="80"/>
                  </a:lnTo>
                  <a:lnTo>
                    <a:pt x="46" y="124"/>
                  </a:lnTo>
                  <a:lnTo>
                    <a:pt x="46" y="124"/>
                  </a:lnTo>
                  <a:lnTo>
                    <a:pt x="52" y="124"/>
                  </a:lnTo>
                  <a:lnTo>
                    <a:pt x="59" y="122"/>
                  </a:lnTo>
                  <a:lnTo>
                    <a:pt x="62" y="119"/>
                  </a:lnTo>
                  <a:lnTo>
                    <a:pt x="66" y="114"/>
                  </a:lnTo>
                  <a:lnTo>
                    <a:pt x="66" y="1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6" name="Freeform 326"/>
            <p:cNvSpPr/>
            <p:nvPr/>
          </p:nvSpPr>
          <p:spPr bwMode="auto">
            <a:xfrm>
              <a:off x="6678613" y="4643438"/>
              <a:ext cx="536575" cy="327025"/>
            </a:xfrm>
            <a:custGeom>
              <a:avLst/>
              <a:gdLst>
                <a:gd name="T0" fmla="*/ 466 w 677"/>
                <a:gd name="T1" fmla="*/ 410 h 410"/>
                <a:gd name="T2" fmla="*/ 72 w 677"/>
                <a:gd name="T3" fmla="*/ 410 h 410"/>
                <a:gd name="T4" fmla="*/ 0 w 677"/>
                <a:gd name="T5" fmla="*/ 85 h 410"/>
                <a:gd name="T6" fmla="*/ 443 w 677"/>
                <a:gd name="T7" fmla="*/ 85 h 410"/>
                <a:gd name="T8" fmla="*/ 430 w 677"/>
                <a:gd name="T9" fmla="*/ 131 h 410"/>
                <a:gd name="T10" fmla="*/ 58 w 677"/>
                <a:gd name="T11" fmla="*/ 131 h 410"/>
                <a:gd name="T12" fmla="*/ 110 w 677"/>
                <a:gd name="T13" fmla="*/ 363 h 410"/>
                <a:gd name="T14" fmla="*/ 429 w 677"/>
                <a:gd name="T15" fmla="*/ 363 h 410"/>
                <a:gd name="T16" fmla="*/ 509 w 677"/>
                <a:gd name="T17" fmla="*/ 0 h 410"/>
                <a:gd name="T18" fmla="*/ 677 w 677"/>
                <a:gd name="T19" fmla="*/ 0 h 410"/>
                <a:gd name="T20" fmla="*/ 677 w 677"/>
                <a:gd name="T21" fmla="*/ 47 h 410"/>
                <a:gd name="T22" fmla="*/ 546 w 677"/>
                <a:gd name="T23" fmla="*/ 47 h 410"/>
                <a:gd name="T24" fmla="*/ 466 w 677"/>
                <a:gd name="T25" fmla="*/ 410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7" h="410">
                  <a:moveTo>
                    <a:pt x="466" y="410"/>
                  </a:moveTo>
                  <a:lnTo>
                    <a:pt x="72" y="410"/>
                  </a:lnTo>
                  <a:lnTo>
                    <a:pt x="0" y="85"/>
                  </a:lnTo>
                  <a:lnTo>
                    <a:pt x="443" y="85"/>
                  </a:lnTo>
                  <a:lnTo>
                    <a:pt x="430" y="131"/>
                  </a:lnTo>
                  <a:lnTo>
                    <a:pt x="58" y="131"/>
                  </a:lnTo>
                  <a:lnTo>
                    <a:pt x="110" y="363"/>
                  </a:lnTo>
                  <a:lnTo>
                    <a:pt x="429" y="363"/>
                  </a:lnTo>
                  <a:lnTo>
                    <a:pt x="509" y="0"/>
                  </a:lnTo>
                  <a:lnTo>
                    <a:pt x="677" y="0"/>
                  </a:lnTo>
                  <a:lnTo>
                    <a:pt x="677" y="47"/>
                  </a:lnTo>
                  <a:lnTo>
                    <a:pt x="546" y="47"/>
                  </a:lnTo>
                  <a:lnTo>
                    <a:pt x="466" y="4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7" name="Freeform 327"/>
            <p:cNvSpPr/>
            <p:nvPr/>
          </p:nvSpPr>
          <p:spPr bwMode="auto">
            <a:xfrm>
              <a:off x="6770688" y="4984751"/>
              <a:ext cx="69850" cy="68263"/>
            </a:xfrm>
            <a:custGeom>
              <a:avLst/>
              <a:gdLst>
                <a:gd name="T0" fmla="*/ 87 w 87"/>
                <a:gd name="T1" fmla="*/ 44 h 87"/>
                <a:gd name="T2" fmla="*/ 87 w 87"/>
                <a:gd name="T3" fmla="*/ 44 h 87"/>
                <a:gd name="T4" fmla="*/ 85 w 87"/>
                <a:gd name="T5" fmla="*/ 52 h 87"/>
                <a:gd name="T6" fmla="*/ 84 w 87"/>
                <a:gd name="T7" fmla="*/ 60 h 87"/>
                <a:gd name="T8" fmla="*/ 79 w 87"/>
                <a:gd name="T9" fmla="*/ 67 h 87"/>
                <a:gd name="T10" fmla="*/ 74 w 87"/>
                <a:gd name="T11" fmla="*/ 74 h 87"/>
                <a:gd name="T12" fmla="*/ 67 w 87"/>
                <a:gd name="T13" fmla="*/ 80 h 87"/>
                <a:gd name="T14" fmla="*/ 61 w 87"/>
                <a:gd name="T15" fmla="*/ 83 h 87"/>
                <a:gd name="T16" fmla="*/ 53 w 87"/>
                <a:gd name="T17" fmla="*/ 87 h 87"/>
                <a:gd name="T18" fmla="*/ 43 w 87"/>
                <a:gd name="T19" fmla="*/ 87 h 87"/>
                <a:gd name="T20" fmla="*/ 43 w 87"/>
                <a:gd name="T21" fmla="*/ 87 h 87"/>
                <a:gd name="T22" fmla="*/ 35 w 87"/>
                <a:gd name="T23" fmla="*/ 87 h 87"/>
                <a:gd name="T24" fmla="*/ 27 w 87"/>
                <a:gd name="T25" fmla="*/ 83 h 87"/>
                <a:gd name="T26" fmla="*/ 20 w 87"/>
                <a:gd name="T27" fmla="*/ 80 h 87"/>
                <a:gd name="T28" fmla="*/ 14 w 87"/>
                <a:gd name="T29" fmla="*/ 74 h 87"/>
                <a:gd name="T30" fmla="*/ 7 w 87"/>
                <a:gd name="T31" fmla="*/ 67 h 87"/>
                <a:gd name="T32" fmla="*/ 4 w 87"/>
                <a:gd name="T33" fmla="*/ 60 h 87"/>
                <a:gd name="T34" fmla="*/ 0 w 87"/>
                <a:gd name="T35" fmla="*/ 52 h 87"/>
                <a:gd name="T36" fmla="*/ 0 w 87"/>
                <a:gd name="T37" fmla="*/ 44 h 87"/>
                <a:gd name="T38" fmla="*/ 0 w 87"/>
                <a:gd name="T39" fmla="*/ 44 h 87"/>
                <a:gd name="T40" fmla="*/ 0 w 87"/>
                <a:gd name="T41" fmla="*/ 34 h 87"/>
                <a:gd name="T42" fmla="*/ 4 w 87"/>
                <a:gd name="T43" fmla="*/ 26 h 87"/>
                <a:gd name="T44" fmla="*/ 7 w 87"/>
                <a:gd name="T45" fmla="*/ 20 h 87"/>
                <a:gd name="T46" fmla="*/ 14 w 87"/>
                <a:gd name="T47" fmla="*/ 13 h 87"/>
                <a:gd name="T48" fmla="*/ 20 w 87"/>
                <a:gd name="T49" fmla="*/ 8 h 87"/>
                <a:gd name="T50" fmla="*/ 27 w 87"/>
                <a:gd name="T51" fmla="*/ 3 h 87"/>
                <a:gd name="T52" fmla="*/ 35 w 87"/>
                <a:gd name="T53" fmla="*/ 2 h 87"/>
                <a:gd name="T54" fmla="*/ 43 w 87"/>
                <a:gd name="T55" fmla="*/ 0 h 87"/>
                <a:gd name="T56" fmla="*/ 43 w 87"/>
                <a:gd name="T57" fmla="*/ 0 h 87"/>
                <a:gd name="T58" fmla="*/ 53 w 87"/>
                <a:gd name="T59" fmla="*/ 2 h 87"/>
                <a:gd name="T60" fmla="*/ 61 w 87"/>
                <a:gd name="T61" fmla="*/ 3 h 87"/>
                <a:gd name="T62" fmla="*/ 67 w 87"/>
                <a:gd name="T63" fmla="*/ 8 h 87"/>
                <a:gd name="T64" fmla="*/ 74 w 87"/>
                <a:gd name="T65" fmla="*/ 13 h 87"/>
                <a:gd name="T66" fmla="*/ 79 w 87"/>
                <a:gd name="T67" fmla="*/ 20 h 87"/>
                <a:gd name="T68" fmla="*/ 84 w 87"/>
                <a:gd name="T69" fmla="*/ 26 h 87"/>
                <a:gd name="T70" fmla="*/ 85 w 87"/>
                <a:gd name="T71" fmla="*/ 34 h 87"/>
                <a:gd name="T72" fmla="*/ 87 w 87"/>
                <a:gd name="T73" fmla="*/ 44 h 87"/>
                <a:gd name="T74" fmla="*/ 87 w 87"/>
                <a:gd name="T75" fmla="*/ 4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 h="87">
                  <a:moveTo>
                    <a:pt x="87" y="44"/>
                  </a:moveTo>
                  <a:lnTo>
                    <a:pt x="87" y="44"/>
                  </a:lnTo>
                  <a:lnTo>
                    <a:pt x="85" y="52"/>
                  </a:lnTo>
                  <a:lnTo>
                    <a:pt x="84" y="60"/>
                  </a:lnTo>
                  <a:lnTo>
                    <a:pt x="79" y="67"/>
                  </a:lnTo>
                  <a:lnTo>
                    <a:pt x="74" y="74"/>
                  </a:lnTo>
                  <a:lnTo>
                    <a:pt x="67" y="80"/>
                  </a:lnTo>
                  <a:lnTo>
                    <a:pt x="61" y="83"/>
                  </a:lnTo>
                  <a:lnTo>
                    <a:pt x="53" y="87"/>
                  </a:lnTo>
                  <a:lnTo>
                    <a:pt x="43" y="87"/>
                  </a:lnTo>
                  <a:lnTo>
                    <a:pt x="43" y="87"/>
                  </a:lnTo>
                  <a:lnTo>
                    <a:pt x="35" y="87"/>
                  </a:lnTo>
                  <a:lnTo>
                    <a:pt x="27" y="83"/>
                  </a:lnTo>
                  <a:lnTo>
                    <a:pt x="20" y="80"/>
                  </a:lnTo>
                  <a:lnTo>
                    <a:pt x="14" y="74"/>
                  </a:lnTo>
                  <a:lnTo>
                    <a:pt x="7" y="67"/>
                  </a:lnTo>
                  <a:lnTo>
                    <a:pt x="4" y="60"/>
                  </a:lnTo>
                  <a:lnTo>
                    <a:pt x="0" y="52"/>
                  </a:lnTo>
                  <a:lnTo>
                    <a:pt x="0" y="44"/>
                  </a:lnTo>
                  <a:lnTo>
                    <a:pt x="0" y="44"/>
                  </a:lnTo>
                  <a:lnTo>
                    <a:pt x="0" y="34"/>
                  </a:lnTo>
                  <a:lnTo>
                    <a:pt x="4" y="26"/>
                  </a:lnTo>
                  <a:lnTo>
                    <a:pt x="7" y="20"/>
                  </a:lnTo>
                  <a:lnTo>
                    <a:pt x="14" y="13"/>
                  </a:lnTo>
                  <a:lnTo>
                    <a:pt x="20" y="8"/>
                  </a:lnTo>
                  <a:lnTo>
                    <a:pt x="27" y="3"/>
                  </a:lnTo>
                  <a:lnTo>
                    <a:pt x="35" y="2"/>
                  </a:lnTo>
                  <a:lnTo>
                    <a:pt x="43" y="0"/>
                  </a:lnTo>
                  <a:lnTo>
                    <a:pt x="43" y="0"/>
                  </a:lnTo>
                  <a:lnTo>
                    <a:pt x="53" y="2"/>
                  </a:lnTo>
                  <a:lnTo>
                    <a:pt x="61" y="3"/>
                  </a:lnTo>
                  <a:lnTo>
                    <a:pt x="67" y="8"/>
                  </a:lnTo>
                  <a:lnTo>
                    <a:pt x="74" y="13"/>
                  </a:lnTo>
                  <a:lnTo>
                    <a:pt x="79" y="20"/>
                  </a:lnTo>
                  <a:lnTo>
                    <a:pt x="84" y="26"/>
                  </a:lnTo>
                  <a:lnTo>
                    <a:pt x="85" y="34"/>
                  </a:lnTo>
                  <a:lnTo>
                    <a:pt x="87" y="44"/>
                  </a:lnTo>
                  <a:lnTo>
                    <a:pt x="87" y="4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48" name="Freeform 328"/>
            <p:cNvSpPr/>
            <p:nvPr/>
          </p:nvSpPr>
          <p:spPr bwMode="auto">
            <a:xfrm>
              <a:off x="6951663" y="4984751"/>
              <a:ext cx="68263" cy="68263"/>
            </a:xfrm>
            <a:custGeom>
              <a:avLst/>
              <a:gdLst>
                <a:gd name="T0" fmla="*/ 86 w 86"/>
                <a:gd name="T1" fmla="*/ 44 h 87"/>
                <a:gd name="T2" fmla="*/ 86 w 86"/>
                <a:gd name="T3" fmla="*/ 44 h 87"/>
                <a:gd name="T4" fmla="*/ 85 w 86"/>
                <a:gd name="T5" fmla="*/ 52 h 87"/>
                <a:gd name="T6" fmla="*/ 83 w 86"/>
                <a:gd name="T7" fmla="*/ 60 h 87"/>
                <a:gd name="T8" fmla="*/ 78 w 86"/>
                <a:gd name="T9" fmla="*/ 67 h 87"/>
                <a:gd name="T10" fmla="*/ 73 w 86"/>
                <a:gd name="T11" fmla="*/ 74 h 87"/>
                <a:gd name="T12" fmla="*/ 67 w 86"/>
                <a:gd name="T13" fmla="*/ 80 h 87"/>
                <a:gd name="T14" fmla="*/ 60 w 86"/>
                <a:gd name="T15" fmla="*/ 83 h 87"/>
                <a:gd name="T16" fmla="*/ 52 w 86"/>
                <a:gd name="T17" fmla="*/ 87 h 87"/>
                <a:gd name="T18" fmla="*/ 42 w 86"/>
                <a:gd name="T19" fmla="*/ 87 h 87"/>
                <a:gd name="T20" fmla="*/ 42 w 86"/>
                <a:gd name="T21" fmla="*/ 87 h 87"/>
                <a:gd name="T22" fmla="*/ 34 w 86"/>
                <a:gd name="T23" fmla="*/ 87 h 87"/>
                <a:gd name="T24" fmla="*/ 26 w 86"/>
                <a:gd name="T25" fmla="*/ 83 h 87"/>
                <a:gd name="T26" fmla="*/ 19 w 86"/>
                <a:gd name="T27" fmla="*/ 80 h 87"/>
                <a:gd name="T28" fmla="*/ 13 w 86"/>
                <a:gd name="T29" fmla="*/ 74 h 87"/>
                <a:gd name="T30" fmla="*/ 6 w 86"/>
                <a:gd name="T31" fmla="*/ 67 h 87"/>
                <a:gd name="T32" fmla="*/ 3 w 86"/>
                <a:gd name="T33" fmla="*/ 60 h 87"/>
                <a:gd name="T34" fmla="*/ 0 w 86"/>
                <a:gd name="T35" fmla="*/ 52 h 87"/>
                <a:gd name="T36" fmla="*/ 0 w 86"/>
                <a:gd name="T37" fmla="*/ 44 h 87"/>
                <a:gd name="T38" fmla="*/ 0 w 86"/>
                <a:gd name="T39" fmla="*/ 44 h 87"/>
                <a:gd name="T40" fmla="*/ 0 w 86"/>
                <a:gd name="T41" fmla="*/ 34 h 87"/>
                <a:gd name="T42" fmla="*/ 3 w 86"/>
                <a:gd name="T43" fmla="*/ 26 h 87"/>
                <a:gd name="T44" fmla="*/ 6 w 86"/>
                <a:gd name="T45" fmla="*/ 20 h 87"/>
                <a:gd name="T46" fmla="*/ 13 w 86"/>
                <a:gd name="T47" fmla="*/ 13 h 87"/>
                <a:gd name="T48" fmla="*/ 19 w 86"/>
                <a:gd name="T49" fmla="*/ 8 h 87"/>
                <a:gd name="T50" fmla="*/ 26 w 86"/>
                <a:gd name="T51" fmla="*/ 3 h 87"/>
                <a:gd name="T52" fmla="*/ 34 w 86"/>
                <a:gd name="T53" fmla="*/ 2 h 87"/>
                <a:gd name="T54" fmla="*/ 42 w 86"/>
                <a:gd name="T55" fmla="*/ 0 h 87"/>
                <a:gd name="T56" fmla="*/ 42 w 86"/>
                <a:gd name="T57" fmla="*/ 0 h 87"/>
                <a:gd name="T58" fmla="*/ 52 w 86"/>
                <a:gd name="T59" fmla="*/ 2 h 87"/>
                <a:gd name="T60" fmla="*/ 60 w 86"/>
                <a:gd name="T61" fmla="*/ 3 h 87"/>
                <a:gd name="T62" fmla="*/ 67 w 86"/>
                <a:gd name="T63" fmla="*/ 8 h 87"/>
                <a:gd name="T64" fmla="*/ 73 w 86"/>
                <a:gd name="T65" fmla="*/ 13 h 87"/>
                <a:gd name="T66" fmla="*/ 78 w 86"/>
                <a:gd name="T67" fmla="*/ 20 h 87"/>
                <a:gd name="T68" fmla="*/ 83 w 86"/>
                <a:gd name="T69" fmla="*/ 26 h 87"/>
                <a:gd name="T70" fmla="*/ 85 w 86"/>
                <a:gd name="T71" fmla="*/ 34 h 87"/>
                <a:gd name="T72" fmla="*/ 86 w 86"/>
                <a:gd name="T73" fmla="*/ 44 h 87"/>
                <a:gd name="T74" fmla="*/ 86 w 86"/>
                <a:gd name="T75" fmla="*/ 4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87">
                  <a:moveTo>
                    <a:pt x="86" y="44"/>
                  </a:moveTo>
                  <a:lnTo>
                    <a:pt x="86" y="44"/>
                  </a:lnTo>
                  <a:lnTo>
                    <a:pt x="85" y="52"/>
                  </a:lnTo>
                  <a:lnTo>
                    <a:pt x="83" y="60"/>
                  </a:lnTo>
                  <a:lnTo>
                    <a:pt x="78" y="67"/>
                  </a:lnTo>
                  <a:lnTo>
                    <a:pt x="73" y="74"/>
                  </a:lnTo>
                  <a:lnTo>
                    <a:pt x="67" y="80"/>
                  </a:lnTo>
                  <a:lnTo>
                    <a:pt x="60" y="83"/>
                  </a:lnTo>
                  <a:lnTo>
                    <a:pt x="52" y="87"/>
                  </a:lnTo>
                  <a:lnTo>
                    <a:pt x="42" y="87"/>
                  </a:lnTo>
                  <a:lnTo>
                    <a:pt x="42" y="87"/>
                  </a:lnTo>
                  <a:lnTo>
                    <a:pt x="34" y="87"/>
                  </a:lnTo>
                  <a:lnTo>
                    <a:pt x="26" y="83"/>
                  </a:lnTo>
                  <a:lnTo>
                    <a:pt x="19" y="80"/>
                  </a:lnTo>
                  <a:lnTo>
                    <a:pt x="13" y="74"/>
                  </a:lnTo>
                  <a:lnTo>
                    <a:pt x="6" y="67"/>
                  </a:lnTo>
                  <a:lnTo>
                    <a:pt x="3" y="60"/>
                  </a:lnTo>
                  <a:lnTo>
                    <a:pt x="0" y="52"/>
                  </a:lnTo>
                  <a:lnTo>
                    <a:pt x="0" y="44"/>
                  </a:lnTo>
                  <a:lnTo>
                    <a:pt x="0" y="44"/>
                  </a:lnTo>
                  <a:lnTo>
                    <a:pt x="0" y="34"/>
                  </a:lnTo>
                  <a:lnTo>
                    <a:pt x="3" y="26"/>
                  </a:lnTo>
                  <a:lnTo>
                    <a:pt x="6" y="20"/>
                  </a:lnTo>
                  <a:lnTo>
                    <a:pt x="13" y="13"/>
                  </a:lnTo>
                  <a:lnTo>
                    <a:pt x="19" y="8"/>
                  </a:lnTo>
                  <a:lnTo>
                    <a:pt x="26" y="3"/>
                  </a:lnTo>
                  <a:lnTo>
                    <a:pt x="34" y="2"/>
                  </a:lnTo>
                  <a:lnTo>
                    <a:pt x="42" y="0"/>
                  </a:lnTo>
                  <a:lnTo>
                    <a:pt x="42" y="0"/>
                  </a:lnTo>
                  <a:lnTo>
                    <a:pt x="52" y="2"/>
                  </a:lnTo>
                  <a:lnTo>
                    <a:pt x="60" y="3"/>
                  </a:lnTo>
                  <a:lnTo>
                    <a:pt x="67" y="8"/>
                  </a:lnTo>
                  <a:lnTo>
                    <a:pt x="73" y="13"/>
                  </a:lnTo>
                  <a:lnTo>
                    <a:pt x="78" y="20"/>
                  </a:lnTo>
                  <a:lnTo>
                    <a:pt x="83" y="26"/>
                  </a:lnTo>
                  <a:lnTo>
                    <a:pt x="85" y="34"/>
                  </a:lnTo>
                  <a:lnTo>
                    <a:pt x="86" y="44"/>
                  </a:lnTo>
                  <a:lnTo>
                    <a:pt x="86" y="4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49" name="Group 48"/>
          <p:cNvGrpSpPr/>
          <p:nvPr/>
        </p:nvGrpSpPr>
        <p:grpSpPr>
          <a:xfrm>
            <a:off x="8735465" y="4687785"/>
            <a:ext cx="499487" cy="445779"/>
            <a:chOff x="3817938" y="3571875"/>
            <a:chExt cx="295275" cy="263525"/>
          </a:xfrm>
          <a:solidFill>
            <a:schemeClr val="accent2"/>
          </a:solidFill>
        </p:grpSpPr>
        <p:sp>
          <p:nvSpPr>
            <p:cNvPr id="50" name="Freeform 123"/>
            <p:cNvSpPr/>
            <p:nvPr/>
          </p:nvSpPr>
          <p:spPr bwMode="auto">
            <a:xfrm>
              <a:off x="3833813" y="3660775"/>
              <a:ext cx="69850" cy="69850"/>
            </a:xfrm>
            <a:custGeom>
              <a:avLst/>
              <a:gdLst>
                <a:gd name="T0" fmla="*/ 22 w 44"/>
                <a:gd name="T1" fmla="*/ 44 h 44"/>
                <a:gd name="T2" fmla="*/ 22 w 44"/>
                <a:gd name="T3" fmla="*/ 44 h 44"/>
                <a:gd name="T4" fmla="*/ 30 w 44"/>
                <a:gd name="T5" fmla="*/ 42 h 44"/>
                <a:gd name="T6" fmla="*/ 38 w 44"/>
                <a:gd name="T7" fmla="*/ 38 h 44"/>
                <a:gd name="T8" fmla="*/ 42 w 44"/>
                <a:gd name="T9" fmla="*/ 30 h 44"/>
                <a:gd name="T10" fmla="*/ 44 w 44"/>
                <a:gd name="T11" fmla="*/ 22 h 44"/>
                <a:gd name="T12" fmla="*/ 44 w 44"/>
                <a:gd name="T13" fmla="*/ 22 h 44"/>
                <a:gd name="T14" fmla="*/ 42 w 44"/>
                <a:gd name="T15" fmla="*/ 12 h 44"/>
                <a:gd name="T16" fmla="*/ 38 w 44"/>
                <a:gd name="T17" fmla="*/ 6 h 44"/>
                <a:gd name="T18" fmla="*/ 30 w 44"/>
                <a:gd name="T19" fmla="*/ 2 h 44"/>
                <a:gd name="T20" fmla="*/ 22 w 44"/>
                <a:gd name="T21" fmla="*/ 0 h 44"/>
                <a:gd name="T22" fmla="*/ 22 w 44"/>
                <a:gd name="T23" fmla="*/ 0 h 44"/>
                <a:gd name="T24" fmla="*/ 14 w 44"/>
                <a:gd name="T25" fmla="*/ 2 h 44"/>
                <a:gd name="T26" fmla="*/ 6 w 44"/>
                <a:gd name="T27" fmla="*/ 6 h 44"/>
                <a:gd name="T28" fmla="*/ 2 w 44"/>
                <a:gd name="T29" fmla="*/ 12 h 44"/>
                <a:gd name="T30" fmla="*/ 0 w 44"/>
                <a:gd name="T31" fmla="*/ 22 h 44"/>
                <a:gd name="T32" fmla="*/ 0 w 44"/>
                <a:gd name="T33" fmla="*/ 22 h 44"/>
                <a:gd name="T34" fmla="*/ 2 w 44"/>
                <a:gd name="T35" fmla="*/ 30 h 44"/>
                <a:gd name="T36" fmla="*/ 6 w 44"/>
                <a:gd name="T37" fmla="*/ 38 h 44"/>
                <a:gd name="T38" fmla="*/ 14 w 44"/>
                <a:gd name="T39" fmla="*/ 42 h 44"/>
                <a:gd name="T40" fmla="*/ 22 w 44"/>
                <a:gd name="T41" fmla="*/ 44 h 44"/>
                <a:gd name="T42" fmla="*/ 22 w 44"/>
                <a:gd name="T4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44">
                  <a:moveTo>
                    <a:pt x="22" y="44"/>
                  </a:moveTo>
                  <a:lnTo>
                    <a:pt x="22" y="44"/>
                  </a:lnTo>
                  <a:lnTo>
                    <a:pt x="30" y="42"/>
                  </a:lnTo>
                  <a:lnTo>
                    <a:pt x="38" y="38"/>
                  </a:lnTo>
                  <a:lnTo>
                    <a:pt x="42" y="30"/>
                  </a:lnTo>
                  <a:lnTo>
                    <a:pt x="44" y="22"/>
                  </a:lnTo>
                  <a:lnTo>
                    <a:pt x="44" y="22"/>
                  </a:lnTo>
                  <a:lnTo>
                    <a:pt x="42" y="12"/>
                  </a:lnTo>
                  <a:lnTo>
                    <a:pt x="38" y="6"/>
                  </a:lnTo>
                  <a:lnTo>
                    <a:pt x="30" y="2"/>
                  </a:lnTo>
                  <a:lnTo>
                    <a:pt x="22" y="0"/>
                  </a:lnTo>
                  <a:lnTo>
                    <a:pt x="22" y="0"/>
                  </a:lnTo>
                  <a:lnTo>
                    <a:pt x="14" y="2"/>
                  </a:lnTo>
                  <a:lnTo>
                    <a:pt x="6" y="6"/>
                  </a:lnTo>
                  <a:lnTo>
                    <a:pt x="2" y="12"/>
                  </a:lnTo>
                  <a:lnTo>
                    <a:pt x="0" y="22"/>
                  </a:lnTo>
                  <a:lnTo>
                    <a:pt x="0" y="22"/>
                  </a:lnTo>
                  <a:lnTo>
                    <a:pt x="2" y="30"/>
                  </a:lnTo>
                  <a:lnTo>
                    <a:pt x="6" y="38"/>
                  </a:lnTo>
                  <a:lnTo>
                    <a:pt x="14" y="42"/>
                  </a:lnTo>
                  <a:lnTo>
                    <a:pt x="22" y="44"/>
                  </a:lnTo>
                  <a:lnTo>
                    <a:pt x="22" y="4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1" name="Freeform 124"/>
            <p:cNvSpPr/>
            <p:nvPr/>
          </p:nvSpPr>
          <p:spPr bwMode="auto">
            <a:xfrm>
              <a:off x="3817938" y="3740150"/>
              <a:ext cx="101600" cy="95250"/>
            </a:xfrm>
            <a:custGeom>
              <a:avLst/>
              <a:gdLst>
                <a:gd name="T0" fmla="*/ 32 w 64"/>
                <a:gd name="T1" fmla="*/ 0 h 60"/>
                <a:gd name="T2" fmla="*/ 32 w 64"/>
                <a:gd name="T3" fmla="*/ 0 h 60"/>
                <a:gd name="T4" fmla="*/ 26 w 64"/>
                <a:gd name="T5" fmla="*/ 2 h 60"/>
                <a:gd name="T6" fmla="*/ 20 w 64"/>
                <a:gd name="T7" fmla="*/ 4 h 60"/>
                <a:gd name="T8" fmla="*/ 10 w 64"/>
                <a:gd name="T9" fmla="*/ 10 h 60"/>
                <a:gd name="T10" fmla="*/ 2 w 64"/>
                <a:gd name="T11" fmla="*/ 20 h 60"/>
                <a:gd name="T12" fmla="*/ 0 w 64"/>
                <a:gd name="T13" fmla="*/ 26 h 60"/>
                <a:gd name="T14" fmla="*/ 0 w 64"/>
                <a:gd name="T15" fmla="*/ 32 h 60"/>
                <a:gd name="T16" fmla="*/ 0 w 64"/>
                <a:gd name="T17" fmla="*/ 60 h 60"/>
                <a:gd name="T18" fmla="*/ 64 w 64"/>
                <a:gd name="T19" fmla="*/ 60 h 60"/>
                <a:gd name="T20" fmla="*/ 64 w 64"/>
                <a:gd name="T21" fmla="*/ 32 h 60"/>
                <a:gd name="T22" fmla="*/ 64 w 64"/>
                <a:gd name="T23" fmla="*/ 32 h 60"/>
                <a:gd name="T24" fmla="*/ 64 w 64"/>
                <a:gd name="T25" fmla="*/ 26 h 60"/>
                <a:gd name="T26" fmla="*/ 62 w 64"/>
                <a:gd name="T27" fmla="*/ 20 h 60"/>
                <a:gd name="T28" fmla="*/ 54 w 64"/>
                <a:gd name="T29" fmla="*/ 10 h 60"/>
                <a:gd name="T30" fmla="*/ 44 w 64"/>
                <a:gd name="T31" fmla="*/ 4 h 60"/>
                <a:gd name="T32" fmla="*/ 38 w 64"/>
                <a:gd name="T33" fmla="*/ 2 h 60"/>
                <a:gd name="T34" fmla="*/ 32 w 64"/>
                <a:gd name="T35" fmla="*/ 0 h 60"/>
                <a:gd name="T36" fmla="*/ 32 w 64"/>
                <a:gd name="T3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60">
                  <a:moveTo>
                    <a:pt x="32" y="0"/>
                  </a:moveTo>
                  <a:lnTo>
                    <a:pt x="32" y="0"/>
                  </a:lnTo>
                  <a:lnTo>
                    <a:pt x="26" y="2"/>
                  </a:lnTo>
                  <a:lnTo>
                    <a:pt x="20" y="4"/>
                  </a:lnTo>
                  <a:lnTo>
                    <a:pt x="10" y="10"/>
                  </a:lnTo>
                  <a:lnTo>
                    <a:pt x="2" y="20"/>
                  </a:lnTo>
                  <a:lnTo>
                    <a:pt x="0" y="26"/>
                  </a:lnTo>
                  <a:lnTo>
                    <a:pt x="0" y="32"/>
                  </a:lnTo>
                  <a:lnTo>
                    <a:pt x="0" y="60"/>
                  </a:lnTo>
                  <a:lnTo>
                    <a:pt x="64" y="60"/>
                  </a:lnTo>
                  <a:lnTo>
                    <a:pt x="64" y="32"/>
                  </a:lnTo>
                  <a:lnTo>
                    <a:pt x="64" y="32"/>
                  </a:lnTo>
                  <a:lnTo>
                    <a:pt x="64" y="26"/>
                  </a:lnTo>
                  <a:lnTo>
                    <a:pt x="62" y="20"/>
                  </a:lnTo>
                  <a:lnTo>
                    <a:pt x="54" y="10"/>
                  </a:lnTo>
                  <a:lnTo>
                    <a:pt x="44" y="4"/>
                  </a:lnTo>
                  <a:lnTo>
                    <a:pt x="38" y="2"/>
                  </a:lnTo>
                  <a:lnTo>
                    <a:pt x="32" y="0"/>
                  </a:lnTo>
                  <a:lnTo>
                    <a:pt x="3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2" name="Freeform 125"/>
            <p:cNvSpPr/>
            <p:nvPr/>
          </p:nvSpPr>
          <p:spPr bwMode="auto">
            <a:xfrm>
              <a:off x="4027488" y="3660775"/>
              <a:ext cx="69850" cy="69850"/>
            </a:xfrm>
            <a:custGeom>
              <a:avLst/>
              <a:gdLst>
                <a:gd name="T0" fmla="*/ 22 w 44"/>
                <a:gd name="T1" fmla="*/ 44 h 44"/>
                <a:gd name="T2" fmla="*/ 22 w 44"/>
                <a:gd name="T3" fmla="*/ 44 h 44"/>
                <a:gd name="T4" fmla="*/ 32 w 44"/>
                <a:gd name="T5" fmla="*/ 42 h 44"/>
                <a:gd name="T6" fmla="*/ 38 w 44"/>
                <a:gd name="T7" fmla="*/ 38 h 44"/>
                <a:gd name="T8" fmla="*/ 42 w 44"/>
                <a:gd name="T9" fmla="*/ 30 h 44"/>
                <a:gd name="T10" fmla="*/ 44 w 44"/>
                <a:gd name="T11" fmla="*/ 22 h 44"/>
                <a:gd name="T12" fmla="*/ 44 w 44"/>
                <a:gd name="T13" fmla="*/ 22 h 44"/>
                <a:gd name="T14" fmla="*/ 42 w 44"/>
                <a:gd name="T15" fmla="*/ 12 h 44"/>
                <a:gd name="T16" fmla="*/ 38 w 44"/>
                <a:gd name="T17" fmla="*/ 6 h 44"/>
                <a:gd name="T18" fmla="*/ 32 w 44"/>
                <a:gd name="T19" fmla="*/ 2 h 44"/>
                <a:gd name="T20" fmla="*/ 22 w 44"/>
                <a:gd name="T21" fmla="*/ 0 h 44"/>
                <a:gd name="T22" fmla="*/ 22 w 44"/>
                <a:gd name="T23" fmla="*/ 0 h 44"/>
                <a:gd name="T24" fmla="*/ 14 w 44"/>
                <a:gd name="T25" fmla="*/ 2 h 44"/>
                <a:gd name="T26" fmla="*/ 6 w 44"/>
                <a:gd name="T27" fmla="*/ 6 h 44"/>
                <a:gd name="T28" fmla="*/ 2 w 44"/>
                <a:gd name="T29" fmla="*/ 12 h 44"/>
                <a:gd name="T30" fmla="*/ 0 w 44"/>
                <a:gd name="T31" fmla="*/ 22 h 44"/>
                <a:gd name="T32" fmla="*/ 0 w 44"/>
                <a:gd name="T33" fmla="*/ 22 h 44"/>
                <a:gd name="T34" fmla="*/ 2 w 44"/>
                <a:gd name="T35" fmla="*/ 30 h 44"/>
                <a:gd name="T36" fmla="*/ 6 w 44"/>
                <a:gd name="T37" fmla="*/ 38 h 44"/>
                <a:gd name="T38" fmla="*/ 14 w 44"/>
                <a:gd name="T39" fmla="*/ 42 h 44"/>
                <a:gd name="T40" fmla="*/ 22 w 44"/>
                <a:gd name="T41" fmla="*/ 44 h 44"/>
                <a:gd name="T42" fmla="*/ 22 w 44"/>
                <a:gd name="T4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44">
                  <a:moveTo>
                    <a:pt x="22" y="44"/>
                  </a:moveTo>
                  <a:lnTo>
                    <a:pt x="22" y="44"/>
                  </a:lnTo>
                  <a:lnTo>
                    <a:pt x="32" y="42"/>
                  </a:lnTo>
                  <a:lnTo>
                    <a:pt x="38" y="38"/>
                  </a:lnTo>
                  <a:lnTo>
                    <a:pt x="42" y="30"/>
                  </a:lnTo>
                  <a:lnTo>
                    <a:pt x="44" y="22"/>
                  </a:lnTo>
                  <a:lnTo>
                    <a:pt x="44" y="22"/>
                  </a:lnTo>
                  <a:lnTo>
                    <a:pt x="42" y="12"/>
                  </a:lnTo>
                  <a:lnTo>
                    <a:pt x="38" y="6"/>
                  </a:lnTo>
                  <a:lnTo>
                    <a:pt x="32" y="2"/>
                  </a:lnTo>
                  <a:lnTo>
                    <a:pt x="22" y="0"/>
                  </a:lnTo>
                  <a:lnTo>
                    <a:pt x="22" y="0"/>
                  </a:lnTo>
                  <a:lnTo>
                    <a:pt x="14" y="2"/>
                  </a:lnTo>
                  <a:lnTo>
                    <a:pt x="6" y="6"/>
                  </a:lnTo>
                  <a:lnTo>
                    <a:pt x="2" y="12"/>
                  </a:lnTo>
                  <a:lnTo>
                    <a:pt x="0" y="22"/>
                  </a:lnTo>
                  <a:lnTo>
                    <a:pt x="0" y="22"/>
                  </a:lnTo>
                  <a:lnTo>
                    <a:pt x="2" y="30"/>
                  </a:lnTo>
                  <a:lnTo>
                    <a:pt x="6" y="38"/>
                  </a:lnTo>
                  <a:lnTo>
                    <a:pt x="14" y="42"/>
                  </a:lnTo>
                  <a:lnTo>
                    <a:pt x="22" y="44"/>
                  </a:lnTo>
                  <a:lnTo>
                    <a:pt x="22" y="4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3" name="Freeform 126"/>
            <p:cNvSpPr/>
            <p:nvPr/>
          </p:nvSpPr>
          <p:spPr bwMode="auto">
            <a:xfrm>
              <a:off x="4011613" y="3740150"/>
              <a:ext cx="101600" cy="95250"/>
            </a:xfrm>
            <a:custGeom>
              <a:avLst/>
              <a:gdLst>
                <a:gd name="T0" fmla="*/ 32 w 64"/>
                <a:gd name="T1" fmla="*/ 0 h 60"/>
                <a:gd name="T2" fmla="*/ 32 w 64"/>
                <a:gd name="T3" fmla="*/ 0 h 60"/>
                <a:gd name="T4" fmla="*/ 26 w 64"/>
                <a:gd name="T5" fmla="*/ 2 h 60"/>
                <a:gd name="T6" fmla="*/ 20 w 64"/>
                <a:gd name="T7" fmla="*/ 4 h 60"/>
                <a:gd name="T8" fmla="*/ 10 w 64"/>
                <a:gd name="T9" fmla="*/ 10 h 60"/>
                <a:gd name="T10" fmla="*/ 4 w 64"/>
                <a:gd name="T11" fmla="*/ 20 h 60"/>
                <a:gd name="T12" fmla="*/ 2 w 64"/>
                <a:gd name="T13" fmla="*/ 26 h 60"/>
                <a:gd name="T14" fmla="*/ 0 w 64"/>
                <a:gd name="T15" fmla="*/ 32 h 60"/>
                <a:gd name="T16" fmla="*/ 0 w 64"/>
                <a:gd name="T17" fmla="*/ 60 h 60"/>
                <a:gd name="T18" fmla="*/ 64 w 64"/>
                <a:gd name="T19" fmla="*/ 60 h 60"/>
                <a:gd name="T20" fmla="*/ 64 w 64"/>
                <a:gd name="T21" fmla="*/ 32 h 60"/>
                <a:gd name="T22" fmla="*/ 64 w 64"/>
                <a:gd name="T23" fmla="*/ 32 h 60"/>
                <a:gd name="T24" fmla="*/ 64 w 64"/>
                <a:gd name="T25" fmla="*/ 26 h 60"/>
                <a:gd name="T26" fmla="*/ 62 w 64"/>
                <a:gd name="T27" fmla="*/ 20 h 60"/>
                <a:gd name="T28" fmla="*/ 54 w 64"/>
                <a:gd name="T29" fmla="*/ 10 h 60"/>
                <a:gd name="T30" fmla="*/ 44 w 64"/>
                <a:gd name="T31" fmla="*/ 4 h 60"/>
                <a:gd name="T32" fmla="*/ 38 w 64"/>
                <a:gd name="T33" fmla="*/ 2 h 60"/>
                <a:gd name="T34" fmla="*/ 32 w 64"/>
                <a:gd name="T35" fmla="*/ 0 h 60"/>
                <a:gd name="T36" fmla="*/ 32 w 64"/>
                <a:gd name="T3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60">
                  <a:moveTo>
                    <a:pt x="32" y="0"/>
                  </a:moveTo>
                  <a:lnTo>
                    <a:pt x="32" y="0"/>
                  </a:lnTo>
                  <a:lnTo>
                    <a:pt x="26" y="2"/>
                  </a:lnTo>
                  <a:lnTo>
                    <a:pt x="20" y="4"/>
                  </a:lnTo>
                  <a:lnTo>
                    <a:pt x="10" y="10"/>
                  </a:lnTo>
                  <a:lnTo>
                    <a:pt x="4" y="20"/>
                  </a:lnTo>
                  <a:lnTo>
                    <a:pt x="2" y="26"/>
                  </a:lnTo>
                  <a:lnTo>
                    <a:pt x="0" y="32"/>
                  </a:lnTo>
                  <a:lnTo>
                    <a:pt x="0" y="60"/>
                  </a:lnTo>
                  <a:lnTo>
                    <a:pt x="64" y="60"/>
                  </a:lnTo>
                  <a:lnTo>
                    <a:pt x="64" y="32"/>
                  </a:lnTo>
                  <a:lnTo>
                    <a:pt x="64" y="32"/>
                  </a:lnTo>
                  <a:lnTo>
                    <a:pt x="64" y="26"/>
                  </a:lnTo>
                  <a:lnTo>
                    <a:pt x="62" y="20"/>
                  </a:lnTo>
                  <a:lnTo>
                    <a:pt x="54" y="10"/>
                  </a:lnTo>
                  <a:lnTo>
                    <a:pt x="44" y="4"/>
                  </a:lnTo>
                  <a:lnTo>
                    <a:pt x="38" y="2"/>
                  </a:lnTo>
                  <a:lnTo>
                    <a:pt x="32" y="0"/>
                  </a:lnTo>
                  <a:lnTo>
                    <a:pt x="3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4" name="Freeform 127"/>
            <p:cNvSpPr/>
            <p:nvPr/>
          </p:nvSpPr>
          <p:spPr bwMode="auto">
            <a:xfrm>
              <a:off x="3929063" y="3571875"/>
              <a:ext cx="73025" cy="73025"/>
            </a:xfrm>
            <a:custGeom>
              <a:avLst/>
              <a:gdLst>
                <a:gd name="T0" fmla="*/ 24 w 46"/>
                <a:gd name="T1" fmla="*/ 46 h 46"/>
                <a:gd name="T2" fmla="*/ 24 w 46"/>
                <a:gd name="T3" fmla="*/ 46 h 46"/>
                <a:gd name="T4" fmla="*/ 32 w 46"/>
                <a:gd name="T5" fmla="*/ 44 h 46"/>
                <a:gd name="T6" fmla="*/ 38 w 46"/>
                <a:gd name="T7" fmla="*/ 38 h 46"/>
                <a:gd name="T8" fmla="*/ 44 w 46"/>
                <a:gd name="T9" fmla="*/ 32 h 46"/>
                <a:gd name="T10" fmla="*/ 46 w 46"/>
                <a:gd name="T11" fmla="*/ 22 h 46"/>
                <a:gd name="T12" fmla="*/ 46 w 46"/>
                <a:gd name="T13" fmla="*/ 22 h 46"/>
                <a:gd name="T14" fmla="*/ 44 w 46"/>
                <a:gd name="T15" fmla="*/ 14 h 46"/>
                <a:gd name="T16" fmla="*/ 38 w 46"/>
                <a:gd name="T17" fmla="*/ 8 h 46"/>
                <a:gd name="T18" fmla="*/ 32 w 46"/>
                <a:gd name="T19" fmla="*/ 2 h 46"/>
                <a:gd name="T20" fmla="*/ 24 w 46"/>
                <a:gd name="T21" fmla="*/ 0 h 46"/>
                <a:gd name="T22" fmla="*/ 24 w 46"/>
                <a:gd name="T23" fmla="*/ 0 h 46"/>
                <a:gd name="T24" fmla="*/ 14 w 46"/>
                <a:gd name="T25" fmla="*/ 2 h 46"/>
                <a:gd name="T26" fmla="*/ 8 w 46"/>
                <a:gd name="T27" fmla="*/ 8 h 46"/>
                <a:gd name="T28" fmla="*/ 2 w 46"/>
                <a:gd name="T29" fmla="*/ 14 h 46"/>
                <a:gd name="T30" fmla="*/ 0 w 46"/>
                <a:gd name="T31" fmla="*/ 22 h 46"/>
                <a:gd name="T32" fmla="*/ 0 w 46"/>
                <a:gd name="T33" fmla="*/ 22 h 46"/>
                <a:gd name="T34" fmla="*/ 2 w 46"/>
                <a:gd name="T35" fmla="*/ 32 h 46"/>
                <a:gd name="T36" fmla="*/ 8 w 46"/>
                <a:gd name="T37" fmla="*/ 38 h 46"/>
                <a:gd name="T38" fmla="*/ 14 w 46"/>
                <a:gd name="T39" fmla="*/ 44 h 46"/>
                <a:gd name="T40" fmla="*/ 24 w 46"/>
                <a:gd name="T41" fmla="*/ 46 h 46"/>
                <a:gd name="T42" fmla="*/ 24 w 46"/>
                <a:gd name="T43"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46">
                  <a:moveTo>
                    <a:pt x="24" y="46"/>
                  </a:moveTo>
                  <a:lnTo>
                    <a:pt x="24" y="46"/>
                  </a:lnTo>
                  <a:lnTo>
                    <a:pt x="32" y="44"/>
                  </a:lnTo>
                  <a:lnTo>
                    <a:pt x="38" y="38"/>
                  </a:lnTo>
                  <a:lnTo>
                    <a:pt x="44" y="32"/>
                  </a:lnTo>
                  <a:lnTo>
                    <a:pt x="46" y="22"/>
                  </a:lnTo>
                  <a:lnTo>
                    <a:pt x="46" y="22"/>
                  </a:lnTo>
                  <a:lnTo>
                    <a:pt x="44" y="14"/>
                  </a:lnTo>
                  <a:lnTo>
                    <a:pt x="38" y="8"/>
                  </a:lnTo>
                  <a:lnTo>
                    <a:pt x="32" y="2"/>
                  </a:lnTo>
                  <a:lnTo>
                    <a:pt x="24" y="0"/>
                  </a:lnTo>
                  <a:lnTo>
                    <a:pt x="24" y="0"/>
                  </a:lnTo>
                  <a:lnTo>
                    <a:pt x="14" y="2"/>
                  </a:lnTo>
                  <a:lnTo>
                    <a:pt x="8" y="8"/>
                  </a:lnTo>
                  <a:lnTo>
                    <a:pt x="2" y="14"/>
                  </a:lnTo>
                  <a:lnTo>
                    <a:pt x="0" y="22"/>
                  </a:lnTo>
                  <a:lnTo>
                    <a:pt x="0" y="22"/>
                  </a:lnTo>
                  <a:lnTo>
                    <a:pt x="2" y="32"/>
                  </a:lnTo>
                  <a:lnTo>
                    <a:pt x="8" y="38"/>
                  </a:lnTo>
                  <a:lnTo>
                    <a:pt x="14" y="44"/>
                  </a:lnTo>
                  <a:lnTo>
                    <a:pt x="24" y="46"/>
                  </a:lnTo>
                  <a:lnTo>
                    <a:pt x="24" y="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5" name="Freeform 128"/>
            <p:cNvSpPr/>
            <p:nvPr/>
          </p:nvSpPr>
          <p:spPr bwMode="auto">
            <a:xfrm>
              <a:off x="3916363" y="3654425"/>
              <a:ext cx="98425" cy="95250"/>
            </a:xfrm>
            <a:custGeom>
              <a:avLst/>
              <a:gdLst>
                <a:gd name="T0" fmla="*/ 62 w 62"/>
                <a:gd name="T1" fmla="*/ 32 h 60"/>
                <a:gd name="T2" fmla="*/ 62 w 62"/>
                <a:gd name="T3" fmla="*/ 32 h 60"/>
                <a:gd name="T4" fmla="*/ 62 w 62"/>
                <a:gd name="T5" fmla="*/ 26 h 60"/>
                <a:gd name="T6" fmla="*/ 60 w 62"/>
                <a:gd name="T7" fmla="*/ 20 h 60"/>
                <a:gd name="T8" fmla="*/ 54 w 62"/>
                <a:gd name="T9" fmla="*/ 10 h 60"/>
                <a:gd name="T10" fmla="*/ 44 w 62"/>
                <a:gd name="T11" fmla="*/ 2 h 60"/>
                <a:gd name="T12" fmla="*/ 38 w 62"/>
                <a:gd name="T13" fmla="*/ 0 h 60"/>
                <a:gd name="T14" fmla="*/ 32 w 62"/>
                <a:gd name="T15" fmla="*/ 0 h 60"/>
                <a:gd name="T16" fmla="*/ 32 w 62"/>
                <a:gd name="T17" fmla="*/ 0 h 60"/>
                <a:gd name="T18" fmla="*/ 24 w 62"/>
                <a:gd name="T19" fmla="*/ 0 h 60"/>
                <a:gd name="T20" fmla="*/ 18 w 62"/>
                <a:gd name="T21" fmla="*/ 2 h 60"/>
                <a:gd name="T22" fmla="*/ 8 w 62"/>
                <a:gd name="T23" fmla="*/ 10 h 60"/>
                <a:gd name="T24" fmla="*/ 2 w 62"/>
                <a:gd name="T25" fmla="*/ 20 h 60"/>
                <a:gd name="T26" fmla="*/ 0 w 62"/>
                <a:gd name="T27" fmla="*/ 26 h 60"/>
                <a:gd name="T28" fmla="*/ 0 w 62"/>
                <a:gd name="T29" fmla="*/ 32 h 60"/>
                <a:gd name="T30" fmla="*/ 0 w 62"/>
                <a:gd name="T31" fmla="*/ 60 h 60"/>
                <a:gd name="T32" fmla="*/ 62 w 62"/>
                <a:gd name="T33" fmla="*/ 60 h 60"/>
                <a:gd name="T34" fmla="*/ 62 w 62"/>
                <a:gd name="T35" fmla="*/ 3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0">
                  <a:moveTo>
                    <a:pt x="62" y="32"/>
                  </a:moveTo>
                  <a:lnTo>
                    <a:pt x="62" y="32"/>
                  </a:lnTo>
                  <a:lnTo>
                    <a:pt x="62" y="26"/>
                  </a:lnTo>
                  <a:lnTo>
                    <a:pt x="60" y="20"/>
                  </a:lnTo>
                  <a:lnTo>
                    <a:pt x="54" y="10"/>
                  </a:lnTo>
                  <a:lnTo>
                    <a:pt x="44" y="2"/>
                  </a:lnTo>
                  <a:lnTo>
                    <a:pt x="38" y="0"/>
                  </a:lnTo>
                  <a:lnTo>
                    <a:pt x="32" y="0"/>
                  </a:lnTo>
                  <a:lnTo>
                    <a:pt x="32" y="0"/>
                  </a:lnTo>
                  <a:lnTo>
                    <a:pt x="24" y="0"/>
                  </a:lnTo>
                  <a:lnTo>
                    <a:pt x="18" y="2"/>
                  </a:lnTo>
                  <a:lnTo>
                    <a:pt x="8" y="10"/>
                  </a:lnTo>
                  <a:lnTo>
                    <a:pt x="2" y="20"/>
                  </a:lnTo>
                  <a:lnTo>
                    <a:pt x="0" y="26"/>
                  </a:lnTo>
                  <a:lnTo>
                    <a:pt x="0" y="32"/>
                  </a:lnTo>
                  <a:lnTo>
                    <a:pt x="0" y="60"/>
                  </a:lnTo>
                  <a:lnTo>
                    <a:pt x="62" y="60"/>
                  </a:lnTo>
                  <a:lnTo>
                    <a:pt x="62" y="3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56" name="Rectangle 55"/>
          <p:cNvSpPr/>
          <p:nvPr/>
        </p:nvSpPr>
        <p:spPr>
          <a:xfrm>
            <a:off x="9551019" y="3574084"/>
            <a:ext cx="1955394" cy="646331"/>
          </a:xfrm>
          <a:prstGeom prst="rect">
            <a:avLst/>
          </a:prstGeom>
          <a:noFill/>
          <a:ln>
            <a:noFill/>
            <a:prstDash val="dash"/>
          </a:ln>
        </p:spPr>
        <p:txBody>
          <a:bodyPr wrap="square" anchor="ctr">
            <a:spAutoFit/>
          </a:bodyPr>
          <a:lstStyle/>
          <a:p>
            <a:pPr>
              <a:buClr>
                <a:srgbClr val="E24848"/>
              </a:buClr>
              <a:defRPr/>
            </a:pPr>
            <a:r>
              <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nc enim sem</a:t>
            </a:r>
            <a:endPar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57" name="Rectangle 56"/>
          <p:cNvSpPr/>
          <p:nvPr/>
        </p:nvSpPr>
        <p:spPr>
          <a:xfrm>
            <a:off x="9551019" y="4647493"/>
            <a:ext cx="1955394" cy="646331"/>
          </a:xfrm>
          <a:prstGeom prst="rect">
            <a:avLst/>
          </a:prstGeom>
          <a:noFill/>
          <a:ln>
            <a:noFill/>
            <a:prstDash val="dash"/>
          </a:ln>
        </p:spPr>
        <p:txBody>
          <a:bodyPr wrap="square" anchor="ctr">
            <a:spAutoFit/>
          </a:bodyPr>
          <a:lstStyle/>
          <a:p>
            <a:pPr>
              <a:buClr>
                <a:srgbClr val="E24848"/>
              </a:buClr>
              <a:defRPr/>
            </a:pPr>
            <a:r>
              <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nc enim sem</a:t>
            </a:r>
            <a:endPar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Tree>
  </p:cSld>
  <p:clrMapOvr>
    <a:masterClrMapping/>
  </p:clrMapOvr>
  <p:transition spd="slow" advClick="0" advTm="0">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p:nvPr/>
        </p:nvSpPr>
        <p:spPr>
          <a:xfrm>
            <a:off x="904902" y="644336"/>
            <a:ext cx="4352898"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3600" b="1" spc="-151" dirty="0">
                <a:solidFill>
                  <a:schemeClr val="accent1"/>
                </a:solidFill>
                <a:latin typeface="Playfair Display" panose="00000500000000000000" pitchFamily="2" charset="0"/>
                <a:ea typeface="Open Sans" panose="020B0606030504020204" pitchFamily="34" charset="0"/>
                <a:cs typeface="Lato" panose="020F0502020204030203" pitchFamily="34" charset="0"/>
              </a:rPr>
              <a:t>Our </a:t>
            </a:r>
            <a:r>
              <a:rPr lang="en-US" sz="3600"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Solution </a:t>
            </a:r>
            <a:endParaRPr lang="en-US" sz="3600"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4" name="Rectangle 3"/>
          <p:cNvSpPr/>
          <p:nvPr/>
        </p:nvSpPr>
        <p:spPr>
          <a:xfrm>
            <a:off x="958692" y="1290667"/>
            <a:ext cx="2156010" cy="261610"/>
          </a:xfrm>
          <a:prstGeom prst="rect">
            <a:avLst/>
          </a:prstGeom>
        </p:spPr>
        <p:txBody>
          <a:bodyPr wrap="square">
            <a:spAutoFit/>
          </a:bodyPr>
          <a:lstStyle/>
          <a:p>
            <a:pPr>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sp>
        <p:nvSpPr>
          <p:cNvPr id="6" name="Shape 22337"/>
          <p:cNvSpPr/>
          <p:nvPr/>
        </p:nvSpPr>
        <p:spPr>
          <a:xfrm>
            <a:off x="10539669" y="2759530"/>
            <a:ext cx="360681" cy="360681"/>
          </a:xfrm>
          <a:prstGeom prst="ellipse">
            <a:avLst/>
          </a:prstGeom>
          <a:solidFill>
            <a:schemeClr val="accent1"/>
          </a:solidFill>
          <a:ln w="12700" cap="flat">
            <a:noFill/>
            <a:miter lim="400000"/>
          </a:ln>
          <a:effectLst/>
        </p:spPr>
        <p:txBody>
          <a:bodyPr wrap="square" lIns="25400" tIns="25400" rIns="25400" bIns="25400" numCol="1" anchor="ctr">
            <a:noAutofit/>
          </a:bodyPr>
          <a:lstStyle/>
          <a:p>
            <a:pPr>
              <a:defRPr sz="3200">
                <a:solidFill>
                  <a:srgbClr val="FFFFFF"/>
                </a:solidFill>
              </a:defRPr>
            </a:pPr>
            <a:endParaRPr sz="1600"/>
          </a:p>
        </p:txBody>
      </p:sp>
      <p:sp>
        <p:nvSpPr>
          <p:cNvPr id="7" name="Shape 22338"/>
          <p:cNvSpPr/>
          <p:nvPr/>
        </p:nvSpPr>
        <p:spPr>
          <a:xfrm>
            <a:off x="10417679" y="2639449"/>
            <a:ext cx="600844" cy="600844"/>
          </a:xfrm>
          <a:prstGeom prst="ellipse">
            <a:avLst/>
          </a:prstGeom>
          <a:noFill/>
          <a:ln w="28575" cap="flat">
            <a:solidFill>
              <a:schemeClr val="bg1">
                <a:lumMod val="65000"/>
              </a:schemeClr>
            </a:solidFill>
            <a:prstDash val="sysDot"/>
            <a:miter lim="400000"/>
          </a:ln>
          <a:effectLst/>
        </p:spPr>
        <p:txBody>
          <a:bodyPr wrap="square" lIns="25400" tIns="25400" rIns="25400" bIns="25400" numCol="1" anchor="ctr">
            <a:noAutofit/>
          </a:bodyPr>
          <a:lstStyle/>
          <a:p>
            <a:pPr>
              <a:defRPr sz="3200">
                <a:solidFill>
                  <a:srgbClr val="FFFFFF"/>
                </a:solidFill>
              </a:defRPr>
            </a:pPr>
            <a:endParaRPr sz="1600"/>
          </a:p>
        </p:txBody>
      </p:sp>
      <p:grpSp>
        <p:nvGrpSpPr>
          <p:cNvPr id="8" name="Group 22360"/>
          <p:cNvGrpSpPr/>
          <p:nvPr/>
        </p:nvGrpSpPr>
        <p:grpSpPr>
          <a:xfrm>
            <a:off x="5357778" y="3185531"/>
            <a:ext cx="5840201" cy="3338157"/>
            <a:chOff x="0" y="0"/>
            <a:chExt cx="11680402" cy="6676313"/>
          </a:xfrm>
        </p:grpSpPr>
        <p:sp>
          <p:nvSpPr>
            <p:cNvPr id="9" name="Shape 22352"/>
            <p:cNvSpPr/>
            <p:nvPr/>
          </p:nvSpPr>
          <p:spPr>
            <a:xfrm>
              <a:off x="1" y="0"/>
              <a:ext cx="11677467" cy="6676313"/>
            </a:xfrm>
            <a:custGeom>
              <a:avLst/>
              <a:gdLst/>
              <a:ahLst/>
              <a:cxnLst>
                <a:cxn ang="0">
                  <a:pos x="wd2" y="hd2"/>
                </a:cxn>
                <a:cxn ang="5400000">
                  <a:pos x="wd2" y="hd2"/>
                </a:cxn>
                <a:cxn ang="10800000">
                  <a:pos x="wd2" y="hd2"/>
                </a:cxn>
                <a:cxn ang="16200000">
                  <a:pos x="wd2" y="hd2"/>
                </a:cxn>
              </a:cxnLst>
              <a:rect l="0" t="0" r="r" b="b"/>
              <a:pathLst>
                <a:path w="21600" h="21600" extrusionOk="0">
                  <a:moveTo>
                    <a:pt x="19914" y="0"/>
                  </a:moveTo>
                  <a:lnTo>
                    <a:pt x="13765" y="4257"/>
                  </a:lnTo>
                  <a:lnTo>
                    <a:pt x="13628" y="8254"/>
                  </a:lnTo>
                  <a:lnTo>
                    <a:pt x="15343" y="8154"/>
                  </a:lnTo>
                  <a:lnTo>
                    <a:pt x="13892" y="11524"/>
                  </a:lnTo>
                  <a:lnTo>
                    <a:pt x="10088" y="6375"/>
                  </a:lnTo>
                  <a:lnTo>
                    <a:pt x="6530" y="13627"/>
                  </a:lnTo>
                  <a:lnTo>
                    <a:pt x="3757" y="11324"/>
                  </a:lnTo>
                  <a:lnTo>
                    <a:pt x="137" y="17603"/>
                  </a:lnTo>
                  <a:lnTo>
                    <a:pt x="0" y="21600"/>
                  </a:lnTo>
                  <a:lnTo>
                    <a:pt x="3814" y="17004"/>
                  </a:lnTo>
                  <a:lnTo>
                    <a:pt x="6701" y="20309"/>
                  </a:lnTo>
                  <a:lnTo>
                    <a:pt x="10341" y="13742"/>
                  </a:lnTo>
                  <a:lnTo>
                    <a:pt x="14239" y="19704"/>
                  </a:lnTo>
                  <a:lnTo>
                    <a:pt x="19175" y="8944"/>
                  </a:lnTo>
                  <a:lnTo>
                    <a:pt x="21463" y="11786"/>
                  </a:lnTo>
                  <a:lnTo>
                    <a:pt x="21600" y="7789"/>
                  </a:lnTo>
                  <a:cubicBezTo>
                    <a:pt x="21600" y="7789"/>
                    <a:pt x="19914" y="0"/>
                    <a:pt x="19914" y="0"/>
                  </a:cubicBezTo>
                  <a:close/>
                </a:path>
              </a:pathLst>
            </a:custGeom>
            <a:gradFill flip="none" rotWithShape="1">
              <a:gsLst>
                <a:gs pos="0">
                  <a:schemeClr val="accent1"/>
                </a:gs>
                <a:gs pos="100000">
                  <a:schemeClr val="tx1">
                    <a:lumMod val="85000"/>
                    <a:lumOff val="15000"/>
                  </a:schemeClr>
                </a:gs>
              </a:gsLst>
              <a:lin ang="5400000" scaled="1"/>
              <a:tileRect/>
            </a:gradFill>
            <a:ln w="12700" cap="flat">
              <a:noFill/>
              <a:miter lim="400000"/>
            </a:ln>
            <a:effectLst>
              <a:outerShdw blurRad="50800" dist="38100" dir="2700000" algn="tl" rotWithShape="0">
                <a:prstClr val="black">
                  <a:alpha val="40000"/>
                </a:prstClr>
              </a:outerShdw>
            </a:effectLst>
          </p:spPr>
          <p:txBody>
            <a:bodyPr wrap="square" lIns="19050" tIns="19050" rIns="19050" bIns="19050" numCol="1" anchor="ctr">
              <a:noAutofit/>
            </a:bodyP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10" name="Shape 22353"/>
            <p:cNvSpPr/>
            <p:nvPr/>
          </p:nvSpPr>
          <p:spPr>
            <a:xfrm>
              <a:off x="10369284" y="1530118"/>
              <a:ext cx="1311118" cy="2113933"/>
            </a:xfrm>
            <a:custGeom>
              <a:avLst/>
              <a:gdLst/>
              <a:ahLst/>
              <a:cxnLst>
                <a:cxn ang="0">
                  <a:pos x="wd2" y="hd2"/>
                </a:cxn>
                <a:cxn ang="5400000">
                  <a:pos x="wd2" y="hd2"/>
                </a:cxn>
                <a:cxn ang="10800000">
                  <a:pos x="wd2" y="hd2"/>
                </a:cxn>
                <a:cxn ang="16200000">
                  <a:pos x="wd2" y="hd2"/>
                </a:cxn>
              </a:cxnLst>
              <a:rect l="0" t="0" r="r" b="b"/>
              <a:pathLst>
                <a:path w="21600" h="21600" extrusionOk="0">
                  <a:moveTo>
                    <a:pt x="21600" y="8976"/>
                  </a:moveTo>
                  <a:lnTo>
                    <a:pt x="20382" y="21600"/>
                  </a:lnTo>
                  <a:lnTo>
                    <a:pt x="0" y="12624"/>
                  </a:lnTo>
                  <a:lnTo>
                    <a:pt x="1217" y="0"/>
                  </a:lnTo>
                  <a:cubicBezTo>
                    <a:pt x="1217" y="0"/>
                    <a:pt x="21600" y="8976"/>
                    <a:pt x="21600" y="8976"/>
                  </a:cubicBezTo>
                  <a:close/>
                </a:path>
              </a:pathLst>
            </a:custGeom>
            <a:solidFill>
              <a:srgbClr val="000000">
                <a:alpha val="55000"/>
              </a:srgbClr>
            </a:solidFill>
            <a:ln w="12700" cap="flat">
              <a:noFill/>
              <a:miter lim="400000"/>
            </a:ln>
            <a:effectLst/>
          </p:spPr>
          <p:txBody>
            <a:bodyPr wrap="square" lIns="19050" tIns="19050" rIns="19050" bIns="19050" numCol="1" anchor="ctr">
              <a:noAutofit/>
            </a:bodyP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11" name="Shape 22354"/>
            <p:cNvSpPr/>
            <p:nvPr/>
          </p:nvSpPr>
          <p:spPr>
            <a:xfrm>
              <a:off x="7705238" y="1530118"/>
              <a:ext cx="2742495" cy="456112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018" y="5851"/>
                  </a:lnTo>
                  <a:lnTo>
                    <a:pt x="0" y="21600"/>
                  </a:lnTo>
                  <a:lnTo>
                    <a:pt x="582" y="15749"/>
                  </a:lnTo>
                  <a:cubicBezTo>
                    <a:pt x="582" y="15749"/>
                    <a:pt x="21600" y="0"/>
                    <a:pt x="21600" y="0"/>
                  </a:cubicBezTo>
                  <a:close/>
                </a:path>
              </a:pathLst>
            </a:custGeom>
            <a:solidFill>
              <a:srgbClr val="000000">
                <a:alpha val="35000"/>
              </a:srgbClr>
            </a:solidFill>
            <a:ln w="12700" cap="flat">
              <a:noFill/>
              <a:miter lim="400000"/>
            </a:ln>
            <a:effectLst/>
          </p:spPr>
          <p:txBody>
            <a:bodyPr wrap="square" lIns="19050" tIns="19050" rIns="19050" bIns="19050" numCol="1" anchor="ctr">
              <a:noAutofit/>
            </a:bodyP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12" name="Shape 22355"/>
            <p:cNvSpPr/>
            <p:nvPr/>
          </p:nvSpPr>
          <p:spPr>
            <a:xfrm>
              <a:off x="5587664" y="3005589"/>
              <a:ext cx="2181322" cy="3078222"/>
            </a:xfrm>
            <a:custGeom>
              <a:avLst/>
              <a:gdLst/>
              <a:ahLst/>
              <a:cxnLst>
                <a:cxn ang="0">
                  <a:pos x="wd2" y="hd2"/>
                </a:cxn>
                <a:cxn ang="5400000">
                  <a:pos x="wd2" y="hd2"/>
                </a:cxn>
                <a:cxn ang="10800000">
                  <a:pos x="wd2" y="hd2"/>
                </a:cxn>
                <a:cxn ang="16200000">
                  <a:pos x="wd2" y="hd2"/>
                </a:cxn>
              </a:cxnLst>
              <a:rect l="0" t="0" r="r" b="b"/>
              <a:pathLst>
                <a:path w="21600" h="21600" extrusionOk="0">
                  <a:moveTo>
                    <a:pt x="21600" y="12930"/>
                  </a:moveTo>
                  <a:lnTo>
                    <a:pt x="20868" y="21600"/>
                  </a:lnTo>
                  <a:lnTo>
                    <a:pt x="0" y="8670"/>
                  </a:lnTo>
                  <a:lnTo>
                    <a:pt x="732" y="0"/>
                  </a:lnTo>
                  <a:cubicBezTo>
                    <a:pt x="732" y="0"/>
                    <a:pt x="21600" y="12930"/>
                    <a:pt x="21600" y="12930"/>
                  </a:cubicBezTo>
                  <a:close/>
                </a:path>
              </a:pathLst>
            </a:custGeom>
            <a:solidFill>
              <a:srgbClr val="000000">
                <a:alpha val="55000"/>
              </a:srgbClr>
            </a:solidFill>
            <a:ln w="12700" cap="flat">
              <a:noFill/>
              <a:miter lim="400000"/>
            </a:ln>
            <a:effectLst/>
          </p:spPr>
          <p:txBody>
            <a:bodyPr wrap="square" lIns="19050" tIns="19050" rIns="19050" bIns="19050" numCol="1" anchor="ctr">
              <a:noAutofit/>
            </a:bodyP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13" name="Shape 22356"/>
            <p:cNvSpPr/>
            <p:nvPr/>
          </p:nvSpPr>
          <p:spPr>
            <a:xfrm>
              <a:off x="3620369" y="3005589"/>
              <a:ext cx="2041596" cy="326545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0818" y="8172"/>
                  </a:lnTo>
                  <a:lnTo>
                    <a:pt x="0" y="21600"/>
                  </a:lnTo>
                  <a:lnTo>
                    <a:pt x="782" y="13428"/>
                  </a:lnTo>
                  <a:cubicBezTo>
                    <a:pt x="782" y="13428"/>
                    <a:pt x="21600" y="0"/>
                    <a:pt x="21600" y="0"/>
                  </a:cubicBezTo>
                  <a:close/>
                </a:path>
              </a:pathLst>
            </a:custGeom>
            <a:solidFill>
              <a:srgbClr val="000000">
                <a:alpha val="35000"/>
              </a:srgbClr>
            </a:solidFill>
            <a:ln w="12700" cap="flat">
              <a:noFill/>
              <a:miter lim="400000"/>
            </a:ln>
            <a:effectLst/>
          </p:spPr>
          <p:txBody>
            <a:bodyPr wrap="square" lIns="19050" tIns="19050" rIns="19050" bIns="19050" numCol="1" anchor="ctr">
              <a:noAutofit/>
            </a:bodyP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14" name="Shape 22357"/>
            <p:cNvSpPr/>
            <p:nvPr/>
          </p:nvSpPr>
          <p:spPr>
            <a:xfrm>
              <a:off x="2062927" y="4016560"/>
              <a:ext cx="1634771" cy="2257062"/>
            </a:xfrm>
            <a:custGeom>
              <a:avLst/>
              <a:gdLst/>
              <a:ahLst/>
              <a:cxnLst>
                <a:cxn ang="0">
                  <a:pos x="wd2" y="hd2"/>
                </a:cxn>
                <a:cxn ang="5400000">
                  <a:pos x="wd2" y="hd2"/>
                </a:cxn>
                <a:cxn ang="10800000">
                  <a:pos x="wd2" y="hd2"/>
                </a:cxn>
                <a:cxn ang="16200000">
                  <a:pos x="wd2" y="hd2"/>
                </a:cxn>
              </a:cxnLst>
              <a:rect l="0" t="0" r="r" b="b"/>
              <a:pathLst>
                <a:path w="21600" h="21600" extrusionOk="0">
                  <a:moveTo>
                    <a:pt x="21600" y="9776"/>
                  </a:moveTo>
                  <a:lnTo>
                    <a:pt x="20624" y="21600"/>
                  </a:lnTo>
                  <a:lnTo>
                    <a:pt x="0" y="11824"/>
                  </a:lnTo>
                  <a:lnTo>
                    <a:pt x="977" y="0"/>
                  </a:lnTo>
                  <a:cubicBezTo>
                    <a:pt x="977" y="0"/>
                    <a:pt x="21600" y="9776"/>
                    <a:pt x="21600" y="9776"/>
                  </a:cubicBezTo>
                  <a:close/>
                </a:path>
              </a:pathLst>
            </a:custGeom>
            <a:solidFill>
              <a:srgbClr val="000000">
                <a:alpha val="55000"/>
              </a:srgbClr>
            </a:solidFill>
            <a:ln w="12700" cap="flat">
              <a:noFill/>
              <a:miter lim="400000"/>
            </a:ln>
            <a:effectLst/>
          </p:spPr>
          <p:txBody>
            <a:bodyPr wrap="square" lIns="19050" tIns="19050" rIns="19050" bIns="19050" numCol="1" anchor="ctr">
              <a:noAutofit/>
            </a:bodyP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15" name="Shape 22358"/>
            <p:cNvSpPr/>
            <p:nvPr/>
          </p:nvSpPr>
          <p:spPr>
            <a:xfrm>
              <a:off x="0" y="4016560"/>
              <a:ext cx="2135707" cy="265598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0852" y="10048"/>
                  </a:lnTo>
                  <a:lnTo>
                    <a:pt x="0" y="21600"/>
                  </a:lnTo>
                  <a:lnTo>
                    <a:pt x="747" y="11552"/>
                  </a:lnTo>
                  <a:cubicBezTo>
                    <a:pt x="747" y="11552"/>
                    <a:pt x="21600" y="0"/>
                    <a:pt x="21600" y="0"/>
                  </a:cubicBezTo>
                  <a:close/>
                </a:path>
              </a:pathLst>
            </a:custGeom>
            <a:solidFill>
              <a:srgbClr val="000000">
                <a:alpha val="35000"/>
              </a:srgbClr>
            </a:solidFill>
            <a:ln w="12700" cap="flat">
              <a:noFill/>
              <a:miter lim="400000"/>
            </a:ln>
            <a:effectLst/>
          </p:spPr>
          <p:txBody>
            <a:bodyPr wrap="square" lIns="19050" tIns="19050" rIns="19050" bIns="19050" numCol="1" anchor="ctr">
              <a:noAutofit/>
            </a:bodyP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16" name="Shape 22359"/>
            <p:cNvSpPr/>
            <p:nvPr/>
          </p:nvSpPr>
          <p:spPr>
            <a:xfrm>
              <a:off x="7377356" y="1256882"/>
              <a:ext cx="1879829" cy="1295903"/>
            </a:xfrm>
            <a:custGeom>
              <a:avLst/>
              <a:gdLst/>
              <a:ahLst/>
              <a:cxnLst>
                <a:cxn ang="0">
                  <a:pos x="wd2" y="hd2"/>
                </a:cxn>
                <a:cxn ang="5400000">
                  <a:pos x="wd2" y="hd2"/>
                </a:cxn>
                <a:cxn ang="10800000">
                  <a:pos x="wd2" y="hd2"/>
                </a:cxn>
                <a:cxn ang="16200000">
                  <a:pos x="wd2" y="hd2"/>
                </a:cxn>
              </a:cxnLst>
              <a:rect l="0" t="0" r="r" b="b"/>
              <a:pathLst>
                <a:path w="21600" h="21600" extrusionOk="0">
                  <a:moveTo>
                    <a:pt x="849" y="1007"/>
                  </a:moveTo>
                  <a:lnTo>
                    <a:pt x="0" y="21600"/>
                  </a:lnTo>
                  <a:lnTo>
                    <a:pt x="10655" y="21083"/>
                  </a:lnTo>
                  <a:lnTo>
                    <a:pt x="21600" y="0"/>
                  </a:lnTo>
                  <a:cubicBezTo>
                    <a:pt x="21600" y="0"/>
                    <a:pt x="849" y="1007"/>
                    <a:pt x="849" y="1007"/>
                  </a:cubicBezTo>
                  <a:close/>
                </a:path>
              </a:pathLst>
            </a:custGeom>
            <a:solidFill>
              <a:srgbClr val="000000">
                <a:alpha val="35000"/>
              </a:srgbClr>
            </a:solidFill>
            <a:ln w="12700" cap="flat">
              <a:noFill/>
              <a:miter lim="400000"/>
            </a:ln>
            <a:effectLst/>
          </p:spPr>
          <p:txBody>
            <a:bodyPr wrap="square" lIns="19050" tIns="19050" rIns="19050" bIns="19050" numCol="1" anchor="ctr">
              <a:noAutofit/>
            </a:bodyP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grpSp>
      <p:sp>
        <p:nvSpPr>
          <p:cNvPr id="18" name="Shape 22361"/>
          <p:cNvSpPr/>
          <p:nvPr/>
        </p:nvSpPr>
        <p:spPr>
          <a:xfrm>
            <a:off x="6153097" y="1986804"/>
            <a:ext cx="2035664" cy="974626"/>
          </a:xfrm>
          <a:prstGeom prst="rect">
            <a:avLst/>
          </a:prstGeom>
          <a:noFill/>
          <a:ln w="12700" cap="flat">
            <a:noFill/>
            <a:miter lim="400000"/>
          </a:ln>
          <a:effectLst/>
        </p:spPr>
        <p:txBody>
          <a:bodyPr wrap="square" lIns="25400" tIns="25400" rIns="25400" bIns="25400" numCol="1" anchor="t">
            <a:spAutoFit/>
          </a:bodyPr>
          <a:lstStyle>
            <a:lvl1pPr algn="l">
              <a:defRPr sz="15000" b="1">
                <a:solidFill>
                  <a:srgbClr val="82165D"/>
                </a:solidFill>
                <a:latin typeface="Helvetica"/>
                <a:ea typeface="Helvetica"/>
                <a:cs typeface="Helvetica"/>
                <a:sym typeface="Helvetica"/>
              </a:defRPr>
            </a:lvl1pPr>
          </a:lstStyle>
          <a:p>
            <a:pPr algn="r">
              <a:defRPr sz="12000"/>
            </a:pPr>
            <a:r>
              <a:rPr sz="6000" dirty="0">
                <a:solidFill>
                  <a:schemeClr val="accent1"/>
                </a:solidFill>
                <a:latin typeface="Playfair Display" panose="00000500000000000000" pitchFamily="2" charset="0"/>
                <a:cs typeface="Lato" panose="020F0502020204030203" pitchFamily="34" charset="0"/>
              </a:rPr>
              <a:t>85%</a:t>
            </a:r>
            <a:endParaRPr sz="6000" dirty="0">
              <a:solidFill>
                <a:schemeClr val="accent1"/>
              </a:solidFill>
              <a:latin typeface="Playfair Display" panose="00000500000000000000" pitchFamily="2" charset="0"/>
              <a:cs typeface="Lato" panose="020F0502020204030203" pitchFamily="34" charset="0"/>
            </a:endParaRPr>
          </a:p>
        </p:txBody>
      </p:sp>
      <p:sp>
        <p:nvSpPr>
          <p:cNvPr id="20" name="Shape 22380"/>
          <p:cNvSpPr/>
          <p:nvPr/>
        </p:nvSpPr>
        <p:spPr>
          <a:xfrm>
            <a:off x="8190715" y="2244878"/>
            <a:ext cx="2536038" cy="381404"/>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0"/>
                </a:lnTo>
                <a:lnTo>
                  <a:pt x="0" y="0"/>
                </a:lnTo>
              </a:path>
            </a:pathLst>
          </a:custGeom>
          <a:ln w="28575">
            <a:solidFill>
              <a:schemeClr val="bg1">
                <a:lumMod val="65000"/>
              </a:schemeClr>
            </a:solidFill>
            <a:prstDash val="sysDot"/>
            <a:miter lim="400000"/>
          </a:ln>
        </p:spPr>
        <p:txBody>
          <a:bodyPr lIns="25400" tIns="25400" rIns="25400" bIns="25400" anchor="ctr"/>
          <a:lstStyle/>
          <a:p>
            <a:pPr>
              <a:defRPr sz="3200"/>
            </a:pPr>
            <a:endParaRPr sz="1600"/>
          </a:p>
        </p:txBody>
      </p:sp>
      <p:sp>
        <p:nvSpPr>
          <p:cNvPr id="31" name="Rectangle 30"/>
          <p:cNvSpPr/>
          <p:nvPr/>
        </p:nvSpPr>
        <p:spPr>
          <a:xfrm>
            <a:off x="6642100" y="2996007"/>
            <a:ext cx="2402890" cy="830997"/>
          </a:xfrm>
          <a:prstGeom prst="rect">
            <a:avLst/>
          </a:prstGeom>
        </p:spPr>
        <p:txBody>
          <a:bodyPr wrap="square">
            <a:spAutoFit/>
          </a:bodyPr>
          <a:lstStyle/>
          <a:p>
            <a:pPr>
              <a:buClr>
                <a:srgbClr val="E24848"/>
              </a:buClr>
              <a:defRPr/>
            </a:pPr>
            <a:r>
              <a:rPr lang="en-US" sz="12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dolor sit amet consectetur adipiscing elit. Nunc enim sem commodo a rhoncus sit amet, </a:t>
            </a:r>
            <a:endParaRPr lang="en-US" sz="1200"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grpSp>
        <p:nvGrpSpPr>
          <p:cNvPr id="35" name="Group 34"/>
          <p:cNvGrpSpPr/>
          <p:nvPr/>
        </p:nvGrpSpPr>
        <p:grpSpPr>
          <a:xfrm flipH="1">
            <a:off x="4912039" y="2143144"/>
            <a:ext cx="1477203" cy="1701359"/>
            <a:chOff x="5059363" y="1522413"/>
            <a:chExt cx="638175" cy="735013"/>
          </a:xfrm>
          <a:solidFill>
            <a:schemeClr val="accent2"/>
          </a:solidFill>
        </p:grpSpPr>
        <p:sp>
          <p:nvSpPr>
            <p:cNvPr id="36" name="Freeform 34"/>
            <p:cNvSpPr>
              <a:spLocks noEditPoints="1"/>
            </p:cNvSpPr>
            <p:nvPr/>
          </p:nvSpPr>
          <p:spPr bwMode="auto">
            <a:xfrm>
              <a:off x="5202238" y="1522413"/>
              <a:ext cx="495300" cy="728663"/>
            </a:xfrm>
            <a:custGeom>
              <a:avLst/>
              <a:gdLst>
                <a:gd name="T0" fmla="*/ 9 w 312"/>
                <a:gd name="T1" fmla="*/ 455 h 459"/>
                <a:gd name="T2" fmla="*/ 19 w 312"/>
                <a:gd name="T3" fmla="*/ 455 h 459"/>
                <a:gd name="T4" fmla="*/ 26 w 312"/>
                <a:gd name="T5" fmla="*/ 450 h 459"/>
                <a:gd name="T6" fmla="*/ 30 w 312"/>
                <a:gd name="T7" fmla="*/ 441 h 459"/>
                <a:gd name="T8" fmla="*/ 74 w 312"/>
                <a:gd name="T9" fmla="*/ 431 h 459"/>
                <a:gd name="T10" fmla="*/ 309 w 312"/>
                <a:gd name="T11" fmla="*/ 447 h 459"/>
                <a:gd name="T12" fmla="*/ 312 w 312"/>
                <a:gd name="T13" fmla="*/ 407 h 459"/>
                <a:gd name="T14" fmla="*/ 310 w 312"/>
                <a:gd name="T15" fmla="*/ 368 h 459"/>
                <a:gd name="T16" fmla="*/ 311 w 312"/>
                <a:gd name="T17" fmla="*/ 344 h 459"/>
                <a:gd name="T18" fmla="*/ 303 w 312"/>
                <a:gd name="T19" fmla="*/ 323 h 459"/>
                <a:gd name="T20" fmla="*/ 307 w 312"/>
                <a:gd name="T21" fmla="*/ 295 h 459"/>
                <a:gd name="T22" fmla="*/ 298 w 312"/>
                <a:gd name="T23" fmla="*/ 266 h 459"/>
                <a:gd name="T24" fmla="*/ 298 w 312"/>
                <a:gd name="T25" fmla="*/ 244 h 459"/>
                <a:gd name="T26" fmla="*/ 291 w 312"/>
                <a:gd name="T27" fmla="*/ 213 h 459"/>
                <a:gd name="T28" fmla="*/ 254 w 312"/>
                <a:gd name="T29" fmla="*/ 152 h 459"/>
                <a:gd name="T30" fmla="*/ 232 w 312"/>
                <a:gd name="T31" fmla="*/ 139 h 459"/>
                <a:gd name="T32" fmla="*/ 223 w 312"/>
                <a:gd name="T33" fmla="*/ 125 h 459"/>
                <a:gd name="T34" fmla="*/ 202 w 312"/>
                <a:gd name="T35" fmla="*/ 137 h 459"/>
                <a:gd name="T36" fmla="*/ 154 w 312"/>
                <a:gd name="T37" fmla="*/ 208 h 459"/>
                <a:gd name="T38" fmla="*/ 162 w 312"/>
                <a:gd name="T39" fmla="*/ 182 h 459"/>
                <a:gd name="T40" fmla="*/ 162 w 312"/>
                <a:gd name="T41" fmla="*/ 170 h 459"/>
                <a:gd name="T42" fmla="*/ 172 w 312"/>
                <a:gd name="T43" fmla="*/ 145 h 459"/>
                <a:gd name="T44" fmla="*/ 214 w 312"/>
                <a:gd name="T45" fmla="*/ 117 h 459"/>
                <a:gd name="T46" fmla="*/ 225 w 312"/>
                <a:gd name="T47" fmla="*/ 110 h 459"/>
                <a:gd name="T48" fmla="*/ 230 w 312"/>
                <a:gd name="T49" fmla="*/ 97 h 459"/>
                <a:gd name="T50" fmla="*/ 242 w 312"/>
                <a:gd name="T51" fmla="*/ 45 h 459"/>
                <a:gd name="T52" fmla="*/ 228 w 312"/>
                <a:gd name="T53" fmla="*/ 16 h 459"/>
                <a:gd name="T54" fmla="*/ 189 w 312"/>
                <a:gd name="T55" fmla="*/ 0 h 459"/>
                <a:gd name="T56" fmla="*/ 142 w 312"/>
                <a:gd name="T57" fmla="*/ 9 h 459"/>
                <a:gd name="T58" fmla="*/ 134 w 312"/>
                <a:gd name="T59" fmla="*/ 25 h 459"/>
                <a:gd name="T60" fmla="*/ 135 w 312"/>
                <a:gd name="T61" fmla="*/ 44 h 459"/>
                <a:gd name="T62" fmla="*/ 132 w 312"/>
                <a:gd name="T63" fmla="*/ 61 h 459"/>
                <a:gd name="T64" fmla="*/ 123 w 312"/>
                <a:gd name="T65" fmla="*/ 74 h 459"/>
                <a:gd name="T66" fmla="*/ 119 w 312"/>
                <a:gd name="T67" fmla="*/ 85 h 459"/>
                <a:gd name="T68" fmla="*/ 126 w 312"/>
                <a:gd name="T69" fmla="*/ 91 h 459"/>
                <a:gd name="T70" fmla="*/ 125 w 312"/>
                <a:gd name="T71" fmla="*/ 102 h 459"/>
                <a:gd name="T72" fmla="*/ 126 w 312"/>
                <a:gd name="T73" fmla="*/ 110 h 459"/>
                <a:gd name="T74" fmla="*/ 127 w 312"/>
                <a:gd name="T75" fmla="*/ 120 h 459"/>
                <a:gd name="T76" fmla="*/ 141 w 312"/>
                <a:gd name="T77" fmla="*/ 133 h 459"/>
                <a:gd name="T78" fmla="*/ 155 w 312"/>
                <a:gd name="T79" fmla="*/ 135 h 459"/>
                <a:gd name="T80" fmla="*/ 160 w 312"/>
                <a:gd name="T81" fmla="*/ 151 h 459"/>
                <a:gd name="T82" fmla="*/ 152 w 312"/>
                <a:gd name="T83" fmla="*/ 179 h 459"/>
                <a:gd name="T84" fmla="*/ 140 w 312"/>
                <a:gd name="T85" fmla="*/ 211 h 459"/>
                <a:gd name="T86" fmla="*/ 129 w 312"/>
                <a:gd name="T87" fmla="*/ 228 h 459"/>
                <a:gd name="T88" fmla="*/ 111 w 312"/>
                <a:gd name="T89" fmla="*/ 272 h 459"/>
                <a:gd name="T90" fmla="*/ 93 w 312"/>
                <a:gd name="T91" fmla="*/ 336 h 459"/>
                <a:gd name="T92" fmla="*/ 85 w 312"/>
                <a:gd name="T93" fmla="*/ 356 h 459"/>
                <a:gd name="T94" fmla="*/ 68 w 312"/>
                <a:gd name="T95" fmla="*/ 375 h 459"/>
                <a:gd name="T96" fmla="*/ 13 w 312"/>
                <a:gd name="T97" fmla="*/ 413 h 459"/>
                <a:gd name="T98" fmla="*/ 4 w 312"/>
                <a:gd name="T99" fmla="*/ 420 h 459"/>
                <a:gd name="T100" fmla="*/ 3 w 312"/>
                <a:gd name="T101" fmla="*/ 435 h 459"/>
                <a:gd name="T102" fmla="*/ 5 w 312"/>
                <a:gd name="T103" fmla="*/ 447 h 459"/>
                <a:gd name="T104" fmla="*/ 155 w 312"/>
                <a:gd name="T105" fmla="*/ 173 h 459"/>
                <a:gd name="T106" fmla="*/ 114 w 312"/>
                <a:gd name="T107" fmla="*/ 401 h 459"/>
                <a:gd name="T108" fmla="*/ 114 w 312"/>
                <a:gd name="T109" fmla="*/ 376 h 459"/>
                <a:gd name="T110" fmla="*/ 120 w 312"/>
                <a:gd name="T111" fmla="*/ 360 h 459"/>
                <a:gd name="T112" fmla="*/ 114 w 312"/>
                <a:gd name="T113" fmla="*/ 410 h 459"/>
                <a:gd name="T114" fmla="*/ 114 w 312"/>
                <a:gd name="T115" fmla="*/ 402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59">
                  <a:moveTo>
                    <a:pt x="5" y="447"/>
                  </a:moveTo>
                  <a:lnTo>
                    <a:pt x="9" y="454"/>
                  </a:lnTo>
                  <a:lnTo>
                    <a:pt x="9" y="454"/>
                  </a:lnTo>
                  <a:lnTo>
                    <a:pt x="10" y="452"/>
                  </a:lnTo>
                  <a:lnTo>
                    <a:pt x="9" y="455"/>
                  </a:lnTo>
                  <a:lnTo>
                    <a:pt x="9" y="455"/>
                  </a:lnTo>
                  <a:lnTo>
                    <a:pt x="9" y="457"/>
                  </a:lnTo>
                  <a:lnTo>
                    <a:pt x="10" y="458"/>
                  </a:lnTo>
                  <a:lnTo>
                    <a:pt x="14" y="458"/>
                  </a:lnTo>
                  <a:lnTo>
                    <a:pt x="19" y="455"/>
                  </a:lnTo>
                  <a:lnTo>
                    <a:pt x="19" y="455"/>
                  </a:lnTo>
                  <a:lnTo>
                    <a:pt x="24" y="453"/>
                  </a:lnTo>
                  <a:lnTo>
                    <a:pt x="25" y="452"/>
                  </a:lnTo>
                  <a:lnTo>
                    <a:pt x="26" y="450"/>
                  </a:lnTo>
                  <a:lnTo>
                    <a:pt x="26" y="450"/>
                  </a:lnTo>
                  <a:lnTo>
                    <a:pt x="28" y="449"/>
                  </a:lnTo>
                  <a:lnTo>
                    <a:pt x="29" y="446"/>
                  </a:lnTo>
                  <a:lnTo>
                    <a:pt x="30" y="442"/>
                  </a:lnTo>
                  <a:lnTo>
                    <a:pt x="30" y="442"/>
                  </a:lnTo>
                  <a:lnTo>
                    <a:pt x="30" y="441"/>
                  </a:lnTo>
                  <a:lnTo>
                    <a:pt x="32" y="440"/>
                  </a:lnTo>
                  <a:lnTo>
                    <a:pt x="35" y="440"/>
                  </a:lnTo>
                  <a:lnTo>
                    <a:pt x="43" y="452"/>
                  </a:lnTo>
                  <a:lnTo>
                    <a:pt x="74" y="431"/>
                  </a:lnTo>
                  <a:lnTo>
                    <a:pt x="74" y="431"/>
                  </a:lnTo>
                  <a:lnTo>
                    <a:pt x="70" y="459"/>
                  </a:lnTo>
                  <a:lnTo>
                    <a:pt x="312" y="459"/>
                  </a:lnTo>
                  <a:lnTo>
                    <a:pt x="312" y="459"/>
                  </a:lnTo>
                  <a:lnTo>
                    <a:pt x="309" y="447"/>
                  </a:lnTo>
                  <a:lnTo>
                    <a:pt x="309" y="447"/>
                  </a:lnTo>
                  <a:lnTo>
                    <a:pt x="308" y="442"/>
                  </a:lnTo>
                  <a:lnTo>
                    <a:pt x="308" y="436"/>
                  </a:lnTo>
                  <a:lnTo>
                    <a:pt x="311" y="419"/>
                  </a:lnTo>
                  <a:lnTo>
                    <a:pt x="311" y="419"/>
                  </a:lnTo>
                  <a:lnTo>
                    <a:pt x="312" y="407"/>
                  </a:lnTo>
                  <a:lnTo>
                    <a:pt x="312" y="397"/>
                  </a:lnTo>
                  <a:lnTo>
                    <a:pt x="309" y="379"/>
                  </a:lnTo>
                  <a:lnTo>
                    <a:pt x="309" y="379"/>
                  </a:lnTo>
                  <a:lnTo>
                    <a:pt x="309" y="373"/>
                  </a:lnTo>
                  <a:lnTo>
                    <a:pt x="310" y="368"/>
                  </a:lnTo>
                  <a:lnTo>
                    <a:pt x="312" y="362"/>
                  </a:lnTo>
                  <a:lnTo>
                    <a:pt x="312" y="356"/>
                  </a:lnTo>
                  <a:lnTo>
                    <a:pt x="312" y="356"/>
                  </a:lnTo>
                  <a:lnTo>
                    <a:pt x="312" y="350"/>
                  </a:lnTo>
                  <a:lnTo>
                    <a:pt x="311" y="344"/>
                  </a:lnTo>
                  <a:lnTo>
                    <a:pt x="310" y="338"/>
                  </a:lnTo>
                  <a:lnTo>
                    <a:pt x="306" y="331"/>
                  </a:lnTo>
                  <a:lnTo>
                    <a:pt x="306" y="331"/>
                  </a:lnTo>
                  <a:lnTo>
                    <a:pt x="303" y="325"/>
                  </a:lnTo>
                  <a:lnTo>
                    <a:pt x="303" y="323"/>
                  </a:lnTo>
                  <a:lnTo>
                    <a:pt x="305" y="320"/>
                  </a:lnTo>
                  <a:lnTo>
                    <a:pt x="307" y="315"/>
                  </a:lnTo>
                  <a:lnTo>
                    <a:pt x="307" y="315"/>
                  </a:lnTo>
                  <a:lnTo>
                    <a:pt x="308" y="305"/>
                  </a:lnTo>
                  <a:lnTo>
                    <a:pt x="307" y="295"/>
                  </a:lnTo>
                  <a:lnTo>
                    <a:pt x="306" y="285"/>
                  </a:lnTo>
                  <a:lnTo>
                    <a:pt x="303" y="276"/>
                  </a:lnTo>
                  <a:lnTo>
                    <a:pt x="303" y="276"/>
                  </a:lnTo>
                  <a:lnTo>
                    <a:pt x="300" y="269"/>
                  </a:lnTo>
                  <a:lnTo>
                    <a:pt x="298" y="266"/>
                  </a:lnTo>
                  <a:lnTo>
                    <a:pt x="298" y="262"/>
                  </a:lnTo>
                  <a:lnTo>
                    <a:pt x="298" y="255"/>
                  </a:lnTo>
                  <a:lnTo>
                    <a:pt x="298" y="255"/>
                  </a:lnTo>
                  <a:lnTo>
                    <a:pt x="298" y="248"/>
                  </a:lnTo>
                  <a:lnTo>
                    <a:pt x="298" y="244"/>
                  </a:lnTo>
                  <a:lnTo>
                    <a:pt x="298" y="238"/>
                  </a:lnTo>
                  <a:lnTo>
                    <a:pt x="297" y="228"/>
                  </a:lnTo>
                  <a:lnTo>
                    <a:pt x="297" y="228"/>
                  </a:lnTo>
                  <a:lnTo>
                    <a:pt x="294" y="221"/>
                  </a:lnTo>
                  <a:lnTo>
                    <a:pt x="291" y="213"/>
                  </a:lnTo>
                  <a:lnTo>
                    <a:pt x="282" y="194"/>
                  </a:lnTo>
                  <a:lnTo>
                    <a:pt x="262" y="161"/>
                  </a:lnTo>
                  <a:lnTo>
                    <a:pt x="262" y="161"/>
                  </a:lnTo>
                  <a:lnTo>
                    <a:pt x="258" y="156"/>
                  </a:lnTo>
                  <a:lnTo>
                    <a:pt x="254" y="152"/>
                  </a:lnTo>
                  <a:lnTo>
                    <a:pt x="250" y="149"/>
                  </a:lnTo>
                  <a:lnTo>
                    <a:pt x="246" y="147"/>
                  </a:lnTo>
                  <a:lnTo>
                    <a:pt x="239" y="142"/>
                  </a:lnTo>
                  <a:lnTo>
                    <a:pt x="232" y="139"/>
                  </a:lnTo>
                  <a:lnTo>
                    <a:pt x="232" y="139"/>
                  </a:lnTo>
                  <a:lnTo>
                    <a:pt x="230" y="137"/>
                  </a:lnTo>
                  <a:lnTo>
                    <a:pt x="228" y="134"/>
                  </a:lnTo>
                  <a:lnTo>
                    <a:pt x="224" y="125"/>
                  </a:lnTo>
                  <a:lnTo>
                    <a:pt x="221" y="115"/>
                  </a:lnTo>
                  <a:lnTo>
                    <a:pt x="223" y="125"/>
                  </a:lnTo>
                  <a:lnTo>
                    <a:pt x="223" y="125"/>
                  </a:lnTo>
                  <a:lnTo>
                    <a:pt x="218" y="125"/>
                  </a:lnTo>
                  <a:lnTo>
                    <a:pt x="213" y="128"/>
                  </a:lnTo>
                  <a:lnTo>
                    <a:pt x="208" y="132"/>
                  </a:lnTo>
                  <a:lnTo>
                    <a:pt x="202" y="137"/>
                  </a:lnTo>
                  <a:lnTo>
                    <a:pt x="190" y="151"/>
                  </a:lnTo>
                  <a:lnTo>
                    <a:pt x="179" y="166"/>
                  </a:lnTo>
                  <a:lnTo>
                    <a:pt x="169" y="181"/>
                  </a:lnTo>
                  <a:lnTo>
                    <a:pt x="161" y="195"/>
                  </a:lnTo>
                  <a:lnTo>
                    <a:pt x="154" y="208"/>
                  </a:lnTo>
                  <a:lnTo>
                    <a:pt x="156" y="200"/>
                  </a:lnTo>
                  <a:lnTo>
                    <a:pt x="156" y="200"/>
                  </a:lnTo>
                  <a:lnTo>
                    <a:pt x="160" y="191"/>
                  </a:lnTo>
                  <a:lnTo>
                    <a:pt x="162" y="185"/>
                  </a:lnTo>
                  <a:lnTo>
                    <a:pt x="162" y="182"/>
                  </a:lnTo>
                  <a:lnTo>
                    <a:pt x="161" y="181"/>
                  </a:lnTo>
                  <a:lnTo>
                    <a:pt x="165" y="180"/>
                  </a:lnTo>
                  <a:lnTo>
                    <a:pt x="165" y="180"/>
                  </a:lnTo>
                  <a:lnTo>
                    <a:pt x="163" y="175"/>
                  </a:lnTo>
                  <a:lnTo>
                    <a:pt x="162" y="170"/>
                  </a:lnTo>
                  <a:lnTo>
                    <a:pt x="162" y="166"/>
                  </a:lnTo>
                  <a:lnTo>
                    <a:pt x="162" y="166"/>
                  </a:lnTo>
                  <a:lnTo>
                    <a:pt x="165" y="158"/>
                  </a:lnTo>
                  <a:lnTo>
                    <a:pt x="168" y="152"/>
                  </a:lnTo>
                  <a:lnTo>
                    <a:pt x="172" y="145"/>
                  </a:lnTo>
                  <a:lnTo>
                    <a:pt x="177" y="140"/>
                  </a:lnTo>
                  <a:lnTo>
                    <a:pt x="187" y="131"/>
                  </a:lnTo>
                  <a:lnTo>
                    <a:pt x="197" y="125"/>
                  </a:lnTo>
                  <a:lnTo>
                    <a:pt x="206" y="120"/>
                  </a:lnTo>
                  <a:lnTo>
                    <a:pt x="214" y="117"/>
                  </a:lnTo>
                  <a:lnTo>
                    <a:pt x="221" y="115"/>
                  </a:lnTo>
                  <a:lnTo>
                    <a:pt x="221" y="115"/>
                  </a:lnTo>
                  <a:lnTo>
                    <a:pt x="223" y="114"/>
                  </a:lnTo>
                  <a:lnTo>
                    <a:pt x="224" y="112"/>
                  </a:lnTo>
                  <a:lnTo>
                    <a:pt x="225" y="110"/>
                  </a:lnTo>
                  <a:lnTo>
                    <a:pt x="225" y="110"/>
                  </a:lnTo>
                  <a:lnTo>
                    <a:pt x="225" y="106"/>
                  </a:lnTo>
                  <a:lnTo>
                    <a:pt x="227" y="102"/>
                  </a:lnTo>
                  <a:lnTo>
                    <a:pt x="230" y="97"/>
                  </a:lnTo>
                  <a:lnTo>
                    <a:pt x="230" y="97"/>
                  </a:lnTo>
                  <a:lnTo>
                    <a:pt x="236" y="84"/>
                  </a:lnTo>
                  <a:lnTo>
                    <a:pt x="239" y="72"/>
                  </a:lnTo>
                  <a:lnTo>
                    <a:pt x="241" y="62"/>
                  </a:lnTo>
                  <a:lnTo>
                    <a:pt x="242" y="53"/>
                  </a:lnTo>
                  <a:lnTo>
                    <a:pt x="242" y="45"/>
                  </a:lnTo>
                  <a:lnTo>
                    <a:pt x="241" y="39"/>
                  </a:lnTo>
                  <a:lnTo>
                    <a:pt x="240" y="34"/>
                  </a:lnTo>
                  <a:lnTo>
                    <a:pt x="240" y="34"/>
                  </a:lnTo>
                  <a:lnTo>
                    <a:pt x="234" y="25"/>
                  </a:lnTo>
                  <a:lnTo>
                    <a:pt x="228" y="16"/>
                  </a:lnTo>
                  <a:lnTo>
                    <a:pt x="221" y="10"/>
                  </a:lnTo>
                  <a:lnTo>
                    <a:pt x="214" y="5"/>
                  </a:lnTo>
                  <a:lnTo>
                    <a:pt x="206" y="2"/>
                  </a:lnTo>
                  <a:lnTo>
                    <a:pt x="198" y="0"/>
                  </a:lnTo>
                  <a:lnTo>
                    <a:pt x="189" y="0"/>
                  </a:lnTo>
                  <a:lnTo>
                    <a:pt x="182" y="0"/>
                  </a:lnTo>
                  <a:lnTo>
                    <a:pt x="174" y="0"/>
                  </a:lnTo>
                  <a:lnTo>
                    <a:pt x="167" y="2"/>
                  </a:lnTo>
                  <a:lnTo>
                    <a:pt x="154" y="5"/>
                  </a:lnTo>
                  <a:lnTo>
                    <a:pt x="142" y="9"/>
                  </a:lnTo>
                  <a:lnTo>
                    <a:pt x="142" y="9"/>
                  </a:lnTo>
                  <a:lnTo>
                    <a:pt x="137" y="13"/>
                  </a:lnTo>
                  <a:lnTo>
                    <a:pt x="134" y="17"/>
                  </a:lnTo>
                  <a:lnTo>
                    <a:pt x="133" y="21"/>
                  </a:lnTo>
                  <a:lnTo>
                    <a:pt x="134" y="25"/>
                  </a:lnTo>
                  <a:lnTo>
                    <a:pt x="135" y="29"/>
                  </a:lnTo>
                  <a:lnTo>
                    <a:pt x="137" y="31"/>
                  </a:lnTo>
                  <a:lnTo>
                    <a:pt x="139" y="33"/>
                  </a:lnTo>
                  <a:lnTo>
                    <a:pt x="139" y="33"/>
                  </a:lnTo>
                  <a:lnTo>
                    <a:pt x="135" y="44"/>
                  </a:lnTo>
                  <a:lnTo>
                    <a:pt x="132" y="50"/>
                  </a:lnTo>
                  <a:lnTo>
                    <a:pt x="132" y="50"/>
                  </a:lnTo>
                  <a:lnTo>
                    <a:pt x="131" y="54"/>
                  </a:lnTo>
                  <a:lnTo>
                    <a:pt x="131" y="58"/>
                  </a:lnTo>
                  <a:lnTo>
                    <a:pt x="132" y="61"/>
                  </a:lnTo>
                  <a:lnTo>
                    <a:pt x="132" y="61"/>
                  </a:lnTo>
                  <a:lnTo>
                    <a:pt x="132" y="63"/>
                  </a:lnTo>
                  <a:lnTo>
                    <a:pt x="132" y="65"/>
                  </a:lnTo>
                  <a:lnTo>
                    <a:pt x="128" y="70"/>
                  </a:lnTo>
                  <a:lnTo>
                    <a:pt x="123" y="74"/>
                  </a:lnTo>
                  <a:lnTo>
                    <a:pt x="123" y="74"/>
                  </a:lnTo>
                  <a:lnTo>
                    <a:pt x="119" y="77"/>
                  </a:lnTo>
                  <a:lnTo>
                    <a:pt x="118" y="80"/>
                  </a:lnTo>
                  <a:lnTo>
                    <a:pt x="118" y="83"/>
                  </a:lnTo>
                  <a:lnTo>
                    <a:pt x="119" y="85"/>
                  </a:lnTo>
                  <a:lnTo>
                    <a:pt x="122" y="88"/>
                  </a:lnTo>
                  <a:lnTo>
                    <a:pt x="124" y="89"/>
                  </a:lnTo>
                  <a:lnTo>
                    <a:pt x="124" y="89"/>
                  </a:lnTo>
                  <a:lnTo>
                    <a:pt x="125" y="90"/>
                  </a:lnTo>
                  <a:lnTo>
                    <a:pt x="126" y="91"/>
                  </a:lnTo>
                  <a:lnTo>
                    <a:pt x="126" y="93"/>
                  </a:lnTo>
                  <a:lnTo>
                    <a:pt x="125" y="97"/>
                  </a:lnTo>
                  <a:lnTo>
                    <a:pt x="125" y="97"/>
                  </a:lnTo>
                  <a:lnTo>
                    <a:pt x="124" y="100"/>
                  </a:lnTo>
                  <a:lnTo>
                    <a:pt x="125" y="102"/>
                  </a:lnTo>
                  <a:lnTo>
                    <a:pt x="127" y="103"/>
                  </a:lnTo>
                  <a:lnTo>
                    <a:pt x="127" y="103"/>
                  </a:lnTo>
                  <a:lnTo>
                    <a:pt x="126" y="104"/>
                  </a:lnTo>
                  <a:lnTo>
                    <a:pt x="125" y="106"/>
                  </a:lnTo>
                  <a:lnTo>
                    <a:pt x="126" y="110"/>
                  </a:lnTo>
                  <a:lnTo>
                    <a:pt x="127" y="113"/>
                  </a:lnTo>
                  <a:lnTo>
                    <a:pt x="128" y="115"/>
                  </a:lnTo>
                  <a:lnTo>
                    <a:pt x="128" y="115"/>
                  </a:lnTo>
                  <a:lnTo>
                    <a:pt x="127" y="118"/>
                  </a:lnTo>
                  <a:lnTo>
                    <a:pt x="127" y="120"/>
                  </a:lnTo>
                  <a:lnTo>
                    <a:pt x="127" y="123"/>
                  </a:lnTo>
                  <a:lnTo>
                    <a:pt x="128" y="125"/>
                  </a:lnTo>
                  <a:lnTo>
                    <a:pt x="131" y="128"/>
                  </a:lnTo>
                  <a:lnTo>
                    <a:pt x="136" y="131"/>
                  </a:lnTo>
                  <a:lnTo>
                    <a:pt x="141" y="133"/>
                  </a:lnTo>
                  <a:lnTo>
                    <a:pt x="146" y="134"/>
                  </a:lnTo>
                  <a:lnTo>
                    <a:pt x="151" y="135"/>
                  </a:lnTo>
                  <a:lnTo>
                    <a:pt x="151" y="135"/>
                  </a:lnTo>
                  <a:lnTo>
                    <a:pt x="153" y="135"/>
                  </a:lnTo>
                  <a:lnTo>
                    <a:pt x="155" y="135"/>
                  </a:lnTo>
                  <a:lnTo>
                    <a:pt x="157" y="138"/>
                  </a:lnTo>
                  <a:lnTo>
                    <a:pt x="158" y="142"/>
                  </a:lnTo>
                  <a:lnTo>
                    <a:pt x="158" y="142"/>
                  </a:lnTo>
                  <a:lnTo>
                    <a:pt x="159" y="147"/>
                  </a:lnTo>
                  <a:lnTo>
                    <a:pt x="160" y="151"/>
                  </a:lnTo>
                  <a:lnTo>
                    <a:pt x="163" y="155"/>
                  </a:lnTo>
                  <a:lnTo>
                    <a:pt x="163" y="155"/>
                  </a:lnTo>
                  <a:lnTo>
                    <a:pt x="160" y="158"/>
                  </a:lnTo>
                  <a:lnTo>
                    <a:pt x="158" y="164"/>
                  </a:lnTo>
                  <a:lnTo>
                    <a:pt x="152" y="179"/>
                  </a:lnTo>
                  <a:lnTo>
                    <a:pt x="152" y="179"/>
                  </a:lnTo>
                  <a:lnTo>
                    <a:pt x="149" y="188"/>
                  </a:lnTo>
                  <a:lnTo>
                    <a:pt x="146" y="199"/>
                  </a:lnTo>
                  <a:lnTo>
                    <a:pt x="142" y="207"/>
                  </a:lnTo>
                  <a:lnTo>
                    <a:pt x="140" y="211"/>
                  </a:lnTo>
                  <a:lnTo>
                    <a:pt x="138" y="213"/>
                  </a:lnTo>
                  <a:lnTo>
                    <a:pt x="138" y="213"/>
                  </a:lnTo>
                  <a:lnTo>
                    <a:pt x="136" y="215"/>
                  </a:lnTo>
                  <a:lnTo>
                    <a:pt x="134" y="219"/>
                  </a:lnTo>
                  <a:lnTo>
                    <a:pt x="129" y="228"/>
                  </a:lnTo>
                  <a:lnTo>
                    <a:pt x="123" y="245"/>
                  </a:lnTo>
                  <a:lnTo>
                    <a:pt x="123" y="245"/>
                  </a:lnTo>
                  <a:lnTo>
                    <a:pt x="118" y="257"/>
                  </a:lnTo>
                  <a:lnTo>
                    <a:pt x="111" y="272"/>
                  </a:lnTo>
                  <a:lnTo>
                    <a:pt x="111" y="272"/>
                  </a:lnTo>
                  <a:lnTo>
                    <a:pt x="108" y="280"/>
                  </a:lnTo>
                  <a:lnTo>
                    <a:pt x="104" y="292"/>
                  </a:lnTo>
                  <a:lnTo>
                    <a:pt x="98" y="315"/>
                  </a:lnTo>
                  <a:lnTo>
                    <a:pt x="98" y="315"/>
                  </a:lnTo>
                  <a:lnTo>
                    <a:pt x="93" y="336"/>
                  </a:lnTo>
                  <a:lnTo>
                    <a:pt x="91" y="345"/>
                  </a:lnTo>
                  <a:lnTo>
                    <a:pt x="88" y="350"/>
                  </a:lnTo>
                  <a:lnTo>
                    <a:pt x="88" y="350"/>
                  </a:lnTo>
                  <a:lnTo>
                    <a:pt x="86" y="353"/>
                  </a:lnTo>
                  <a:lnTo>
                    <a:pt x="85" y="356"/>
                  </a:lnTo>
                  <a:lnTo>
                    <a:pt x="84" y="363"/>
                  </a:lnTo>
                  <a:lnTo>
                    <a:pt x="84" y="363"/>
                  </a:lnTo>
                  <a:lnTo>
                    <a:pt x="82" y="366"/>
                  </a:lnTo>
                  <a:lnTo>
                    <a:pt x="78" y="369"/>
                  </a:lnTo>
                  <a:lnTo>
                    <a:pt x="68" y="375"/>
                  </a:lnTo>
                  <a:lnTo>
                    <a:pt x="50" y="385"/>
                  </a:lnTo>
                  <a:lnTo>
                    <a:pt x="50" y="385"/>
                  </a:lnTo>
                  <a:lnTo>
                    <a:pt x="25" y="407"/>
                  </a:lnTo>
                  <a:lnTo>
                    <a:pt x="13" y="413"/>
                  </a:lnTo>
                  <a:lnTo>
                    <a:pt x="13" y="413"/>
                  </a:lnTo>
                  <a:lnTo>
                    <a:pt x="8" y="415"/>
                  </a:lnTo>
                  <a:lnTo>
                    <a:pt x="5" y="418"/>
                  </a:lnTo>
                  <a:lnTo>
                    <a:pt x="4" y="419"/>
                  </a:lnTo>
                  <a:lnTo>
                    <a:pt x="4" y="420"/>
                  </a:lnTo>
                  <a:lnTo>
                    <a:pt x="4" y="420"/>
                  </a:lnTo>
                  <a:lnTo>
                    <a:pt x="2" y="423"/>
                  </a:lnTo>
                  <a:lnTo>
                    <a:pt x="0" y="425"/>
                  </a:lnTo>
                  <a:lnTo>
                    <a:pt x="0" y="428"/>
                  </a:lnTo>
                  <a:lnTo>
                    <a:pt x="1" y="431"/>
                  </a:lnTo>
                  <a:lnTo>
                    <a:pt x="3" y="435"/>
                  </a:lnTo>
                  <a:lnTo>
                    <a:pt x="4" y="436"/>
                  </a:lnTo>
                  <a:lnTo>
                    <a:pt x="4" y="436"/>
                  </a:lnTo>
                  <a:lnTo>
                    <a:pt x="3" y="440"/>
                  </a:lnTo>
                  <a:lnTo>
                    <a:pt x="4" y="443"/>
                  </a:lnTo>
                  <a:lnTo>
                    <a:pt x="5" y="447"/>
                  </a:lnTo>
                  <a:lnTo>
                    <a:pt x="5" y="447"/>
                  </a:lnTo>
                  <a:close/>
                  <a:moveTo>
                    <a:pt x="162" y="157"/>
                  </a:moveTo>
                  <a:lnTo>
                    <a:pt x="160" y="166"/>
                  </a:lnTo>
                  <a:lnTo>
                    <a:pt x="155" y="173"/>
                  </a:lnTo>
                  <a:lnTo>
                    <a:pt x="155" y="173"/>
                  </a:lnTo>
                  <a:lnTo>
                    <a:pt x="158" y="166"/>
                  </a:lnTo>
                  <a:lnTo>
                    <a:pt x="162" y="157"/>
                  </a:lnTo>
                  <a:lnTo>
                    <a:pt x="162" y="157"/>
                  </a:lnTo>
                  <a:close/>
                  <a:moveTo>
                    <a:pt x="114" y="401"/>
                  </a:moveTo>
                  <a:lnTo>
                    <a:pt x="114" y="401"/>
                  </a:lnTo>
                  <a:lnTo>
                    <a:pt x="115" y="396"/>
                  </a:lnTo>
                  <a:lnTo>
                    <a:pt x="115" y="388"/>
                  </a:lnTo>
                  <a:lnTo>
                    <a:pt x="115" y="380"/>
                  </a:lnTo>
                  <a:lnTo>
                    <a:pt x="115" y="380"/>
                  </a:lnTo>
                  <a:lnTo>
                    <a:pt x="114" y="376"/>
                  </a:lnTo>
                  <a:lnTo>
                    <a:pt x="114" y="372"/>
                  </a:lnTo>
                  <a:lnTo>
                    <a:pt x="115" y="366"/>
                  </a:lnTo>
                  <a:lnTo>
                    <a:pt x="117" y="363"/>
                  </a:lnTo>
                  <a:lnTo>
                    <a:pt x="119" y="361"/>
                  </a:lnTo>
                  <a:lnTo>
                    <a:pt x="120" y="360"/>
                  </a:lnTo>
                  <a:lnTo>
                    <a:pt x="120" y="360"/>
                  </a:lnTo>
                  <a:lnTo>
                    <a:pt x="120" y="370"/>
                  </a:lnTo>
                  <a:lnTo>
                    <a:pt x="120" y="388"/>
                  </a:lnTo>
                  <a:lnTo>
                    <a:pt x="120" y="412"/>
                  </a:lnTo>
                  <a:lnTo>
                    <a:pt x="114" y="410"/>
                  </a:lnTo>
                  <a:lnTo>
                    <a:pt x="114" y="410"/>
                  </a:lnTo>
                  <a:lnTo>
                    <a:pt x="113" y="408"/>
                  </a:lnTo>
                  <a:lnTo>
                    <a:pt x="113" y="405"/>
                  </a:lnTo>
                  <a:lnTo>
                    <a:pt x="114" y="402"/>
                  </a:lnTo>
                  <a:lnTo>
                    <a:pt x="114" y="402"/>
                  </a:lnTo>
                  <a:lnTo>
                    <a:pt x="114" y="401"/>
                  </a:lnTo>
                  <a:lnTo>
                    <a:pt x="114" y="40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7" name="Freeform 35"/>
            <p:cNvSpPr/>
            <p:nvPr/>
          </p:nvSpPr>
          <p:spPr bwMode="auto">
            <a:xfrm>
              <a:off x="5300663" y="1684338"/>
              <a:ext cx="63500" cy="65088"/>
            </a:xfrm>
            <a:custGeom>
              <a:avLst/>
              <a:gdLst>
                <a:gd name="T0" fmla="*/ 0 w 40"/>
                <a:gd name="T1" fmla="*/ 17 h 41"/>
                <a:gd name="T2" fmla="*/ 17 w 40"/>
                <a:gd name="T3" fmla="*/ 41 h 41"/>
                <a:gd name="T4" fmla="*/ 17 w 40"/>
                <a:gd name="T5" fmla="*/ 41 h 41"/>
                <a:gd name="T6" fmla="*/ 21 w 40"/>
                <a:gd name="T7" fmla="*/ 41 h 41"/>
                <a:gd name="T8" fmla="*/ 24 w 40"/>
                <a:gd name="T9" fmla="*/ 41 h 41"/>
                <a:gd name="T10" fmla="*/ 28 w 40"/>
                <a:gd name="T11" fmla="*/ 40 h 41"/>
                <a:gd name="T12" fmla="*/ 31 w 40"/>
                <a:gd name="T13" fmla="*/ 38 h 41"/>
                <a:gd name="T14" fmla="*/ 34 w 40"/>
                <a:gd name="T15" fmla="*/ 36 h 41"/>
                <a:gd name="T16" fmla="*/ 37 w 40"/>
                <a:gd name="T17" fmla="*/ 33 h 41"/>
                <a:gd name="T18" fmla="*/ 39 w 40"/>
                <a:gd name="T19" fmla="*/ 29 h 41"/>
                <a:gd name="T20" fmla="*/ 40 w 40"/>
                <a:gd name="T21" fmla="*/ 26 h 41"/>
                <a:gd name="T22" fmla="*/ 40 w 40"/>
                <a:gd name="T23" fmla="*/ 26 h 41"/>
                <a:gd name="T24" fmla="*/ 40 w 40"/>
                <a:gd name="T25" fmla="*/ 22 h 41"/>
                <a:gd name="T26" fmla="*/ 40 w 40"/>
                <a:gd name="T27" fmla="*/ 18 h 41"/>
                <a:gd name="T28" fmla="*/ 39 w 40"/>
                <a:gd name="T29" fmla="*/ 14 h 41"/>
                <a:gd name="T30" fmla="*/ 38 w 40"/>
                <a:gd name="T31" fmla="*/ 10 h 41"/>
                <a:gd name="T32" fmla="*/ 35 w 40"/>
                <a:gd name="T33" fmla="*/ 7 h 41"/>
                <a:gd name="T34" fmla="*/ 32 w 40"/>
                <a:gd name="T35" fmla="*/ 4 h 41"/>
                <a:gd name="T36" fmla="*/ 29 w 40"/>
                <a:gd name="T37" fmla="*/ 2 h 41"/>
                <a:gd name="T38" fmla="*/ 25 w 40"/>
                <a:gd name="T39" fmla="*/ 1 h 41"/>
                <a:gd name="T40" fmla="*/ 25 w 40"/>
                <a:gd name="T41" fmla="*/ 1 h 41"/>
                <a:gd name="T42" fmla="*/ 21 w 40"/>
                <a:gd name="T43" fmla="*/ 0 h 41"/>
                <a:gd name="T44" fmla="*/ 17 w 40"/>
                <a:gd name="T45" fmla="*/ 0 h 41"/>
                <a:gd name="T46" fmla="*/ 13 w 40"/>
                <a:gd name="T47" fmla="*/ 1 h 41"/>
                <a:gd name="T48" fmla="*/ 9 w 40"/>
                <a:gd name="T49" fmla="*/ 3 h 41"/>
                <a:gd name="T50" fmla="*/ 6 w 40"/>
                <a:gd name="T51" fmla="*/ 5 h 41"/>
                <a:gd name="T52" fmla="*/ 4 w 40"/>
                <a:gd name="T53" fmla="*/ 8 h 41"/>
                <a:gd name="T54" fmla="*/ 1 w 40"/>
                <a:gd name="T55" fmla="*/ 12 h 41"/>
                <a:gd name="T56" fmla="*/ 0 w 40"/>
                <a:gd name="T57" fmla="*/ 16 h 41"/>
                <a:gd name="T58" fmla="*/ 0 w 40"/>
                <a:gd name="T59" fmla="*/ 16 h 41"/>
                <a:gd name="T60" fmla="*/ 0 w 40"/>
                <a:gd name="T61" fmla="*/ 17 h 41"/>
                <a:gd name="T62" fmla="*/ 0 w 40"/>
                <a:gd name="T63" fmla="*/ 1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 h="41">
                  <a:moveTo>
                    <a:pt x="0" y="17"/>
                  </a:moveTo>
                  <a:lnTo>
                    <a:pt x="17" y="41"/>
                  </a:lnTo>
                  <a:lnTo>
                    <a:pt x="17" y="41"/>
                  </a:lnTo>
                  <a:lnTo>
                    <a:pt x="21" y="41"/>
                  </a:lnTo>
                  <a:lnTo>
                    <a:pt x="24" y="41"/>
                  </a:lnTo>
                  <a:lnTo>
                    <a:pt x="28" y="40"/>
                  </a:lnTo>
                  <a:lnTo>
                    <a:pt x="31" y="38"/>
                  </a:lnTo>
                  <a:lnTo>
                    <a:pt x="34" y="36"/>
                  </a:lnTo>
                  <a:lnTo>
                    <a:pt x="37" y="33"/>
                  </a:lnTo>
                  <a:lnTo>
                    <a:pt x="39" y="29"/>
                  </a:lnTo>
                  <a:lnTo>
                    <a:pt x="40" y="26"/>
                  </a:lnTo>
                  <a:lnTo>
                    <a:pt x="40" y="26"/>
                  </a:lnTo>
                  <a:lnTo>
                    <a:pt x="40" y="22"/>
                  </a:lnTo>
                  <a:lnTo>
                    <a:pt x="40" y="18"/>
                  </a:lnTo>
                  <a:lnTo>
                    <a:pt x="39" y="14"/>
                  </a:lnTo>
                  <a:lnTo>
                    <a:pt x="38" y="10"/>
                  </a:lnTo>
                  <a:lnTo>
                    <a:pt x="35" y="7"/>
                  </a:lnTo>
                  <a:lnTo>
                    <a:pt x="32" y="4"/>
                  </a:lnTo>
                  <a:lnTo>
                    <a:pt x="29" y="2"/>
                  </a:lnTo>
                  <a:lnTo>
                    <a:pt x="25" y="1"/>
                  </a:lnTo>
                  <a:lnTo>
                    <a:pt x="25" y="1"/>
                  </a:lnTo>
                  <a:lnTo>
                    <a:pt x="21" y="0"/>
                  </a:lnTo>
                  <a:lnTo>
                    <a:pt x="17" y="0"/>
                  </a:lnTo>
                  <a:lnTo>
                    <a:pt x="13" y="1"/>
                  </a:lnTo>
                  <a:lnTo>
                    <a:pt x="9" y="3"/>
                  </a:lnTo>
                  <a:lnTo>
                    <a:pt x="6" y="5"/>
                  </a:lnTo>
                  <a:lnTo>
                    <a:pt x="4" y="8"/>
                  </a:lnTo>
                  <a:lnTo>
                    <a:pt x="1" y="12"/>
                  </a:lnTo>
                  <a:lnTo>
                    <a:pt x="0" y="16"/>
                  </a:lnTo>
                  <a:lnTo>
                    <a:pt x="0" y="16"/>
                  </a:lnTo>
                  <a:lnTo>
                    <a:pt x="0" y="17"/>
                  </a:lnTo>
                  <a:lnTo>
                    <a:pt x="0" y="1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8" name="Freeform 36"/>
            <p:cNvSpPr/>
            <p:nvPr/>
          </p:nvSpPr>
          <p:spPr bwMode="auto">
            <a:xfrm>
              <a:off x="5205413" y="1722438"/>
              <a:ext cx="111125" cy="88900"/>
            </a:xfrm>
            <a:custGeom>
              <a:avLst/>
              <a:gdLst>
                <a:gd name="T0" fmla="*/ 58 w 70"/>
                <a:gd name="T1" fmla="*/ 0 h 56"/>
                <a:gd name="T2" fmla="*/ 6 w 70"/>
                <a:gd name="T3" fmla="*/ 40 h 56"/>
                <a:gd name="T4" fmla="*/ 6 w 70"/>
                <a:gd name="T5" fmla="*/ 40 h 56"/>
                <a:gd name="T6" fmla="*/ 3 w 70"/>
                <a:gd name="T7" fmla="*/ 43 h 56"/>
                <a:gd name="T8" fmla="*/ 1 w 70"/>
                <a:gd name="T9" fmla="*/ 47 h 56"/>
                <a:gd name="T10" fmla="*/ 0 w 70"/>
                <a:gd name="T11" fmla="*/ 51 h 56"/>
                <a:gd name="T12" fmla="*/ 1 w 70"/>
                <a:gd name="T13" fmla="*/ 54 h 56"/>
                <a:gd name="T14" fmla="*/ 1 w 70"/>
                <a:gd name="T15" fmla="*/ 54 h 56"/>
                <a:gd name="T16" fmla="*/ 4 w 70"/>
                <a:gd name="T17" fmla="*/ 56 h 56"/>
                <a:gd name="T18" fmla="*/ 8 w 70"/>
                <a:gd name="T19" fmla="*/ 56 h 56"/>
                <a:gd name="T20" fmla="*/ 12 w 70"/>
                <a:gd name="T21" fmla="*/ 56 h 56"/>
                <a:gd name="T22" fmla="*/ 16 w 70"/>
                <a:gd name="T23" fmla="*/ 55 h 56"/>
                <a:gd name="T24" fmla="*/ 70 w 70"/>
                <a:gd name="T25" fmla="*/ 18 h 56"/>
                <a:gd name="T26" fmla="*/ 58 w 70"/>
                <a:gd name="T2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8" y="0"/>
                  </a:moveTo>
                  <a:lnTo>
                    <a:pt x="6" y="40"/>
                  </a:lnTo>
                  <a:lnTo>
                    <a:pt x="6" y="40"/>
                  </a:lnTo>
                  <a:lnTo>
                    <a:pt x="3" y="43"/>
                  </a:lnTo>
                  <a:lnTo>
                    <a:pt x="1" y="47"/>
                  </a:lnTo>
                  <a:lnTo>
                    <a:pt x="0" y="51"/>
                  </a:lnTo>
                  <a:lnTo>
                    <a:pt x="1" y="54"/>
                  </a:lnTo>
                  <a:lnTo>
                    <a:pt x="1" y="54"/>
                  </a:lnTo>
                  <a:lnTo>
                    <a:pt x="4" y="56"/>
                  </a:lnTo>
                  <a:lnTo>
                    <a:pt x="8" y="56"/>
                  </a:lnTo>
                  <a:lnTo>
                    <a:pt x="12" y="56"/>
                  </a:lnTo>
                  <a:lnTo>
                    <a:pt x="16" y="55"/>
                  </a:lnTo>
                  <a:lnTo>
                    <a:pt x="70" y="18"/>
                  </a:lnTo>
                  <a:lnTo>
                    <a:pt x="58"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39" name="Freeform 37"/>
            <p:cNvSpPr/>
            <p:nvPr/>
          </p:nvSpPr>
          <p:spPr bwMode="auto">
            <a:xfrm>
              <a:off x="5059363" y="1770063"/>
              <a:ext cx="225425" cy="487363"/>
            </a:xfrm>
            <a:custGeom>
              <a:avLst/>
              <a:gdLst>
                <a:gd name="T0" fmla="*/ 137 w 142"/>
                <a:gd name="T1" fmla="*/ 24 h 307"/>
                <a:gd name="T2" fmla="*/ 142 w 142"/>
                <a:gd name="T3" fmla="*/ 20 h 307"/>
                <a:gd name="T4" fmla="*/ 138 w 142"/>
                <a:gd name="T5" fmla="*/ 0 h 307"/>
                <a:gd name="T6" fmla="*/ 110 w 142"/>
                <a:gd name="T7" fmla="*/ 20 h 307"/>
                <a:gd name="T8" fmla="*/ 119 w 142"/>
                <a:gd name="T9" fmla="*/ 25 h 307"/>
                <a:gd name="T10" fmla="*/ 14 w 142"/>
                <a:gd name="T11" fmla="*/ 215 h 307"/>
                <a:gd name="T12" fmla="*/ 14 w 142"/>
                <a:gd name="T13" fmla="*/ 215 h 307"/>
                <a:gd name="T14" fmla="*/ 9 w 142"/>
                <a:gd name="T15" fmla="*/ 216 h 307"/>
                <a:gd name="T16" fmla="*/ 4 w 142"/>
                <a:gd name="T17" fmla="*/ 220 h 307"/>
                <a:gd name="T18" fmla="*/ 1 w 142"/>
                <a:gd name="T19" fmla="*/ 224 h 307"/>
                <a:gd name="T20" fmla="*/ 0 w 142"/>
                <a:gd name="T21" fmla="*/ 230 h 307"/>
                <a:gd name="T22" fmla="*/ 0 w 142"/>
                <a:gd name="T23" fmla="*/ 230 h 307"/>
                <a:gd name="T24" fmla="*/ 1 w 142"/>
                <a:gd name="T25" fmla="*/ 234 h 307"/>
                <a:gd name="T26" fmla="*/ 2 w 142"/>
                <a:gd name="T27" fmla="*/ 239 h 307"/>
                <a:gd name="T28" fmla="*/ 4 w 142"/>
                <a:gd name="T29" fmla="*/ 242 h 307"/>
                <a:gd name="T30" fmla="*/ 7 w 142"/>
                <a:gd name="T31" fmla="*/ 244 h 307"/>
                <a:gd name="T32" fmla="*/ 7 w 142"/>
                <a:gd name="T33" fmla="*/ 307 h 307"/>
                <a:gd name="T34" fmla="*/ 24 w 142"/>
                <a:gd name="T35" fmla="*/ 307 h 307"/>
                <a:gd name="T36" fmla="*/ 24 w 142"/>
                <a:gd name="T37" fmla="*/ 245 h 307"/>
                <a:gd name="T38" fmla="*/ 24 w 142"/>
                <a:gd name="T39" fmla="*/ 245 h 307"/>
                <a:gd name="T40" fmla="*/ 27 w 142"/>
                <a:gd name="T41" fmla="*/ 242 h 307"/>
                <a:gd name="T42" fmla="*/ 29 w 142"/>
                <a:gd name="T43" fmla="*/ 239 h 307"/>
                <a:gd name="T44" fmla="*/ 31 w 142"/>
                <a:gd name="T45" fmla="*/ 234 h 307"/>
                <a:gd name="T46" fmla="*/ 32 w 142"/>
                <a:gd name="T47" fmla="*/ 230 h 307"/>
                <a:gd name="T48" fmla="*/ 32 w 142"/>
                <a:gd name="T49" fmla="*/ 230 h 307"/>
                <a:gd name="T50" fmla="*/ 31 w 142"/>
                <a:gd name="T51" fmla="*/ 225 h 307"/>
                <a:gd name="T52" fmla="*/ 29 w 142"/>
                <a:gd name="T53" fmla="*/ 221 h 307"/>
                <a:gd name="T54" fmla="*/ 137 w 142"/>
                <a:gd name="T55" fmla="*/ 24 h 307"/>
                <a:gd name="T56" fmla="*/ 137 w 142"/>
                <a:gd name="T57" fmla="*/ 24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2" h="307">
                  <a:moveTo>
                    <a:pt x="137" y="24"/>
                  </a:moveTo>
                  <a:lnTo>
                    <a:pt x="142" y="20"/>
                  </a:lnTo>
                  <a:lnTo>
                    <a:pt x="138" y="0"/>
                  </a:lnTo>
                  <a:lnTo>
                    <a:pt x="110" y="20"/>
                  </a:lnTo>
                  <a:lnTo>
                    <a:pt x="119" y="25"/>
                  </a:lnTo>
                  <a:lnTo>
                    <a:pt x="14" y="215"/>
                  </a:lnTo>
                  <a:lnTo>
                    <a:pt x="14" y="215"/>
                  </a:lnTo>
                  <a:lnTo>
                    <a:pt x="9" y="216"/>
                  </a:lnTo>
                  <a:lnTo>
                    <a:pt x="4" y="220"/>
                  </a:lnTo>
                  <a:lnTo>
                    <a:pt x="1" y="224"/>
                  </a:lnTo>
                  <a:lnTo>
                    <a:pt x="0" y="230"/>
                  </a:lnTo>
                  <a:lnTo>
                    <a:pt x="0" y="230"/>
                  </a:lnTo>
                  <a:lnTo>
                    <a:pt x="1" y="234"/>
                  </a:lnTo>
                  <a:lnTo>
                    <a:pt x="2" y="239"/>
                  </a:lnTo>
                  <a:lnTo>
                    <a:pt x="4" y="242"/>
                  </a:lnTo>
                  <a:lnTo>
                    <a:pt x="7" y="244"/>
                  </a:lnTo>
                  <a:lnTo>
                    <a:pt x="7" y="307"/>
                  </a:lnTo>
                  <a:lnTo>
                    <a:pt x="24" y="307"/>
                  </a:lnTo>
                  <a:lnTo>
                    <a:pt x="24" y="245"/>
                  </a:lnTo>
                  <a:lnTo>
                    <a:pt x="24" y="245"/>
                  </a:lnTo>
                  <a:lnTo>
                    <a:pt x="27" y="242"/>
                  </a:lnTo>
                  <a:lnTo>
                    <a:pt x="29" y="239"/>
                  </a:lnTo>
                  <a:lnTo>
                    <a:pt x="31" y="234"/>
                  </a:lnTo>
                  <a:lnTo>
                    <a:pt x="32" y="230"/>
                  </a:lnTo>
                  <a:lnTo>
                    <a:pt x="32" y="230"/>
                  </a:lnTo>
                  <a:lnTo>
                    <a:pt x="31" y="225"/>
                  </a:lnTo>
                  <a:lnTo>
                    <a:pt x="29" y="221"/>
                  </a:lnTo>
                  <a:lnTo>
                    <a:pt x="137" y="24"/>
                  </a:lnTo>
                  <a:lnTo>
                    <a:pt x="137" y="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40" name="Rectangle 39"/>
          <p:cNvSpPr/>
          <p:nvPr/>
        </p:nvSpPr>
        <p:spPr>
          <a:xfrm>
            <a:off x="2059659" y="2495693"/>
            <a:ext cx="2293192" cy="646331"/>
          </a:xfrm>
          <a:prstGeom prst="rect">
            <a:avLst/>
          </a:prstGeom>
        </p:spPr>
        <p:txBody>
          <a:bodyPr wrap="square">
            <a:spAutoFit/>
          </a:bodyPr>
          <a:lstStyle/>
          <a:p>
            <a:pPr>
              <a:buClr>
                <a:srgbClr val="E24848"/>
              </a:buClr>
              <a:defRPr/>
            </a:pPr>
            <a:r>
              <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a:t>
            </a:r>
            <a:endPar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41" name="Content Placeholder 2"/>
          <p:cNvSpPr txBox="1"/>
          <p:nvPr/>
        </p:nvSpPr>
        <p:spPr>
          <a:xfrm>
            <a:off x="2061555" y="2244364"/>
            <a:ext cx="1910143" cy="307777"/>
          </a:xfrm>
          <a:prstGeom prst="rect">
            <a:avLst/>
          </a:prstGeom>
          <a:noFill/>
        </p:spPr>
        <p:txBody>
          <a:bodyPr wrap="square">
            <a:spAutoFit/>
          </a:bodyPr>
          <a:lstStyle>
            <a:defPPr>
              <a:defRPr lang="en-US"/>
            </a:defPPr>
            <a:lvl1pPr>
              <a:defRPr sz="6600" spc="-15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1400" b="1" spc="0" dirty="0">
                <a:latin typeface="Playfair Display" panose="00000500000000000000" pitchFamily="2" charset="0"/>
                <a:cs typeface="Lato" panose="020F0502020204030203" pitchFamily="34" charset="0"/>
              </a:rPr>
              <a:t>Idea </a:t>
            </a:r>
            <a:endParaRPr lang="en-US" sz="1400" b="1" spc="0" dirty="0">
              <a:latin typeface="Playfair Display" panose="00000500000000000000" pitchFamily="2" charset="0"/>
              <a:cs typeface="Lato" panose="020F0502020204030203" pitchFamily="34" charset="0"/>
            </a:endParaRPr>
          </a:p>
        </p:txBody>
      </p:sp>
      <p:sp>
        <p:nvSpPr>
          <p:cNvPr id="42" name="Rectangle 41"/>
          <p:cNvSpPr/>
          <p:nvPr/>
        </p:nvSpPr>
        <p:spPr>
          <a:xfrm>
            <a:off x="2059659" y="3644682"/>
            <a:ext cx="2293192" cy="646331"/>
          </a:xfrm>
          <a:prstGeom prst="rect">
            <a:avLst/>
          </a:prstGeom>
        </p:spPr>
        <p:txBody>
          <a:bodyPr wrap="square">
            <a:spAutoFit/>
          </a:bodyPr>
          <a:lstStyle/>
          <a:p>
            <a:pPr>
              <a:buClr>
                <a:srgbClr val="E24848"/>
              </a:buClr>
              <a:defRPr/>
            </a:pPr>
            <a:r>
              <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a:t>
            </a:r>
            <a:endPar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43" name="Content Placeholder 2"/>
          <p:cNvSpPr txBox="1"/>
          <p:nvPr/>
        </p:nvSpPr>
        <p:spPr>
          <a:xfrm>
            <a:off x="2061555" y="3393353"/>
            <a:ext cx="1910143" cy="307777"/>
          </a:xfrm>
          <a:prstGeom prst="rect">
            <a:avLst/>
          </a:prstGeom>
          <a:noFill/>
        </p:spPr>
        <p:txBody>
          <a:bodyPr wrap="square">
            <a:spAutoFit/>
          </a:bodyPr>
          <a:lstStyle>
            <a:defPPr>
              <a:defRPr lang="en-US"/>
            </a:defPPr>
            <a:lvl1pPr>
              <a:defRPr sz="6600" spc="-15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1400" b="1" spc="0" dirty="0">
                <a:latin typeface="Playfair Display" panose="00000500000000000000" pitchFamily="2" charset="0"/>
                <a:cs typeface="Lato" panose="020F0502020204030203" pitchFamily="34" charset="0"/>
              </a:rPr>
              <a:t>Idea </a:t>
            </a:r>
            <a:endParaRPr lang="en-US" sz="1400" b="1" spc="0" dirty="0">
              <a:latin typeface="Playfair Display" panose="00000500000000000000" pitchFamily="2" charset="0"/>
              <a:cs typeface="Lato" panose="020F0502020204030203" pitchFamily="34" charset="0"/>
            </a:endParaRPr>
          </a:p>
        </p:txBody>
      </p:sp>
      <p:sp>
        <p:nvSpPr>
          <p:cNvPr id="44" name="Rectangle 43"/>
          <p:cNvSpPr/>
          <p:nvPr/>
        </p:nvSpPr>
        <p:spPr>
          <a:xfrm>
            <a:off x="2059659" y="4737223"/>
            <a:ext cx="2293192" cy="646331"/>
          </a:xfrm>
          <a:prstGeom prst="rect">
            <a:avLst/>
          </a:prstGeom>
        </p:spPr>
        <p:txBody>
          <a:bodyPr wrap="square">
            <a:spAutoFit/>
          </a:bodyPr>
          <a:lstStyle/>
          <a:p>
            <a:pPr>
              <a:buClr>
                <a:srgbClr val="E24848"/>
              </a:buClr>
              <a:defRPr/>
            </a:pPr>
            <a:r>
              <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a:t>
            </a:r>
            <a:endPar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45" name="Content Placeholder 2"/>
          <p:cNvSpPr txBox="1"/>
          <p:nvPr/>
        </p:nvSpPr>
        <p:spPr>
          <a:xfrm>
            <a:off x="2061555" y="4485894"/>
            <a:ext cx="1910143" cy="307777"/>
          </a:xfrm>
          <a:prstGeom prst="rect">
            <a:avLst/>
          </a:prstGeom>
          <a:noFill/>
        </p:spPr>
        <p:txBody>
          <a:bodyPr wrap="square">
            <a:spAutoFit/>
          </a:bodyPr>
          <a:lstStyle>
            <a:defPPr>
              <a:defRPr lang="en-US"/>
            </a:defPPr>
            <a:lvl1pPr>
              <a:defRPr sz="6600" spc="-150">
                <a:solidFill>
                  <a:schemeClr val="tx1">
                    <a:lumMod val="95000"/>
                    <a:lumOff val="5000"/>
                  </a:schemeClr>
                </a:solidFill>
                <a:latin typeface="Raleway Light" panose="020B0403030101060003" pitchFamily="34" charset="0"/>
                <a:ea typeface="Roboto Light" panose="02000000000000000000" pitchFamily="2" charset="0"/>
                <a:cs typeface="Open Sans" panose="020B0606030504020204" pitchFamily="34" charset="0"/>
              </a:defRPr>
            </a:lvl1pPr>
          </a:lstStyle>
          <a:p>
            <a:r>
              <a:rPr lang="en-US" sz="1400" b="1" spc="0" dirty="0">
                <a:latin typeface="Playfair Display" panose="00000500000000000000" pitchFamily="2" charset="0"/>
                <a:cs typeface="Lato" panose="020F0502020204030203" pitchFamily="34" charset="0"/>
              </a:rPr>
              <a:t>Idea </a:t>
            </a:r>
            <a:endParaRPr lang="en-US" sz="1400" b="1" spc="0" dirty="0">
              <a:latin typeface="Playfair Display" panose="00000500000000000000" pitchFamily="2" charset="0"/>
              <a:cs typeface="Lato" panose="020F0502020204030203" pitchFamily="34" charset="0"/>
            </a:endParaRPr>
          </a:p>
        </p:txBody>
      </p:sp>
      <p:sp>
        <p:nvSpPr>
          <p:cNvPr id="48" name="Shape 22361"/>
          <p:cNvSpPr/>
          <p:nvPr/>
        </p:nvSpPr>
        <p:spPr>
          <a:xfrm>
            <a:off x="1140540" y="2306024"/>
            <a:ext cx="800946" cy="666849"/>
          </a:xfrm>
          <a:prstGeom prst="rect">
            <a:avLst/>
          </a:prstGeom>
          <a:noFill/>
          <a:ln w="12700" cap="flat">
            <a:noFill/>
            <a:miter lim="400000"/>
          </a:ln>
          <a:effectLst/>
        </p:spPr>
        <p:txBody>
          <a:bodyPr wrap="square" lIns="25400" tIns="25400" rIns="25400" bIns="25400" numCol="1" anchor="t">
            <a:spAutoFit/>
          </a:bodyPr>
          <a:lstStyle>
            <a:lvl1pPr algn="l">
              <a:defRPr sz="15000" b="1">
                <a:solidFill>
                  <a:srgbClr val="82165D"/>
                </a:solidFill>
                <a:latin typeface="Helvetica"/>
                <a:ea typeface="Helvetica"/>
                <a:cs typeface="Helvetica"/>
                <a:sym typeface="Helvetica"/>
              </a:defRPr>
            </a:lvl1pPr>
          </a:lstStyle>
          <a:p>
            <a:pPr algn="r">
              <a:defRPr sz="12000"/>
            </a:pPr>
            <a:r>
              <a:rPr lang="en-US" sz="4000" dirty="0">
                <a:solidFill>
                  <a:schemeClr val="accent1"/>
                </a:solidFill>
                <a:latin typeface="Playfair Display" panose="00000500000000000000" pitchFamily="2" charset="0"/>
                <a:cs typeface="Lato" panose="020F0502020204030203" pitchFamily="34" charset="0"/>
              </a:rPr>
              <a:t>01.</a:t>
            </a:r>
            <a:endParaRPr sz="4000" dirty="0">
              <a:solidFill>
                <a:schemeClr val="accent1"/>
              </a:solidFill>
              <a:latin typeface="Playfair Display" panose="00000500000000000000" pitchFamily="2" charset="0"/>
              <a:cs typeface="Lato" panose="020F0502020204030203" pitchFamily="34" charset="0"/>
            </a:endParaRPr>
          </a:p>
        </p:txBody>
      </p:sp>
      <p:sp>
        <p:nvSpPr>
          <p:cNvPr id="49" name="Shape 22361"/>
          <p:cNvSpPr/>
          <p:nvPr/>
        </p:nvSpPr>
        <p:spPr>
          <a:xfrm>
            <a:off x="1140540" y="3493579"/>
            <a:ext cx="800946" cy="666849"/>
          </a:xfrm>
          <a:prstGeom prst="rect">
            <a:avLst/>
          </a:prstGeom>
          <a:noFill/>
          <a:ln w="12700" cap="flat">
            <a:noFill/>
            <a:miter lim="400000"/>
          </a:ln>
          <a:effectLst/>
        </p:spPr>
        <p:txBody>
          <a:bodyPr wrap="square" lIns="25400" tIns="25400" rIns="25400" bIns="25400" numCol="1" anchor="t">
            <a:spAutoFit/>
          </a:bodyPr>
          <a:lstStyle>
            <a:lvl1pPr algn="l">
              <a:defRPr sz="15000" b="1">
                <a:solidFill>
                  <a:srgbClr val="82165D"/>
                </a:solidFill>
                <a:latin typeface="Helvetica"/>
                <a:ea typeface="Helvetica"/>
                <a:cs typeface="Helvetica"/>
                <a:sym typeface="Helvetica"/>
              </a:defRPr>
            </a:lvl1pPr>
          </a:lstStyle>
          <a:p>
            <a:pPr algn="r">
              <a:defRPr sz="12000"/>
            </a:pPr>
            <a:r>
              <a:rPr lang="en-US" sz="4000" dirty="0">
                <a:solidFill>
                  <a:schemeClr val="accent1"/>
                </a:solidFill>
                <a:latin typeface="Playfair Display" panose="00000500000000000000" pitchFamily="2" charset="0"/>
                <a:cs typeface="Lato" panose="020F0502020204030203" pitchFamily="34" charset="0"/>
              </a:rPr>
              <a:t>02.</a:t>
            </a:r>
            <a:endParaRPr sz="4000" dirty="0">
              <a:solidFill>
                <a:schemeClr val="accent1"/>
              </a:solidFill>
              <a:latin typeface="Playfair Display" panose="00000500000000000000" pitchFamily="2" charset="0"/>
              <a:cs typeface="Lato" panose="020F0502020204030203" pitchFamily="34" charset="0"/>
            </a:endParaRPr>
          </a:p>
        </p:txBody>
      </p:sp>
      <p:sp>
        <p:nvSpPr>
          <p:cNvPr id="50" name="Shape 22361"/>
          <p:cNvSpPr/>
          <p:nvPr/>
        </p:nvSpPr>
        <p:spPr>
          <a:xfrm>
            <a:off x="1140540" y="4639782"/>
            <a:ext cx="800946" cy="666849"/>
          </a:xfrm>
          <a:prstGeom prst="rect">
            <a:avLst/>
          </a:prstGeom>
          <a:noFill/>
          <a:ln w="12700" cap="flat">
            <a:noFill/>
            <a:miter lim="400000"/>
          </a:ln>
          <a:effectLst/>
        </p:spPr>
        <p:txBody>
          <a:bodyPr wrap="square" lIns="25400" tIns="25400" rIns="25400" bIns="25400" numCol="1" anchor="t">
            <a:spAutoFit/>
          </a:bodyPr>
          <a:lstStyle>
            <a:lvl1pPr algn="l">
              <a:defRPr sz="15000" b="1">
                <a:solidFill>
                  <a:srgbClr val="82165D"/>
                </a:solidFill>
                <a:latin typeface="Helvetica"/>
                <a:ea typeface="Helvetica"/>
                <a:cs typeface="Helvetica"/>
                <a:sym typeface="Helvetica"/>
              </a:defRPr>
            </a:lvl1pPr>
          </a:lstStyle>
          <a:p>
            <a:pPr algn="r">
              <a:defRPr sz="12000"/>
            </a:pPr>
            <a:r>
              <a:rPr lang="en-US" sz="4000" dirty="0">
                <a:solidFill>
                  <a:schemeClr val="accent1"/>
                </a:solidFill>
                <a:latin typeface="Playfair Display" panose="00000500000000000000" pitchFamily="2" charset="0"/>
                <a:cs typeface="Lato" panose="020F0502020204030203" pitchFamily="34" charset="0"/>
              </a:rPr>
              <a:t>03.</a:t>
            </a:r>
            <a:endParaRPr sz="4000" dirty="0">
              <a:solidFill>
                <a:schemeClr val="accent1"/>
              </a:solidFill>
              <a:latin typeface="Playfair Display" panose="00000500000000000000" pitchFamily="2" charset="0"/>
              <a:cs typeface="Lato" panose="020F0502020204030203" pitchFamily="34" charset="0"/>
            </a:endParaRPr>
          </a:p>
        </p:txBody>
      </p:sp>
    </p:spTree>
  </p:cSld>
  <p:clrMapOvr>
    <a:masterClrMapping/>
  </p:clrMapOvr>
  <p:transition spd="slow" advClick="0" advTm="0">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471833" y="3080243"/>
            <a:ext cx="6582362" cy="769441"/>
          </a:xfrm>
          <a:prstGeom prst="rect">
            <a:avLst/>
          </a:prstGeom>
          <a:noFill/>
        </p:spPr>
        <p:txBody>
          <a:bodyPr wrap="square">
            <a:spAutoFit/>
          </a:bodyPr>
          <a:lstStyle/>
          <a:p>
            <a:pPr algn="r"/>
            <a:r>
              <a:rPr lang="id-ID" sz="4400" b="1" spc="-150" dirty="0">
                <a:solidFill>
                  <a:schemeClr val="bg1"/>
                </a:solidFill>
                <a:latin typeface="Playfair Display" panose="00000500000000000000" pitchFamily="2" charset="0"/>
                <a:ea typeface="Open Sans" panose="020B0606030504020204" pitchFamily="34" charset="0"/>
                <a:cs typeface="Lato" panose="020F0502020204030203" pitchFamily="34" charset="0"/>
              </a:rPr>
              <a:t>THANKS FOR WATCH </a:t>
            </a:r>
            <a:endParaRPr lang="id-ID" sz="4400" b="1" spc="-150" dirty="0">
              <a:solidFill>
                <a:schemeClr val="bg1"/>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10" name="TextBox 9"/>
          <p:cNvSpPr txBox="1"/>
          <p:nvPr/>
        </p:nvSpPr>
        <p:spPr>
          <a:xfrm>
            <a:off x="7750386" y="2872810"/>
            <a:ext cx="2284600" cy="261610"/>
          </a:xfrm>
          <a:prstGeom prst="rect">
            <a:avLst/>
          </a:prstGeom>
          <a:noFill/>
        </p:spPr>
        <p:txBody>
          <a:bodyPr wrap="none" rtlCol="0">
            <a:spAutoFit/>
          </a:bodyPr>
          <a:lstStyle/>
          <a:p>
            <a:pPr algn="ctr"/>
            <a:r>
              <a:rPr lang="en-US" sz="1100" dirty="0">
                <a:solidFill>
                  <a:schemeClr val="bg1"/>
                </a:solidFill>
                <a:latin typeface="Playfair Display" panose="00000500000000000000" pitchFamily="2" charset="0"/>
                <a:ea typeface="Open Sans" panose="020B0606030504020204" pitchFamily="34" charset="0"/>
                <a:cs typeface="Lato" panose="020F0502020204030203" pitchFamily="34" charset="0"/>
              </a:rPr>
              <a:t>COMPANY SLOGUN TEXT HERE</a:t>
            </a:r>
            <a:endParaRPr lang="en-US" sz="1100" dirty="0">
              <a:solidFill>
                <a:schemeClr val="bg1"/>
              </a:solidFill>
              <a:latin typeface="Playfair Display" panose="00000500000000000000" pitchFamily="2" charset="0"/>
              <a:ea typeface="Open Sans" panose="020B0606030504020204" pitchFamily="34" charset="0"/>
              <a:cs typeface="Lato" panose="020F0502020204030203" pitchFamily="34" charset="0"/>
            </a:endParaRPr>
          </a:p>
        </p:txBody>
      </p:sp>
      <p:grpSp>
        <p:nvGrpSpPr>
          <p:cNvPr id="13" name="Group 12"/>
          <p:cNvGrpSpPr/>
          <p:nvPr/>
        </p:nvGrpSpPr>
        <p:grpSpPr>
          <a:xfrm flipV="1">
            <a:off x="-762640" y="3114720"/>
            <a:ext cx="11131907" cy="4708479"/>
            <a:chOff x="-110315" y="-141204"/>
            <a:chExt cx="1656388" cy="700605"/>
          </a:xfrm>
        </p:grpSpPr>
        <p:sp>
          <p:nvSpPr>
            <p:cNvPr id="14" name="Freeform 13"/>
            <p:cNvSpPr/>
            <p:nvPr userDrawn="1"/>
          </p:nvSpPr>
          <p:spPr>
            <a:xfrm rot="17853665" flipV="1">
              <a:off x="456332" y="-591984"/>
              <a:ext cx="638961" cy="1540521"/>
            </a:xfrm>
            <a:custGeom>
              <a:avLst/>
              <a:gdLst>
                <a:gd name="connsiteX0" fmla="*/ 118563 w 638961"/>
                <a:gd name="connsiteY0" fmla="*/ 1540521 h 1540521"/>
                <a:gd name="connsiteX1" fmla="*/ 638961 w 638961"/>
                <a:gd name="connsiteY1" fmla="*/ 543442 h 1540521"/>
                <a:gd name="connsiteX2" fmla="*/ 467238 w 638961"/>
                <a:gd name="connsiteY2" fmla="*/ 0 h 1540521"/>
                <a:gd name="connsiteX3" fmla="*/ 0 w 638961"/>
                <a:gd name="connsiteY3" fmla="*/ 1478640 h 1540521"/>
              </a:gdLst>
              <a:ahLst/>
              <a:cxnLst>
                <a:cxn ang="0">
                  <a:pos x="connsiteX0" y="connsiteY0"/>
                </a:cxn>
                <a:cxn ang="0">
                  <a:pos x="connsiteX1" y="connsiteY1"/>
                </a:cxn>
                <a:cxn ang="0">
                  <a:pos x="connsiteX2" y="connsiteY2"/>
                </a:cxn>
                <a:cxn ang="0">
                  <a:pos x="connsiteX3" y="connsiteY3"/>
                </a:cxn>
              </a:cxnLst>
              <a:rect l="l" t="t" r="r" b="b"/>
              <a:pathLst>
                <a:path w="638961" h="1540521">
                  <a:moveTo>
                    <a:pt x="118563" y="1540521"/>
                  </a:moveTo>
                  <a:lnTo>
                    <a:pt x="638961" y="543442"/>
                  </a:lnTo>
                  <a:lnTo>
                    <a:pt x="467238" y="0"/>
                  </a:lnTo>
                  <a:lnTo>
                    <a:pt x="0" y="1478640"/>
                  </a:lnTo>
                  <a:close/>
                </a:path>
              </a:pathLst>
            </a:custGeom>
            <a:solidFill>
              <a:schemeClr val="bg2">
                <a:alpha val="64000"/>
              </a:schemeClr>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p:cNvSpPr/>
            <p:nvPr userDrawn="1"/>
          </p:nvSpPr>
          <p:spPr>
            <a:xfrm rot="15300000" flipH="1" flipV="1">
              <a:off x="176479" y="-413954"/>
              <a:ext cx="686561" cy="1260150"/>
            </a:xfrm>
            <a:custGeom>
              <a:avLst/>
              <a:gdLst>
                <a:gd name="connsiteX0" fmla="*/ 0 w 686561"/>
                <a:gd name="connsiteY0" fmla="*/ 1076187 h 1260150"/>
                <a:gd name="connsiteX1" fmla="*/ 288364 w 686561"/>
                <a:gd name="connsiteY1" fmla="*/ 0 h 1260150"/>
                <a:gd name="connsiteX2" fmla="*/ 686561 w 686561"/>
                <a:gd name="connsiteY2" fmla="*/ 1260150 h 1260150"/>
              </a:gdLst>
              <a:ahLst/>
              <a:cxnLst>
                <a:cxn ang="0">
                  <a:pos x="connsiteX0" y="connsiteY0"/>
                </a:cxn>
                <a:cxn ang="0">
                  <a:pos x="connsiteX1" y="connsiteY1"/>
                </a:cxn>
                <a:cxn ang="0">
                  <a:pos x="connsiteX2" y="connsiteY2"/>
                </a:cxn>
              </a:cxnLst>
              <a:rect l="l" t="t" r="r" b="b"/>
              <a:pathLst>
                <a:path w="686561" h="1260150">
                  <a:moveTo>
                    <a:pt x="0" y="1076187"/>
                  </a:moveTo>
                  <a:lnTo>
                    <a:pt x="288364" y="0"/>
                  </a:lnTo>
                  <a:lnTo>
                    <a:pt x="686561" y="1260150"/>
                  </a:lnTo>
                  <a:close/>
                </a:path>
              </a:pathLst>
            </a:custGeom>
            <a:solidFill>
              <a:schemeClr val="accent2"/>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spTree>
  </p:cSld>
  <p:clrMapOvr>
    <a:masterClrMapping/>
  </p:clrMapOvr>
  <p:transition spd="slow" advClick="0" advTm="0">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428243" y="1829450"/>
            <a:ext cx="11307612" cy="4025377"/>
          </a:xfrm>
          <a:prstGeom prst="rect">
            <a:avLst/>
          </a:prstGeom>
          <a:blipFill>
            <a:blip r:embed="rId1" cstate="screen"/>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Rectangle 18"/>
          <p:cNvSpPr/>
          <p:nvPr/>
        </p:nvSpPr>
        <p:spPr>
          <a:xfrm>
            <a:off x="563622" y="1938732"/>
            <a:ext cx="11186186" cy="3788403"/>
          </a:xfrm>
          <a:prstGeom prst="rect">
            <a:avLst/>
          </a:prstGeom>
          <a:gradFill>
            <a:gsLst>
              <a:gs pos="0">
                <a:schemeClr val="accent1"/>
              </a:gs>
              <a:gs pos="100000">
                <a:schemeClr val="tx1">
                  <a:lumMod val="85000"/>
                  <a:lumOff val="15000"/>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cxnSp>
        <p:nvCxnSpPr>
          <p:cNvPr id="21" name="Straight Connector 20"/>
          <p:cNvCxnSpPr/>
          <p:nvPr/>
        </p:nvCxnSpPr>
        <p:spPr>
          <a:xfrm>
            <a:off x="445746" y="6580316"/>
            <a:ext cx="0" cy="22041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itle 1"/>
          <p:cNvSpPr txBox="1"/>
          <p:nvPr/>
        </p:nvSpPr>
        <p:spPr>
          <a:xfrm>
            <a:off x="3919551" y="644336"/>
            <a:ext cx="4352898"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3600" b="1" spc="-151" dirty="0">
                <a:solidFill>
                  <a:schemeClr val="accent1"/>
                </a:solidFill>
                <a:latin typeface="Playfair Display" panose="00000500000000000000" pitchFamily="2" charset="0"/>
                <a:ea typeface="Open Sans" panose="020B0606030504020204" pitchFamily="34" charset="0"/>
                <a:cs typeface="Lato" panose="020F0502020204030203" pitchFamily="34" charset="0"/>
              </a:rPr>
              <a:t>Part  </a:t>
            </a:r>
            <a:r>
              <a:rPr lang="en-US" sz="3600" spc="-151" dirty="0">
                <a:solidFill>
                  <a:schemeClr val="tx1">
                    <a:lumMod val="75000"/>
                    <a:lumOff val="25000"/>
                  </a:schemeClr>
                </a:solidFill>
                <a:latin typeface="Playfair Display" panose="00000500000000000000" pitchFamily="2" charset="0"/>
                <a:ea typeface="Open Sans" panose="020B0606030504020204" pitchFamily="34" charset="0"/>
                <a:cs typeface="Lato" panose="020F0502020204030203" pitchFamily="34" charset="0"/>
              </a:rPr>
              <a:t>One</a:t>
            </a:r>
            <a:endParaRPr lang="en-US" sz="3600" spc="-151" dirty="0">
              <a:solidFill>
                <a:schemeClr val="tx1">
                  <a:lumMod val="75000"/>
                  <a:lumOff val="2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9" name="Rectangle 8"/>
          <p:cNvSpPr/>
          <p:nvPr/>
        </p:nvSpPr>
        <p:spPr>
          <a:xfrm>
            <a:off x="5017995" y="1290667"/>
            <a:ext cx="2156010" cy="261610"/>
          </a:xfrm>
          <a:prstGeom prst="rect">
            <a:avLst/>
          </a:prstGeom>
        </p:spPr>
        <p:txBody>
          <a:bodyPr wrap="square">
            <a:spAutoFit/>
          </a:bodyPr>
          <a:lstStyle/>
          <a:p>
            <a:pPr algn="ctr">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cxnSp>
        <p:nvCxnSpPr>
          <p:cNvPr id="15" name="Straight Connector 14"/>
          <p:cNvCxnSpPr/>
          <p:nvPr/>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Title 11"/>
          <p:cNvSpPr txBox="1"/>
          <p:nvPr/>
        </p:nvSpPr>
        <p:spPr>
          <a:xfrm>
            <a:off x="8116459" y="2715134"/>
            <a:ext cx="3133538" cy="2533675"/>
          </a:xfrm>
          <a:prstGeom prst="rect">
            <a:avLst/>
          </a:prstGeom>
        </p:spPr>
        <p:txBody>
          <a:bodyPr vert="horz" wrap="square"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b="1" dirty="0">
                <a:solidFill>
                  <a:schemeClr val="bg1"/>
                </a:solidFill>
                <a:latin typeface="Playfair Display" panose="00000500000000000000" pitchFamily="2" charset="0"/>
                <a:ea typeface="Roboto" panose="02000000000000000000" pitchFamily="2" charset="0"/>
                <a:cs typeface="Times New Roman" panose="02020603050405020304" pitchFamily="18" charset="0"/>
              </a:rPr>
              <a:t>Those Who Are Too Busy To Be Looking For It</a:t>
            </a:r>
            <a:endParaRPr lang="en-US" sz="3600" b="1" dirty="0">
              <a:solidFill>
                <a:schemeClr val="bg1"/>
              </a:solidFill>
              <a:latin typeface="Playfair Display" panose="00000500000000000000" pitchFamily="2" charset="0"/>
              <a:ea typeface="Roboto" panose="02000000000000000000" pitchFamily="2" charset="0"/>
              <a:cs typeface="Times New Roman" panose="02020603050405020304" pitchFamily="18" charset="0"/>
            </a:endParaRPr>
          </a:p>
        </p:txBody>
      </p:sp>
      <p:sp>
        <p:nvSpPr>
          <p:cNvPr id="57" name="TextBox 56"/>
          <p:cNvSpPr txBox="1"/>
          <p:nvPr/>
        </p:nvSpPr>
        <p:spPr>
          <a:xfrm>
            <a:off x="1595681" y="2345802"/>
            <a:ext cx="3791740" cy="461665"/>
          </a:xfrm>
          <a:prstGeom prst="rect">
            <a:avLst/>
          </a:prstGeom>
          <a:noFill/>
        </p:spPr>
        <p:txBody>
          <a:bodyPr wrap="square" rtlCol="0">
            <a:spAutoFit/>
          </a:bodyPr>
          <a:lstStyle/>
          <a:p>
            <a:r>
              <a:rPr lang="id-ID" sz="2400" b="1" dirty="0">
                <a:solidFill>
                  <a:schemeClr val="bg1"/>
                </a:solidFill>
                <a:latin typeface="Playfair Display" panose="00000500000000000000" pitchFamily="2" charset="0"/>
                <a:cs typeface="Lato" panose="020F0502020204030203" pitchFamily="34" charset="0"/>
              </a:rPr>
              <a:t>Client</a:t>
            </a:r>
            <a:endParaRPr lang="id-ID" sz="2400" b="1" dirty="0">
              <a:solidFill>
                <a:schemeClr val="bg1"/>
              </a:solidFill>
              <a:latin typeface="Playfair Display" panose="00000500000000000000" pitchFamily="2" charset="0"/>
              <a:cs typeface="Lato" panose="020F0502020204030203" pitchFamily="34" charset="0"/>
            </a:endParaRPr>
          </a:p>
        </p:txBody>
      </p:sp>
      <p:sp>
        <p:nvSpPr>
          <p:cNvPr id="58" name="TextBox 57"/>
          <p:cNvSpPr txBox="1"/>
          <p:nvPr/>
        </p:nvSpPr>
        <p:spPr>
          <a:xfrm>
            <a:off x="1595681" y="2741411"/>
            <a:ext cx="2677187" cy="261610"/>
          </a:xfrm>
          <a:prstGeom prst="rect">
            <a:avLst/>
          </a:prstGeom>
          <a:noFill/>
        </p:spPr>
        <p:txBody>
          <a:bodyPr wrap="square" rtlCol="0">
            <a:spAutoFit/>
          </a:bodyPr>
          <a:lstStyle/>
          <a:p>
            <a:r>
              <a:rPr lang="id-ID" sz="1100" dirty="0">
                <a:solidFill>
                  <a:schemeClr val="bg1"/>
                </a:solidFill>
              </a:rPr>
              <a:t>InspiraSign</a:t>
            </a:r>
            <a:endParaRPr lang="en-US" sz="1100" dirty="0">
              <a:solidFill>
                <a:schemeClr val="bg1"/>
              </a:solidFill>
            </a:endParaRPr>
          </a:p>
        </p:txBody>
      </p:sp>
      <p:cxnSp>
        <p:nvCxnSpPr>
          <p:cNvPr id="61" name="Straight Connector 60"/>
          <p:cNvCxnSpPr/>
          <p:nvPr/>
        </p:nvCxnSpPr>
        <p:spPr>
          <a:xfrm flipH="1">
            <a:off x="1646481" y="3131964"/>
            <a:ext cx="332761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1068108" y="2501374"/>
            <a:ext cx="329843" cy="388918"/>
            <a:chOff x="4630078" y="4485857"/>
            <a:chExt cx="299857" cy="353562"/>
          </a:xfrm>
          <a:solidFill>
            <a:schemeClr val="bg1"/>
          </a:solidFill>
        </p:grpSpPr>
        <p:sp>
          <p:nvSpPr>
            <p:cNvPr id="65" name="Freeform 613"/>
            <p:cNvSpPr/>
            <p:nvPr/>
          </p:nvSpPr>
          <p:spPr bwMode="auto">
            <a:xfrm rot="5400000">
              <a:off x="4578610" y="4537325"/>
              <a:ext cx="353562" cy="250626"/>
            </a:xfrm>
            <a:custGeom>
              <a:avLst/>
              <a:gdLst>
                <a:gd name="T0" fmla="*/ 157 w 157"/>
                <a:gd name="T1" fmla="*/ 27 h 113"/>
                <a:gd name="T2" fmla="*/ 157 w 157"/>
                <a:gd name="T3" fmla="*/ 109 h 113"/>
                <a:gd name="T4" fmla="*/ 157 w 157"/>
                <a:gd name="T5" fmla="*/ 109 h 113"/>
                <a:gd name="T6" fmla="*/ 156 w 157"/>
                <a:gd name="T7" fmla="*/ 111 h 113"/>
                <a:gd name="T8" fmla="*/ 153 w 157"/>
                <a:gd name="T9" fmla="*/ 113 h 113"/>
                <a:gd name="T10" fmla="*/ 4 w 157"/>
                <a:gd name="T11" fmla="*/ 113 h 113"/>
                <a:gd name="T12" fmla="*/ 4 w 157"/>
                <a:gd name="T13" fmla="*/ 113 h 113"/>
                <a:gd name="T14" fmla="*/ 1 w 157"/>
                <a:gd name="T15" fmla="*/ 111 h 113"/>
                <a:gd name="T16" fmla="*/ 0 w 157"/>
                <a:gd name="T17" fmla="*/ 109 h 113"/>
                <a:gd name="T18" fmla="*/ 0 w 157"/>
                <a:gd name="T19" fmla="*/ 4 h 113"/>
                <a:gd name="T20" fmla="*/ 0 w 157"/>
                <a:gd name="T21" fmla="*/ 4 h 113"/>
                <a:gd name="T22" fmla="*/ 1 w 157"/>
                <a:gd name="T23" fmla="*/ 2 h 113"/>
                <a:gd name="T24" fmla="*/ 4 w 157"/>
                <a:gd name="T25" fmla="*/ 0 h 113"/>
                <a:gd name="T26" fmla="*/ 34 w 157"/>
                <a:gd name="T27" fmla="*/ 0 h 113"/>
                <a:gd name="T28" fmla="*/ 34 w 157"/>
                <a:gd name="T29" fmla="*/ 0 h 113"/>
                <a:gd name="T30" fmla="*/ 37 w 157"/>
                <a:gd name="T31" fmla="*/ 2 h 113"/>
                <a:gd name="T32" fmla="*/ 38 w 157"/>
                <a:gd name="T33" fmla="*/ 4 h 113"/>
                <a:gd name="T34" fmla="*/ 38 w 157"/>
                <a:gd name="T35" fmla="*/ 4 h 113"/>
                <a:gd name="T36" fmla="*/ 37 w 157"/>
                <a:gd name="T37" fmla="*/ 7 h 113"/>
                <a:gd name="T38" fmla="*/ 34 w 157"/>
                <a:gd name="T39" fmla="*/ 8 h 113"/>
                <a:gd name="T40" fmla="*/ 8 w 157"/>
                <a:gd name="T41" fmla="*/ 8 h 113"/>
                <a:gd name="T42" fmla="*/ 8 w 157"/>
                <a:gd name="T43" fmla="*/ 105 h 113"/>
                <a:gd name="T44" fmla="*/ 149 w 157"/>
                <a:gd name="T45" fmla="*/ 105 h 113"/>
                <a:gd name="T46" fmla="*/ 149 w 157"/>
                <a:gd name="T47" fmla="*/ 27 h 113"/>
                <a:gd name="T48" fmla="*/ 149 w 157"/>
                <a:gd name="T49" fmla="*/ 27 h 113"/>
                <a:gd name="T50" fmla="*/ 148 w 157"/>
                <a:gd name="T51" fmla="*/ 19 h 113"/>
                <a:gd name="T52" fmla="*/ 144 w 157"/>
                <a:gd name="T53" fmla="*/ 14 h 113"/>
                <a:gd name="T54" fmla="*/ 139 w 157"/>
                <a:gd name="T55" fmla="*/ 10 h 113"/>
                <a:gd name="T56" fmla="*/ 131 w 157"/>
                <a:gd name="T57" fmla="*/ 8 h 113"/>
                <a:gd name="T58" fmla="*/ 109 w 157"/>
                <a:gd name="T59" fmla="*/ 8 h 113"/>
                <a:gd name="T60" fmla="*/ 109 w 157"/>
                <a:gd name="T61" fmla="*/ 8 h 113"/>
                <a:gd name="T62" fmla="*/ 107 w 157"/>
                <a:gd name="T63" fmla="*/ 7 h 113"/>
                <a:gd name="T64" fmla="*/ 105 w 157"/>
                <a:gd name="T65" fmla="*/ 4 h 113"/>
                <a:gd name="T66" fmla="*/ 105 w 157"/>
                <a:gd name="T67" fmla="*/ 4 h 113"/>
                <a:gd name="T68" fmla="*/ 107 w 157"/>
                <a:gd name="T69" fmla="*/ 2 h 113"/>
                <a:gd name="T70" fmla="*/ 109 w 157"/>
                <a:gd name="T71" fmla="*/ 0 h 113"/>
                <a:gd name="T72" fmla="*/ 131 w 157"/>
                <a:gd name="T73" fmla="*/ 0 h 113"/>
                <a:gd name="T74" fmla="*/ 131 w 157"/>
                <a:gd name="T75" fmla="*/ 0 h 113"/>
                <a:gd name="T76" fmla="*/ 136 w 157"/>
                <a:gd name="T77" fmla="*/ 0 h 113"/>
                <a:gd name="T78" fmla="*/ 141 w 157"/>
                <a:gd name="T79" fmla="*/ 3 h 113"/>
                <a:gd name="T80" fmla="*/ 145 w 157"/>
                <a:gd name="T81" fmla="*/ 4 h 113"/>
                <a:gd name="T82" fmla="*/ 149 w 157"/>
                <a:gd name="T83" fmla="*/ 8 h 113"/>
                <a:gd name="T84" fmla="*/ 153 w 157"/>
                <a:gd name="T85" fmla="*/ 13 h 113"/>
                <a:gd name="T86" fmla="*/ 155 w 157"/>
                <a:gd name="T87" fmla="*/ 17 h 113"/>
                <a:gd name="T88" fmla="*/ 156 w 157"/>
                <a:gd name="T89" fmla="*/ 22 h 113"/>
                <a:gd name="T90" fmla="*/ 157 w 157"/>
                <a:gd name="T91" fmla="*/ 27 h 113"/>
                <a:gd name="T92" fmla="*/ 157 w 157"/>
                <a:gd name="T93" fmla="*/ 2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7" h="113">
                  <a:moveTo>
                    <a:pt x="157" y="27"/>
                  </a:moveTo>
                  <a:lnTo>
                    <a:pt x="157" y="109"/>
                  </a:lnTo>
                  <a:lnTo>
                    <a:pt x="157" y="109"/>
                  </a:lnTo>
                  <a:lnTo>
                    <a:pt x="156" y="111"/>
                  </a:lnTo>
                  <a:lnTo>
                    <a:pt x="153" y="113"/>
                  </a:lnTo>
                  <a:lnTo>
                    <a:pt x="4" y="113"/>
                  </a:lnTo>
                  <a:lnTo>
                    <a:pt x="4" y="113"/>
                  </a:lnTo>
                  <a:lnTo>
                    <a:pt x="1" y="111"/>
                  </a:lnTo>
                  <a:lnTo>
                    <a:pt x="0" y="109"/>
                  </a:lnTo>
                  <a:lnTo>
                    <a:pt x="0" y="4"/>
                  </a:lnTo>
                  <a:lnTo>
                    <a:pt x="0" y="4"/>
                  </a:lnTo>
                  <a:lnTo>
                    <a:pt x="1" y="2"/>
                  </a:lnTo>
                  <a:lnTo>
                    <a:pt x="4" y="0"/>
                  </a:lnTo>
                  <a:lnTo>
                    <a:pt x="34" y="0"/>
                  </a:lnTo>
                  <a:lnTo>
                    <a:pt x="34" y="0"/>
                  </a:lnTo>
                  <a:lnTo>
                    <a:pt x="37" y="2"/>
                  </a:lnTo>
                  <a:lnTo>
                    <a:pt x="38" y="4"/>
                  </a:lnTo>
                  <a:lnTo>
                    <a:pt x="38" y="4"/>
                  </a:lnTo>
                  <a:lnTo>
                    <a:pt x="37" y="7"/>
                  </a:lnTo>
                  <a:lnTo>
                    <a:pt x="34" y="8"/>
                  </a:lnTo>
                  <a:lnTo>
                    <a:pt x="8" y="8"/>
                  </a:lnTo>
                  <a:lnTo>
                    <a:pt x="8" y="105"/>
                  </a:lnTo>
                  <a:lnTo>
                    <a:pt x="149" y="105"/>
                  </a:lnTo>
                  <a:lnTo>
                    <a:pt x="149" y="27"/>
                  </a:lnTo>
                  <a:lnTo>
                    <a:pt x="149" y="27"/>
                  </a:lnTo>
                  <a:lnTo>
                    <a:pt x="148" y="19"/>
                  </a:lnTo>
                  <a:lnTo>
                    <a:pt x="144" y="14"/>
                  </a:lnTo>
                  <a:lnTo>
                    <a:pt x="139" y="10"/>
                  </a:lnTo>
                  <a:lnTo>
                    <a:pt x="131" y="8"/>
                  </a:lnTo>
                  <a:lnTo>
                    <a:pt x="109" y="8"/>
                  </a:lnTo>
                  <a:lnTo>
                    <a:pt x="109" y="8"/>
                  </a:lnTo>
                  <a:lnTo>
                    <a:pt x="107" y="7"/>
                  </a:lnTo>
                  <a:lnTo>
                    <a:pt x="105" y="4"/>
                  </a:lnTo>
                  <a:lnTo>
                    <a:pt x="105" y="4"/>
                  </a:lnTo>
                  <a:lnTo>
                    <a:pt x="107" y="2"/>
                  </a:lnTo>
                  <a:lnTo>
                    <a:pt x="109" y="0"/>
                  </a:lnTo>
                  <a:lnTo>
                    <a:pt x="131" y="0"/>
                  </a:lnTo>
                  <a:lnTo>
                    <a:pt x="131" y="0"/>
                  </a:lnTo>
                  <a:lnTo>
                    <a:pt x="136" y="0"/>
                  </a:lnTo>
                  <a:lnTo>
                    <a:pt x="141" y="3"/>
                  </a:lnTo>
                  <a:lnTo>
                    <a:pt x="145" y="4"/>
                  </a:lnTo>
                  <a:lnTo>
                    <a:pt x="149" y="8"/>
                  </a:lnTo>
                  <a:lnTo>
                    <a:pt x="153" y="13"/>
                  </a:lnTo>
                  <a:lnTo>
                    <a:pt x="155" y="17"/>
                  </a:lnTo>
                  <a:lnTo>
                    <a:pt x="156" y="22"/>
                  </a:lnTo>
                  <a:lnTo>
                    <a:pt x="157" y="27"/>
                  </a:lnTo>
                  <a:lnTo>
                    <a:pt x="157"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6" name="Freeform 614"/>
            <p:cNvSpPr>
              <a:spLocks noEditPoints="1"/>
            </p:cNvSpPr>
            <p:nvPr/>
          </p:nvSpPr>
          <p:spPr bwMode="auto">
            <a:xfrm rot="5400000">
              <a:off x="4741965" y="4588793"/>
              <a:ext cx="187970" cy="187970"/>
            </a:xfrm>
            <a:custGeom>
              <a:avLst/>
              <a:gdLst>
                <a:gd name="T0" fmla="*/ 83 w 83"/>
                <a:gd name="T1" fmla="*/ 60 h 84"/>
                <a:gd name="T2" fmla="*/ 83 w 83"/>
                <a:gd name="T3" fmla="*/ 60 h 84"/>
                <a:gd name="T4" fmla="*/ 83 w 83"/>
                <a:gd name="T5" fmla="*/ 60 h 84"/>
                <a:gd name="T6" fmla="*/ 82 w 83"/>
                <a:gd name="T7" fmla="*/ 63 h 84"/>
                <a:gd name="T8" fmla="*/ 62 w 83"/>
                <a:gd name="T9" fmla="*/ 83 h 84"/>
                <a:gd name="T10" fmla="*/ 62 w 83"/>
                <a:gd name="T11" fmla="*/ 83 h 84"/>
                <a:gd name="T12" fmla="*/ 59 w 83"/>
                <a:gd name="T13" fmla="*/ 84 h 84"/>
                <a:gd name="T14" fmla="*/ 57 w 83"/>
                <a:gd name="T15" fmla="*/ 83 h 84"/>
                <a:gd name="T16" fmla="*/ 2 w 83"/>
                <a:gd name="T17" fmla="*/ 27 h 84"/>
                <a:gd name="T18" fmla="*/ 2 w 83"/>
                <a:gd name="T19" fmla="*/ 27 h 84"/>
                <a:gd name="T20" fmla="*/ 0 w 83"/>
                <a:gd name="T21" fmla="*/ 24 h 84"/>
                <a:gd name="T22" fmla="*/ 2 w 83"/>
                <a:gd name="T23" fmla="*/ 21 h 84"/>
                <a:gd name="T24" fmla="*/ 22 w 83"/>
                <a:gd name="T25" fmla="*/ 1 h 84"/>
                <a:gd name="T26" fmla="*/ 22 w 83"/>
                <a:gd name="T27" fmla="*/ 1 h 84"/>
                <a:gd name="T28" fmla="*/ 25 w 83"/>
                <a:gd name="T29" fmla="*/ 0 h 84"/>
                <a:gd name="T30" fmla="*/ 25 w 83"/>
                <a:gd name="T31" fmla="*/ 0 h 84"/>
                <a:gd name="T32" fmla="*/ 27 w 83"/>
                <a:gd name="T33" fmla="*/ 1 h 84"/>
                <a:gd name="T34" fmla="*/ 82 w 83"/>
                <a:gd name="T35" fmla="*/ 58 h 84"/>
                <a:gd name="T36" fmla="*/ 82 w 83"/>
                <a:gd name="T37" fmla="*/ 58 h 84"/>
                <a:gd name="T38" fmla="*/ 83 w 83"/>
                <a:gd name="T39" fmla="*/ 60 h 84"/>
                <a:gd name="T40" fmla="*/ 83 w 83"/>
                <a:gd name="T41" fmla="*/ 60 h 84"/>
                <a:gd name="T42" fmla="*/ 59 w 83"/>
                <a:gd name="T43" fmla="*/ 75 h 84"/>
                <a:gd name="T44" fmla="*/ 75 w 83"/>
                <a:gd name="T45" fmla="*/ 60 h 84"/>
                <a:gd name="T46" fmla="*/ 25 w 83"/>
                <a:gd name="T47" fmla="*/ 9 h 84"/>
                <a:gd name="T48" fmla="*/ 8 w 83"/>
                <a:gd name="T49" fmla="*/ 24 h 84"/>
                <a:gd name="T50" fmla="*/ 59 w 83"/>
                <a:gd name="T51" fmla="*/ 7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3" h="84">
                  <a:moveTo>
                    <a:pt x="83" y="60"/>
                  </a:moveTo>
                  <a:lnTo>
                    <a:pt x="83" y="60"/>
                  </a:lnTo>
                  <a:lnTo>
                    <a:pt x="83" y="60"/>
                  </a:lnTo>
                  <a:lnTo>
                    <a:pt x="82" y="63"/>
                  </a:lnTo>
                  <a:lnTo>
                    <a:pt x="62" y="83"/>
                  </a:lnTo>
                  <a:lnTo>
                    <a:pt x="62" y="83"/>
                  </a:lnTo>
                  <a:lnTo>
                    <a:pt x="59" y="84"/>
                  </a:lnTo>
                  <a:lnTo>
                    <a:pt x="57" y="83"/>
                  </a:lnTo>
                  <a:lnTo>
                    <a:pt x="2" y="27"/>
                  </a:lnTo>
                  <a:lnTo>
                    <a:pt x="2" y="27"/>
                  </a:lnTo>
                  <a:lnTo>
                    <a:pt x="0" y="24"/>
                  </a:lnTo>
                  <a:lnTo>
                    <a:pt x="2" y="21"/>
                  </a:lnTo>
                  <a:lnTo>
                    <a:pt x="22" y="1"/>
                  </a:lnTo>
                  <a:lnTo>
                    <a:pt x="22" y="1"/>
                  </a:lnTo>
                  <a:lnTo>
                    <a:pt x="25" y="0"/>
                  </a:lnTo>
                  <a:lnTo>
                    <a:pt x="25" y="0"/>
                  </a:lnTo>
                  <a:lnTo>
                    <a:pt x="27" y="1"/>
                  </a:lnTo>
                  <a:lnTo>
                    <a:pt x="82" y="58"/>
                  </a:lnTo>
                  <a:lnTo>
                    <a:pt x="82" y="58"/>
                  </a:lnTo>
                  <a:lnTo>
                    <a:pt x="83" y="60"/>
                  </a:lnTo>
                  <a:lnTo>
                    <a:pt x="83" y="60"/>
                  </a:lnTo>
                  <a:close/>
                  <a:moveTo>
                    <a:pt x="59" y="75"/>
                  </a:moveTo>
                  <a:lnTo>
                    <a:pt x="75" y="60"/>
                  </a:lnTo>
                  <a:lnTo>
                    <a:pt x="25" y="9"/>
                  </a:lnTo>
                  <a:lnTo>
                    <a:pt x="8" y="24"/>
                  </a:lnTo>
                  <a:lnTo>
                    <a:pt x="59" y="7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7" name="Freeform 615"/>
            <p:cNvSpPr>
              <a:spLocks noEditPoints="1"/>
            </p:cNvSpPr>
            <p:nvPr/>
          </p:nvSpPr>
          <p:spPr bwMode="auto">
            <a:xfrm rot="5400000">
              <a:off x="4730776" y="4711868"/>
              <a:ext cx="71607" cy="76083"/>
            </a:xfrm>
            <a:custGeom>
              <a:avLst/>
              <a:gdLst>
                <a:gd name="T0" fmla="*/ 32 w 32"/>
                <a:gd name="T1" fmla="*/ 30 h 34"/>
                <a:gd name="T2" fmla="*/ 32 w 32"/>
                <a:gd name="T3" fmla="*/ 30 h 34"/>
                <a:gd name="T4" fmla="*/ 30 w 32"/>
                <a:gd name="T5" fmla="*/ 32 h 34"/>
                <a:gd name="T6" fmla="*/ 30 w 32"/>
                <a:gd name="T7" fmla="*/ 32 h 34"/>
                <a:gd name="T8" fmla="*/ 29 w 32"/>
                <a:gd name="T9" fmla="*/ 34 h 34"/>
                <a:gd name="T10" fmla="*/ 28 w 32"/>
                <a:gd name="T11" fmla="*/ 34 h 34"/>
                <a:gd name="T12" fmla="*/ 2 w 32"/>
                <a:gd name="T13" fmla="*/ 28 h 34"/>
                <a:gd name="T14" fmla="*/ 2 w 32"/>
                <a:gd name="T15" fmla="*/ 28 h 34"/>
                <a:gd name="T16" fmla="*/ 0 w 32"/>
                <a:gd name="T17" fmla="*/ 27 h 34"/>
                <a:gd name="T18" fmla="*/ 0 w 32"/>
                <a:gd name="T19" fmla="*/ 26 h 34"/>
                <a:gd name="T20" fmla="*/ 0 w 32"/>
                <a:gd name="T21" fmla="*/ 26 h 34"/>
                <a:gd name="T22" fmla="*/ 0 w 32"/>
                <a:gd name="T23" fmla="*/ 23 h 34"/>
                <a:gd name="T24" fmla="*/ 0 w 32"/>
                <a:gd name="T25" fmla="*/ 22 h 34"/>
                <a:gd name="T26" fmla="*/ 20 w 32"/>
                <a:gd name="T27" fmla="*/ 2 h 34"/>
                <a:gd name="T28" fmla="*/ 20 w 32"/>
                <a:gd name="T29" fmla="*/ 2 h 34"/>
                <a:gd name="T30" fmla="*/ 22 w 32"/>
                <a:gd name="T31" fmla="*/ 0 h 34"/>
                <a:gd name="T32" fmla="*/ 24 w 32"/>
                <a:gd name="T33" fmla="*/ 0 h 34"/>
                <a:gd name="T34" fmla="*/ 24 w 32"/>
                <a:gd name="T35" fmla="*/ 0 h 34"/>
                <a:gd name="T36" fmla="*/ 26 w 32"/>
                <a:gd name="T37" fmla="*/ 2 h 34"/>
                <a:gd name="T38" fmla="*/ 26 w 32"/>
                <a:gd name="T39" fmla="*/ 3 h 34"/>
                <a:gd name="T40" fmla="*/ 32 w 32"/>
                <a:gd name="T41" fmla="*/ 28 h 34"/>
                <a:gd name="T42" fmla="*/ 32 w 32"/>
                <a:gd name="T43" fmla="*/ 30 h 34"/>
                <a:gd name="T44" fmla="*/ 10 w 32"/>
                <a:gd name="T45" fmla="*/ 22 h 34"/>
                <a:gd name="T46" fmla="*/ 24 w 32"/>
                <a:gd name="T47" fmla="*/ 24 h 34"/>
                <a:gd name="T48" fmla="*/ 21 w 32"/>
                <a:gd name="T49" fmla="*/ 12 h 34"/>
                <a:gd name="T50" fmla="*/ 10 w 32"/>
                <a:gd name="T51"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4">
                  <a:moveTo>
                    <a:pt x="32" y="30"/>
                  </a:moveTo>
                  <a:lnTo>
                    <a:pt x="32" y="30"/>
                  </a:lnTo>
                  <a:lnTo>
                    <a:pt x="30" y="32"/>
                  </a:lnTo>
                  <a:lnTo>
                    <a:pt x="30" y="32"/>
                  </a:lnTo>
                  <a:lnTo>
                    <a:pt x="29" y="34"/>
                  </a:lnTo>
                  <a:lnTo>
                    <a:pt x="28" y="34"/>
                  </a:lnTo>
                  <a:lnTo>
                    <a:pt x="2" y="28"/>
                  </a:lnTo>
                  <a:lnTo>
                    <a:pt x="2" y="28"/>
                  </a:lnTo>
                  <a:lnTo>
                    <a:pt x="0" y="27"/>
                  </a:lnTo>
                  <a:lnTo>
                    <a:pt x="0" y="26"/>
                  </a:lnTo>
                  <a:lnTo>
                    <a:pt x="0" y="26"/>
                  </a:lnTo>
                  <a:lnTo>
                    <a:pt x="0" y="23"/>
                  </a:lnTo>
                  <a:lnTo>
                    <a:pt x="0" y="22"/>
                  </a:lnTo>
                  <a:lnTo>
                    <a:pt x="20" y="2"/>
                  </a:lnTo>
                  <a:lnTo>
                    <a:pt x="20" y="2"/>
                  </a:lnTo>
                  <a:lnTo>
                    <a:pt x="22" y="0"/>
                  </a:lnTo>
                  <a:lnTo>
                    <a:pt x="24" y="0"/>
                  </a:lnTo>
                  <a:lnTo>
                    <a:pt x="24" y="0"/>
                  </a:lnTo>
                  <a:lnTo>
                    <a:pt x="26" y="2"/>
                  </a:lnTo>
                  <a:lnTo>
                    <a:pt x="26" y="3"/>
                  </a:lnTo>
                  <a:lnTo>
                    <a:pt x="32" y="28"/>
                  </a:lnTo>
                  <a:lnTo>
                    <a:pt x="32" y="30"/>
                  </a:lnTo>
                  <a:close/>
                  <a:moveTo>
                    <a:pt x="10" y="22"/>
                  </a:moveTo>
                  <a:lnTo>
                    <a:pt x="24" y="24"/>
                  </a:lnTo>
                  <a:lnTo>
                    <a:pt x="21" y="12"/>
                  </a:lnTo>
                  <a:lnTo>
                    <a:pt x="10" y="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8" name="Freeform 616"/>
            <p:cNvSpPr/>
            <p:nvPr/>
          </p:nvSpPr>
          <p:spPr bwMode="auto">
            <a:xfrm rot="5400000">
              <a:off x="4844901" y="4611170"/>
              <a:ext cx="62657" cy="62657"/>
            </a:xfrm>
            <a:custGeom>
              <a:avLst/>
              <a:gdLst>
                <a:gd name="T0" fmla="*/ 28 w 28"/>
                <a:gd name="T1" fmla="*/ 4 h 28"/>
                <a:gd name="T2" fmla="*/ 28 w 28"/>
                <a:gd name="T3" fmla="*/ 4 h 28"/>
                <a:gd name="T4" fmla="*/ 27 w 28"/>
                <a:gd name="T5" fmla="*/ 6 h 28"/>
                <a:gd name="T6" fmla="*/ 6 w 28"/>
                <a:gd name="T7" fmla="*/ 27 h 28"/>
                <a:gd name="T8" fmla="*/ 6 w 28"/>
                <a:gd name="T9" fmla="*/ 27 h 28"/>
                <a:gd name="T10" fmla="*/ 4 w 28"/>
                <a:gd name="T11" fmla="*/ 28 h 28"/>
                <a:gd name="T12" fmla="*/ 1 w 28"/>
                <a:gd name="T13" fmla="*/ 27 h 28"/>
                <a:gd name="T14" fmla="*/ 1 w 28"/>
                <a:gd name="T15" fmla="*/ 27 h 28"/>
                <a:gd name="T16" fmla="*/ 0 w 28"/>
                <a:gd name="T17" fmla="*/ 24 h 28"/>
                <a:gd name="T18" fmla="*/ 1 w 28"/>
                <a:gd name="T19" fmla="*/ 21 h 28"/>
                <a:gd name="T20" fmla="*/ 21 w 28"/>
                <a:gd name="T21" fmla="*/ 1 h 28"/>
                <a:gd name="T22" fmla="*/ 21 w 28"/>
                <a:gd name="T23" fmla="*/ 1 h 28"/>
                <a:gd name="T24" fmla="*/ 24 w 28"/>
                <a:gd name="T25" fmla="*/ 0 h 28"/>
                <a:gd name="T26" fmla="*/ 27 w 28"/>
                <a:gd name="T27" fmla="*/ 1 h 28"/>
                <a:gd name="T28" fmla="*/ 27 w 28"/>
                <a:gd name="T29" fmla="*/ 1 h 28"/>
                <a:gd name="T30" fmla="*/ 28 w 28"/>
                <a:gd name="T31" fmla="*/ 4 h 28"/>
                <a:gd name="T32" fmla="*/ 28 w 28"/>
                <a:gd name="T33"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8">
                  <a:moveTo>
                    <a:pt x="28" y="4"/>
                  </a:moveTo>
                  <a:lnTo>
                    <a:pt x="28" y="4"/>
                  </a:lnTo>
                  <a:lnTo>
                    <a:pt x="27" y="6"/>
                  </a:lnTo>
                  <a:lnTo>
                    <a:pt x="6" y="27"/>
                  </a:lnTo>
                  <a:lnTo>
                    <a:pt x="6" y="27"/>
                  </a:lnTo>
                  <a:lnTo>
                    <a:pt x="4" y="28"/>
                  </a:lnTo>
                  <a:lnTo>
                    <a:pt x="1" y="27"/>
                  </a:lnTo>
                  <a:lnTo>
                    <a:pt x="1" y="27"/>
                  </a:lnTo>
                  <a:lnTo>
                    <a:pt x="0" y="24"/>
                  </a:lnTo>
                  <a:lnTo>
                    <a:pt x="1" y="21"/>
                  </a:lnTo>
                  <a:lnTo>
                    <a:pt x="21" y="1"/>
                  </a:lnTo>
                  <a:lnTo>
                    <a:pt x="21" y="1"/>
                  </a:lnTo>
                  <a:lnTo>
                    <a:pt x="24" y="0"/>
                  </a:lnTo>
                  <a:lnTo>
                    <a:pt x="27" y="1"/>
                  </a:lnTo>
                  <a:lnTo>
                    <a:pt x="27" y="1"/>
                  </a:lnTo>
                  <a:lnTo>
                    <a:pt x="28" y="4"/>
                  </a:lnTo>
                  <a:lnTo>
                    <a:pt x="28"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9" name="Freeform 617"/>
            <p:cNvSpPr/>
            <p:nvPr/>
          </p:nvSpPr>
          <p:spPr bwMode="auto">
            <a:xfrm rot="5400000">
              <a:off x="4746440" y="4485857"/>
              <a:ext cx="17902" cy="152166"/>
            </a:xfrm>
            <a:custGeom>
              <a:avLst/>
              <a:gdLst>
                <a:gd name="T0" fmla="*/ 7 w 7"/>
                <a:gd name="T1" fmla="*/ 4 h 67"/>
                <a:gd name="T2" fmla="*/ 7 w 7"/>
                <a:gd name="T3" fmla="*/ 63 h 67"/>
                <a:gd name="T4" fmla="*/ 7 w 7"/>
                <a:gd name="T5" fmla="*/ 63 h 67"/>
                <a:gd name="T6" fmla="*/ 6 w 7"/>
                <a:gd name="T7" fmla="*/ 66 h 67"/>
                <a:gd name="T8" fmla="*/ 4 w 7"/>
                <a:gd name="T9" fmla="*/ 67 h 67"/>
                <a:gd name="T10" fmla="*/ 4 w 7"/>
                <a:gd name="T11" fmla="*/ 67 h 67"/>
                <a:gd name="T12" fmla="*/ 2 w 7"/>
                <a:gd name="T13" fmla="*/ 66 h 67"/>
                <a:gd name="T14" fmla="*/ 0 w 7"/>
                <a:gd name="T15" fmla="*/ 63 h 67"/>
                <a:gd name="T16" fmla="*/ 0 w 7"/>
                <a:gd name="T17" fmla="*/ 4 h 67"/>
                <a:gd name="T18" fmla="*/ 0 w 7"/>
                <a:gd name="T19" fmla="*/ 4 h 67"/>
                <a:gd name="T20" fmla="*/ 2 w 7"/>
                <a:gd name="T21" fmla="*/ 2 h 67"/>
                <a:gd name="T22" fmla="*/ 4 w 7"/>
                <a:gd name="T23" fmla="*/ 0 h 67"/>
                <a:gd name="T24" fmla="*/ 4 w 7"/>
                <a:gd name="T25" fmla="*/ 0 h 67"/>
                <a:gd name="T26" fmla="*/ 6 w 7"/>
                <a:gd name="T27" fmla="*/ 2 h 67"/>
                <a:gd name="T28" fmla="*/ 7 w 7"/>
                <a:gd name="T29" fmla="*/ 4 h 67"/>
                <a:gd name="T30" fmla="*/ 7 w 7"/>
                <a:gd name="T31" fmla="*/ 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67">
                  <a:moveTo>
                    <a:pt x="7" y="4"/>
                  </a:moveTo>
                  <a:lnTo>
                    <a:pt x="7" y="63"/>
                  </a:lnTo>
                  <a:lnTo>
                    <a:pt x="7" y="63"/>
                  </a:lnTo>
                  <a:lnTo>
                    <a:pt x="6" y="66"/>
                  </a:lnTo>
                  <a:lnTo>
                    <a:pt x="4" y="67"/>
                  </a:lnTo>
                  <a:lnTo>
                    <a:pt x="4" y="67"/>
                  </a:lnTo>
                  <a:lnTo>
                    <a:pt x="2" y="66"/>
                  </a:lnTo>
                  <a:lnTo>
                    <a:pt x="0" y="63"/>
                  </a:lnTo>
                  <a:lnTo>
                    <a:pt x="0" y="4"/>
                  </a:lnTo>
                  <a:lnTo>
                    <a:pt x="0" y="4"/>
                  </a:lnTo>
                  <a:lnTo>
                    <a:pt x="2" y="2"/>
                  </a:lnTo>
                  <a:lnTo>
                    <a:pt x="4" y="0"/>
                  </a:lnTo>
                  <a:lnTo>
                    <a:pt x="4" y="0"/>
                  </a:lnTo>
                  <a:lnTo>
                    <a:pt x="6" y="2"/>
                  </a:lnTo>
                  <a:lnTo>
                    <a:pt x="7" y="4"/>
                  </a:lnTo>
                  <a:lnTo>
                    <a:pt x="7"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0" name="Freeform 618"/>
            <p:cNvSpPr/>
            <p:nvPr/>
          </p:nvSpPr>
          <p:spPr bwMode="auto">
            <a:xfrm rot="5400000">
              <a:off x="4741965" y="4526137"/>
              <a:ext cx="13426" cy="138739"/>
            </a:xfrm>
            <a:custGeom>
              <a:avLst/>
              <a:gdLst>
                <a:gd name="T0" fmla="*/ 7 w 7"/>
                <a:gd name="T1" fmla="*/ 4 h 60"/>
                <a:gd name="T2" fmla="*/ 7 w 7"/>
                <a:gd name="T3" fmla="*/ 56 h 60"/>
                <a:gd name="T4" fmla="*/ 7 w 7"/>
                <a:gd name="T5" fmla="*/ 56 h 60"/>
                <a:gd name="T6" fmla="*/ 7 w 7"/>
                <a:gd name="T7" fmla="*/ 59 h 60"/>
                <a:gd name="T8" fmla="*/ 4 w 7"/>
                <a:gd name="T9" fmla="*/ 60 h 60"/>
                <a:gd name="T10" fmla="*/ 4 w 7"/>
                <a:gd name="T11" fmla="*/ 60 h 60"/>
                <a:gd name="T12" fmla="*/ 1 w 7"/>
                <a:gd name="T13" fmla="*/ 59 h 60"/>
                <a:gd name="T14" fmla="*/ 0 w 7"/>
                <a:gd name="T15" fmla="*/ 56 h 60"/>
                <a:gd name="T16" fmla="*/ 0 w 7"/>
                <a:gd name="T17" fmla="*/ 4 h 60"/>
                <a:gd name="T18" fmla="*/ 0 w 7"/>
                <a:gd name="T19" fmla="*/ 4 h 60"/>
                <a:gd name="T20" fmla="*/ 1 w 7"/>
                <a:gd name="T21" fmla="*/ 1 h 60"/>
                <a:gd name="T22" fmla="*/ 4 w 7"/>
                <a:gd name="T23" fmla="*/ 0 h 60"/>
                <a:gd name="T24" fmla="*/ 4 w 7"/>
                <a:gd name="T25" fmla="*/ 0 h 60"/>
                <a:gd name="T26" fmla="*/ 7 w 7"/>
                <a:gd name="T27" fmla="*/ 1 h 60"/>
                <a:gd name="T28" fmla="*/ 7 w 7"/>
                <a:gd name="T29" fmla="*/ 4 h 60"/>
                <a:gd name="T30" fmla="*/ 7 w 7"/>
                <a:gd name="T31"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60">
                  <a:moveTo>
                    <a:pt x="7" y="4"/>
                  </a:moveTo>
                  <a:lnTo>
                    <a:pt x="7" y="56"/>
                  </a:lnTo>
                  <a:lnTo>
                    <a:pt x="7" y="56"/>
                  </a:lnTo>
                  <a:lnTo>
                    <a:pt x="7" y="59"/>
                  </a:lnTo>
                  <a:lnTo>
                    <a:pt x="4" y="60"/>
                  </a:lnTo>
                  <a:lnTo>
                    <a:pt x="4" y="60"/>
                  </a:lnTo>
                  <a:lnTo>
                    <a:pt x="1" y="59"/>
                  </a:lnTo>
                  <a:lnTo>
                    <a:pt x="0" y="56"/>
                  </a:lnTo>
                  <a:lnTo>
                    <a:pt x="0" y="4"/>
                  </a:lnTo>
                  <a:lnTo>
                    <a:pt x="0" y="4"/>
                  </a:lnTo>
                  <a:lnTo>
                    <a:pt x="1" y="1"/>
                  </a:lnTo>
                  <a:lnTo>
                    <a:pt x="4" y="0"/>
                  </a:lnTo>
                  <a:lnTo>
                    <a:pt x="4" y="0"/>
                  </a:lnTo>
                  <a:lnTo>
                    <a:pt x="7" y="1"/>
                  </a:lnTo>
                  <a:lnTo>
                    <a:pt x="7" y="4"/>
                  </a:lnTo>
                  <a:lnTo>
                    <a:pt x="7"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71" name="Freeform 619"/>
            <p:cNvSpPr/>
            <p:nvPr/>
          </p:nvSpPr>
          <p:spPr bwMode="auto">
            <a:xfrm rot="5400000">
              <a:off x="4730776" y="4568653"/>
              <a:ext cx="17902" cy="120838"/>
            </a:xfrm>
            <a:custGeom>
              <a:avLst/>
              <a:gdLst>
                <a:gd name="T0" fmla="*/ 8 w 8"/>
                <a:gd name="T1" fmla="*/ 4 h 52"/>
                <a:gd name="T2" fmla="*/ 8 w 8"/>
                <a:gd name="T3" fmla="*/ 48 h 52"/>
                <a:gd name="T4" fmla="*/ 8 w 8"/>
                <a:gd name="T5" fmla="*/ 48 h 52"/>
                <a:gd name="T6" fmla="*/ 6 w 8"/>
                <a:gd name="T7" fmla="*/ 51 h 52"/>
                <a:gd name="T8" fmla="*/ 4 w 8"/>
                <a:gd name="T9" fmla="*/ 52 h 52"/>
                <a:gd name="T10" fmla="*/ 4 w 8"/>
                <a:gd name="T11" fmla="*/ 52 h 52"/>
                <a:gd name="T12" fmla="*/ 1 w 8"/>
                <a:gd name="T13" fmla="*/ 51 h 52"/>
                <a:gd name="T14" fmla="*/ 0 w 8"/>
                <a:gd name="T15" fmla="*/ 48 h 52"/>
                <a:gd name="T16" fmla="*/ 0 w 8"/>
                <a:gd name="T17" fmla="*/ 4 h 52"/>
                <a:gd name="T18" fmla="*/ 0 w 8"/>
                <a:gd name="T19" fmla="*/ 4 h 52"/>
                <a:gd name="T20" fmla="*/ 1 w 8"/>
                <a:gd name="T21" fmla="*/ 1 h 52"/>
                <a:gd name="T22" fmla="*/ 4 w 8"/>
                <a:gd name="T23" fmla="*/ 0 h 52"/>
                <a:gd name="T24" fmla="*/ 4 w 8"/>
                <a:gd name="T25" fmla="*/ 0 h 52"/>
                <a:gd name="T26" fmla="*/ 6 w 8"/>
                <a:gd name="T27" fmla="*/ 1 h 52"/>
                <a:gd name="T28" fmla="*/ 8 w 8"/>
                <a:gd name="T29" fmla="*/ 4 h 52"/>
                <a:gd name="T30" fmla="*/ 8 w 8"/>
                <a:gd name="T31"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2">
                  <a:moveTo>
                    <a:pt x="8" y="4"/>
                  </a:moveTo>
                  <a:lnTo>
                    <a:pt x="8" y="48"/>
                  </a:lnTo>
                  <a:lnTo>
                    <a:pt x="8" y="48"/>
                  </a:lnTo>
                  <a:lnTo>
                    <a:pt x="6" y="51"/>
                  </a:lnTo>
                  <a:lnTo>
                    <a:pt x="4" y="52"/>
                  </a:lnTo>
                  <a:lnTo>
                    <a:pt x="4" y="52"/>
                  </a:lnTo>
                  <a:lnTo>
                    <a:pt x="1" y="51"/>
                  </a:lnTo>
                  <a:lnTo>
                    <a:pt x="0" y="48"/>
                  </a:lnTo>
                  <a:lnTo>
                    <a:pt x="0" y="4"/>
                  </a:lnTo>
                  <a:lnTo>
                    <a:pt x="0" y="4"/>
                  </a:lnTo>
                  <a:lnTo>
                    <a:pt x="1" y="1"/>
                  </a:lnTo>
                  <a:lnTo>
                    <a:pt x="4" y="0"/>
                  </a:lnTo>
                  <a:lnTo>
                    <a:pt x="4" y="0"/>
                  </a:lnTo>
                  <a:lnTo>
                    <a:pt x="6" y="1"/>
                  </a:lnTo>
                  <a:lnTo>
                    <a:pt x="8" y="4"/>
                  </a:lnTo>
                  <a:lnTo>
                    <a:pt x="8" y="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82" name="Rectangle 81"/>
          <p:cNvSpPr/>
          <p:nvPr/>
        </p:nvSpPr>
        <p:spPr>
          <a:xfrm>
            <a:off x="1595681" y="3275536"/>
            <a:ext cx="3403404" cy="830997"/>
          </a:xfrm>
          <a:prstGeom prst="rect">
            <a:avLst/>
          </a:prstGeom>
        </p:spPr>
        <p:txBody>
          <a:bodyPr wrap="square">
            <a:spAutoFit/>
          </a:bodyPr>
          <a:lstStyle/>
          <a:p>
            <a:pPr>
              <a:buClr>
                <a:srgbClr val="E24848"/>
              </a:buClr>
              <a:defRPr/>
            </a:pPr>
            <a:r>
              <a:rPr lang="en-US" sz="1200"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a:t>
            </a:r>
            <a:endParaRPr lang="en-US" sz="1200" noProof="1">
              <a:solidFill>
                <a:schemeClr val="bg1"/>
              </a:solidFill>
              <a:latin typeface="+mj-lt"/>
              <a:ea typeface="Open Sans Light" panose="020B0306030504020204" pitchFamily="34" charset="0"/>
              <a:cs typeface="Open Sans Light" panose="020B0306030504020204" pitchFamily="34" charset="0"/>
            </a:endParaRPr>
          </a:p>
        </p:txBody>
      </p:sp>
      <p:sp>
        <p:nvSpPr>
          <p:cNvPr id="5" name="Slide Number Placeholder 4"/>
          <p:cNvSpPr>
            <a:spLocks noGrp="1"/>
          </p:cNvSpPr>
          <p:nvPr>
            <p:ph type="sldNum" sz="quarter" idx="12"/>
          </p:nvPr>
        </p:nvSpPr>
        <p:spPr/>
        <p:txBody>
          <a:bodyPr/>
          <a:lstStyle/>
          <a:p>
            <a:fld id="{75F62417-4A12-46BB-B530-A96D3E44AFD3}" type="slidenum">
              <a:rPr lang="en-US" smtClean="0"/>
            </a:fld>
            <a:endParaRPr lang="en-US"/>
          </a:p>
        </p:txBody>
      </p:sp>
    </p:spTree>
  </p:cSld>
  <p:clrMapOvr>
    <a:masterClrMapping/>
  </p:clrMapOvr>
  <p:transition spd="slow" advClick="0" advTm="0">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占位符 5"/>
          <p:cNvPicPr>
            <a:picLocks noGrp="1" noChangeAspect="1"/>
          </p:cNvPicPr>
          <p:nvPr>
            <p:ph type="pic" sz="quarter" idx="14"/>
          </p:nvPr>
        </p:nvPicPr>
        <p:blipFill>
          <a:blip r:embed="rId1" cstate="screen"/>
          <a:srcRect/>
          <a:stretch>
            <a:fillRect/>
          </a:stretch>
        </p:blipFill>
        <p:spPr>
          <a:solidFill>
            <a:schemeClr val="bg1">
              <a:lumMod val="85000"/>
            </a:schemeClr>
          </a:solidFill>
        </p:spPr>
      </p:pic>
      <p:sp>
        <p:nvSpPr>
          <p:cNvPr id="3" name="Title 1"/>
          <p:cNvSpPr txBox="1"/>
          <p:nvPr/>
        </p:nvSpPr>
        <p:spPr>
          <a:xfrm>
            <a:off x="1914004" y="3469934"/>
            <a:ext cx="4352898"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3600" b="1" spc="-151" dirty="0">
                <a:solidFill>
                  <a:schemeClr val="accent1"/>
                </a:solidFill>
                <a:latin typeface="Playfair Display" panose="00000500000000000000" pitchFamily="2" charset="0"/>
                <a:ea typeface="Open Sans" panose="020B0606030504020204" pitchFamily="34" charset="0"/>
                <a:cs typeface="Lato" panose="020F0502020204030203" pitchFamily="34" charset="0"/>
              </a:rPr>
              <a:t>Our </a:t>
            </a:r>
            <a:r>
              <a:rPr lang="en-US" sz="3600"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Company</a:t>
            </a:r>
            <a:endParaRPr lang="en-US" sz="3600"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4" name="Rectangle 3"/>
          <p:cNvSpPr/>
          <p:nvPr/>
        </p:nvSpPr>
        <p:spPr>
          <a:xfrm>
            <a:off x="1967794" y="4087237"/>
            <a:ext cx="2156010" cy="261610"/>
          </a:xfrm>
          <a:prstGeom prst="rect">
            <a:avLst/>
          </a:prstGeom>
        </p:spPr>
        <p:txBody>
          <a:bodyPr wrap="square">
            <a:spAutoFit/>
          </a:bodyPr>
          <a:lstStyle/>
          <a:p>
            <a:pPr>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cxnSp>
        <p:nvCxnSpPr>
          <p:cNvPr id="45" name="Straight Connector 44"/>
          <p:cNvCxnSpPr/>
          <p:nvPr/>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sp>
        <p:nvSpPr>
          <p:cNvPr id="7" name="Rectangle 6"/>
          <p:cNvSpPr/>
          <p:nvPr/>
        </p:nvSpPr>
        <p:spPr>
          <a:xfrm>
            <a:off x="1967794" y="4556565"/>
            <a:ext cx="4679749" cy="1200329"/>
          </a:xfrm>
          <a:prstGeom prst="rect">
            <a:avLst/>
          </a:prstGeom>
        </p:spPr>
        <p:txBody>
          <a:bodyPr wrap="square">
            <a:spAutoFit/>
          </a:bodyPr>
          <a:lstStyle/>
          <a:p>
            <a:pPr>
              <a:buClr>
                <a:srgbClr val="E24848"/>
              </a:buClr>
            </a:pPr>
            <a:r>
              <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Nam auctorLorem ipsum dolor sit amet, consectetur adipiscing elit. Nulla imperdiet volutpat dui at fermentum. Aliquam erat volutpat. Aenean lacinia lacus aliquet ante</a:t>
            </a:r>
            <a:endParaRPr lang="en-US" sz="12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cxnSp>
        <p:nvCxnSpPr>
          <p:cNvPr id="8" name="Straight Connector 7"/>
          <p:cNvCxnSpPr/>
          <p:nvPr/>
        </p:nvCxnSpPr>
        <p:spPr>
          <a:xfrm>
            <a:off x="6966857" y="3643085"/>
            <a:ext cx="0" cy="2104572"/>
          </a:xfrm>
          <a:prstGeom prst="line">
            <a:avLst/>
          </a:prstGeom>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7457331" y="4348847"/>
            <a:ext cx="3561191" cy="1103152"/>
            <a:chOff x="774590" y="5070117"/>
            <a:chExt cx="2943133" cy="771675"/>
          </a:xfrm>
        </p:grpSpPr>
        <p:grpSp>
          <p:nvGrpSpPr>
            <p:cNvPr id="11" name="Group 10"/>
            <p:cNvGrpSpPr/>
            <p:nvPr/>
          </p:nvGrpSpPr>
          <p:grpSpPr>
            <a:xfrm>
              <a:off x="774590" y="5070117"/>
              <a:ext cx="2939062" cy="203590"/>
              <a:chOff x="4957185" y="1719784"/>
              <a:chExt cx="3372079" cy="245913"/>
            </a:xfrm>
          </p:grpSpPr>
          <p:sp>
            <p:nvSpPr>
              <p:cNvPr id="20" name="Rounded Rectangle 19"/>
              <p:cNvSpPr/>
              <p:nvPr/>
            </p:nvSpPr>
            <p:spPr>
              <a:xfrm>
                <a:off x="4972243" y="1719784"/>
                <a:ext cx="3357021" cy="245913"/>
              </a:xfrm>
              <a:prstGeom prst="roundRect">
                <a:avLst>
                  <a:gd name="adj" fmla="val 50000"/>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00">
                  <a:latin typeface="+mj-lt"/>
                  <a:cs typeface="Open Sans" panose="020B0606030504020204"/>
                </a:endParaRPr>
              </a:p>
            </p:txBody>
          </p:sp>
          <p:sp>
            <p:nvSpPr>
              <p:cNvPr id="21" name="Rounded Rectangle 20"/>
              <p:cNvSpPr/>
              <p:nvPr/>
            </p:nvSpPr>
            <p:spPr>
              <a:xfrm>
                <a:off x="4957185" y="1719784"/>
                <a:ext cx="2676809" cy="24591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latin typeface="+mj-lt"/>
                    <a:ea typeface="Roboto" panose="02000000000000000000" pitchFamily="2" charset="0"/>
                    <a:cs typeface="Open Sans" panose="020B0606030504020204"/>
                  </a:rPr>
                  <a:t>BRANDING</a:t>
                </a:r>
                <a:endParaRPr lang="en-AU" sz="900" dirty="0">
                  <a:latin typeface="+mj-lt"/>
                  <a:ea typeface="Roboto" panose="02000000000000000000" pitchFamily="2" charset="0"/>
                  <a:cs typeface="Open Sans" panose="020B0606030504020204"/>
                </a:endParaRPr>
              </a:p>
            </p:txBody>
          </p:sp>
          <p:sp>
            <p:nvSpPr>
              <p:cNvPr id="22" name="TextBox 21"/>
              <p:cNvSpPr txBox="1"/>
              <p:nvPr/>
            </p:nvSpPr>
            <p:spPr>
              <a:xfrm>
                <a:off x="7758545" y="1751529"/>
                <a:ext cx="362060" cy="195038"/>
              </a:xfrm>
              <a:prstGeom prst="rect">
                <a:avLst/>
              </a:prstGeom>
              <a:noFill/>
            </p:spPr>
            <p:txBody>
              <a:bodyPr wrap="none" rtlCol="0" anchor="ctr">
                <a:spAutoFit/>
              </a:bodyPr>
              <a:lstStyle/>
              <a:p>
                <a:r>
                  <a:rPr lang="en-US" sz="900" dirty="0">
                    <a:latin typeface="+mj-lt"/>
                    <a:cs typeface="Georgia" panose="02040502050405020303"/>
                  </a:rPr>
                  <a:t>85%</a:t>
                </a:r>
                <a:endParaRPr lang="en-US" sz="900" dirty="0">
                  <a:latin typeface="+mj-lt"/>
                  <a:cs typeface="Georgia" panose="02040502050405020303"/>
                </a:endParaRPr>
              </a:p>
            </p:txBody>
          </p:sp>
        </p:grpSp>
        <p:grpSp>
          <p:nvGrpSpPr>
            <p:cNvPr id="12" name="Group 11"/>
            <p:cNvGrpSpPr/>
            <p:nvPr/>
          </p:nvGrpSpPr>
          <p:grpSpPr>
            <a:xfrm>
              <a:off x="783025" y="5359110"/>
              <a:ext cx="2932913" cy="203590"/>
              <a:chOff x="4964241" y="1719784"/>
              <a:chExt cx="3365023" cy="245913"/>
            </a:xfrm>
          </p:grpSpPr>
          <p:sp>
            <p:nvSpPr>
              <p:cNvPr id="17" name="Rounded Rectangle 16"/>
              <p:cNvSpPr/>
              <p:nvPr/>
            </p:nvSpPr>
            <p:spPr>
              <a:xfrm>
                <a:off x="4972243" y="1719784"/>
                <a:ext cx="3357021" cy="245913"/>
              </a:xfrm>
              <a:prstGeom prst="roundRect">
                <a:avLst>
                  <a:gd name="adj" fmla="val 50000"/>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00">
                  <a:latin typeface="+mj-lt"/>
                  <a:cs typeface="Open Sans" panose="020B0606030504020204"/>
                </a:endParaRPr>
              </a:p>
            </p:txBody>
          </p:sp>
          <p:sp>
            <p:nvSpPr>
              <p:cNvPr id="18" name="Rounded Rectangle 17"/>
              <p:cNvSpPr/>
              <p:nvPr/>
            </p:nvSpPr>
            <p:spPr>
              <a:xfrm>
                <a:off x="4964241" y="1719784"/>
                <a:ext cx="1662087" cy="245913"/>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latin typeface="+mj-lt"/>
                    <a:ea typeface="Roboto" panose="02000000000000000000" pitchFamily="2" charset="0"/>
                    <a:cs typeface="Open Sans" panose="020B0606030504020204"/>
                  </a:rPr>
                  <a:t>STANDARDIZATION</a:t>
                </a:r>
                <a:endParaRPr lang="en-AU" sz="900" dirty="0">
                  <a:latin typeface="+mj-lt"/>
                  <a:ea typeface="Roboto" panose="02000000000000000000" pitchFamily="2" charset="0"/>
                  <a:cs typeface="Open Sans" panose="020B0606030504020204"/>
                </a:endParaRPr>
              </a:p>
            </p:txBody>
          </p:sp>
          <p:sp>
            <p:nvSpPr>
              <p:cNvPr id="19" name="TextBox 18"/>
              <p:cNvSpPr txBox="1"/>
              <p:nvPr/>
            </p:nvSpPr>
            <p:spPr>
              <a:xfrm>
                <a:off x="7758545" y="1751529"/>
                <a:ext cx="362060" cy="195038"/>
              </a:xfrm>
              <a:prstGeom prst="rect">
                <a:avLst/>
              </a:prstGeom>
              <a:noFill/>
            </p:spPr>
            <p:txBody>
              <a:bodyPr wrap="none" rtlCol="0" anchor="ctr">
                <a:spAutoFit/>
              </a:bodyPr>
              <a:lstStyle/>
              <a:p>
                <a:r>
                  <a:rPr lang="en-US" sz="900" dirty="0">
                    <a:latin typeface="+mj-lt"/>
                    <a:cs typeface="Georgia" panose="02040502050405020303"/>
                  </a:rPr>
                  <a:t>45%</a:t>
                </a:r>
                <a:endParaRPr lang="en-US" sz="900" dirty="0">
                  <a:latin typeface="+mj-lt"/>
                  <a:cs typeface="Georgia" panose="02040502050405020303"/>
                </a:endParaRPr>
              </a:p>
            </p:txBody>
          </p:sp>
        </p:grpSp>
        <p:grpSp>
          <p:nvGrpSpPr>
            <p:cNvPr id="13" name="Group 12"/>
            <p:cNvGrpSpPr/>
            <p:nvPr/>
          </p:nvGrpSpPr>
          <p:grpSpPr>
            <a:xfrm>
              <a:off x="779859" y="5638202"/>
              <a:ext cx="2937864" cy="203590"/>
              <a:chOff x="4958560" y="1719784"/>
              <a:chExt cx="3370704" cy="245913"/>
            </a:xfrm>
          </p:grpSpPr>
          <p:sp>
            <p:nvSpPr>
              <p:cNvPr id="14" name="Rounded Rectangle 13"/>
              <p:cNvSpPr/>
              <p:nvPr/>
            </p:nvSpPr>
            <p:spPr>
              <a:xfrm>
                <a:off x="4972243" y="1719784"/>
                <a:ext cx="3357021" cy="245913"/>
              </a:xfrm>
              <a:prstGeom prst="roundRect">
                <a:avLst>
                  <a:gd name="adj" fmla="val 50000"/>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00">
                  <a:latin typeface="+mj-lt"/>
                  <a:cs typeface="Open Sans" panose="020B0606030504020204"/>
                </a:endParaRPr>
              </a:p>
            </p:txBody>
          </p:sp>
          <p:sp>
            <p:nvSpPr>
              <p:cNvPr id="15" name="Rounded Rectangle 14"/>
              <p:cNvSpPr/>
              <p:nvPr/>
            </p:nvSpPr>
            <p:spPr>
              <a:xfrm>
                <a:off x="4958560" y="1719784"/>
                <a:ext cx="2212239" cy="245913"/>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latin typeface="+mj-lt"/>
                    <a:ea typeface="Roboto" panose="02000000000000000000" pitchFamily="2" charset="0"/>
                    <a:cs typeface="Open Sans" panose="020B0606030504020204"/>
                  </a:rPr>
                  <a:t>HORTCODE CENTRAL</a:t>
                </a:r>
                <a:endParaRPr lang="en-AU" sz="900" dirty="0">
                  <a:latin typeface="+mj-lt"/>
                  <a:ea typeface="Roboto" panose="02000000000000000000" pitchFamily="2" charset="0"/>
                  <a:cs typeface="Open Sans" panose="020B0606030504020204"/>
                </a:endParaRPr>
              </a:p>
            </p:txBody>
          </p:sp>
          <p:sp>
            <p:nvSpPr>
              <p:cNvPr id="16" name="TextBox 15"/>
              <p:cNvSpPr txBox="1"/>
              <p:nvPr/>
            </p:nvSpPr>
            <p:spPr>
              <a:xfrm>
                <a:off x="7758545" y="1751529"/>
                <a:ext cx="362060" cy="195038"/>
              </a:xfrm>
              <a:prstGeom prst="rect">
                <a:avLst/>
              </a:prstGeom>
              <a:noFill/>
            </p:spPr>
            <p:txBody>
              <a:bodyPr wrap="none" rtlCol="0" anchor="ctr">
                <a:spAutoFit/>
              </a:bodyPr>
              <a:lstStyle/>
              <a:p>
                <a:r>
                  <a:rPr lang="en-US" sz="900" dirty="0">
                    <a:latin typeface="+mj-lt"/>
                    <a:cs typeface="Georgia" panose="02040502050405020303"/>
                  </a:rPr>
                  <a:t>70%</a:t>
                </a:r>
                <a:endParaRPr lang="en-US" sz="900" dirty="0">
                  <a:latin typeface="+mj-lt"/>
                  <a:cs typeface="Georgia" panose="02040502050405020303"/>
                </a:endParaRPr>
              </a:p>
            </p:txBody>
          </p:sp>
        </p:grpSp>
      </p:grpSp>
      <p:sp>
        <p:nvSpPr>
          <p:cNvPr id="23" name="Content Placeholder 2"/>
          <p:cNvSpPr txBox="1"/>
          <p:nvPr/>
        </p:nvSpPr>
        <p:spPr>
          <a:xfrm>
            <a:off x="7457331" y="3776549"/>
            <a:ext cx="2566801" cy="355694"/>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id-ID" sz="1800" dirty="0">
                <a:solidFill>
                  <a:schemeClr val="tx1">
                    <a:lumMod val="85000"/>
                    <a:lumOff val="15000"/>
                  </a:schemeClr>
                </a:solidFill>
                <a:latin typeface="Playfair Display" panose="00000500000000000000" pitchFamily="2" charset="0"/>
                <a:ea typeface="Open Sans Light" panose="020B0306030504020204" pitchFamily="34" charset="0"/>
                <a:cs typeface="Lato" panose="020F0502020204030203" pitchFamily="34" charset="0"/>
              </a:rPr>
              <a:t>Training Worker</a:t>
            </a:r>
            <a:endParaRPr lang="id-ID" sz="1800" dirty="0">
              <a:solidFill>
                <a:schemeClr val="tx1">
                  <a:lumMod val="85000"/>
                  <a:lumOff val="15000"/>
                </a:schemeClr>
              </a:solidFill>
              <a:latin typeface="Playfair Display" panose="00000500000000000000" pitchFamily="2" charset="0"/>
              <a:ea typeface="Open Sans Light" panose="020B0306030504020204" pitchFamily="34" charset="0"/>
              <a:cs typeface="Lato" panose="020F0502020204030203" pitchFamily="34" charset="0"/>
            </a:endParaRPr>
          </a:p>
        </p:txBody>
      </p:sp>
      <p:sp>
        <p:nvSpPr>
          <p:cNvPr id="24" name="Rectangle 23"/>
          <p:cNvSpPr/>
          <p:nvPr/>
        </p:nvSpPr>
        <p:spPr>
          <a:xfrm rot="5400000" flipH="1">
            <a:off x="6318196" y="-2590975"/>
            <a:ext cx="1523401" cy="9923515"/>
          </a:xfrm>
          <a:prstGeom prst="rect">
            <a:avLst/>
          </a:prstGeom>
          <a:gradFill flip="none" rotWithShape="1">
            <a:gsLst>
              <a:gs pos="0">
                <a:schemeClr val="accent1">
                  <a:alpha val="73000"/>
                </a:schemeClr>
              </a:gs>
              <a:gs pos="10000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cSld>
  <p:clrMapOvr>
    <a:masterClrMapping/>
  </p:clrMapOvr>
  <p:transition spd="slow" advClick="0" advTm="0">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Ellipse 98"/>
          <p:cNvSpPr/>
          <p:nvPr/>
        </p:nvSpPr>
        <p:spPr bwMode="auto">
          <a:xfrm rot="5400000">
            <a:off x="2556071" y="3042325"/>
            <a:ext cx="7436012" cy="1314528"/>
          </a:xfrm>
          <a:prstGeom prst="ellipse">
            <a:avLst/>
          </a:prstGeom>
          <a:gradFill flip="none" rotWithShape="1">
            <a:gsLst>
              <a:gs pos="100000">
                <a:srgbClr val="FFFFFF">
                  <a:alpha val="0"/>
                </a:srgbClr>
              </a:gs>
              <a:gs pos="0">
                <a:srgbClr val="E6E6E6">
                  <a:lumMod val="10000"/>
                  <a:alpha val="76000"/>
                </a:srgb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panose="020B0604020202020204" pitchFamily="34" charset="0"/>
                <a:ea typeface="MS PGothic" panose="020B0600070205080204" pitchFamily="-110" charset="-128"/>
              </a:defRPr>
            </a:lvl1pPr>
            <a:lvl2pPr marL="37931725" indent="-37474525" eaLnBrk="0" hangingPunct="0">
              <a:defRPr sz="2400">
                <a:solidFill>
                  <a:schemeClr val="tx1"/>
                </a:solidFill>
                <a:latin typeface="Arial" panose="020B0604020202020204" pitchFamily="34" charset="0"/>
                <a:ea typeface="MS PGothic" panose="020B0600070205080204" pitchFamily="-110" charset="-128"/>
              </a:defRPr>
            </a:lvl2pPr>
            <a:lvl3pPr eaLnBrk="0" hangingPunct="0">
              <a:defRPr sz="2400">
                <a:solidFill>
                  <a:schemeClr val="tx1"/>
                </a:solidFill>
                <a:latin typeface="Arial" panose="020B0604020202020204" pitchFamily="34" charset="0"/>
                <a:ea typeface="MS PGothic" panose="020B0600070205080204" pitchFamily="-110" charset="-128"/>
              </a:defRPr>
            </a:lvl3pPr>
            <a:lvl4pPr eaLnBrk="0" hangingPunct="0">
              <a:defRPr sz="2400">
                <a:solidFill>
                  <a:schemeClr val="tx1"/>
                </a:solidFill>
                <a:latin typeface="Arial" panose="020B0604020202020204" pitchFamily="34" charset="0"/>
                <a:ea typeface="MS PGothic" panose="020B0600070205080204" pitchFamily="-110" charset="-128"/>
              </a:defRPr>
            </a:lvl4pPr>
            <a:lvl5pPr eaLnBrk="0" hangingPunct="0">
              <a:defRPr sz="2400">
                <a:solidFill>
                  <a:schemeClr val="tx1"/>
                </a:solidFill>
                <a:latin typeface="Arial" panose="020B0604020202020204" pitchFamily="34" charset="0"/>
                <a:ea typeface="MS PGothic" panose="020B0600070205080204" pitchFamily="-110"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110"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110"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110"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110" charset="-128"/>
              </a:defRPr>
            </a:lvl9pPr>
          </a:lstStyle>
          <a:p>
            <a:pPr algn="ctr" eaLnBrk="1" hangingPunct="1">
              <a:defRPr/>
            </a:pPr>
            <a:endParaRPr lang="en-US" sz="1800">
              <a:solidFill>
                <a:srgbClr val="FFFFFF"/>
              </a:solidFill>
              <a:latin typeface="Calibri" panose="020F0502020204030204" pitchFamily="34" charset="0"/>
            </a:endParaRPr>
          </a:p>
        </p:txBody>
      </p:sp>
      <p:cxnSp>
        <p:nvCxnSpPr>
          <p:cNvPr id="45" name="Straight Connector 44"/>
          <p:cNvCxnSpPr/>
          <p:nvPr/>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grpSp>
        <p:nvGrpSpPr>
          <p:cNvPr id="5" name="Group 4"/>
          <p:cNvGrpSpPr/>
          <p:nvPr/>
        </p:nvGrpSpPr>
        <p:grpSpPr>
          <a:xfrm>
            <a:off x="-1830634" y="-1009718"/>
            <a:ext cx="8467331" cy="10016671"/>
            <a:chOff x="-1830634" y="-1009718"/>
            <a:chExt cx="8467331" cy="10016671"/>
          </a:xfrm>
        </p:grpSpPr>
        <p:pic>
          <p:nvPicPr>
            <p:cNvPr id="7" name="Picture 6"/>
            <p:cNvPicPr>
              <a:picLocks noChangeAspect="1"/>
            </p:cNvPicPr>
            <p:nvPr/>
          </p:nvPicPr>
          <p:blipFill>
            <a:blip r:embed="rId2"/>
            <a:stretch>
              <a:fillRect/>
            </a:stretch>
          </p:blipFill>
          <p:spPr>
            <a:xfrm>
              <a:off x="-1830634" y="-1009718"/>
              <a:ext cx="8467331" cy="10016671"/>
            </a:xfrm>
            <a:prstGeom prst="rect">
              <a:avLst/>
            </a:prstGeom>
            <a:effectLst/>
          </p:spPr>
        </p:pic>
        <p:sp>
          <p:nvSpPr>
            <p:cNvPr id="9" name="Rectangle 8"/>
            <p:cNvSpPr/>
            <p:nvPr/>
          </p:nvSpPr>
          <p:spPr>
            <a:xfrm>
              <a:off x="-94085" y="-72303"/>
              <a:ext cx="6116698" cy="81513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0" name="Picture 9"/>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4000"/>
                      </a14:imgEffect>
                    </a14:imgLayer>
                  </a14:imgProps>
                </a:ext>
              </a:extLst>
            </a:blip>
            <a:srcRect/>
            <a:stretch>
              <a:fillRect/>
            </a:stretch>
          </p:blipFill>
          <p:spPr>
            <a:xfrm>
              <a:off x="-94085" y="-72304"/>
              <a:ext cx="6116698" cy="447290"/>
            </a:xfrm>
            <a:prstGeom prst="rect">
              <a:avLst/>
            </a:prstGeom>
          </p:spPr>
        </p:pic>
      </p:grpSp>
      <p:sp>
        <p:nvSpPr>
          <p:cNvPr id="13" name="Rectangle 12"/>
          <p:cNvSpPr/>
          <p:nvPr/>
        </p:nvSpPr>
        <p:spPr>
          <a:xfrm>
            <a:off x="1145357" y="3388254"/>
            <a:ext cx="2699322" cy="399524"/>
          </a:xfrm>
          <a:prstGeom prst="rect">
            <a:avLst/>
          </a:prstGeom>
        </p:spPr>
        <p:txBody>
          <a:bodyPr vert="horz" wrap="square" lIns="91440" tIns="45720" rIns="91440" bIns="45720" rtlCol="0" anchor="ctr">
            <a:noAutofit/>
          </a:bodyPr>
          <a:lstStyle/>
          <a:p>
            <a:pPr>
              <a:lnSpc>
                <a:spcPct val="90000"/>
              </a:lnSpc>
              <a:spcBef>
                <a:spcPct val="0"/>
              </a:spcBef>
            </a:pPr>
            <a:r>
              <a:rPr lang="en-US" sz="1400" b="1">
                <a:solidFill>
                  <a:schemeClr val="tx1">
                    <a:lumMod val="75000"/>
                    <a:lumOff val="25000"/>
                  </a:schemeClr>
                </a:solidFill>
                <a:latin typeface="+mj-lt"/>
                <a:ea typeface="Roboto" panose="02000000000000000000" pitchFamily="2" charset="0"/>
                <a:cs typeface="Times New Roman" panose="02020603050405020304" pitchFamily="18" charset="0"/>
              </a:rPr>
              <a:t>Product </a:t>
            </a:r>
            <a:endParaRPr lang="en-US" sz="1400" b="1" dirty="0">
              <a:solidFill>
                <a:schemeClr val="tx1">
                  <a:lumMod val="75000"/>
                  <a:lumOff val="25000"/>
                </a:schemeClr>
              </a:solidFill>
              <a:latin typeface="+mj-lt"/>
              <a:ea typeface="Roboto" panose="02000000000000000000" pitchFamily="2" charset="0"/>
              <a:cs typeface="Times New Roman" panose="02020603050405020304" pitchFamily="18" charset="0"/>
            </a:endParaRPr>
          </a:p>
        </p:txBody>
      </p:sp>
      <p:sp>
        <p:nvSpPr>
          <p:cNvPr id="14" name="Rectangle 13"/>
          <p:cNvSpPr/>
          <p:nvPr/>
        </p:nvSpPr>
        <p:spPr>
          <a:xfrm>
            <a:off x="1147145" y="3715997"/>
            <a:ext cx="2697534" cy="553998"/>
          </a:xfrm>
          <a:prstGeom prst="rect">
            <a:avLst/>
          </a:prstGeom>
        </p:spPr>
        <p:txBody>
          <a:bodyPr wrap="square">
            <a:spAutoFit/>
          </a:bodyPr>
          <a:lstStyle/>
          <a:p>
            <a:pPr>
              <a:buClr>
                <a:srgbClr val="E24848"/>
              </a:buClr>
              <a:defRPr/>
            </a:pPr>
            <a:r>
              <a:rPr lang="en-US" sz="1000" noProof="1">
                <a:solidFill>
                  <a:schemeClr val="tx1">
                    <a:lumMod val="75000"/>
                    <a:lumOff val="25000"/>
                  </a:schemeClr>
                </a:solidFill>
                <a:latin typeface="+mj-lt"/>
                <a:ea typeface="Roboto" panose="02000000000000000000" pitchFamily="2" charset="0"/>
                <a:cs typeface="Open Sans Light" panose="020B0306030504020204" pitchFamily="34" charset="0"/>
              </a:rPr>
              <a:t>Lorem ipsum dolor sit amet, consectetur adipiscing elit. Nulla imperdiet volutpat dui at fermentm. </a:t>
            </a:r>
            <a:endParaRPr lang="en-US" sz="1000" noProof="1">
              <a:solidFill>
                <a:schemeClr val="tx1">
                  <a:lumMod val="75000"/>
                  <a:lumOff val="25000"/>
                </a:schemeClr>
              </a:solidFill>
              <a:latin typeface="+mj-lt"/>
              <a:ea typeface="Roboto" panose="02000000000000000000" pitchFamily="2" charset="0"/>
              <a:cs typeface="Open Sans Light" panose="020B0306030504020204" pitchFamily="34" charset="0"/>
            </a:endParaRPr>
          </a:p>
        </p:txBody>
      </p:sp>
      <p:grpSp>
        <p:nvGrpSpPr>
          <p:cNvPr id="17" name="Group 16"/>
          <p:cNvGrpSpPr/>
          <p:nvPr/>
        </p:nvGrpSpPr>
        <p:grpSpPr>
          <a:xfrm>
            <a:off x="403495" y="3588016"/>
            <a:ext cx="395977" cy="358785"/>
            <a:chOff x="6448425" y="796925"/>
            <a:chExt cx="287338" cy="260350"/>
          </a:xfrm>
          <a:solidFill>
            <a:schemeClr val="accent1"/>
          </a:solidFill>
        </p:grpSpPr>
        <p:sp>
          <p:nvSpPr>
            <p:cNvPr id="18" name="Freeform 3562"/>
            <p:cNvSpPr/>
            <p:nvPr/>
          </p:nvSpPr>
          <p:spPr bwMode="auto">
            <a:xfrm>
              <a:off x="6448425" y="796925"/>
              <a:ext cx="277812" cy="161925"/>
            </a:xfrm>
            <a:custGeom>
              <a:avLst/>
              <a:gdLst>
                <a:gd name="T0" fmla="*/ 8 w 701"/>
                <a:gd name="T1" fmla="*/ 285 h 408"/>
                <a:gd name="T2" fmla="*/ 5 w 701"/>
                <a:gd name="T3" fmla="*/ 288 h 408"/>
                <a:gd name="T4" fmla="*/ 2 w 701"/>
                <a:gd name="T5" fmla="*/ 290 h 408"/>
                <a:gd name="T6" fmla="*/ 1 w 701"/>
                <a:gd name="T7" fmla="*/ 293 h 408"/>
                <a:gd name="T8" fmla="*/ 0 w 701"/>
                <a:gd name="T9" fmla="*/ 297 h 408"/>
                <a:gd name="T10" fmla="*/ 1 w 701"/>
                <a:gd name="T11" fmla="*/ 300 h 408"/>
                <a:gd name="T12" fmla="*/ 2 w 701"/>
                <a:gd name="T13" fmla="*/ 303 h 408"/>
                <a:gd name="T14" fmla="*/ 5 w 701"/>
                <a:gd name="T15" fmla="*/ 306 h 408"/>
                <a:gd name="T16" fmla="*/ 8 w 701"/>
                <a:gd name="T17" fmla="*/ 308 h 408"/>
                <a:gd name="T18" fmla="*/ 259 w 701"/>
                <a:gd name="T19" fmla="*/ 408 h 408"/>
                <a:gd name="T20" fmla="*/ 701 w 701"/>
                <a:gd name="T21" fmla="*/ 0 h 408"/>
                <a:gd name="T22" fmla="*/ 8 w 701"/>
                <a:gd name="T23" fmla="*/ 285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1" h="408">
                  <a:moveTo>
                    <a:pt x="8" y="285"/>
                  </a:moveTo>
                  <a:lnTo>
                    <a:pt x="5" y="288"/>
                  </a:lnTo>
                  <a:lnTo>
                    <a:pt x="2" y="290"/>
                  </a:lnTo>
                  <a:lnTo>
                    <a:pt x="1" y="293"/>
                  </a:lnTo>
                  <a:lnTo>
                    <a:pt x="0" y="297"/>
                  </a:lnTo>
                  <a:lnTo>
                    <a:pt x="1" y="300"/>
                  </a:lnTo>
                  <a:lnTo>
                    <a:pt x="2" y="303"/>
                  </a:lnTo>
                  <a:lnTo>
                    <a:pt x="5" y="306"/>
                  </a:lnTo>
                  <a:lnTo>
                    <a:pt x="8" y="308"/>
                  </a:lnTo>
                  <a:lnTo>
                    <a:pt x="259" y="408"/>
                  </a:lnTo>
                  <a:lnTo>
                    <a:pt x="701" y="0"/>
                  </a:lnTo>
                  <a:lnTo>
                    <a:pt x="8" y="28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9" name="Freeform 3563"/>
            <p:cNvSpPr/>
            <p:nvPr/>
          </p:nvSpPr>
          <p:spPr bwMode="auto">
            <a:xfrm>
              <a:off x="6554788" y="800100"/>
              <a:ext cx="180975" cy="257175"/>
            </a:xfrm>
            <a:custGeom>
              <a:avLst/>
              <a:gdLst>
                <a:gd name="T0" fmla="*/ 0 w 456"/>
                <a:gd name="T1" fmla="*/ 424 h 646"/>
                <a:gd name="T2" fmla="*/ 0 w 456"/>
                <a:gd name="T3" fmla="*/ 635 h 646"/>
                <a:gd name="T4" fmla="*/ 0 w 456"/>
                <a:gd name="T5" fmla="*/ 639 h 646"/>
                <a:gd name="T6" fmla="*/ 3 w 456"/>
                <a:gd name="T7" fmla="*/ 642 h 646"/>
                <a:gd name="T8" fmla="*/ 5 w 456"/>
                <a:gd name="T9" fmla="*/ 645 h 646"/>
                <a:gd name="T10" fmla="*/ 9 w 456"/>
                <a:gd name="T11" fmla="*/ 646 h 646"/>
                <a:gd name="T12" fmla="*/ 11 w 456"/>
                <a:gd name="T13" fmla="*/ 646 h 646"/>
                <a:gd name="T14" fmla="*/ 12 w 456"/>
                <a:gd name="T15" fmla="*/ 646 h 646"/>
                <a:gd name="T16" fmla="*/ 16 w 456"/>
                <a:gd name="T17" fmla="*/ 646 h 646"/>
                <a:gd name="T18" fmla="*/ 18 w 456"/>
                <a:gd name="T19" fmla="*/ 645 h 646"/>
                <a:gd name="T20" fmla="*/ 21 w 456"/>
                <a:gd name="T21" fmla="*/ 644 h 646"/>
                <a:gd name="T22" fmla="*/ 22 w 456"/>
                <a:gd name="T23" fmla="*/ 641 h 646"/>
                <a:gd name="T24" fmla="*/ 126 w 456"/>
                <a:gd name="T25" fmla="*/ 469 h 646"/>
                <a:gd name="T26" fmla="*/ 315 w 456"/>
                <a:gd name="T27" fmla="*/ 569 h 646"/>
                <a:gd name="T28" fmla="*/ 317 w 456"/>
                <a:gd name="T29" fmla="*/ 570 h 646"/>
                <a:gd name="T30" fmla="*/ 320 w 456"/>
                <a:gd name="T31" fmla="*/ 572 h 646"/>
                <a:gd name="T32" fmla="*/ 323 w 456"/>
                <a:gd name="T33" fmla="*/ 570 h 646"/>
                <a:gd name="T34" fmla="*/ 325 w 456"/>
                <a:gd name="T35" fmla="*/ 570 h 646"/>
                <a:gd name="T36" fmla="*/ 329 w 456"/>
                <a:gd name="T37" fmla="*/ 567 h 646"/>
                <a:gd name="T38" fmla="*/ 332 w 456"/>
                <a:gd name="T39" fmla="*/ 561 h 646"/>
                <a:gd name="T40" fmla="*/ 456 w 456"/>
                <a:gd name="T41" fmla="*/ 0 h 646"/>
                <a:gd name="T42" fmla="*/ 0 w 456"/>
                <a:gd name="T43" fmla="*/ 42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6" h="646">
                  <a:moveTo>
                    <a:pt x="0" y="424"/>
                  </a:moveTo>
                  <a:lnTo>
                    <a:pt x="0" y="635"/>
                  </a:lnTo>
                  <a:lnTo>
                    <a:pt x="0" y="639"/>
                  </a:lnTo>
                  <a:lnTo>
                    <a:pt x="3" y="642"/>
                  </a:lnTo>
                  <a:lnTo>
                    <a:pt x="5" y="645"/>
                  </a:lnTo>
                  <a:lnTo>
                    <a:pt x="9" y="646"/>
                  </a:lnTo>
                  <a:lnTo>
                    <a:pt x="11" y="646"/>
                  </a:lnTo>
                  <a:lnTo>
                    <a:pt x="12" y="646"/>
                  </a:lnTo>
                  <a:lnTo>
                    <a:pt x="16" y="646"/>
                  </a:lnTo>
                  <a:lnTo>
                    <a:pt x="18" y="645"/>
                  </a:lnTo>
                  <a:lnTo>
                    <a:pt x="21" y="644"/>
                  </a:lnTo>
                  <a:lnTo>
                    <a:pt x="22" y="641"/>
                  </a:lnTo>
                  <a:lnTo>
                    <a:pt x="126" y="469"/>
                  </a:lnTo>
                  <a:lnTo>
                    <a:pt x="315" y="569"/>
                  </a:lnTo>
                  <a:lnTo>
                    <a:pt x="317" y="570"/>
                  </a:lnTo>
                  <a:lnTo>
                    <a:pt x="320" y="572"/>
                  </a:lnTo>
                  <a:lnTo>
                    <a:pt x="323" y="570"/>
                  </a:lnTo>
                  <a:lnTo>
                    <a:pt x="325" y="570"/>
                  </a:lnTo>
                  <a:lnTo>
                    <a:pt x="329" y="567"/>
                  </a:lnTo>
                  <a:lnTo>
                    <a:pt x="332" y="561"/>
                  </a:lnTo>
                  <a:lnTo>
                    <a:pt x="456" y="0"/>
                  </a:lnTo>
                  <a:lnTo>
                    <a:pt x="0" y="4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cxnSp>
        <p:nvCxnSpPr>
          <p:cNvPr id="20" name="Straight Connector 19"/>
          <p:cNvCxnSpPr/>
          <p:nvPr/>
        </p:nvCxnSpPr>
        <p:spPr>
          <a:xfrm>
            <a:off x="131888" y="4588567"/>
            <a:ext cx="5555480"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1145357" y="4755062"/>
            <a:ext cx="2699322" cy="399524"/>
          </a:xfrm>
          <a:prstGeom prst="rect">
            <a:avLst/>
          </a:prstGeom>
        </p:spPr>
        <p:txBody>
          <a:bodyPr vert="horz" wrap="square" lIns="91440" tIns="45720" rIns="91440" bIns="45720" rtlCol="0" anchor="ctr">
            <a:noAutofit/>
          </a:bodyPr>
          <a:lstStyle/>
          <a:p>
            <a:pPr>
              <a:lnSpc>
                <a:spcPct val="90000"/>
              </a:lnSpc>
              <a:spcBef>
                <a:spcPct val="0"/>
              </a:spcBef>
            </a:pPr>
            <a:r>
              <a:rPr lang="en-US" sz="1400" b="1" dirty="0">
                <a:solidFill>
                  <a:schemeClr val="tx1">
                    <a:lumMod val="75000"/>
                    <a:lumOff val="25000"/>
                  </a:schemeClr>
                </a:solidFill>
                <a:latin typeface="+mj-lt"/>
                <a:ea typeface="Roboto" panose="02000000000000000000" pitchFamily="2" charset="0"/>
                <a:cs typeface="Times New Roman" panose="02020603050405020304" pitchFamily="18" charset="0"/>
              </a:rPr>
              <a:t>We’re modifiers</a:t>
            </a:r>
            <a:endParaRPr lang="en-US" sz="1400" b="1" dirty="0">
              <a:solidFill>
                <a:schemeClr val="tx1">
                  <a:lumMod val="75000"/>
                  <a:lumOff val="25000"/>
                </a:schemeClr>
              </a:solidFill>
              <a:latin typeface="+mj-lt"/>
              <a:ea typeface="Roboto" panose="02000000000000000000" pitchFamily="2" charset="0"/>
              <a:cs typeface="Times New Roman" panose="02020603050405020304" pitchFamily="18" charset="0"/>
            </a:endParaRPr>
          </a:p>
        </p:txBody>
      </p:sp>
      <p:sp>
        <p:nvSpPr>
          <p:cNvPr id="47" name="Rectangle 46"/>
          <p:cNvSpPr/>
          <p:nvPr/>
        </p:nvSpPr>
        <p:spPr>
          <a:xfrm>
            <a:off x="1147145" y="5082804"/>
            <a:ext cx="2697534" cy="553998"/>
          </a:xfrm>
          <a:prstGeom prst="rect">
            <a:avLst/>
          </a:prstGeom>
        </p:spPr>
        <p:txBody>
          <a:bodyPr wrap="square">
            <a:spAutoFit/>
          </a:bodyPr>
          <a:lstStyle/>
          <a:p>
            <a:pPr>
              <a:buClr>
                <a:srgbClr val="E24848"/>
              </a:buClr>
              <a:defRPr/>
            </a:pPr>
            <a:r>
              <a:rPr lang="en-US" sz="1000" noProof="1">
                <a:solidFill>
                  <a:schemeClr val="tx1">
                    <a:lumMod val="75000"/>
                    <a:lumOff val="25000"/>
                  </a:schemeClr>
                </a:solidFill>
                <a:latin typeface="+mj-lt"/>
                <a:ea typeface="Roboto" panose="02000000000000000000" pitchFamily="2" charset="0"/>
                <a:cs typeface="Open Sans Light" panose="020B0306030504020204" pitchFamily="34" charset="0"/>
              </a:rPr>
              <a:t>Lorem ipsum dolor sit amet, consectetur adipiscing elit. Nulla imperdiet volutpat dui at fermentm. </a:t>
            </a:r>
            <a:endParaRPr lang="en-US" sz="1000" noProof="1">
              <a:solidFill>
                <a:schemeClr val="tx1">
                  <a:lumMod val="75000"/>
                  <a:lumOff val="25000"/>
                </a:schemeClr>
              </a:solidFill>
              <a:latin typeface="+mj-lt"/>
              <a:ea typeface="Roboto" panose="02000000000000000000" pitchFamily="2" charset="0"/>
              <a:cs typeface="Open Sans Light" panose="020B0306030504020204" pitchFamily="34" charset="0"/>
            </a:endParaRPr>
          </a:p>
        </p:txBody>
      </p:sp>
      <p:graphicFrame>
        <p:nvGraphicFramePr>
          <p:cNvPr id="15" name="Chart 14"/>
          <p:cNvGraphicFramePr/>
          <p:nvPr/>
        </p:nvGraphicFramePr>
        <p:xfrm>
          <a:off x="6886180" y="1498690"/>
          <a:ext cx="4812527" cy="1618192"/>
        </p:xfrm>
        <a:graphic>
          <a:graphicData uri="http://schemas.openxmlformats.org/drawingml/2006/chart">
            <c:chart xmlns:c="http://schemas.openxmlformats.org/drawingml/2006/chart" xmlns:r="http://schemas.openxmlformats.org/officeDocument/2006/relationships" r:id="rId1"/>
          </a:graphicData>
        </a:graphic>
      </p:graphicFrame>
      <p:cxnSp>
        <p:nvCxnSpPr>
          <p:cNvPr id="22" name="Straight Connector 21"/>
          <p:cNvCxnSpPr/>
          <p:nvPr/>
        </p:nvCxnSpPr>
        <p:spPr>
          <a:xfrm>
            <a:off x="6970590" y="3247363"/>
            <a:ext cx="462775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7095396" y="3563429"/>
            <a:ext cx="357511" cy="357511"/>
            <a:chOff x="5493465" y="3026800"/>
            <a:chExt cx="393262" cy="393262"/>
          </a:xfrm>
        </p:grpSpPr>
        <p:sp>
          <p:nvSpPr>
            <p:cNvPr id="25" name="Oval 24"/>
            <p:cNvSpPr/>
            <p:nvPr/>
          </p:nvSpPr>
          <p:spPr>
            <a:xfrm>
              <a:off x="5493465" y="3026800"/>
              <a:ext cx="393262" cy="393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Half Frame 11"/>
            <p:cNvSpPr/>
            <p:nvPr>
              <p:custDataLst>
                <p:tags r:id="rId5"/>
              </p:custDataLst>
            </p:nvPr>
          </p:nvSpPr>
          <p:spPr bwMode="auto">
            <a:xfrm rot="19041757" flipV="1">
              <a:off x="5610860" y="3123540"/>
              <a:ext cx="204764" cy="120042"/>
            </a:xfrm>
            <a:prstGeom prst="halfFrame">
              <a:avLst>
                <a:gd name="adj1" fmla="val 28787"/>
                <a:gd name="adj2" fmla="val 15926"/>
              </a:avLst>
            </a:prstGeom>
            <a:solidFill>
              <a:schemeClr val="bg1"/>
            </a:solidFill>
            <a:ln>
              <a:noFill/>
            </a:ln>
            <a:effectLst/>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nb-NO">
                <a:solidFill>
                  <a:schemeClr val="tx1"/>
                </a:solidFill>
                <a:ea typeface="MS PGothic" panose="020B0600070205080204" pitchFamily="-110" charset="-128"/>
              </a:endParaRPr>
            </a:p>
          </p:txBody>
        </p:sp>
      </p:grpSp>
      <p:sp>
        <p:nvSpPr>
          <p:cNvPr id="27" name="Rectangle 26"/>
          <p:cNvSpPr/>
          <p:nvPr/>
        </p:nvSpPr>
        <p:spPr>
          <a:xfrm>
            <a:off x="7747404" y="3435793"/>
            <a:ext cx="1958745" cy="289912"/>
          </a:xfrm>
          <a:prstGeom prst="rect">
            <a:avLst/>
          </a:prstGeom>
        </p:spPr>
        <p:txBody>
          <a:bodyPr vert="horz" wrap="square" lIns="91440" tIns="45720" rIns="91440" bIns="45720" rtlCol="0" anchor="ctr">
            <a:noAutofit/>
          </a:bodyPr>
          <a:lstStyle/>
          <a:p>
            <a:pPr>
              <a:lnSpc>
                <a:spcPct val="90000"/>
              </a:lnSpc>
              <a:spcBef>
                <a:spcPct val="0"/>
              </a:spcBef>
            </a:pPr>
            <a:r>
              <a:rPr lang="en-US" sz="1400" b="1" dirty="0">
                <a:solidFill>
                  <a:schemeClr val="tx1">
                    <a:lumMod val="85000"/>
                    <a:lumOff val="15000"/>
                  </a:schemeClr>
                </a:solidFill>
                <a:ea typeface="Roboto" panose="02000000000000000000" pitchFamily="2" charset="0"/>
                <a:cs typeface="Times New Roman" panose="02020603050405020304" pitchFamily="18" charset="0"/>
              </a:rPr>
              <a:t>FEATURE</a:t>
            </a:r>
            <a:endParaRPr lang="en-US" sz="1400" b="1" dirty="0">
              <a:solidFill>
                <a:schemeClr val="tx1">
                  <a:lumMod val="85000"/>
                  <a:lumOff val="15000"/>
                </a:schemeClr>
              </a:solidFill>
              <a:ea typeface="Roboto" panose="02000000000000000000" pitchFamily="2" charset="0"/>
              <a:cs typeface="Times New Roman" panose="02020603050405020304" pitchFamily="18" charset="0"/>
            </a:endParaRPr>
          </a:p>
        </p:txBody>
      </p:sp>
      <p:sp>
        <p:nvSpPr>
          <p:cNvPr id="28" name="Rectangle 27"/>
          <p:cNvSpPr/>
          <p:nvPr/>
        </p:nvSpPr>
        <p:spPr>
          <a:xfrm>
            <a:off x="7748700" y="3673617"/>
            <a:ext cx="3188619" cy="415498"/>
          </a:xfrm>
          <a:prstGeom prst="rect">
            <a:avLst/>
          </a:prstGeom>
        </p:spPr>
        <p:txBody>
          <a:bodyPr wrap="square">
            <a:spAutoFit/>
          </a:bodyPr>
          <a:lstStyle/>
          <a:p>
            <a:pPr>
              <a:buClr>
                <a:srgbClr val="E24848"/>
              </a:buClr>
              <a:defRPr/>
            </a:pPr>
            <a:r>
              <a:rPr lang="en-US" sz="1050" noProof="1">
                <a:solidFill>
                  <a:schemeClr val="tx1">
                    <a:lumMod val="85000"/>
                    <a:lumOff val="15000"/>
                  </a:schemeClr>
                </a:solidFill>
                <a:latin typeface="+mj-lt"/>
                <a:ea typeface="Roboto" panose="02000000000000000000" pitchFamily="2" charset="0"/>
                <a:cs typeface="Open Sans Light" panose="020B0306030504020204" pitchFamily="34" charset="0"/>
              </a:rPr>
              <a:t>Lorem ipsum dolor sit amet, consectetur adipiscing elit. Nulla imperdiet volutpat dui at fermentm. </a:t>
            </a:r>
            <a:endParaRPr lang="en-US" sz="1050" noProof="1">
              <a:solidFill>
                <a:schemeClr val="tx1">
                  <a:lumMod val="85000"/>
                  <a:lumOff val="15000"/>
                </a:schemeClr>
              </a:solidFill>
              <a:latin typeface="+mj-lt"/>
              <a:ea typeface="Roboto" panose="02000000000000000000" pitchFamily="2" charset="0"/>
              <a:cs typeface="Open Sans Light" panose="020B0306030504020204" pitchFamily="34" charset="0"/>
            </a:endParaRPr>
          </a:p>
        </p:txBody>
      </p:sp>
      <p:cxnSp>
        <p:nvCxnSpPr>
          <p:cNvPr id="29" name="Straight Connector 28"/>
          <p:cNvCxnSpPr/>
          <p:nvPr/>
        </p:nvCxnSpPr>
        <p:spPr>
          <a:xfrm>
            <a:off x="6970590" y="4130454"/>
            <a:ext cx="462775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7095396" y="4567050"/>
            <a:ext cx="357511" cy="357511"/>
            <a:chOff x="5493465" y="3026800"/>
            <a:chExt cx="393262" cy="393262"/>
          </a:xfrm>
        </p:grpSpPr>
        <p:sp>
          <p:nvSpPr>
            <p:cNvPr id="31" name="Oval 30"/>
            <p:cNvSpPr/>
            <p:nvPr/>
          </p:nvSpPr>
          <p:spPr>
            <a:xfrm>
              <a:off x="5493465" y="3026800"/>
              <a:ext cx="393262" cy="39326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Half Frame 11"/>
            <p:cNvSpPr/>
            <p:nvPr>
              <p:custDataLst>
                <p:tags r:id="rId6"/>
              </p:custDataLst>
            </p:nvPr>
          </p:nvSpPr>
          <p:spPr bwMode="auto">
            <a:xfrm rot="19041757" flipV="1">
              <a:off x="5610860" y="3123540"/>
              <a:ext cx="204764" cy="120042"/>
            </a:xfrm>
            <a:prstGeom prst="halfFrame">
              <a:avLst>
                <a:gd name="adj1" fmla="val 28787"/>
                <a:gd name="adj2" fmla="val 15926"/>
              </a:avLst>
            </a:prstGeom>
            <a:solidFill>
              <a:schemeClr val="bg1"/>
            </a:solidFill>
            <a:ln>
              <a:noFill/>
            </a:ln>
            <a:effectLst/>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nb-NO">
                <a:solidFill>
                  <a:schemeClr val="tx1"/>
                </a:solidFill>
                <a:ea typeface="MS PGothic" panose="020B0600070205080204" pitchFamily="-110" charset="-128"/>
              </a:endParaRPr>
            </a:p>
          </p:txBody>
        </p:sp>
      </p:grpSp>
      <p:sp>
        <p:nvSpPr>
          <p:cNvPr id="33" name="Rectangle 32"/>
          <p:cNvSpPr/>
          <p:nvPr/>
        </p:nvSpPr>
        <p:spPr>
          <a:xfrm>
            <a:off x="7747404" y="4329226"/>
            <a:ext cx="1958745" cy="289912"/>
          </a:xfrm>
          <a:prstGeom prst="rect">
            <a:avLst/>
          </a:prstGeom>
        </p:spPr>
        <p:txBody>
          <a:bodyPr vert="horz" wrap="square" lIns="91440" tIns="45720" rIns="91440" bIns="45720" rtlCol="0" anchor="ctr">
            <a:noAutofit/>
          </a:bodyPr>
          <a:lstStyle/>
          <a:p>
            <a:pPr>
              <a:lnSpc>
                <a:spcPct val="90000"/>
              </a:lnSpc>
              <a:spcBef>
                <a:spcPct val="0"/>
              </a:spcBef>
            </a:pPr>
            <a:r>
              <a:rPr lang="en-US" sz="1400" b="1" dirty="0">
                <a:solidFill>
                  <a:schemeClr val="tx1">
                    <a:lumMod val="85000"/>
                    <a:lumOff val="15000"/>
                  </a:schemeClr>
                </a:solidFill>
                <a:ea typeface="Roboto" panose="02000000000000000000" pitchFamily="2" charset="0"/>
                <a:cs typeface="Times New Roman" panose="02020603050405020304" pitchFamily="18" charset="0"/>
              </a:rPr>
              <a:t>FEATURE</a:t>
            </a:r>
            <a:endParaRPr lang="en-US" sz="1400" b="1" dirty="0">
              <a:solidFill>
                <a:schemeClr val="tx1">
                  <a:lumMod val="85000"/>
                  <a:lumOff val="15000"/>
                </a:schemeClr>
              </a:solidFill>
              <a:ea typeface="Roboto" panose="02000000000000000000" pitchFamily="2" charset="0"/>
              <a:cs typeface="Times New Roman" panose="02020603050405020304" pitchFamily="18" charset="0"/>
            </a:endParaRPr>
          </a:p>
        </p:txBody>
      </p:sp>
      <p:sp>
        <p:nvSpPr>
          <p:cNvPr id="34" name="Rectangle 33"/>
          <p:cNvSpPr/>
          <p:nvPr/>
        </p:nvSpPr>
        <p:spPr>
          <a:xfrm>
            <a:off x="7748700" y="4567050"/>
            <a:ext cx="3188619" cy="415498"/>
          </a:xfrm>
          <a:prstGeom prst="rect">
            <a:avLst/>
          </a:prstGeom>
        </p:spPr>
        <p:txBody>
          <a:bodyPr wrap="square">
            <a:spAutoFit/>
          </a:bodyPr>
          <a:lstStyle/>
          <a:p>
            <a:pPr>
              <a:buClr>
                <a:srgbClr val="E24848"/>
              </a:buClr>
              <a:defRPr/>
            </a:pPr>
            <a:r>
              <a:rPr lang="en-US" sz="1050" noProof="1">
                <a:solidFill>
                  <a:schemeClr val="tx1">
                    <a:lumMod val="85000"/>
                    <a:lumOff val="15000"/>
                  </a:schemeClr>
                </a:solidFill>
                <a:latin typeface="+mj-lt"/>
                <a:ea typeface="Roboto" panose="02000000000000000000" pitchFamily="2" charset="0"/>
                <a:cs typeface="Open Sans Light" panose="020B0306030504020204" pitchFamily="34" charset="0"/>
              </a:rPr>
              <a:t>Lorem ipsum dolor sit amet, consectetur adipiscing elit. Nulla imperdiet volutpat dui at fermentm. </a:t>
            </a:r>
            <a:endParaRPr lang="en-US" sz="1050" noProof="1">
              <a:solidFill>
                <a:schemeClr val="tx1">
                  <a:lumMod val="85000"/>
                  <a:lumOff val="15000"/>
                </a:schemeClr>
              </a:solidFill>
              <a:latin typeface="+mj-lt"/>
              <a:ea typeface="Roboto" panose="02000000000000000000" pitchFamily="2" charset="0"/>
              <a:cs typeface="Open Sans Light" panose="020B0306030504020204" pitchFamily="34" charset="0"/>
            </a:endParaRPr>
          </a:p>
        </p:txBody>
      </p:sp>
      <p:cxnSp>
        <p:nvCxnSpPr>
          <p:cNvPr id="35" name="Straight Connector 34"/>
          <p:cNvCxnSpPr/>
          <p:nvPr/>
        </p:nvCxnSpPr>
        <p:spPr>
          <a:xfrm>
            <a:off x="6970590" y="5172635"/>
            <a:ext cx="462775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7095396" y="5559485"/>
            <a:ext cx="357511" cy="357511"/>
            <a:chOff x="5493465" y="3026800"/>
            <a:chExt cx="393262" cy="393262"/>
          </a:xfrm>
        </p:grpSpPr>
        <p:sp>
          <p:nvSpPr>
            <p:cNvPr id="37" name="Oval 36"/>
            <p:cNvSpPr/>
            <p:nvPr/>
          </p:nvSpPr>
          <p:spPr>
            <a:xfrm>
              <a:off x="5493465" y="3026800"/>
              <a:ext cx="393262" cy="39326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Half Frame 11"/>
            <p:cNvSpPr/>
            <p:nvPr>
              <p:custDataLst>
                <p:tags r:id="rId7"/>
              </p:custDataLst>
            </p:nvPr>
          </p:nvSpPr>
          <p:spPr bwMode="auto">
            <a:xfrm rot="19041757" flipV="1">
              <a:off x="5610860" y="3123540"/>
              <a:ext cx="204764" cy="120042"/>
            </a:xfrm>
            <a:prstGeom prst="halfFrame">
              <a:avLst>
                <a:gd name="adj1" fmla="val 28787"/>
                <a:gd name="adj2" fmla="val 15926"/>
              </a:avLst>
            </a:prstGeom>
            <a:solidFill>
              <a:schemeClr val="bg1"/>
            </a:solidFill>
            <a:ln>
              <a:noFill/>
            </a:ln>
            <a:effectLst/>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nb-NO">
                <a:solidFill>
                  <a:schemeClr val="tx1"/>
                </a:solidFill>
                <a:ea typeface="MS PGothic" panose="020B0600070205080204" pitchFamily="-110" charset="-128"/>
              </a:endParaRPr>
            </a:p>
          </p:txBody>
        </p:sp>
      </p:grpSp>
      <p:sp>
        <p:nvSpPr>
          <p:cNvPr id="39" name="Rectangle 38"/>
          <p:cNvSpPr/>
          <p:nvPr/>
        </p:nvSpPr>
        <p:spPr>
          <a:xfrm>
            <a:off x="7747404" y="5321661"/>
            <a:ext cx="1958745" cy="289912"/>
          </a:xfrm>
          <a:prstGeom prst="rect">
            <a:avLst/>
          </a:prstGeom>
        </p:spPr>
        <p:txBody>
          <a:bodyPr vert="horz" wrap="square" lIns="91440" tIns="45720" rIns="91440" bIns="45720" rtlCol="0" anchor="ctr">
            <a:noAutofit/>
          </a:bodyPr>
          <a:lstStyle/>
          <a:p>
            <a:pPr>
              <a:lnSpc>
                <a:spcPct val="90000"/>
              </a:lnSpc>
              <a:spcBef>
                <a:spcPct val="0"/>
              </a:spcBef>
            </a:pPr>
            <a:r>
              <a:rPr lang="en-US" sz="1400" b="1" dirty="0">
                <a:solidFill>
                  <a:schemeClr val="tx1">
                    <a:lumMod val="85000"/>
                    <a:lumOff val="15000"/>
                  </a:schemeClr>
                </a:solidFill>
                <a:ea typeface="Roboto" panose="02000000000000000000" pitchFamily="2" charset="0"/>
                <a:cs typeface="Times New Roman" panose="02020603050405020304" pitchFamily="18" charset="0"/>
              </a:rPr>
              <a:t>FEATURE</a:t>
            </a:r>
            <a:endParaRPr lang="en-US" sz="1400" b="1" dirty="0">
              <a:solidFill>
                <a:schemeClr val="tx1">
                  <a:lumMod val="85000"/>
                  <a:lumOff val="15000"/>
                </a:schemeClr>
              </a:solidFill>
              <a:ea typeface="Roboto" panose="02000000000000000000" pitchFamily="2" charset="0"/>
              <a:cs typeface="Times New Roman" panose="02020603050405020304" pitchFamily="18" charset="0"/>
            </a:endParaRPr>
          </a:p>
        </p:txBody>
      </p:sp>
      <p:sp>
        <p:nvSpPr>
          <p:cNvPr id="40" name="Rectangle 39"/>
          <p:cNvSpPr/>
          <p:nvPr/>
        </p:nvSpPr>
        <p:spPr>
          <a:xfrm>
            <a:off x="7748700" y="5559485"/>
            <a:ext cx="3188619" cy="415498"/>
          </a:xfrm>
          <a:prstGeom prst="rect">
            <a:avLst/>
          </a:prstGeom>
        </p:spPr>
        <p:txBody>
          <a:bodyPr wrap="square">
            <a:spAutoFit/>
          </a:bodyPr>
          <a:lstStyle/>
          <a:p>
            <a:pPr>
              <a:buClr>
                <a:srgbClr val="E24848"/>
              </a:buClr>
              <a:defRPr/>
            </a:pPr>
            <a:r>
              <a:rPr lang="en-US" sz="1050" noProof="1">
                <a:solidFill>
                  <a:schemeClr val="tx1">
                    <a:lumMod val="85000"/>
                    <a:lumOff val="15000"/>
                  </a:schemeClr>
                </a:solidFill>
                <a:latin typeface="+mj-lt"/>
                <a:ea typeface="Roboto" panose="02000000000000000000" pitchFamily="2" charset="0"/>
                <a:cs typeface="Open Sans Light" panose="020B0306030504020204" pitchFamily="34" charset="0"/>
              </a:rPr>
              <a:t>Lorem ipsum dolor sit amet, consectetur adipiscing elit. Nulla imperdiet volutpat dui at fermentm. </a:t>
            </a:r>
            <a:endParaRPr lang="en-US" sz="1050" noProof="1">
              <a:solidFill>
                <a:schemeClr val="tx1">
                  <a:lumMod val="85000"/>
                  <a:lumOff val="15000"/>
                </a:schemeClr>
              </a:solidFill>
              <a:latin typeface="+mj-lt"/>
              <a:ea typeface="Roboto" panose="02000000000000000000" pitchFamily="2" charset="0"/>
              <a:cs typeface="Open Sans Light" panose="020B0306030504020204" pitchFamily="34" charset="0"/>
            </a:endParaRPr>
          </a:p>
        </p:txBody>
      </p:sp>
      <p:grpSp>
        <p:nvGrpSpPr>
          <p:cNvPr id="48" name="Group 47"/>
          <p:cNvGrpSpPr/>
          <p:nvPr/>
        </p:nvGrpSpPr>
        <p:grpSpPr>
          <a:xfrm>
            <a:off x="423500" y="4858874"/>
            <a:ext cx="426684" cy="424326"/>
            <a:chOff x="1450975" y="3090863"/>
            <a:chExt cx="287338" cy="285750"/>
          </a:xfrm>
          <a:solidFill>
            <a:schemeClr val="accent1"/>
          </a:solidFill>
        </p:grpSpPr>
        <p:sp>
          <p:nvSpPr>
            <p:cNvPr id="49" name="Freeform 993"/>
            <p:cNvSpPr>
              <a:spLocks noEditPoints="1"/>
            </p:cNvSpPr>
            <p:nvPr/>
          </p:nvSpPr>
          <p:spPr bwMode="auto">
            <a:xfrm>
              <a:off x="1450975" y="3090863"/>
              <a:ext cx="201613" cy="257175"/>
            </a:xfrm>
            <a:custGeom>
              <a:avLst/>
              <a:gdLst>
                <a:gd name="T0" fmla="*/ 350 w 506"/>
                <a:gd name="T1" fmla="*/ 12 h 651"/>
                <a:gd name="T2" fmla="*/ 493 w 506"/>
                <a:gd name="T3" fmla="*/ 157 h 651"/>
                <a:gd name="T4" fmla="*/ 350 w 506"/>
                <a:gd name="T5" fmla="*/ 157 h 651"/>
                <a:gd name="T6" fmla="*/ 350 w 506"/>
                <a:gd name="T7" fmla="*/ 12 h 651"/>
                <a:gd name="T8" fmla="*/ 506 w 506"/>
                <a:gd name="T9" fmla="*/ 342 h 651"/>
                <a:gd name="T10" fmla="*/ 506 w 506"/>
                <a:gd name="T11" fmla="*/ 157 h 651"/>
                <a:gd name="T12" fmla="*/ 505 w 506"/>
                <a:gd name="T13" fmla="*/ 153 h 651"/>
                <a:gd name="T14" fmla="*/ 502 w 506"/>
                <a:gd name="T15" fmla="*/ 149 h 651"/>
                <a:gd name="T16" fmla="*/ 358 w 506"/>
                <a:gd name="T17" fmla="*/ 4 h 651"/>
                <a:gd name="T18" fmla="*/ 354 w 506"/>
                <a:gd name="T19" fmla="*/ 1 h 651"/>
                <a:gd name="T20" fmla="*/ 350 w 506"/>
                <a:gd name="T21" fmla="*/ 0 h 651"/>
                <a:gd name="T22" fmla="*/ 12 w 506"/>
                <a:gd name="T23" fmla="*/ 0 h 651"/>
                <a:gd name="T24" fmla="*/ 8 w 506"/>
                <a:gd name="T25" fmla="*/ 1 h 651"/>
                <a:gd name="T26" fmla="*/ 4 w 506"/>
                <a:gd name="T27" fmla="*/ 4 h 651"/>
                <a:gd name="T28" fmla="*/ 1 w 506"/>
                <a:gd name="T29" fmla="*/ 8 h 651"/>
                <a:gd name="T30" fmla="*/ 0 w 506"/>
                <a:gd name="T31" fmla="*/ 12 h 651"/>
                <a:gd name="T32" fmla="*/ 0 w 506"/>
                <a:gd name="T33" fmla="*/ 638 h 651"/>
                <a:gd name="T34" fmla="*/ 1 w 506"/>
                <a:gd name="T35" fmla="*/ 644 h 651"/>
                <a:gd name="T36" fmla="*/ 4 w 506"/>
                <a:gd name="T37" fmla="*/ 648 h 651"/>
                <a:gd name="T38" fmla="*/ 8 w 506"/>
                <a:gd name="T39" fmla="*/ 650 h 651"/>
                <a:gd name="T40" fmla="*/ 12 w 506"/>
                <a:gd name="T41" fmla="*/ 651 h 651"/>
                <a:gd name="T42" fmla="*/ 369 w 506"/>
                <a:gd name="T43" fmla="*/ 651 h 651"/>
                <a:gd name="T44" fmla="*/ 362 w 506"/>
                <a:gd name="T45" fmla="*/ 638 h 651"/>
                <a:gd name="T46" fmla="*/ 356 w 506"/>
                <a:gd name="T47" fmla="*/ 626 h 651"/>
                <a:gd name="T48" fmla="*/ 350 w 506"/>
                <a:gd name="T49" fmla="*/ 613 h 651"/>
                <a:gd name="T50" fmla="*/ 345 w 506"/>
                <a:gd name="T51" fmla="*/ 600 h 651"/>
                <a:gd name="T52" fmla="*/ 342 w 506"/>
                <a:gd name="T53" fmla="*/ 585 h 651"/>
                <a:gd name="T54" fmla="*/ 339 w 506"/>
                <a:gd name="T55" fmla="*/ 571 h 651"/>
                <a:gd name="T56" fmla="*/ 337 w 506"/>
                <a:gd name="T57" fmla="*/ 557 h 651"/>
                <a:gd name="T58" fmla="*/ 337 w 506"/>
                <a:gd name="T59" fmla="*/ 543 h 651"/>
                <a:gd name="T60" fmla="*/ 338 w 506"/>
                <a:gd name="T61" fmla="*/ 524 h 651"/>
                <a:gd name="T62" fmla="*/ 340 w 506"/>
                <a:gd name="T63" fmla="*/ 506 h 651"/>
                <a:gd name="T64" fmla="*/ 344 w 506"/>
                <a:gd name="T65" fmla="*/ 489 h 651"/>
                <a:gd name="T66" fmla="*/ 351 w 506"/>
                <a:gd name="T67" fmla="*/ 471 h 651"/>
                <a:gd name="T68" fmla="*/ 357 w 506"/>
                <a:gd name="T69" fmla="*/ 455 h 651"/>
                <a:gd name="T70" fmla="*/ 366 w 506"/>
                <a:gd name="T71" fmla="*/ 440 h 651"/>
                <a:gd name="T72" fmla="*/ 375 w 506"/>
                <a:gd name="T73" fmla="*/ 424 h 651"/>
                <a:gd name="T74" fmla="*/ 385 w 506"/>
                <a:gd name="T75" fmla="*/ 411 h 651"/>
                <a:gd name="T76" fmla="*/ 397 w 506"/>
                <a:gd name="T77" fmla="*/ 398 h 651"/>
                <a:gd name="T78" fmla="*/ 411 w 506"/>
                <a:gd name="T79" fmla="*/ 386 h 651"/>
                <a:gd name="T80" fmla="*/ 424 w 506"/>
                <a:gd name="T81" fmla="*/ 375 h 651"/>
                <a:gd name="T82" fmla="*/ 439 w 506"/>
                <a:gd name="T83" fmla="*/ 366 h 651"/>
                <a:gd name="T84" fmla="*/ 455 w 506"/>
                <a:gd name="T85" fmla="*/ 357 h 651"/>
                <a:gd name="T86" fmla="*/ 471 w 506"/>
                <a:gd name="T87" fmla="*/ 351 h 651"/>
                <a:gd name="T88" fmla="*/ 488 w 506"/>
                <a:gd name="T89" fmla="*/ 345 h 651"/>
                <a:gd name="T90" fmla="*/ 506 w 506"/>
                <a:gd name="T91" fmla="*/ 342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6" h="651">
                  <a:moveTo>
                    <a:pt x="350" y="12"/>
                  </a:moveTo>
                  <a:lnTo>
                    <a:pt x="493" y="157"/>
                  </a:lnTo>
                  <a:lnTo>
                    <a:pt x="350" y="157"/>
                  </a:lnTo>
                  <a:lnTo>
                    <a:pt x="350" y="12"/>
                  </a:lnTo>
                  <a:close/>
                  <a:moveTo>
                    <a:pt x="506" y="342"/>
                  </a:moveTo>
                  <a:lnTo>
                    <a:pt x="506" y="157"/>
                  </a:lnTo>
                  <a:lnTo>
                    <a:pt x="505" y="153"/>
                  </a:lnTo>
                  <a:lnTo>
                    <a:pt x="502" y="149"/>
                  </a:lnTo>
                  <a:lnTo>
                    <a:pt x="358" y="4"/>
                  </a:lnTo>
                  <a:lnTo>
                    <a:pt x="354" y="1"/>
                  </a:lnTo>
                  <a:lnTo>
                    <a:pt x="350" y="0"/>
                  </a:lnTo>
                  <a:lnTo>
                    <a:pt x="12" y="0"/>
                  </a:lnTo>
                  <a:lnTo>
                    <a:pt x="8" y="1"/>
                  </a:lnTo>
                  <a:lnTo>
                    <a:pt x="4" y="4"/>
                  </a:lnTo>
                  <a:lnTo>
                    <a:pt x="1" y="8"/>
                  </a:lnTo>
                  <a:lnTo>
                    <a:pt x="0" y="12"/>
                  </a:lnTo>
                  <a:lnTo>
                    <a:pt x="0" y="638"/>
                  </a:lnTo>
                  <a:lnTo>
                    <a:pt x="1" y="644"/>
                  </a:lnTo>
                  <a:lnTo>
                    <a:pt x="4" y="648"/>
                  </a:lnTo>
                  <a:lnTo>
                    <a:pt x="8" y="650"/>
                  </a:lnTo>
                  <a:lnTo>
                    <a:pt x="12" y="651"/>
                  </a:lnTo>
                  <a:lnTo>
                    <a:pt x="369" y="651"/>
                  </a:lnTo>
                  <a:lnTo>
                    <a:pt x="362" y="638"/>
                  </a:lnTo>
                  <a:lnTo>
                    <a:pt x="356" y="626"/>
                  </a:lnTo>
                  <a:lnTo>
                    <a:pt x="350" y="613"/>
                  </a:lnTo>
                  <a:lnTo>
                    <a:pt x="345" y="600"/>
                  </a:lnTo>
                  <a:lnTo>
                    <a:pt x="342" y="585"/>
                  </a:lnTo>
                  <a:lnTo>
                    <a:pt x="339" y="571"/>
                  </a:lnTo>
                  <a:lnTo>
                    <a:pt x="337" y="557"/>
                  </a:lnTo>
                  <a:lnTo>
                    <a:pt x="337" y="543"/>
                  </a:lnTo>
                  <a:lnTo>
                    <a:pt x="338" y="524"/>
                  </a:lnTo>
                  <a:lnTo>
                    <a:pt x="340" y="506"/>
                  </a:lnTo>
                  <a:lnTo>
                    <a:pt x="344" y="489"/>
                  </a:lnTo>
                  <a:lnTo>
                    <a:pt x="351" y="471"/>
                  </a:lnTo>
                  <a:lnTo>
                    <a:pt x="357" y="455"/>
                  </a:lnTo>
                  <a:lnTo>
                    <a:pt x="366" y="440"/>
                  </a:lnTo>
                  <a:lnTo>
                    <a:pt x="375" y="424"/>
                  </a:lnTo>
                  <a:lnTo>
                    <a:pt x="385" y="411"/>
                  </a:lnTo>
                  <a:lnTo>
                    <a:pt x="397" y="398"/>
                  </a:lnTo>
                  <a:lnTo>
                    <a:pt x="411" y="386"/>
                  </a:lnTo>
                  <a:lnTo>
                    <a:pt x="424" y="375"/>
                  </a:lnTo>
                  <a:lnTo>
                    <a:pt x="439" y="366"/>
                  </a:lnTo>
                  <a:lnTo>
                    <a:pt x="455" y="357"/>
                  </a:lnTo>
                  <a:lnTo>
                    <a:pt x="471" y="351"/>
                  </a:lnTo>
                  <a:lnTo>
                    <a:pt x="488" y="345"/>
                  </a:lnTo>
                  <a:lnTo>
                    <a:pt x="506" y="34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0" name="Freeform 994"/>
            <p:cNvSpPr>
              <a:spLocks noEditPoints="1"/>
            </p:cNvSpPr>
            <p:nvPr/>
          </p:nvSpPr>
          <p:spPr bwMode="auto">
            <a:xfrm>
              <a:off x="1595438" y="3233738"/>
              <a:ext cx="142875" cy="142875"/>
            </a:xfrm>
            <a:custGeom>
              <a:avLst/>
              <a:gdLst>
                <a:gd name="T0" fmla="*/ 157 w 361"/>
                <a:gd name="T1" fmla="*/ 270 h 361"/>
                <a:gd name="T2" fmla="*/ 84 w 361"/>
                <a:gd name="T3" fmla="*/ 197 h 361"/>
                <a:gd name="T4" fmla="*/ 84 w 361"/>
                <a:gd name="T5" fmla="*/ 188 h 361"/>
                <a:gd name="T6" fmla="*/ 92 w 361"/>
                <a:gd name="T7" fmla="*/ 182 h 361"/>
                <a:gd name="T8" fmla="*/ 101 w 361"/>
                <a:gd name="T9" fmla="*/ 182 h 361"/>
                <a:gd name="T10" fmla="*/ 155 w 361"/>
                <a:gd name="T11" fmla="*/ 235 h 361"/>
                <a:gd name="T12" fmla="*/ 259 w 361"/>
                <a:gd name="T13" fmla="*/ 110 h 361"/>
                <a:gd name="T14" fmla="*/ 268 w 361"/>
                <a:gd name="T15" fmla="*/ 109 h 361"/>
                <a:gd name="T16" fmla="*/ 275 w 361"/>
                <a:gd name="T17" fmla="*/ 115 h 361"/>
                <a:gd name="T18" fmla="*/ 276 w 361"/>
                <a:gd name="T19" fmla="*/ 123 h 361"/>
                <a:gd name="T20" fmla="*/ 180 w 361"/>
                <a:gd name="T21" fmla="*/ 0 h 361"/>
                <a:gd name="T22" fmla="*/ 144 w 361"/>
                <a:gd name="T23" fmla="*/ 3 h 361"/>
                <a:gd name="T24" fmla="*/ 110 w 361"/>
                <a:gd name="T25" fmla="*/ 14 h 361"/>
                <a:gd name="T26" fmla="*/ 79 w 361"/>
                <a:gd name="T27" fmla="*/ 31 h 361"/>
                <a:gd name="T28" fmla="*/ 53 w 361"/>
                <a:gd name="T29" fmla="*/ 53 h 361"/>
                <a:gd name="T30" fmla="*/ 30 w 361"/>
                <a:gd name="T31" fmla="*/ 80 h 361"/>
                <a:gd name="T32" fmla="*/ 14 w 361"/>
                <a:gd name="T33" fmla="*/ 110 h 361"/>
                <a:gd name="T34" fmla="*/ 3 w 361"/>
                <a:gd name="T35" fmla="*/ 144 h 361"/>
                <a:gd name="T36" fmla="*/ 0 w 361"/>
                <a:gd name="T37" fmla="*/ 181 h 361"/>
                <a:gd name="T38" fmla="*/ 3 w 361"/>
                <a:gd name="T39" fmla="*/ 217 h 361"/>
                <a:gd name="T40" fmla="*/ 14 w 361"/>
                <a:gd name="T41" fmla="*/ 251 h 361"/>
                <a:gd name="T42" fmla="*/ 30 w 361"/>
                <a:gd name="T43" fmla="*/ 282 h 361"/>
                <a:gd name="T44" fmla="*/ 53 w 361"/>
                <a:gd name="T45" fmla="*/ 308 h 361"/>
                <a:gd name="T46" fmla="*/ 79 w 361"/>
                <a:gd name="T47" fmla="*/ 330 h 361"/>
                <a:gd name="T48" fmla="*/ 110 w 361"/>
                <a:gd name="T49" fmla="*/ 347 h 361"/>
                <a:gd name="T50" fmla="*/ 144 w 361"/>
                <a:gd name="T51" fmla="*/ 357 h 361"/>
                <a:gd name="T52" fmla="*/ 180 w 361"/>
                <a:gd name="T53" fmla="*/ 361 h 361"/>
                <a:gd name="T54" fmla="*/ 216 w 361"/>
                <a:gd name="T55" fmla="*/ 357 h 361"/>
                <a:gd name="T56" fmla="*/ 251 w 361"/>
                <a:gd name="T57" fmla="*/ 347 h 361"/>
                <a:gd name="T58" fmla="*/ 281 w 361"/>
                <a:gd name="T59" fmla="*/ 330 h 361"/>
                <a:gd name="T60" fmla="*/ 308 w 361"/>
                <a:gd name="T61" fmla="*/ 308 h 361"/>
                <a:gd name="T62" fmla="*/ 330 w 361"/>
                <a:gd name="T63" fmla="*/ 282 h 361"/>
                <a:gd name="T64" fmla="*/ 346 w 361"/>
                <a:gd name="T65" fmla="*/ 251 h 361"/>
                <a:gd name="T66" fmla="*/ 357 w 361"/>
                <a:gd name="T67" fmla="*/ 217 h 361"/>
                <a:gd name="T68" fmla="*/ 361 w 361"/>
                <a:gd name="T69" fmla="*/ 181 h 361"/>
                <a:gd name="T70" fmla="*/ 357 w 361"/>
                <a:gd name="T71" fmla="*/ 144 h 361"/>
                <a:gd name="T72" fmla="*/ 346 w 361"/>
                <a:gd name="T73" fmla="*/ 110 h 361"/>
                <a:gd name="T74" fmla="*/ 330 w 361"/>
                <a:gd name="T75" fmla="*/ 80 h 361"/>
                <a:gd name="T76" fmla="*/ 308 w 361"/>
                <a:gd name="T77" fmla="*/ 53 h 361"/>
                <a:gd name="T78" fmla="*/ 281 w 361"/>
                <a:gd name="T79" fmla="*/ 31 h 361"/>
                <a:gd name="T80" fmla="*/ 251 w 361"/>
                <a:gd name="T81" fmla="*/ 14 h 361"/>
                <a:gd name="T82" fmla="*/ 216 w 361"/>
                <a:gd name="T83" fmla="*/ 3 h 361"/>
                <a:gd name="T84" fmla="*/ 180 w 361"/>
                <a:gd name="T85"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1" h="361">
                  <a:moveTo>
                    <a:pt x="274" y="129"/>
                  </a:moveTo>
                  <a:lnTo>
                    <a:pt x="157" y="270"/>
                  </a:lnTo>
                  <a:lnTo>
                    <a:pt x="87" y="201"/>
                  </a:lnTo>
                  <a:lnTo>
                    <a:pt x="84" y="197"/>
                  </a:lnTo>
                  <a:lnTo>
                    <a:pt x="83" y="193"/>
                  </a:lnTo>
                  <a:lnTo>
                    <a:pt x="84" y="188"/>
                  </a:lnTo>
                  <a:lnTo>
                    <a:pt x="87" y="184"/>
                  </a:lnTo>
                  <a:lnTo>
                    <a:pt x="92" y="182"/>
                  </a:lnTo>
                  <a:lnTo>
                    <a:pt x="96" y="181"/>
                  </a:lnTo>
                  <a:lnTo>
                    <a:pt x="101" y="182"/>
                  </a:lnTo>
                  <a:lnTo>
                    <a:pt x="104" y="184"/>
                  </a:lnTo>
                  <a:lnTo>
                    <a:pt x="155" y="235"/>
                  </a:lnTo>
                  <a:lnTo>
                    <a:pt x="255" y="113"/>
                  </a:lnTo>
                  <a:lnTo>
                    <a:pt x="259" y="110"/>
                  </a:lnTo>
                  <a:lnTo>
                    <a:pt x="263" y="108"/>
                  </a:lnTo>
                  <a:lnTo>
                    <a:pt x="268" y="109"/>
                  </a:lnTo>
                  <a:lnTo>
                    <a:pt x="272" y="111"/>
                  </a:lnTo>
                  <a:lnTo>
                    <a:pt x="275" y="115"/>
                  </a:lnTo>
                  <a:lnTo>
                    <a:pt x="276" y="119"/>
                  </a:lnTo>
                  <a:lnTo>
                    <a:pt x="276" y="123"/>
                  </a:lnTo>
                  <a:lnTo>
                    <a:pt x="274" y="129"/>
                  </a:lnTo>
                  <a:close/>
                  <a:moveTo>
                    <a:pt x="180" y="0"/>
                  </a:moveTo>
                  <a:lnTo>
                    <a:pt x="162" y="1"/>
                  </a:lnTo>
                  <a:lnTo>
                    <a:pt x="144" y="3"/>
                  </a:lnTo>
                  <a:lnTo>
                    <a:pt x="126" y="8"/>
                  </a:lnTo>
                  <a:lnTo>
                    <a:pt x="110" y="14"/>
                  </a:lnTo>
                  <a:lnTo>
                    <a:pt x="94" y="21"/>
                  </a:lnTo>
                  <a:lnTo>
                    <a:pt x="79" y="31"/>
                  </a:lnTo>
                  <a:lnTo>
                    <a:pt x="65" y="41"/>
                  </a:lnTo>
                  <a:lnTo>
                    <a:pt x="53" y="53"/>
                  </a:lnTo>
                  <a:lnTo>
                    <a:pt x="41" y="65"/>
                  </a:lnTo>
                  <a:lnTo>
                    <a:pt x="30" y="80"/>
                  </a:lnTo>
                  <a:lnTo>
                    <a:pt x="21" y="95"/>
                  </a:lnTo>
                  <a:lnTo>
                    <a:pt x="14" y="110"/>
                  </a:lnTo>
                  <a:lnTo>
                    <a:pt x="8" y="127"/>
                  </a:lnTo>
                  <a:lnTo>
                    <a:pt x="3" y="144"/>
                  </a:lnTo>
                  <a:lnTo>
                    <a:pt x="1" y="162"/>
                  </a:lnTo>
                  <a:lnTo>
                    <a:pt x="0" y="181"/>
                  </a:lnTo>
                  <a:lnTo>
                    <a:pt x="1" y="199"/>
                  </a:lnTo>
                  <a:lnTo>
                    <a:pt x="3" y="217"/>
                  </a:lnTo>
                  <a:lnTo>
                    <a:pt x="8" y="234"/>
                  </a:lnTo>
                  <a:lnTo>
                    <a:pt x="14" y="251"/>
                  </a:lnTo>
                  <a:lnTo>
                    <a:pt x="21" y="266"/>
                  </a:lnTo>
                  <a:lnTo>
                    <a:pt x="30" y="282"/>
                  </a:lnTo>
                  <a:lnTo>
                    <a:pt x="41" y="296"/>
                  </a:lnTo>
                  <a:lnTo>
                    <a:pt x="53" y="308"/>
                  </a:lnTo>
                  <a:lnTo>
                    <a:pt x="65" y="319"/>
                  </a:lnTo>
                  <a:lnTo>
                    <a:pt x="79" y="330"/>
                  </a:lnTo>
                  <a:lnTo>
                    <a:pt x="94" y="340"/>
                  </a:lnTo>
                  <a:lnTo>
                    <a:pt x="110" y="347"/>
                  </a:lnTo>
                  <a:lnTo>
                    <a:pt x="126" y="353"/>
                  </a:lnTo>
                  <a:lnTo>
                    <a:pt x="144" y="357"/>
                  </a:lnTo>
                  <a:lnTo>
                    <a:pt x="162" y="360"/>
                  </a:lnTo>
                  <a:lnTo>
                    <a:pt x="180" y="361"/>
                  </a:lnTo>
                  <a:lnTo>
                    <a:pt x="199" y="360"/>
                  </a:lnTo>
                  <a:lnTo>
                    <a:pt x="216" y="357"/>
                  </a:lnTo>
                  <a:lnTo>
                    <a:pt x="233" y="353"/>
                  </a:lnTo>
                  <a:lnTo>
                    <a:pt x="251" y="347"/>
                  </a:lnTo>
                  <a:lnTo>
                    <a:pt x="266" y="340"/>
                  </a:lnTo>
                  <a:lnTo>
                    <a:pt x="281" y="330"/>
                  </a:lnTo>
                  <a:lnTo>
                    <a:pt x="294" y="319"/>
                  </a:lnTo>
                  <a:lnTo>
                    <a:pt x="308" y="308"/>
                  </a:lnTo>
                  <a:lnTo>
                    <a:pt x="319" y="296"/>
                  </a:lnTo>
                  <a:lnTo>
                    <a:pt x="330" y="282"/>
                  </a:lnTo>
                  <a:lnTo>
                    <a:pt x="338" y="266"/>
                  </a:lnTo>
                  <a:lnTo>
                    <a:pt x="346" y="251"/>
                  </a:lnTo>
                  <a:lnTo>
                    <a:pt x="353" y="234"/>
                  </a:lnTo>
                  <a:lnTo>
                    <a:pt x="357" y="217"/>
                  </a:lnTo>
                  <a:lnTo>
                    <a:pt x="360" y="199"/>
                  </a:lnTo>
                  <a:lnTo>
                    <a:pt x="361" y="181"/>
                  </a:lnTo>
                  <a:lnTo>
                    <a:pt x="360" y="162"/>
                  </a:lnTo>
                  <a:lnTo>
                    <a:pt x="357" y="144"/>
                  </a:lnTo>
                  <a:lnTo>
                    <a:pt x="353" y="127"/>
                  </a:lnTo>
                  <a:lnTo>
                    <a:pt x="346" y="110"/>
                  </a:lnTo>
                  <a:lnTo>
                    <a:pt x="338" y="95"/>
                  </a:lnTo>
                  <a:lnTo>
                    <a:pt x="330" y="80"/>
                  </a:lnTo>
                  <a:lnTo>
                    <a:pt x="319" y="65"/>
                  </a:lnTo>
                  <a:lnTo>
                    <a:pt x="308" y="53"/>
                  </a:lnTo>
                  <a:lnTo>
                    <a:pt x="294" y="41"/>
                  </a:lnTo>
                  <a:lnTo>
                    <a:pt x="281" y="31"/>
                  </a:lnTo>
                  <a:lnTo>
                    <a:pt x="266" y="21"/>
                  </a:lnTo>
                  <a:lnTo>
                    <a:pt x="251" y="14"/>
                  </a:lnTo>
                  <a:lnTo>
                    <a:pt x="233" y="8"/>
                  </a:lnTo>
                  <a:lnTo>
                    <a:pt x="216" y="3"/>
                  </a:lnTo>
                  <a:lnTo>
                    <a:pt x="199" y="1"/>
                  </a:lnTo>
                  <a:lnTo>
                    <a:pt x="18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grpSp>
        <p:nvGrpSpPr>
          <p:cNvPr id="21" name="Group 20"/>
          <p:cNvGrpSpPr/>
          <p:nvPr/>
        </p:nvGrpSpPr>
        <p:grpSpPr>
          <a:xfrm>
            <a:off x="6992851" y="597218"/>
            <a:ext cx="4352898" cy="781475"/>
            <a:chOff x="8281069" y="476664"/>
            <a:chExt cx="4352898" cy="781475"/>
          </a:xfrm>
        </p:grpSpPr>
        <p:sp>
          <p:nvSpPr>
            <p:cNvPr id="52" name="Title 1"/>
            <p:cNvSpPr txBox="1"/>
            <p:nvPr/>
          </p:nvSpPr>
          <p:spPr>
            <a:xfrm>
              <a:off x="8281069" y="476664"/>
              <a:ext cx="4352898"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3600" b="1" spc="-151" dirty="0">
                  <a:solidFill>
                    <a:schemeClr val="accent1"/>
                  </a:solidFill>
                  <a:latin typeface="Playfair Display" panose="00000500000000000000" pitchFamily="2" charset="0"/>
                  <a:ea typeface="Open Sans" panose="020B0606030504020204" pitchFamily="34" charset="0"/>
                  <a:cs typeface="Lato" panose="020F0502020204030203" pitchFamily="34" charset="0"/>
                </a:rPr>
                <a:t>About </a:t>
              </a:r>
              <a:r>
                <a:rPr lang="en-US" sz="3600" spc="-151" dirty="0">
                  <a:solidFill>
                    <a:schemeClr val="tx1">
                      <a:lumMod val="75000"/>
                      <a:lumOff val="25000"/>
                    </a:schemeClr>
                  </a:solidFill>
                  <a:latin typeface="Playfair Display" panose="00000500000000000000" pitchFamily="2" charset="0"/>
                  <a:ea typeface="Open Sans" panose="020B0606030504020204" pitchFamily="34" charset="0"/>
                  <a:cs typeface="Lato" panose="020F0502020204030203" pitchFamily="34" charset="0"/>
                </a:rPr>
                <a:t>Us</a:t>
              </a:r>
              <a:endParaRPr lang="en-US" sz="3600" spc="-151" dirty="0">
                <a:solidFill>
                  <a:schemeClr val="tx1">
                    <a:lumMod val="75000"/>
                    <a:lumOff val="2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54" name="Rectangle 53"/>
            <p:cNvSpPr/>
            <p:nvPr/>
          </p:nvSpPr>
          <p:spPr>
            <a:xfrm>
              <a:off x="9379513" y="996529"/>
              <a:ext cx="2156010" cy="261610"/>
            </a:xfrm>
            <a:prstGeom prst="rect">
              <a:avLst/>
            </a:prstGeom>
          </p:spPr>
          <p:txBody>
            <a:bodyPr wrap="square">
              <a:spAutoFit/>
            </a:bodyPr>
            <a:lstStyle/>
            <a:p>
              <a:pPr algn="ctr">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grpSp>
      <p:pic>
        <p:nvPicPr>
          <p:cNvPr id="11" name="图片占位符 10"/>
          <p:cNvPicPr>
            <a:picLocks noGrp="1" noChangeAspect="1"/>
          </p:cNvPicPr>
          <p:nvPr>
            <p:ph type="pic" sz="quarter" idx="14"/>
          </p:nvPr>
        </p:nvPicPr>
        <p:blipFill>
          <a:blip r:embed="rId8" cstate="screen"/>
          <a:srcRect/>
          <a:stretch>
            <a:fillRect/>
          </a:stretch>
        </p:blipFill>
        <p:spPr/>
      </p:pic>
      <p:pic>
        <p:nvPicPr>
          <p:cNvPr id="4" name="图片占位符 3"/>
          <p:cNvPicPr>
            <a:picLocks noGrp="1" noChangeAspect="1"/>
          </p:cNvPicPr>
          <p:nvPr>
            <p:ph type="pic" sz="quarter" idx="13"/>
          </p:nvPr>
        </p:nvPicPr>
        <p:blipFill>
          <a:blip r:embed="rId9" cstate="screen"/>
          <a:srcRect/>
          <a:stretch>
            <a:fillRect/>
          </a:stretch>
        </p:blipFill>
        <p:spPr/>
      </p:pic>
      <p:cxnSp>
        <p:nvCxnSpPr>
          <p:cNvPr id="53" name="Straight Connector 52"/>
          <p:cNvCxnSpPr/>
          <p:nvPr/>
        </p:nvCxnSpPr>
        <p:spPr>
          <a:xfrm>
            <a:off x="-85813" y="3183661"/>
            <a:ext cx="606751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advClick="0" advTm="0">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占位符 8"/>
          <p:cNvPicPr>
            <a:picLocks noGrp="1" noChangeAspect="1"/>
          </p:cNvPicPr>
          <p:nvPr>
            <p:ph type="pic" sz="quarter" idx="13"/>
          </p:nvPr>
        </p:nvPicPr>
        <p:blipFill>
          <a:blip r:embed="rId1" cstate="screen"/>
          <a:srcRect/>
          <a:stretch>
            <a:fillRect/>
          </a:stretch>
        </p:blipFill>
        <p:spPr/>
      </p:pic>
      <p:cxnSp>
        <p:nvCxnSpPr>
          <p:cNvPr id="45" name="Straight Connector 44"/>
          <p:cNvCxnSpPr/>
          <p:nvPr/>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sp>
        <p:nvSpPr>
          <p:cNvPr id="93" name="Title 11"/>
          <p:cNvSpPr txBox="1"/>
          <p:nvPr/>
        </p:nvSpPr>
        <p:spPr>
          <a:xfrm>
            <a:off x="7369362" y="469875"/>
            <a:ext cx="3239106" cy="2533675"/>
          </a:xfrm>
          <a:prstGeom prst="rect">
            <a:avLst/>
          </a:prstGeom>
        </p:spPr>
        <p:txBody>
          <a:bodyPr vert="horz" wrap="square"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600" b="1" dirty="0">
                <a:solidFill>
                  <a:schemeClr val="tx1">
                    <a:lumMod val="85000"/>
                    <a:lumOff val="15000"/>
                  </a:schemeClr>
                </a:solidFill>
                <a:latin typeface="Playfair Display" panose="00000500000000000000" pitchFamily="2" charset="0"/>
                <a:ea typeface="Roboto" panose="02000000000000000000" pitchFamily="2" charset="0"/>
                <a:cs typeface="Times New Roman" panose="02020603050405020304" pitchFamily="18" charset="0"/>
              </a:rPr>
              <a:t>Those Who Are Too Busy </a:t>
            </a:r>
            <a:r>
              <a:rPr lang="en-US" sz="3600" b="1" dirty="0">
                <a:solidFill>
                  <a:schemeClr val="accent2"/>
                </a:solidFill>
                <a:latin typeface="Playfair Display" panose="00000500000000000000" pitchFamily="2" charset="0"/>
                <a:ea typeface="Roboto" panose="02000000000000000000" pitchFamily="2" charset="0"/>
                <a:cs typeface="Times New Roman" panose="02020603050405020304" pitchFamily="18" charset="0"/>
              </a:rPr>
              <a:t>To Be Looking For It</a:t>
            </a:r>
            <a:endParaRPr lang="en-US" sz="3600" b="1" dirty="0">
              <a:solidFill>
                <a:schemeClr val="accent2"/>
              </a:solidFill>
              <a:latin typeface="Playfair Display" panose="00000500000000000000" pitchFamily="2" charset="0"/>
              <a:ea typeface="Roboto" panose="02000000000000000000" pitchFamily="2" charset="0"/>
              <a:cs typeface="Times New Roman" panose="02020603050405020304" pitchFamily="18" charset="0"/>
            </a:endParaRPr>
          </a:p>
        </p:txBody>
      </p:sp>
      <p:sp>
        <p:nvSpPr>
          <p:cNvPr id="97" name="Rectangle 96"/>
          <p:cNvSpPr/>
          <p:nvPr/>
        </p:nvSpPr>
        <p:spPr>
          <a:xfrm>
            <a:off x="97947" y="6046003"/>
            <a:ext cx="1718154" cy="246221"/>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a:t>
            </a:r>
            <a:endParaRPr lang="en-US" sz="10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Tree>
  </p:cSld>
  <p:clrMapOvr>
    <a:masterClrMapping/>
  </p:clrMapOvr>
  <p:transition spd="slow" advClick="0" advTm="0">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内容占位符 6"/>
          <p:cNvPicPr>
            <a:picLocks noGrp="1" noChangeAspect="1"/>
          </p:cNvPicPr>
          <p:nvPr>
            <p:ph idx="1"/>
          </p:nvPr>
        </p:nvPicPr>
        <p:blipFill>
          <a:blip r:embed="rId1" cstate="screen"/>
          <a:stretch>
            <a:fillRect/>
          </a:stretch>
        </p:blipFill>
        <p:spPr>
          <a:xfrm>
            <a:off x="0" y="0"/>
            <a:ext cx="12192000" cy="6858000"/>
          </a:xfrm>
        </p:spPr>
      </p:pic>
      <p:sp>
        <p:nvSpPr>
          <p:cNvPr id="24" name="Rectangle 23"/>
          <p:cNvSpPr/>
          <p:nvPr/>
        </p:nvSpPr>
        <p:spPr>
          <a:xfrm>
            <a:off x="910442" y="656441"/>
            <a:ext cx="10371116" cy="5545118"/>
          </a:xfrm>
          <a:prstGeom prst="rect">
            <a:avLst/>
          </a:prstGeom>
          <a:solidFill>
            <a:schemeClr val="bg1">
              <a:alpha val="92000"/>
            </a:schemeClr>
          </a:solidFill>
          <a:ln>
            <a:noFill/>
          </a:ln>
          <a:effectLst>
            <a:outerShdw blurRad="203200" dist="38100" sx="104000" sy="104000" algn="tl" rotWithShape="0">
              <a:prstClr val="black">
                <a:alpha val="4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sp>
        <p:nvSpPr>
          <p:cNvPr id="3" name="Title 1"/>
          <p:cNvSpPr txBox="1"/>
          <p:nvPr/>
        </p:nvSpPr>
        <p:spPr>
          <a:xfrm>
            <a:off x="7454450" y="2750685"/>
            <a:ext cx="2892398" cy="1159064"/>
          </a:xfrm>
          <a:prstGeom prst="rect">
            <a:avLst/>
          </a:prstGeom>
          <a:noFill/>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3600" b="1" spc="-151" dirty="0">
                <a:solidFill>
                  <a:schemeClr val="accent2"/>
                </a:solidFill>
                <a:latin typeface="Playfair Display" panose="00000500000000000000" pitchFamily="2" charset="0"/>
                <a:ea typeface="Open Sans" panose="020B0606030504020204" pitchFamily="34" charset="0"/>
                <a:cs typeface="Lato" panose="020F0502020204030203" pitchFamily="34" charset="0"/>
              </a:rPr>
              <a:t>Why Choose </a:t>
            </a:r>
            <a:r>
              <a:rPr lang="en-US" sz="3600"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Tahes.co</a:t>
            </a:r>
            <a:endParaRPr lang="en-US" sz="3600" spc="-15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4" name="Rectangle 3"/>
          <p:cNvSpPr/>
          <p:nvPr/>
        </p:nvSpPr>
        <p:spPr>
          <a:xfrm>
            <a:off x="7454450" y="3909749"/>
            <a:ext cx="2892398" cy="261610"/>
          </a:xfrm>
          <a:prstGeom prst="rect">
            <a:avLst/>
          </a:prstGeom>
          <a:noFill/>
        </p:spPr>
        <p:txBody>
          <a:bodyPr wrap="square">
            <a:spAutoFit/>
          </a:bodyPr>
          <a:lstStyle/>
          <a:p>
            <a:pPr>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8" name="Freeform 7"/>
          <p:cNvSpPr>
            <a:spLocks noEditPoints="1"/>
          </p:cNvSpPr>
          <p:nvPr>
            <p:custDataLst>
              <p:tags r:id="rId2"/>
            </p:custDataLst>
          </p:nvPr>
        </p:nvSpPr>
        <p:spPr bwMode="auto">
          <a:xfrm>
            <a:off x="6344485" y="2750685"/>
            <a:ext cx="920676" cy="1393616"/>
          </a:xfrm>
          <a:custGeom>
            <a:avLst/>
            <a:gdLst>
              <a:gd name="T0" fmla="*/ 5 w 913"/>
              <a:gd name="T1" fmla="*/ 402 h 1382"/>
              <a:gd name="T2" fmla="*/ 46 w 913"/>
              <a:gd name="T3" fmla="*/ 264 h 1382"/>
              <a:gd name="T4" fmla="*/ 90 w 913"/>
              <a:gd name="T5" fmla="*/ 187 h 1382"/>
              <a:gd name="T6" fmla="*/ 145 w 913"/>
              <a:gd name="T7" fmla="*/ 122 h 1382"/>
              <a:gd name="T8" fmla="*/ 246 w 913"/>
              <a:gd name="T9" fmla="*/ 49 h 1382"/>
              <a:gd name="T10" fmla="*/ 306 w 913"/>
              <a:gd name="T11" fmla="*/ 25 h 1382"/>
              <a:gd name="T12" fmla="*/ 370 w 913"/>
              <a:gd name="T13" fmla="*/ 9 h 1382"/>
              <a:gd name="T14" fmla="*/ 460 w 913"/>
              <a:gd name="T15" fmla="*/ 0 h 1382"/>
              <a:gd name="T16" fmla="*/ 602 w 913"/>
              <a:gd name="T17" fmla="*/ 16 h 1382"/>
              <a:gd name="T18" fmla="*/ 685 w 913"/>
              <a:gd name="T19" fmla="*/ 46 h 1382"/>
              <a:gd name="T20" fmla="*/ 787 w 913"/>
              <a:gd name="T21" fmla="*/ 110 h 1382"/>
              <a:gd name="T22" fmla="*/ 841 w 913"/>
              <a:gd name="T23" fmla="*/ 166 h 1382"/>
              <a:gd name="T24" fmla="*/ 881 w 913"/>
              <a:gd name="T25" fmla="*/ 233 h 1382"/>
              <a:gd name="T26" fmla="*/ 901 w 913"/>
              <a:gd name="T27" fmla="*/ 288 h 1382"/>
              <a:gd name="T28" fmla="*/ 911 w 913"/>
              <a:gd name="T29" fmla="*/ 348 h 1382"/>
              <a:gd name="T30" fmla="*/ 913 w 913"/>
              <a:gd name="T31" fmla="*/ 414 h 1382"/>
              <a:gd name="T32" fmla="*/ 902 w 913"/>
              <a:gd name="T33" fmla="*/ 481 h 1382"/>
              <a:gd name="T34" fmla="*/ 879 w 913"/>
              <a:gd name="T35" fmla="*/ 547 h 1382"/>
              <a:gd name="T36" fmla="*/ 858 w 913"/>
              <a:gd name="T37" fmla="*/ 586 h 1382"/>
              <a:gd name="T38" fmla="*/ 810 w 913"/>
              <a:gd name="T39" fmla="*/ 651 h 1382"/>
              <a:gd name="T40" fmla="*/ 741 w 913"/>
              <a:gd name="T41" fmla="*/ 718 h 1382"/>
              <a:gd name="T42" fmla="*/ 669 w 913"/>
              <a:gd name="T43" fmla="*/ 780 h 1382"/>
              <a:gd name="T44" fmla="*/ 619 w 913"/>
              <a:gd name="T45" fmla="*/ 830 h 1382"/>
              <a:gd name="T46" fmla="*/ 593 w 913"/>
              <a:gd name="T47" fmla="*/ 869 h 1382"/>
              <a:gd name="T48" fmla="*/ 584 w 913"/>
              <a:gd name="T49" fmla="*/ 899 h 1382"/>
              <a:gd name="T50" fmla="*/ 573 w 913"/>
              <a:gd name="T51" fmla="*/ 998 h 1382"/>
              <a:gd name="T52" fmla="*/ 334 w 913"/>
              <a:gd name="T53" fmla="*/ 1067 h 1382"/>
              <a:gd name="T54" fmla="*/ 342 w 913"/>
              <a:gd name="T55" fmla="*/ 927 h 1382"/>
              <a:gd name="T56" fmla="*/ 350 w 913"/>
              <a:gd name="T57" fmla="*/ 855 h 1382"/>
              <a:gd name="T58" fmla="*/ 377 w 913"/>
              <a:gd name="T59" fmla="*/ 773 h 1382"/>
              <a:gd name="T60" fmla="*/ 402 w 913"/>
              <a:gd name="T61" fmla="*/ 731 h 1382"/>
              <a:gd name="T62" fmla="*/ 455 w 913"/>
              <a:gd name="T63" fmla="*/ 665 h 1382"/>
              <a:gd name="T64" fmla="*/ 526 w 913"/>
              <a:gd name="T65" fmla="*/ 598 h 1382"/>
              <a:gd name="T66" fmla="*/ 600 w 913"/>
              <a:gd name="T67" fmla="*/ 531 h 1382"/>
              <a:gd name="T68" fmla="*/ 641 w 913"/>
              <a:gd name="T69" fmla="*/ 481 h 1382"/>
              <a:gd name="T70" fmla="*/ 655 w 913"/>
              <a:gd name="T71" fmla="*/ 451 h 1382"/>
              <a:gd name="T72" fmla="*/ 660 w 913"/>
              <a:gd name="T73" fmla="*/ 421 h 1382"/>
              <a:gd name="T74" fmla="*/ 660 w 913"/>
              <a:gd name="T75" fmla="*/ 380 h 1382"/>
              <a:gd name="T76" fmla="*/ 646 w 913"/>
              <a:gd name="T77" fmla="*/ 324 h 1382"/>
              <a:gd name="T78" fmla="*/ 628 w 913"/>
              <a:gd name="T79" fmla="*/ 292 h 1382"/>
              <a:gd name="T80" fmla="*/ 605 w 913"/>
              <a:gd name="T81" fmla="*/ 264 h 1382"/>
              <a:gd name="T82" fmla="*/ 561 w 913"/>
              <a:gd name="T83" fmla="*/ 232 h 1382"/>
              <a:gd name="T84" fmla="*/ 524 w 913"/>
              <a:gd name="T85" fmla="*/ 218 h 1382"/>
              <a:gd name="T86" fmla="*/ 462 w 913"/>
              <a:gd name="T87" fmla="*/ 210 h 1382"/>
              <a:gd name="T88" fmla="*/ 421 w 913"/>
              <a:gd name="T89" fmla="*/ 214 h 1382"/>
              <a:gd name="T90" fmla="*/ 368 w 913"/>
              <a:gd name="T91" fmla="*/ 233 h 1382"/>
              <a:gd name="T92" fmla="*/ 324 w 913"/>
              <a:gd name="T93" fmla="*/ 271 h 1382"/>
              <a:gd name="T94" fmla="*/ 288 w 913"/>
              <a:gd name="T95" fmla="*/ 324 h 1382"/>
              <a:gd name="T96" fmla="*/ 264 w 913"/>
              <a:gd name="T97" fmla="*/ 394 h 1382"/>
              <a:gd name="T98" fmla="*/ 0 w 913"/>
              <a:gd name="T99" fmla="*/ 451 h 1382"/>
              <a:gd name="T100" fmla="*/ 327 w 913"/>
              <a:gd name="T101" fmla="*/ 1122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3" h="1382">
                <a:moveTo>
                  <a:pt x="0" y="451"/>
                </a:moveTo>
                <a:lnTo>
                  <a:pt x="0" y="451"/>
                </a:lnTo>
                <a:lnTo>
                  <a:pt x="5" y="402"/>
                </a:lnTo>
                <a:lnTo>
                  <a:pt x="16" y="352"/>
                </a:lnTo>
                <a:lnTo>
                  <a:pt x="28" y="308"/>
                </a:lnTo>
                <a:lnTo>
                  <a:pt x="46" y="264"/>
                </a:lnTo>
                <a:lnTo>
                  <a:pt x="46" y="264"/>
                </a:lnTo>
                <a:lnTo>
                  <a:pt x="67" y="225"/>
                </a:lnTo>
                <a:lnTo>
                  <a:pt x="90" y="187"/>
                </a:lnTo>
                <a:lnTo>
                  <a:pt x="115" y="154"/>
                </a:lnTo>
                <a:lnTo>
                  <a:pt x="145" y="122"/>
                </a:lnTo>
                <a:lnTo>
                  <a:pt x="145" y="122"/>
                </a:lnTo>
                <a:lnTo>
                  <a:pt x="175" y="95"/>
                </a:lnTo>
                <a:lnTo>
                  <a:pt x="211" y="71"/>
                </a:lnTo>
                <a:lnTo>
                  <a:pt x="246" y="49"/>
                </a:lnTo>
                <a:lnTo>
                  <a:pt x="285" y="32"/>
                </a:lnTo>
                <a:lnTo>
                  <a:pt x="285" y="32"/>
                </a:lnTo>
                <a:lnTo>
                  <a:pt x="306" y="25"/>
                </a:lnTo>
                <a:lnTo>
                  <a:pt x="326" y="18"/>
                </a:lnTo>
                <a:lnTo>
                  <a:pt x="347" y="12"/>
                </a:lnTo>
                <a:lnTo>
                  <a:pt x="370" y="9"/>
                </a:lnTo>
                <a:lnTo>
                  <a:pt x="414" y="2"/>
                </a:lnTo>
                <a:lnTo>
                  <a:pt x="460" y="0"/>
                </a:lnTo>
                <a:lnTo>
                  <a:pt x="460" y="0"/>
                </a:lnTo>
                <a:lnTo>
                  <a:pt x="510" y="2"/>
                </a:lnTo>
                <a:lnTo>
                  <a:pt x="557" y="7"/>
                </a:lnTo>
                <a:lnTo>
                  <a:pt x="602" y="16"/>
                </a:lnTo>
                <a:lnTo>
                  <a:pt x="644" y="30"/>
                </a:lnTo>
                <a:lnTo>
                  <a:pt x="644" y="30"/>
                </a:lnTo>
                <a:lnTo>
                  <a:pt x="685" y="46"/>
                </a:lnTo>
                <a:lnTo>
                  <a:pt x="722" y="64"/>
                </a:lnTo>
                <a:lnTo>
                  <a:pt x="757" y="85"/>
                </a:lnTo>
                <a:lnTo>
                  <a:pt x="787" y="110"/>
                </a:lnTo>
                <a:lnTo>
                  <a:pt x="787" y="110"/>
                </a:lnTo>
                <a:lnTo>
                  <a:pt x="816" y="138"/>
                </a:lnTo>
                <a:lnTo>
                  <a:pt x="841" y="166"/>
                </a:lnTo>
                <a:lnTo>
                  <a:pt x="862" y="198"/>
                </a:lnTo>
                <a:lnTo>
                  <a:pt x="881" y="233"/>
                </a:lnTo>
                <a:lnTo>
                  <a:pt x="881" y="233"/>
                </a:lnTo>
                <a:lnTo>
                  <a:pt x="888" y="251"/>
                </a:lnTo>
                <a:lnTo>
                  <a:pt x="895" y="271"/>
                </a:lnTo>
                <a:lnTo>
                  <a:pt x="901" y="288"/>
                </a:lnTo>
                <a:lnTo>
                  <a:pt x="906" y="308"/>
                </a:lnTo>
                <a:lnTo>
                  <a:pt x="910" y="327"/>
                </a:lnTo>
                <a:lnTo>
                  <a:pt x="911" y="348"/>
                </a:lnTo>
                <a:lnTo>
                  <a:pt x="913" y="389"/>
                </a:lnTo>
                <a:lnTo>
                  <a:pt x="913" y="389"/>
                </a:lnTo>
                <a:lnTo>
                  <a:pt x="913" y="414"/>
                </a:lnTo>
                <a:lnTo>
                  <a:pt x="911" y="437"/>
                </a:lnTo>
                <a:lnTo>
                  <a:pt x="908" y="460"/>
                </a:lnTo>
                <a:lnTo>
                  <a:pt x="902" y="481"/>
                </a:lnTo>
                <a:lnTo>
                  <a:pt x="897" y="504"/>
                </a:lnTo>
                <a:lnTo>
                  <a:pt x="888" y="525"/>
                </a:lnTo>
                <a:lnTo>
                  <a:pt x="879" y="547"/>
                </a:lnTo>
                <a:lnTo>
                  <a:pt x="869" y="566"/>
                </a:lnTo>
                <a:lnTo>
                  <a:pt x="869" y="566"/>
                </a:lnTo>
                <a:lnTo>
                  <a:pt x="858" y="586"/>
                </a:lnTo>
                <a:lnTo>
                  <a:pt x="844" y="607"/>
                </a:lnTo>
                <a:lnTo>
                  <a:pt x="828" y="628"/>
                </a:lnTo>
                <a:lnTo>
                  <a:pt x="810" y="651"/>
                </a:lnTo>
                <a:lnTo>
                  <a:pt x="789" y="672"/>
                </a:lnTo>
                <a:lnTo>
                  <a:pt x="766" y="695"/>
                </a:lnTo>
                <a:lnTo>
                  <a:pt x="741" y="718"/>
                </a:lnTo>
                <a:lnTo>
                  <a:pt x="713" y="741"/>
                </a:lnTo>
                <a:lnTo>
                  <a:pt x="713" y="741"/>
                </a:lnTo>
                <a:lnTo>
                  <a:pt x="669" y="780"/>
                </a:lnTo>
                <a:lnTo>
                  <a:pt x="634" y="814"/>
                </a:lnTo>
                <a:lnTo>
                  <a:pt x="634" y="814"/>
                </a:lnTo>
                <a:lnTo>
                  <a:pt x="619" y="830"/>
                </a:lnTo>
                <a:lnTo>
                  <a:pt x="609" y="844"/>
                </a:lnTo>
                <a:lnTo>
                  <a:pt x="600" y="856"/>
                </a:lnTo>
                <a:lnTo>
                  <a:pt x="593" y="869"/>
                </a:lnTo>
                <a:lnTo>
                  <a:pt x="593" y="869"/>
                </a:lnTo>
                <a:lnTo>
                  <a:pt x="589" y="881"/>
                </a:lnTo>
                <a:lnTo>
                  <a:pt x="584" y="899"/>
                </a:lnTo>
                <a:lnTo>
                  <a:pt x="580" y="918"/>
                </a:lnTo>
                <a:lnTo>
                  <a:pt x="579" y="941"/>
                </a:lnTo>
                <a:lnTo>
                  <a:pt x="573" y="998"/>
                </a:lnTo>
                <a:lnTo>
                  <a:pt x="573" y="1067"/>
                </a:lnTo>
                <a:lnTo>
                  <a:pt x="334" y="1067"/>
                </a:lnTo>
                <a:lnTo>
                  <a:pt x="334" y="1067"/>
                </a:lnTo>
                <a:lnTo>
                  <a:pt x="336" y="1017"/>
                </a:lnTo>
                <a:lnTo>
                  <a:pt x="338" y="970"/>
                </a:lnTo>
                <a:lnTo>
                  <a:pt x="342" y="927"/>
                </a:lnTo>
                <a:lnTo>
                  <a:pt x="345" y="888"/>
                </a:lnTo>
                <a:lnTo>
                  <a:pt x="345" y="888"/>
                </a:lnTo>
                <a:lnTo>
                  <a:pt x="350" y="855"/>
                </a:lnTo>
                <a:lnTo>
                  <a:pt x="357" y="823"/>
                </a:lnTo>
                <a:lnTo>
                  <a:pt x="366" y="796"/>
                </a:lnTo>
                <a:lnTo>
                  <a:pt x="377" y="773"/>
                </a:lnTo>
                <a:lnTo>
                  <a:pt x="377" y="773"/>
                </a:lnTo>
                <a:lnTo>
                  <a:pt x="388" y="752"/>
                </a:lnTo>
                <a:lnTo>
                  <a:pt x="402" y="731"/>
                </a:lnTo>
                <a:lnTo>
                  <a:pt x="416" y="708"/>
                </a:lnTo>
                <a:lnTo>
                  <a:pt x="434" y="686"/>
                </a:lnTo>
                <a:lnTo>
                  <a:pt x="455" y="665"/>
                </a:lnTo>
                <a:lnTo>
                  <a:pt x="476" y="642"/>
                </a:lnTo>
                <a:lnTo>
                  <a:pt x="499" y="621"/>
                </a:lnTo>
                <a:lnTo>
                  <a:pt x="526" y="598"/>
                </a:lnTo>
                <a:lnTo>
                  <a:pt x="526" y="598"/>
                </a:lnTo>
                <a:lnTo>
                  <a:pt x="568" y="561"/>
                </a:lnTo>
                <a:lnTo>
                  <a:pt x="600" y="531"/>
                </a:lnTo>
                <a:lnTo>
                  <a:pt x="600" y="531"/>
                </a:lnTo>
                <a:lnTo>
                  <a:pt x="623" y="504"/>
                </a:lnTo>
                <a:lnTo>
                  <a:pt x="641" y="481"/>
                </a:lnTo>
                <a:lnTo>
                  <a:pt x="641" y="481"/>
                </a:lnTo>
                <a:lnTo>
                  <a:pt x="651" y="460"/>
                </a:lnTo>
                <a:lnTo>
                  <a:pt x="655" y="451"/>
                </a:lnTo>
                <a:lnTo>
                  <a:pt x="657" y="441"/>
                </a:lnTo>
                <a:lnTo>
                  <a:pt x="657" y="441"/>
                </a:lnTo>
                <a:lnTo>
                  <a:pt x="660" y="421"/>
                </a:lnTo>
                <a:lnTo>
                  <a:pt x="660" y="400"/>
                </a:lnTo>
                <a:lnTo>
                  <a:pt x="660" y="400"/>
                </a:lnTo>
                <a:lnTo>
                  <a:pt x="660" y="380"/>
                </a:lnTo>
                <a:lnTo>
                  <a:pt x="657" y="361"/>
                </a:lnTo>
                <a:lnTo>
                  <a:pt x="653" y="341"/>
                </a:lnTo>
                <a:lnTo>
                  <a:pt x="646" y="324"/>
                </a:lnTo>
                <a:lnTo>
                  <a:pt x="646" y="324"/>
                </a:lnTo>
                <a:lnTo>
                  <a:pt x="637" y="308"/>
                </a:lnTo>
                <a:lnTo>
                  <a:pt x="628" y="292"/>
                </a:lnTo>
                <a:lnTo>
                  <a:pt x="618" y="278"/>
                </a:lnTo>
                <a:lnTo>
                  <a:pt x="605" y="264"/>
                </a:lnTo>
                <a:lnTo>
                  <a:pt x="605" y="264"/>
                </a:lnTo>
                <a:lnTo>
                  <a:pt x="591" y="253"/>
                </a:lnTo>
                <a:lnTo>
                  <a:pt x="577" y="242"/>
                </a:lnTo>
                <a:lnTo>
                  <a:pt x="561" y="232"/>
                </a:lnTo>
                <a:lnTo>
                  <a:pt x="543" y="225"/>
                </a:lnTo>
                <a:lnTo>
                  <a:pt x="543" y="225"/>
                </a:lnTo>
                <a:lnTo>
                  <a:pt x="524" y="218"/>
                </a:lnTo>
                <a:lnTo>
                  <a:pt x="504" y="214"/>
                </a:lnTo>
                <a:lnTo>
                  <a:pt x="485" y="210"/>
                </a:lnTo>
                <a:lnTo>
                  <a:pt x="462" y="210"/>
                </a:lnTo>
                <a:lnTo>
                  <a:pt x="462" y="210"/>
                </a:lnTo>
                <a:lnTo>
                  <a:pt x="441" y="210"/>
                </a:lnTo>
                <a:lnTo>
                  <a:pt x="421" y="214"/>
                </a:lnTo>
                <a:lnTo>
                  <a:pt x="402" y="219"/>
                </a:lnTo>
                <a:lnTo>
                  <a:pt x="384" y="225"/>
                </a:lnTo>
                <a:lnTo>
                  <a:pt x="368" y="233"/>
                </a:lnTo>
                <a:lnTo>
                  <a:pt x="352" y="244"/>
                </a:lnTo>
                <a:lnTo>
                  <a:pt x="336" y="256"/>
                </a:lnTo>
                <a:lnTo>
                  <a:pt x="324" y="271"/>
                </a:lnTo>
                <a:lnTo>
                  <a:pt x="311" y="287"/>
                </a:lnTo>
                <a:lnTo>
                  <a:pt x="299" y="304"/>
                </a:lnTo>
                <a:lnTo>
                  <a:pt x="288" y="324"/>
                </a:lnTo>
                <a:lnTo>
                  <a:pt x="280" y="347"/>
                </a:lnTo>
                <a:lnTo>
                  <a:pt x="271" y="370"/>
                </a:lnTo>
                <a:lnTo>
                  <a:pt x="264" y="394"/>
                </a:lnTo>
                <a:lnTo>
                  <a:pt x="258" y="423"/>
                </a:lnTo>
                <a:lnTo>
                  <a:pt x="253" y="451"/>
                </a:lnTo>
                <a:lnTo>
                  <a:pt x="0" y="451"/>
                </a:lnTo>
                <a:close/>
                <a:moveTo>
                  <a:pt x="591" y="1382"/>
                </a:moveTo>
                <a:lnTo>
                  <a:pt x="327" y="1382"/>
                </a:lnTo>
                <a:lnTo>
                  <a:pt x="327" y="1122"/>
                </a:lnTo>
                <a:lnTo>
                  <a:pt x="591" y="1122"/>
                </a:lnTo>
                <a:lnTo>
                  <a:pt x="591" y="1382"/>
                </a:lnTo>
                <a:close/>
              </a:path>
            </a:pathLst>
          </a:custGeom>
          <a:solidFill>
            <a:schemeClr val="accent2"/>
          </a:solidFill>
          <a:ln>
            <a:noFill/>
          </a:ln>
        </p:spPr>
        <p:txBody>
          <a:bodyPr vert="horz" wrap="square" lIns="91440" tIns="45720" rIns="91440" bIns="45720" numCol="1" anchor="t" anchorCtr="0" compatLnSpc="1"/>
          <a:lstStyle/>
          <a:p>
            <a:endParaRPr lang="en-US"/>
          </a:p>
        </p:txBody>
      </p:sp>
      <p:sp>
        <p:nvSpPr>
          <p:cNvPr id="27" name="Shape 2906"/>
          <p:cNvSpPr/>
          <p:nvPr/>
        </p:nvSpPr>
        <p:spPr>
          <a:xfrm>
            <a:off x="1558535" y="1569173"/>
            <a:ext cx="298984" cy="298984"/>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9674" y="5053"/>
                </a:moveTo>
                <a:cubicBezTo>
                  <a:pt x="9585" y="4964"/>
                  <a:pt x="9463" y="4909"/>
                  <a:pt x="9327" y="4909"/>
                </a:cubicBezTo>
                <a:cubicBezTo>
                  <a:pt x="9056" y="4909"/>
                  <a:pt x="8836" y="5129"/>
                  <a:pt x="8836" y="5400"/>
                </a:cubicBezTo>
                <a:cubicBezTo>
                  <a:pt x="8836" y="5536"/>
                  <a:pt x="8891" y="5658"/>
                  <a:pt x="8980" y="5747"/>
                </a:cubicBezTo>
                <a:lnTo>
                  <a:pt x="13574" y="10800"/>
                </a:lnTo>
                <a:lnTo>
                  <a:pt x="8980" y="15853"/>
                </a:lnTo>
                <a:cubicBezTo>
                  <a:pt x="8891" y="15942"/>
                  <a:pt x="8836" y="16065"/>
                  <a:pt x="8836" y="16200"/>
                </a:cubicBezTo>
                <a:cubicBezTo>
                  <a:pt x="8836" y="16471"/>
                  <a:pt x="9056" y="16691"/>
                  <a:pt x="9327" y="16691"/>
                </a:cubicBezTo>
                <a:cubicBezTo>
                  <a:pt x="9463" y="16691"/>
                  <a:pt x="9585" y="16636"/>
                  <a:pt x="9674" y="16547"/>
                </a:cubicBezTo>
                <a:lnTo>
                  <a:pt x="14583" y="11147"/>
                </a:lnTo>
                <a:cubicBezTo>
                  <a:pt x="14672" y="11058"/>
                  <a:pt x="14727" y="10936"/>
                  <a:pt x="14727" y="10800"/>
                </a:cubicBezTo>
                <a:cubicBezTo>
                  <a:pt x="14727" y="10665"/>
                  <a:pt x="14672" y="10542"/>
                  <a:pt x="14583" y="10453"/>
                </a:cubicBezTo>
                <a:cubicBezTo>
                  <a:pt x="14583" y="10453"/>
                  <a:pt x="9674" y="5053"/>
                  <a:pt x="9674" y="5053"/>
                </a:cubicBezTo>
                <a:close/>
              </a:path>
            </a:pathLst>
          </a:custGeom>
          <a:solidFill>
            <a:schemeClr val="accent1"/>
          </a:solidFill>
          <a:ln w="12700">
            <a:miter lim="400000"/>
          </a:ln>
        </p:spPr>
        <p:txBody>
          <a:bodyPr lIns="38090" tIns="38090" rIns="38090" bIns="38090" anchor="ctr"/>
          <a:lstStyle/>
          <a:p>
            <a:pPr defTabSz="4565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3000"/>
          </a:p>
        </p:txBody>
      </p:sp>
      <p:sp>
        <p:nvSpPr>
          <p:cNvPr id="28" name="TextBox 27"/>
          <p:cNvSpPr txBox="1"/>
          <p:nvPr/>
        </p:nvSpPr>
        <p:spPr>
          <a:xfrm>
            <a:off x="2169577" y="1510342"/>
            <a:ext cx="2098673" cy="369332"/>
          </a:xfrm>
          <a:prstGeom prst="rect">
            <a:avLst/>
          </a:prstGeom>
          <a:noFill/>
        </p:spPr>
        <p:txBody>
          <a:bodyPr wrap="square" rtlCol="0">
            <a:spAutoFit/>
          </a:bodyPr>
          <a:lstStyle/>
          <a:p>
            <a:r>
              <a:rPr lang="id-ID" b="1" dirty="0">
                <a:solidFill>
                  <a:schemeClr val="accent1"/>
                </a:solidFill>
                <a:latin typeface="Playfair Display" panose="00000500000000000000" pitchFamily="2" charset="0"/>
                <a:ea typeface="Roboto" panose="02000000000000000000" pitchFamily="2" charset="0"/>
                <a:cs typeface="Lato" panose="020F0502020204030203" pitchFamily="34" charset="0"/>
              </a:rPr>
              <a:t>Web</a:t>
            </a:r>
            <a:r>
              <a:rPr lang="en-US" b="1" dirty="0">
                <a:solidFill>
                  <a:schemeClr val="accent1"/>
                </a:solidFill>
                <a:latin typeface="Playfair Display" panose="00000500000000000000" pitchFamily="2" charset="0"/>
                <a:ea typeface="Roboto" panose="02000000000000000000" pitchFamily="2" charset="0"/>
                <a:cs typeface="Lato" panose="020F0502020204030203" pitchFamily="34" charset="0"/>
              </a:rPr>
              <a:t> </a:t>
            </a:r>
            <a:r>
              <a:rPr lang="id-ID" b="1" dirty="0">
                <a:solidFill>
                  <a:schemeClr val="accent1"/>
                </a:solidFill>
                <a:latin typeface="Playfair Display" panose="00000500000000000000" pitchFamily="2" charset="0"/>
                <a:ea typeface="Roboto" panose="02000000000000000000" pitchFamily="2" charset="0"/>
                <a:cs typeface="Lato" panose="020F0502020204030203" pitchFamily="34" charset="0"/>
              </a:rPr>
              <a:t>Design</a:t>
            </a:r>
            <a:endParaRPr lang="id-ID" b="1" dirty="0">
              <a:solidFill>
                <a:schemeClr val="accent1"/>
              </a:solidFill>
              <a:latin typeface="Playfair Display" panose="00000500000000000000" pitchFamily="2" charset="0"/>
              <a:ea typeface="Roboto" panose="02000000000000000000" pitchFamily="2" charset="0"/>
              <a:cs typeface="Lato" panose="020F0502020204030203" pitchFamily="34" charset="0"/>
            </a:endParaRPr>
          </a:p>
        </p:txBody>
      </p:sp>
      <p:sp>
        <p:nvSpPr>
          <p:cNvPr id="29" name="TextBox 28"/>
          <p:cNvSpPr txBox="1"/>
          <p:nvPr/>
        </p:nvSpPr>
        <p:spPr>
          <a:xfrm>
            <a:off x="2184091" y="1865160"/>
            <a:ext cx="3716686" cy="461665"/>
          </a:xfrm>
          <a:prstGeom prst="rect">
            <a:avLst/>
          </a:prstGeom>
          <a:noFill/>
        </p:spPr>
        <p:txBody>
          <a:bodyPr wrap="square" rtlCol="0">
            <a:spAutoFit/>
          </a:bodyPr>
          <a:lstStyle/>
          <a:p>
            <a:r>
              <a:rPr lang="id-ID" sz="1200" dirty="0">
                <a:solidFill>
                  <a:schemeClr val="tx1">
                    <a:lumMod val="75000"/>
                    <a:lumOff val="25000"/>
                  </a:schemeClr>
                </a:solidFill>
              </a:rPr>
              <a:t>Suitable for all category</a:t>
            </a:r>
            <a:r>
              <a:rPr lang="en-US" sz="1200" dirty="0">
                <a:solidFill>
                  <a:schemeClr val="tx1">
                    <a:lumMod val="75000"/>
                    <a:lumOff val="25000"/>
                  </a:schemeClr>
                </a:solidFill>
              </a:rPr>
              <a:t>, Lorem Ipsum is not simply random text. It has roots in a piece.</a:t>
            </a:r>
            <a:endParaRPr lang="en-US" sz="1200" b="1" dirty="0">
              <a:solidFill>
                <a:schemeClr val="tx1">
                  <a:lumMod val="75000"/>
                  <a:lumOff val="25000"/>
                </a:schemeClr>
              </a:solidFill>
            </a:endParaRPr>
          </a:p>
        </p:txBody>
      </p:sp>
      <p:sp>
        <p:nvSpPr>
          <p:cNvPr id="30" name="Shape 2906"/>
          <p:cNvSpPr/>
          <p:nvPr/>
        </p:nvSpPr>
        <p:spPr>
          <a:xfrm>
            <a:off x="1558535" y="2687701"/>
            <a:ext cx="298984" cy="298984"/>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9674" y="5053"/>
                </a:moveTo>
                <a:cubicBezTo>
                  <a:pt x="9585" y="4964"/>
                  <a:pt x="9463" y="4909"/>
                  <a:pt x="9327" y="4909"/>
                </a:cubicBezTo>
                <a:cubicBezTo>
                  <a:pt x="9056" y="4909"/>
                  <a:pt x="8836" y="5129"/>
                  <a:pt x="8836" y="5400"/>
                </a:cubicBezTo>
                <a:cubicBezTo>
                  <a:pt x="8836" y="5536"/>
                  <a:pt x="8891" y="5658"/>
                  <a:pt x="8980" y="5747"/>
                </a:cubicBezTo>
                <a:lnTo>
                  <a:pt x="13574" y="10800"/>
                </a:lnTo>
                <a:lnTo>
                  <a:pt x="8980" y="15853"/>
                </a:lnTo>
                <a:cubicBezTo>
                  <a:pt x="8891" y="15942"/>
                  <a:pt x="8836" y="16065"/>
                  <a:pt x="8836" y="16200"/>
                </a:cubicBezTo>
                <a:cubicBezTo>
                  <a:pt x="8836" y="16471"/>
                  <a:pt x="9056" y="16691"/>
                  <a:pt x="9327" y="16691"/>
                </a:cubicBezTo>
                <a:cubicBezTo>
                  <a:pt x="9463" y="16691"/>
                  <a:pt x="9585" y="16636"/>
                  <a:pt x="9674" y="16547"/>
                </a:cubicBezTo>
                <a:lnTo>
                  <a:pt x="14583" y="11147"/>
                </a:lnTo>
                <a:cubicBezTo>
                  <a:pt x="14672" y="11058"/>
                  <a:pt x="14727" y="10936"/>
                  <a:pt x="14727" y="10800"/>
                </a:cubicBezTo>
                <a:cubicBezTo>
                  <a:pt x="14727" y="10665"/>
                  <a:pt x="14672" y="10542"/>
                  <a:pt x="14583" y="10453"/>
                </a:cubicBezTo>
                <a:cubicBezTo>
                  <a:pt x="14583" y="10453"/>
                  <a:pt x="9674" y="5053"/>
                  <a:pt x="9674" y="5053"/>
                </a:cubicBezTo>
                <a:close/>
              </a:path>
            </a:pathLst>
          </a:custGeom>
          <a:solidFill>
            <a:schemeClr val="accent1"/>
          </a:solidFill>
          <a:ln w="12700">
            <a:miter lim="400000"/>
          </a:ln>
        </p:spPr>
        <p:txBody>
          <a:bodyPr lIns="38090" tIns="38090" rIns="38090" bIns="38090" anchor="ctr"/>
          <a:lstStyle/>
          <a:p>
            <a:pPr defTabSz="4565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3000"/>
          </a:p>
        </p:txBody>
      </p:sp>
      <p:sp>
        <p:nvSpPr>
          <p:cNvPr id="31" name="TextBox 30"/>
          <p:cNvSpPr txBox="1"/>
          <p:nvPr/>
        </p:nvSpPr>
        <p:spPr>
          <a:xfrm>
            <a:off x="2169577" y="2628870"/>
            <a:ext cx="3511015" cy="369332"/>
          </a:xfrm>
          <a:prstGeom prst="rect">
            <a:avLst/>
          </a:prstGeom>
          <a:noFill/>
        </p:spPr>
        <p:txBody>
          <a:bodyPr wrap="square" rtlCol="0">
            <a:spAutoFit/>
          </a:bodyPr>
          <a:lstStyle/>
          <a:p>
            <a:r>
              <a:rPr lang="id-ID" b="1" dirty="0">
                <a:solidFill>
                  <a:schemeClr val="accent1"/>
                </a:solidFill>
                <a:latin typeface="Playfair Display" panose="00000500000000000000" pitchFamily="2" charset="0"/>
                <a:ea typeface="Roboto" panose="02000000000000000000" pitchFamily="2" charset="0"/>
                <a:cs typeface="Lato" panose="020F0502020204030203" pitchFamily="34" charset="0"/>
              </a:rPr>
              <a:t>Marketing</a:t>
            </a:r>
            <a:r>
              <a:rPr lang="en-US" b="1" dirty="0">
                <a:solidFill>
                  <a:schemeClr val="accent1"/>
                </a:solidFill>
                <a:latin typeface="Playfair Display" panose="00000500000000000000" pitchFamily="2" charset="0"/>
                <a:ea typeface="Roboto" panose="02000000000000000000" pitchFamily="2" charset="0"/>
                <a:cs typeface="Lato" panose="020F0502020204030203" pitchFamily="34" charset="0"/>
              </a:rPr>
              <a:t> </a:t>
            </a:r>
            <a:r>
              <a:rPr lang="id-ID" b="1" dirty="0">
                <a:solidFill>
                  <a:schemeClr val="accent1"/>
                </a:solidFill>
                <a:latin typeface="Playfair Display" panose="00000500000000000000" pitchFamily="2" charset="0"/>
                <a:ea typeface="Roboto" panose="02000000000000000000" pitchFamily="2" charset="0"/>
                <a:cs typeface="Lato" panose="020F0502020204030203" pitchFamily="34" charset="0"/>
              </a:rPr>
              <a:t>Solution</a:t>
            </a:r>
            <a:endParaRPr lang="id-ID" b="1" dirty="0">
              <a:solidFill>
                <a:schemeClr val="accent1"/>
              </a:solidFill>
              <a:latin typeface="Playfair Display" panose="00000500000000000000" pitchFamily="2" charset="0"/>
              <a:ea typeface="Roboto" panose="02000000000000000000" pitchFamily="2" charset="0"/>
              <a:cs typeface="Lato" panose="020F0502020204030203" pitchFamily="34" charset="0"/>
            </a:endParaRPr>
          </a:p>
        </p:txBody>
      </p:sp>
      <p:sp>
        <p:nvSpPr>
          <p:cNvPr id="32" name="TextBox 31"/>
          <p:cNvSpPr txBox="1"/>
          <p:nvPr/>
        </p:nvSpPr>
        <p:spPr>
          <a:xfrm>
            <a:off x="2184091" y="2983688"/>
            <a:ext cx="3716686" cy="461665"/>
          </a:xfrm>
          <a:prstGeom prst="rect">
            <a:avLst/>
          </a:prstGeom>
          <a:noFill/>
        </p:spPr>
        <p:txBody>
          <a:bodyPr wrap="square" rtlCol="0">
            <a:spAutoFit/>
          </a:bodyPr>
          <a:lstStyle/>
          <a:p>
            <a:r>
              <a:rPr lang="id-ID" sz="1200" dirty="0">
                <a:solidFill>
                  <a:schemeClr val="tx1">
                    <a:lumMod val="75000"/>
                    <a:lumOff val="25000"/>
                  </a:schemeClr>
                </a:solidFill>
              </a:rPr>
              <a:t>Suitable for all category</a:t>
            </a:r>
            <a:r>
              <a:rPr lang="en-US" sz="1200" dirty="0">
                <a:solidFill>
                  <a:schemeClr val="tx1">
                    <a:lumMod val="75000"/>
                    <a:lumOff val="25000"/>
                  </a:schemeClr>
                </a:solidFill>
              </a:rPr>
              <a:t>, Lorem Ipsum is not simply random text. It has roots in a piece.</a:t>
            </a:r>
            <a:endParaRPr lang="en-US" sz="1200" b="1" dirty="0">
              <a:solidFill>
                <a:schemeClr val="tx1">
                  <a:lumMod val="75000"/>
                  <a:lumOff val="25000"/>
                </a:schemeClr>
              </a:solidFill>
            </a:endParaRPr>
          </a:p>
        </p:txBody>
      </p:sp>
      <p:sp>
        <p:nvSpPr>
          <p:cNvPr id="33" name="Shape 2906"/>
          <p:cNvSpPr/>
          <p:nvPr/>
        </p:nvSpPr>
        <p:spPr>
          <a:xfrm>
            <a:off x="1558535" y="3786558"/>
            <a:ext cx="298984" cy="298984"/>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9674" y="5053"/>
                </a:moveTo>
                <a:cubicBezTo>
                  <a:pt x="9585" y="4964"/>
                  <a:pt x="9463" y="4909"/>
                  <a:pt x="9327" y="4909"/>
                </a:cubicBezTo>
                <a:cubicBezTo>
                  <a:pt x="9056" y="4909"/>
                  <a:pt x="8836" y="5129"/>
                  <a:pt x="8836" y="5400"/>
                </a:cubicBezTo>
                <a:cubicBezTo>
                  <a:pt x="8836" y="5536"/>
                  <a:pt x="8891" y="5658"/>
                  <a:pt x="8980" y="5747"/>
                </a:cubicBezTo>
                <a:lnTo>
                  <a:pt x="13574" y="10800"/>
                </a:lnTo>
                <a:lnTo>
                  <a:pt x="8980" y="15853"/>
                </a:lnTo>
                <a:cubicBezTo>
                  <a:pt x="8891" y="15942"/>
                  <a:pt x="8836" y="16065"/>
                  <a:pt x="8836" y="16200"/>
                </a:cubicBezTo>
                <a:cubicBezTo>
                  <a:pt x="8836" y="16471"/>
                  <a:pt x="9056" y="16691"/>
                  <a:pt x="9327" y="16691"/>
                </a:cubicBezTo>
                <a:cubicBezTo>
                  <a:pt x="9463" y="16691"/>
                  <a:pt x="9585" y="16636"/>
                  <a:pt x="9674" y="16547"/>
                </a:cubicBezTo>
                <a:lnTo>
                  <a:pt x="14583" y="11147"/>
                </a:lnTo>
                <a:cubicBezTo>
                  <a:pt x="14672" y="11058"/>
                  <a:pt x="14727" y="10936"/>
                  <a:pt x="14727" y="10800"/>
                </a:cubicBezTo>
                <a:cubicBezTo>
                  <a:pt x="14727" y="10665"/>
                  <a:pt x="14672" y="10542"/>
                  <a:pt x="14583" y="10453"/>
                </a:cubicBezTo>
                <a:cubicBezTo>
                  <a:pt x="14583" y="10453"/>
                  <a:pt x="9674" y="5053"/>
                  <a:pt x="9674" y="5053"/>
                </a:cubicBezTo>
                <a:close/>
              </a:path>
            </a:pathLst>
          </a:custGeom>
          <a:solidFill>
            <a:schemeClr val="accent1"/>
          </a:solidFill>
          <a:ln w="12700">
            <a:miter lim="400000"/>
          </a:ln>
        </p:spPr>
        <p:txBody>
          <a:bodyPr lIns="38090" tIns="38090" rIns="38090" bIns="38090" anchor="ctr"/>
          <a:lstStyle/>
          <a:p>
            <a:pPr defTabSz="4565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3000"/>
          </a:p>
        </p:txBody>
      </p:sp>
      <p:sp>
        <p:nvSpPr>
          <p:cNvPr id="34" name="TextBox 33"/>
          <p:cNvSpPr txBox="1"/>
          <p:nvPr/>
        </p:nvSpPr>
        <p:spPr>
          <a:xfrm>
            <a:off x="2169577" y="3727727"/>
            <a:ext cx="2098673" cy="369332"/>
          </a:xfrm>
          <a:prstGeom prst="rect">
            <a:avLst/>
          </a:prstGeom>
          <a:noFill/>
        </p:spPr>
        <p:txBody>
          <a:bodyPr wrap="square" rtlCol="0">
            <a:spAutoFit/>
          </a:bodyPr>
          <a:lstStyle/>
          <a:p>
            <a:r>
              <a:rPr lang="id-ID" b="1" dirty="0">
                <a:solidFill>
                  <a:schemeClr val="accent1"/>
                </a:solidFill>
                <a:latin typeface="Playfair Display" panose="00000500000000000000" pitchFamily="2" charset="0"/>
                <a:ea typeface="Roboto" panose="02000000000000000000" pitchFamily="2" charset="0"/>
                <a:cs typeface="Lato" panose="020F0502020204030203" pitchFamily="34" charset="0"/>
              </a:rPr>
              <a:t>Graphic</a:t>
            </a:r>
            <a:r>
              <a:rPr lang="en-US" b="1" dirty="0">
                <a:solidFill>
                  <a:schemeClr val="accent1"/>
                </a:solidFill>
                <a:latin typeface="Playfair Display" panose="00000500000000000000" pitchFamily="2" charset="0"/>
                <a:ea typeface="Roboto" panose="02000000000000000000" pitchFamily="2" charset="0"/>
                <a:cs typeface="Lato" panose="020F0502020204030203" pitchFamily="34" charset="0"/>
              </a:rPr>
              <a:t> </a:t>
            </a:r>
            <a:r>
              <a:rPr lang="id-ID" b="1" dirty="0">
                <a:solidFill>
                  <a:schemeClr val="accent1"/>
                </a:solidFill>
                <a:latin typeface="Playfair Display" panose="00000500000000000000" pitchFamily="2" charset="0"/>
                <a:ea typeface="Roboto" panose="02000000000000000000" pitchFamily="2" charset="0"/>
                <a:cs typeface="Lato" panose="020F0502020204030203" pitchFamily="34" charset="0"/>
              </a:rPr>
              <a:t>Design</a:t>
            </a:r>
            <a:endParaRPr lang="id-ID" b="1" dirty="0">
              <a:solidFill>
                <a:schemeClr val="accent1"/>
              </a:solidFill>
              <a:latin typeface="Playfair Display" panose="00000500000000000000" pitchFamily="2" charset="0"/>
              <a:ea typeface="Roboto" panose="02000000000000000000" pitchFamily="2" charset="0"/>
              <a:cs typeface="Lato" panose="020F0502020204030203" pitchFamily="34" charset="0"/>
            </a:endParaRPr>
          </a:p>
        </p:txBody>
      </p:sp>
      <p:sp>
        <p:nvSpPr>
          <p:cNvPr id="35" name="TextBox 34"/>
          <p:cNvSpPr txBox="1"/>
          <p:nvPr/>
        </p:nvSpPr>
        <p:spPr>
          <a:xfrm>
            <a:off x="2184091" y="4082545"/>
            <a:ext cx="3716686" cy="461665"/>
          </a:xfrm>
          <a:prstGeom prst="rect">
            <a:avLst/>
          </a:prstGeom>
          <a:noFill/>
        </p:spPr>
        <p:txBody>
          <a:bodyPr wrap="square" rtlCol="0">
            <a:spAutoFit/>
          </a:bodyPr>
          <a:lstStyle/>
          <a:p>
            <a:r>
              <a:rPr lang="id-ID" sz="1200" dirty="0">
                <a:solidFill>
                  <a:schemeClr val="tx1">
                    <a:lumMod val="75000"/>
                    <a:lumOff val="25000"/>
                  </a:schemeClr>
                </a:solidFill>
              </a:rPr>
              <a:t>Suitable for all category</a:t>
            </a:r>
            <a:r>
              <a:rPr lang="en-US" sz="1200" dirty="0">
                <a:solidFill>
                  <a:schemeClr val="tx1">
                    <a:lumMod val="75000"/>
                    <a:lumOff val="25000"/>
                  </a:schemeClr>
                </a:solidFill>
              </a:rPr>
              <a:t>, Lorem Ipsum is not simply random text. It has roots in a piece.</a:t>
            </a:r>
            <a:endParaRPr lang="en-US" sz="1200" b="1" dirty="0">
              <a:solidFill>
                <a:schemeClr val="tx1">
                  <a:lumMod val="75000"/>
                  <a:lumOff val="25000"/>
                </a:schemeClr>
              </a:solidFill>
            </a:endParaRPr>
          </a:p>
        </p:txBody>
      </p:sp>
      <p:sp>
        <p:nvSpPr>
          <p:cNvPr id="36" name="Shape 2906"/>
          <p:cNvSpPr/>
          <p:nvPr/>
        </p:nvSpPr>
        <p:spPr>
          <a:xfrm>
            <a:off x="1558535" y="4832629"/>
            <a:ext cx="298984" cy="298984"/>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9674" y="5053"/>
                </a:moveTo>
                <a:cubicBezTo>
                  <a:pt x="9585" y="4964"/>
                  <a:pt x="9463" y="4909"/>
                  <a:pt x="9327" y="4909"/>
                </a:cubicBezTo>
                <a:cubicBezTo>
                  <a:pt x="9056" y="4909"/>
                  <a:pt x="8836" y="5129"/>
                  <a:pt x="8836" y="5400"/>
                </a:cubicBezTo>
                <a:cubicBezTo>
                  <a:pt x="8836" y="5536"/>
                  <a:pt x="8891" y="5658"/>
                  <a:pt x="8980" y="5747"/>
                </a:cubicBezTo>
                <a:lnTo>
                  <a:pt x="13574" y="10800"/>
                </a:lnTo>
                <a:lnTo>
                  <a:pt x="8980" y="15853"/>
                </a:lnTo>
                <a:cubicBezTo>
                  <a:pt x="8891" y="15942"/>
                  <a:pt x="8836" y="16065"/>
                  <a:pt x="8836" y="16200"/>
                </a:cubicBezTo>
                <a:cubicBezTo>
                  <a:pt x="8836" y="16471"/>
                  <a:pt x="9056" y="16691"/>
                  <a:pt x="9327" y="16691"/>
                </a:cubicBezTo>
                <a:cubicBezTo>
                  <a:pt x="9463" y="16691"/>
                  <a:pt x="9585" y="16636"/>
                  <a:pt x="9674" y="16547"/>
                </a:cubicBezTo>
                <a:lnTo>
                  <a:pt x="14583" y="11147"/>
                </a:lnTo>
                <a:cubicBezTo>
                  <a:pt x="14672" y="11058"/>
                  <a:pt x="14727" y="10936"/>
                  <a:pt x="14727" y="10800"/>
                </a:cubicBezTo>
                <a:cubicBezTo>
                  <a:pt x="14727" y="10665"/>
                  <a:pt x="14672" y="10542"/>
                  <a:pt x="14583" y="10453"/>
                </a:cubicBezTo>
                <a:cubicBezTo>
                  <a:pt x="14583" y="10453"/>
                  <a:pt x="9674" y="5053"/>
                  <a:pt x="9674" y="5053"/>
                </a:cubicBezTo>
                <a:close/>
              </a:path>
            </a:pathLst>
          </a:custGeom>
          <a:solidFill>
            <a:schemeClr val="accent1"/>
          </a:solidFill>
          <a:ln w="12700">
            <a:miter lim="400000"/>
          </a:ln>
        </p:spPr>
        <p:txBody>
          <a:bodyPr lIns="38090" tIns="38090" rIns="38090" bIns="38090" anchor="ctr"/>
          <a:lstStyle/>
          <a:p>
            <a:pPr defTabSz="45656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3000"/>
          </a:p>
        </p:txBody>
      </p:sp>
      <p:sp>
        <p:nvSpPr>
          <p:cNvPr id="37" name="TextBox 36"/>
          <p:cNvSpPr txBox="1"/>
          <p:nvPr/>
        </p:nvSpPr>
        <p:spPr>
          <a:xfrm>
            <a:off x="2169577" y="4773798"/>
            <a:ext cx="4788272" cy="369332"/>
          </a:xfrm>
          <a:prstGeom prst="rect">
            <a:avLst/>
          </a:prstGeom>
          <a:noFill/>
        </p:spPr>
        <p:txBody>
          <a:bodyPr wrap="square" rtlCol="0">
            <a:spAutoFit/>
          </a:bodyPr>
          <a:lstStyle/>
          <a:p>
            <a:r>
              <a:rPr lang="id-ID" b="1" dirty="0">
                <a:solidFill>
                  <a:schemeClr val="accent1"/>
                </a:solidFill>
                <a:latin typeface="Playfair Display" panose="00000500000000000000" pitchFamily="2" charset="0"/>
                <a:ea typeface="Roboto" panose="02000000000000000000" pitchFamily="2" charset="0"/>
                <a:cs typeface="Lato" panose="020F0502020204030203" pitchFamily="34" charset="0"/>
              </a:rPr>
              <a:t>Support</a:t>
            </a:r>
            <a:r>
              <a:rPr lang="en-US" b="1" dirty="0">
                <a:solidFill>
                  <a:schemeClr val="accent1"/>
                </a:solidFill>
                <a:latin typeface="Playfair Display" panose="00000500000000000000" pitchFamily="2" charset="0"/>
                <a:ea typeface="Roboto" panose="02000000000000000000" pitchFamily="2" charset="0"/>
                <a:cs typeface="Lato" panose="020F0502020204030203" pitchFamily="34" charset="0"/>
              </a:rPr>
              <a:t> </a:t>
            </a:r>
            <a:r>
              <a:rPr lang="id-ID" b="1" dirty="0">
                <a:solidFill>
                  <a:schemeClr val="accent1"/>
                </a:solidFill>
                <a:latin typeface="Playfair Display" panose="00000500000000000000" pitchFamily="2" charset="0"/>
                <a:ea typeface="Roboto" panose="02000000000000000000" pitchFamily="2" charset="0"/>
                <a:cs typeface="Lato" panose="020F0502020204030203" pitchFamily="34" charset="0"/>
              </a:rPr>
              <a:t>And Survey</a:t>
            </a:r>
            <a:endParaRPr lang="id-ID" b="1" dirty="0">
              <a:solidFill>
                <a:schemeClr val="accent1"/>
              </a:solidFill>
              <a:latin typeface="Playfair Display" panose="00000500000000000000" pitchFamily="2" charset="0"/>
              <a:ea typeface="Roboto" panose="02000000000000000000" pitchFamily="2" charset="0"/>
              <a:cs typeface="Lato" panose="020F0502020204030203" pitchFamily="34" charset="0"/>
            </a:endParaRPr>
          </a:p>
        </p:txBody>
      </p:sp>
      <p:sp>
        <p:nvSpPr>
          <p:cNvPr id="38" name="TextBox 37"/>
          <p:cNvSpPr txBox="1"/>
          <p:nvPr/>
        </p:nvSpPr>
        <p:spPr>
          <a:xfrm>
            <a:off x="2184091" y="5128616"/>
            <a:ext cx="3716686" cy="461665"/>
          </a:xfrm>
          <a:prstGeom prst="rect">
            <a:avLst/>
          </a:prstGeom>
          <a:noFill/>
        </p:spPr>
        <p:txBody>
          <a:bodyPr wrap="square" rtlCol="0">
            <a:spAutoFit/>
          </a:bodyPr>
          <a:lstStyle/>
          <a:p>
            <a:r>
              <a:rPr lang="id-ID" sz="1200" dirty="0">
                <a:solidFill>
                  <a:schemeClr val="tx1">
                    <a:lumMod val="75000"/>
                    <a:lumOff val="25000"/>
                  </a:schemeClr>
                </a:solidFill>
              </a:rPr>
              <a:t>Suitable for all category</a:t>
            </a:r>
            <a:r>
              <a:rPr lang="en-US" sz="1200" dirty="0">
                <a:solidFill>
                  <a:schemeClr val="tx1">
                    <a:lumMod val="75000"/>
                    <a:lumOff val="25000"/>
                  </a:schemeClr>
                </a:solidFill>
              </a:rPr>
              <a:t>, Lorem Ipsum is not simply random text. It has roots in a piece.</a:t>
            </a:r>
            <a:endParaRPr lang="en-US" sz="1200" b="1" dirty="0">
              <a:solidFill>
                <a:schemeClr val="tx1">
                  <a:lumMod val="75000"/>
                  <a:lumOff val="25000"/>
                </a:schemeClr>
              </a:solidFill>
            </a:endParaRPr>
          </a:p>
        </p:txBody>
      </p:sp>
    </p:spTree>
  </p:cSld>
  <p:clrMapOvr>
    <a:masterClrMapping/>
  </p:clrMapOvr>
  <p:transition spd="slow" advClick="0" advTm="0">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a:xfrm>
            <a:off x="0" y="0"/>
            <a:ext cx="5552863" cy="3379501"/>
          </a:xfrm>
          <a:prstGeom prst="rect">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3" name="Oval 62"/>
          <p:cNvSpPr/>
          <p:nvPr/>
        </p:nvSpPr>
        <p:spPr>
          <a:xfrm>
            <a:off x="3815614" y="1579442"/>
            <a:ext cx="3349462" cy="33494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图片占位符 27"/>
          <p:cNvPicPr>
            <a:picLocks noGrp="1" noChangeAspect="1"/>
          </p:cNvPicPr>
          <p:nvPr>
            <p:ph type="pic" sz="quarter" idx="14"/>
          </p:nvPr>
        </p:nvPicPr>
        <p:blipFill>
          <a:blip r:embed="rId1" cstate="screen"/>
          <a:srcRect/>
          <a:stretch>
            <a:fillRect/>
          </a:stretch>
        </p:blipFill>
        <p:spPr>
          <a:xfrm>
            <a:off x="3963988" y="1679575"/>
            <a:ext cx="3098800" cy="3128963"/>
          </a:xfrm>
        </p:spPr>
      </p:pic>
      <p:sp>
        <p:nvSpPr>
          <p:cNvPr id="3" name="Title 1"/>
          <p:cNvSpPr txBox="1"/>
          <p:nvPr/>
        </p:nvSpPr>
        <p:spPr>
          <a:xfrm>
            <a:off x="904902" y="644336"/>
            <a:ext cx="4352898"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3600" b="1" spc="-151" dirty="0">
                <a:solidFill>
                  <a:schemeClr val="bg1"/>
                </a:solidFill>
                <a:latin typeface="Playfair Display" panose="00000500000000000000" pitchFamily="2" charset="0"/>
                <a:ea typeface="Open Sans" panose="020B0606030504020204" pitchFamily="34" charset="0"/>
                <a:cs typeface="Lato" panose="020F0502020204030203" pitchFamily="34" charset="0"/>
              </a:rPr>
              <a:t>What </a:t>
            </a:r>
            <a:r>
              <a:rPr lang="en-US" sz="3600" spc="-151" dirty="0">
                <a:solidFill>
                  <a:schemeClr val="bg1"/>
                </a:solidFill>
                <a:latin typeface="Playfair Display" panose="00000500000000000000" pitchFamily="2" charset="0"/>
                <a:ea typeface="Open Sans" panose="020B0606030504020204" pitchFamily="34" charset="0"/>
                <a:cs typeface="Lato" panose="020F0502020204030203" pitchFamily="34" charset="0"/>
              </a:rPr>
              <a:t>We Do</a:t>
            </a:r>
            <a:endParaRPr lang="en-US" sz="3600" spc="-151" dirty="0">
              <a:solidFill>
                <a:schemeClr val="bg1"/>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4" name="Rectangle 3"/>
          <p:cNvSpPr/>
          <p:nvPr/>
        </p:nvSpPr>
        <p:spPr>
          <a:xfrm>
            <a:off x="958692" y="1290667"/>
            <a:ext cx="2156010" cy="261610"/>
          </a:xfrm>
          <a:prstGeom prst="rect">
            <a:avLst/>
          </a:prstGeom>
        </p:spPr>
        <p:txBody>
          <a:bodyPr wrap="square">
            <a:spAutoFit/>
          </a:bodyPr>
          <a:lstStyle/>
          <a:p>
            <a:pPr>
              <a:buClr>
                <a:srgbClr val="E24848"/>
              </a:buClr>
              <a:defRPr/>
            </a:pPr>
            <a:r>
              <a:rPr lang="en-US" sz="1100" noProof="1">
                <a:solidFill>
                  <a:schemeClr val="bg1"/>
                </a:solidFill>
                <a:latin typeface="+mj-lt"/>
                <a:ea typeface="Open Sans Light" panose="020B0306030504020204" pitchFamily="34" charset="0"/>
                <a:cs typeface="Open Sans Light" panose="020B0306030504020204" pitchFamily="34" charset="0"/>
              </a:rPr>
              <a:t>Insert  Your Great Subtitle Here</a:t>
            </a:r>
            <a:endParaRPr lang="en-US" sz="1100" noProof="1">
              <a:solidFill>
                <a:schemeClr val="bg1"/>
              </a:solidFill>
              <a:latin typeface="+mj-lt"/>
              <a:ea typeface="Open Sans Light" panose="020B0306030504020204" pitchFamily="34" charset="0"/>
              <a:cs typeface="Open Sans Light" panose="020B0306030504020204" pitchFamily="34" charset="0"/>
            </a:endParaRPr>
          </a:p>
        </p:txBody>
      </p:sp>
      <p:cxnSp>
        <p:nvCxnSpPr>
          <p:cNvPr id="45" name="Straight Connector 44"/>
          <p:cNvCxnSpPr/>
          <p:nvPr/>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sp>
        <p:nvSpPr>
          <p:cNvPr id="44" name="Title 1"/>
          <p:cNvSpPr txBox="1"/>
          <p:nvPr/>
        </p:nvSpPr>
        <p:spPr>
          <a:xfrm>
            <a:off x="980781" y="1740403"/>
            <a:ext cx="2923987"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2000" b="1" spc="-150" dirty="0">
                <a:solidFill>
                  <a:schemeClr val="bg1"/>
                </a:solidFill>
                <a:latin typeface="Playfair Display" panose="00000500000000000000" pitchFamily="2" charset="0"/>
                <a:ea typeface="Open Sans" panose="020B0606030504020204" pitchFamily="34" charset="0"/>
                <a:cs typeface="Lato" panose="020F0502020204030203" pitchFamily="34" charset="0"/>
              </a:rPr>
              <a:t>Be Looking For It</a:t>
            </a:r>
            <a:endParaRPr lang="en-US" sz="2000" b="1" spc="-150" dirty="0">
              <a:solidFill>
                <a:schemeClr val="bg1"/>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46" name="Rectangle 45"/>
          <p:cNvSpPr/>
          <p:nvPr/>
        </p:nvSpPr>
        <p:spPr>
          <a:xfrm>
            <a:off x="980781" y="2299279"/>
            <a:ext cx="2606190" cy="830997"/>
          </a:xfrm>
          <a:prstGeom prst="rect">
            <a:avLst/>
          </a:prstGeom>
        </p:spPr>
        <p:txBody>
          <a:bodyPr wrap="square">
            <a:spAutoFit/>
          </a:bodyPr>
          <a:lstStyle/>
          <a:p>
            <a:pPr>
              <a:buClr>
                <a:srgbClr val="E24848"/>
              </a:buClr>
              <a:defRPr/>
            </a:pPr>
            <a:r>
              <a:rPr lang="en-US" sz="1200" noProof="1">
                <a:solidFill>
                  <a:schemeClr val="bg1"/>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t>
            </a:r>
            <a:endParaRPr lang="en-US" sz="1200" noProof="1">
              <a:solidFill>
                <a:schemeClr val="bg1"/>
              </a:solidFill>
              <a:latin typeface="+mj-lt"/>
              <a:ea typeface="Open Sans Light" panose="020B0306030504020204" pitchFamily="34" charset="0"/>
              <a:cs typeface="Open Sans Light" panose="020B0306030504020204" pitchFamily="34" charset="0"/>
            </a:endParaRPr>
          </a:p>
        </p:txBody>
      </p:sp>
      <p:grpSp>
        <p:nvGrpSpPr>
          <p:cNvPr id="6" name="Group 5"/>
          <p:cNvGrpSpPr/>
          <p:nvPr/>
        </p:nvGrpSpPr>
        <p:grpSpPr>
          <a:xfrm>
            <a:off x="3446679" y="2692964"/>
            <a:ext cx="4949662" cy="3045381"/>
            <a:chOff x="3605999" y="952740"/>
            <a:chExt cx="1932002" cy="1188704"/>
          </a:xfrm>
        </p:grpSpPr>
        <p:sp>
          <p:nvSpPr>
            <p:cNvPr id="7" name="Oval 6"/>
            <p:cNvSpPr/>
            <p:nvPr/>
          </p:nvSpPr>
          <p:spPr>
            <a:xfrm>
              <a:off x="3858961" y="2028919"/>
              <a:ext cx="1340345" cy="112525"/>
            </a:xfrm>
            <a:prstGeom prst="ellipse">
              <a:avLst/>
            </a:prstGeom>
            <a:gradFill flip="none" rotWithShape="1">
              <a:gsLst>
                <a:gs pos="0">
                  <a:schemeClr val="tx1">
                    <a:alpha val="25000"/>
                  </a:schemeClr>
                </a:gs>
                <a:gs pos="100000">
                  <a:srgbClr val="8C0E0E">
                    <a:lumMod val="79000"/>
                    <a:lumOff val="21000"/>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Freeform 5"/>
            <p:cNvSpPr/>
            <p:nvPr/>
          </p:nvSpPr>
          <p:spPr bwMode="auto">
            <a:xfrm>
              <a:off x="3605999" y="1559174"/>
              <a:ext cx="265315" cy="143894"/>
            </a:xfrm>
            <a:custGeom>
              <a:avLst/>
              <a:gdLst>
                <a:gd name="T0" fmla="*/ 791 w 791"/>
                <a:gd name="T1" fmla="*/ 0 h 429"/>
                <a:gd name="T2" fmla="*/ 578 w 791"/>
                <a:gd name="T3" fmla="*/ 91 h 429"/>
                <a:gd name="T4" fmla="*/ 0 w 791"/>
                <a:gd name="T5" fmla="*/ 429 h 429"/>
                <a:gd name="T6" fmla="*/ 463 w 791"/>
                <a:gd name="T7" fmla="*/ 380 h 429"/>
                <a:gd name="T8" fmla="*/ 791 w 791"/>
                <a:gd name="T9" fmla="*/ 0 h 429"/>
              </a:gdLst>
              <a:ahLst/>
              <a:cxnLst>
                <a:cxn ang="0">
                  <a:pos x="T0" y="T1"/>
                </a:cxn>
                <a:cxn ang="0">
                  <a:pos x="T2" y="T3"/>
                </a:cxn>
                <a:cxn ang="0">
                  <a:pos x="T4" y="T5"/>
                </a:cxn>
                <a:cxn ang="0">
                  <a:pos x="T6" y="T7"/>
                </a:cxn>
                <a:cxn ang="0">
                  <a:pos x="T8" y="T9"/>
                </a:cxn>
              </a:cxnLst>
              <a:rect l="0" t="0" r="r" b="b"/>
              <a:pathLst>
                <a:path w="791" h="429">
                  <a:moveTo>
                    <a:pt x="791" y="0"/>
                  </a:moveTo>
                  <a:lnTo>
                    <a:pt x="578" y="91"/>
                  </a:lnTo>
                  <a:lnTo>
                    <a:pt x="0" y="429"/>
                  </a:lnTo>
                  <a:lnTo>
                    <a:pt x="463" y="380"/>
                  </a:lnTo>
                  <a:lnTo>
                    <a:pt x="791" y="0"/>
                  </a:lnTo>
                  <a:close/>
                </a:path>
              </a:pathLst>
            </a:custGeom>
            <a:gradFill flip="none" rotWithShape="1">
              <a:gsLst>
                <a:gs pos="100000">
                  <a:schemeClr val="accent1"/>
                </a:gs>
                <a:gs pos="0">
                  <a:schemeClr val="accent2">
                    <a:lumMod val="75000"/>
                  </a:schemeClr>
                </a:gs>
              </a:gsLst>
              <a:lin ang="27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p>
          </p:txBody>
        </p:sp>
        <p:sp>
          <p:nvSpPr>
            <p:cNvPr id="9" name="Freeform 6"/>
            <p:cNvSpPr/>
            <p:nvPr/>
          </p:nvSpPr>
          <p:spPr bwMode="auto">
            <a:xfrm>
              <a:off x="3994077" y="1763443"/>
              <a:ext cx="120415" cy="246196"/>
            </a:xfrm>
            <a:custGeom>
              <a:avLst/>
              <a:gdLst>
                <a:gd name="T0" fmla="*/ 359 w 359"/>
                <a:gd name="T1" fmla="*/ 0 h 734"/>
                <a:gd name="T2" fmla="*/ 258 w 359"/>
                <a:gd name="T3" fmla="*/ 140 h 734"/>
                <a:gd name="T4" fmla="*/ 0 w 359"/>
                <a:gd name="T5" fmla="*/ 734 h 734"/>
                <a:gd name="T6" fmla="*/ 202 w 359"/>
                <a:gd name="T7" fmla="*/ 684 h 734"/>
                <a:gd name="T8" fmla="*/ 359 w 359"/>
                <a:gd name="T9" fmla="*/ 0 h 734"/>
              </a:gdLst>
              <a:ahLst/>
              <a:cxnLst>
                <a:cxn ang="0">
                  <a:pos x="T0" y="T1"/>
                </a:cxn>
                <a:cxn ang="0">
                  <a:pos x="T2" y="T3"/>
                </a:cxn>
                <a:cxn ang="0">
                  <a:pos x="T4" y="T5"/>
                </a:cxn>
                <a:cxn ang="0">
                  <a:pos x="T6" y="T7"/>
                </a:cxn>
                <a:cxn ang="0">
                  <a:pos x="T8" y="T9"/>
                </a:cxn>
              </a:cxnLst>
              <a:rect l="0" t="0" r="r" b="b"/>
              <a:pathLst>
                <a:path w="359" h="734">
                  <a:moveTo>
                    <a:pt x="359" y="0"/>
                  </a:moveTo>
                  <a:lnTo>
                    <a:pt x="258" y="140"/>
                  </a:lnTo>
                  <a:lnTo>
                    <a:pt x="0" y="734"/>
                  </a:lnTo>
                  <a:lnTo>
                    <a:pt x="202" y="684"/>
                  </a:lnTo>
                  <a:lnTo>
                    <a:pt x="359" y="0"/>
                  </a:lnTo>
                  <a:close/>
                </a:path>
              </a:pathLst>
            </a:custGeom>
            <a:gradFill flip="none" rotWithShape="1">
              <a:gsLst>
                <a:gs pos="100000">
                  <a:schemeClr val="accent1"/>
                </a:gs>
                <a:gs pos="0">
                  <a:schemeClr val="accent2">
                    <a:lumMod val="75000"/>
                  </a:schemeClr>
                </a:gs>
              </a:gsLst>
              <a:lin ang="27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p>
          </p:txBody>
        </p:sp>
        <p:sp>
          <p:nvSpPr>
            <p:cNvPr id="10" name="Freeform 7"/>
            <p:cNvSpPr/>
            <p:nvPr/>
          </p:nvSpPr>
          <p:spPr bwMode="auto">
            <a:xfrm>
              <a:off x="4428106" y="1832874"/>
              <a:ext cx="79829" cy="264644"/>
            </a:xfrm>
            <a:custGeom>
              <a:avLst/>
              <a:gdLst>
                <a:gd name="T0" fmla="*/ 8 w 238"/>
                <a:gd name="T1" fmla="*/ 0 h 789"/>
                <a:gd name="T2" fmla="*/ 0 w 238"/>
                <a:gd name="T3" fmla="*/ 188 h 789"/>
                <a:gd name="T4" fmla="*/ 150 w 238"/>
                <a:gd name="T5" fmla="*/ 789 h 789"/>
                <a:gd name="T6" fmla="*/ 209 w 238"/>
                <a:gd name="T7" fmla="*/ 691 h 789"/>
                <a:gd name="T8" fmla="*/ 238 w 238"/>
                <a:gd name="T9" fmla="*/ 490 h 789"/>
                <a:gd name="T10" fmla="*/ 8 w 238"/>
                <a:gd name="T11" fmla="*/ 0 h 789"/>
              </a:gdLst>
              <a:ahLst/>
              <a:cxnLst>
                <a:cxn ang="0">
                  <a:pos x="T0" y="T1"/>
                </a:cxn>
                <a:cxn ang="0">
                  <a:pos x="T2" y="T3"/>
                </a:cxn>
                <a:cxn ang="0">
                  <a:pos x="T4" y="T5"/>
                </a:cxn>
                <a:cxn ang="0">
                  <a:pos x="T6" y="T7"/>
                </a:cxn>
                <a:cxn ang="0">
                  <a:pos x="T8" y="T9"/>
                </a:cxn>
                <a:cxn ang="0">
                  <a:pos x="T10" y="T11"/>
                </a:cxn>
              </a:cxnLst>
              <a:rect l="0" t="0" r="r" b="b"/>
              <a:pathLst>
                <a:path w="238" h="789">
                  <a:moveTo>
                    <a:pt x="8" y="0"/>
                  </a:moveTo>
                  <a:lnTo>
                    <a:pt x="0" y="188"/>
                  </a:lnTo>
                  <a:lnTo>
                    <a:pt x="150" y="789"/>
                  </a:lnTo>
                  <a:lnTo>
                    <a:pt x="209" y="691"/>
                  </a:lnTo>
                  <a:lnTo>
                    <a:pt x="238" y="490"/>
                  </a:lnTo>
                  <a:lnTo>
                    <a:pt x="8" y="0"/>
                  </a:lnTo>
                  <a:close/>
                </a:path>
              </a:pathLst>
            </a:custGeom>
            <a:gradFill flip="none" rotWithShape="1">
              <a:gsLst>
                <a:gs pos="100000">
                  <a:schemeClr val="accent1"/>
                </a:gs>
                <a:gs pos="0">
                  <a:schemeClr val="accent2">
                    <a:lumMod val="75000"/>
                  </a:schemeClr>
                </a:gs>
              </a:gsLst>
              <a:lin ang="27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p>
          </p:txBody>
        </p:sp>
        <p:sp>
          <p:nvSpPr>
            <p:cNvPr id="11" name="Freeform 8"/>
            <p:cNvSpPr/>
            <p:nvPr/>
          </p:nvSpPr>
          <p:spPr bwMode="auto">
            <a:xfrm>
              <a:off x="4727298" y="1758747"/>
              <a:ext cx="186157" cy="219698"/>
            </a:xfrm>
            <a:custGeom>
              <a:avLst/>
              <a:gdLst>
                <a:gd name="T0" fmla="*/ 0 w 555"/>
                <a:gd name="T1" fmla="*/ 0 h 655"/>
                <a:gd name="T2" fmla="*/ 41 w 555"/>
                <a:gd name="T3" fmla="*/ 109 h 655"/>
                <a:gd name="T4" fmla="*/ 41 w 555"/>
                <a:gd name="T5" fmla="*/ 109 h 655"/>
                <a:gd name="T6" fmla="*/ 148 w 555"/>
                <a:gd name="T7" fmla="*/ 228 h 655"/>
                <a:gd name="T8" fmla="*/ 247 w 555"/>
                <a:gd name="T9" fmla="*/ 335 h 655"/>
                <a:gd name="T10" fmla="*/ 344 w 555"/>
                <a:gd name="T11" fmla="*/ 438 h 655"/>
                <a:gd name="T12" fmla="*/ 344 w 555"/>
                <a:gd name="T13" fmla="*/ 438 h 655"/>
                <a:gd name="T14" fmla="*/ 426 w 555"/>
                <a:gd name="T15" fmla="*/ 523 h 655"/>
                <a:gd name="T16" fmla="*/ 493 w 555"/>
                <a:gd name="T17" fmla="*/ 593 h 655"/>
                <a:gd name="T18" fmla="*/ 555 w 555"/>
                <a:gd name="T19" fmla="*/ 655 h 655"/>
                <a:gd name="T20" fmla="*/ 555 w 555"/>
                <a:gd name="T21" fmla="*/ 493 h 655"/>
                <a:gd name="T22" fmla="*/ 357 w 555"/>
                <a:gd name="T23" fmla="*/ 240 h 655"/>
                <a:gd name="T24" fmla="*/ 0 w 555"/>
                <a:gd name="T25" fmla="*/ 0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5" h="655">
                  <a:moveTo>
                    <a:pt x="0" y="0"/>
                  </a:moveTo>
                  <a:lnTo>
                    <a:pt x="41" y="109"/>
                  </a:lnTo>
                  <a:lnTo>
                    <a:pt x="41" y="109"/>
                  </a:lnTo>
                  <a:lnTo>
                    <a:pt x="148" y="228"/>
                  </a:lnTo>
                  <a:lnTo>
                    <a:pt x="247" y="335"/>
                  </a:lnTo>
                  <a:lnTo>
                    <a:pt x="344" y="438"/>
                  </a:lnTo>
                  <a:lnTo>
                    <a:pt x="344" y="438"/>
                  </a:lnTo>
                  <a:lnTo>
                    <a:pt x="426" y="523"/>
                  </a:lnTo>
                  <a:lnTo>
                    <a:pt x="493" y="593"/>
                  </a:lnTo>
                  <a:lnTo>
                    <a:pt x="555" y="655"/>
                  </a:lnTo>
                  <a:lnTo>
                    <a:pt x="555" y="493"/>
                  </a:lnTo>
                  <a:lnTo>
                    <a:pt x="357" y="240"/>
                  </a:lnTo>
                  <a:lnTo>
                    <a:pt x="0" y="0"/>
                  </a:lnTo>
                  <a:close/>
                </a:path>
              </a:pathLst>
            </a:custGeom>
            <a:gradFill flip="none" rotWithShape="1">
              <a:gsLst>
                <a:gs pos="100000">
                  <a:schemeClr val="accent1"/>
                </a:gs>
                <a:gs pos="0">
                  <a:schemeClr val="accent2">
                    <a:lumMod val="75000"/>
                  </a:schemeClr>
                </a:gs>
              </a:gsLst>
              <a:lin ang="27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p>
          </p:txBody>
        </p:sp>
        <p:sp>
          <p:nvSpPr>
            <p:cNvPr id="12" name="Freeform 9"/>
            <p:cNvSpPr/>
            <p:nvPr/>
          </p:nvSpPr>
          <p:spPr bwMode="auto">
            <a:xfrm>
              <a:off x="4935592" y="1454859"/>
              <a:ext cx="88550" cy="32200"/>
            </a:xfrm>
            <a:custGeom>
              <a:avLst/>
              <a:gdLst>
                <a:gd name="T0" fmla="*/ 0 w 264"/>
                <a:gd name="T1" fmla="*/ 0 h 96"/>
                <a:gd name="T2" fmla="*/ 0 w 264"/>
                <a:gd name="T3" fmla="*/ 0 h 96"/>
                <a:gd name="T4" fmla="*/ 44 w 264"/>
                <a:gd name="T5" fmla="*/ 18 h 96"/>
                <a:gd name="T6" fmla="*/ 84 w 264"/>
                <a:gd name="T7" fmla="*/ 35 h 96"/>
                <a:gd name="T8" fmla="*/ 124 w 264"/>
                <a:gd name="T9" fmla="*/ 51 h 96"/>
                <a:gd name="T10" fmla="*/ 124 w 264"/>
                <a:gd name="T11" fmla="*/ 51 h 96"/>
                <a:gd name="T12" fmla="*/ 208 w 264"/>
                <a:gd name="T13" fmla="*/ 80 h 96"/>
                <a:gd name="T14" fmla="*/ 256 w 264"/>
                <a:gd name="T15" fmla="*/ 96 h 96"/>
                <a:gd name="T16" fmla="*/ 264 w 264"/>
                <a:gd name="T17" fmla="*/ 60 h 96"/>
                <a:gd name="T18" fmla="*/ 0 w 264"/>
                <a:gd name="T19"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4" h="96">
                  <a:moveTo>
                    <a:pt x="0" y="0"/>
                  </a:moveTo>
                  <a:lnTo>
                    <a:pt x="0" y="0"/>
                  </a:lnTo>
                  <a:lnTo>
                    <a:pt x="44" y="18"/>
                  </a:lnTo>
                  <a:lnTo>
                    <a:pt x="84" y="35"/>
                  </a:lnTo>
                  <a:lnTo>
                    <a:pt x="124" y="51"/>
                  </a:lnTo>
                  <a:lnTo>
                    <a:pt x="124" y="51"/>
                  </a:lnTo>
                  <a:lnTo>
                    <a:pt x="208" y="80"/>
                  </a:lnTo>
                  <a:lnTo>
                    <a:pt x="256" y="96"/>
                  </a:lnTo>
                  <a:lnTo>
                    <a:pt x="264" y="60"/>
                  </a:lnTo>
                  <a:lnTo>
                    <a:pt x="0" y="0"/>
                  </a:lnTo>
                  <a:close/>
                </a:path>
              </a:pathLst>
            </a:custGeom>
            <a:solidFill>
              <a:schemeClr val="accent3">
                <a:lumMod val="75000"/>
              </a:schemeClr>
            </a:solidFill>
            <a:ln>
              <a:noFill/>
            </a:ln>
          </p:spPr>
          <p:txBody>
            <a:bodyPr vert="horz" wrap="square" lIns="91440" tIns="45720" rIns="91440" bIns="45720" numCol="1" anchor="t" anchorCtr="0" compatLnSpc="1"/>
            <a:lstStyle/>
            <a:p>
              <a:endParaRPr lang="id-ID"/>
            </a:p>
          </p:txBody>
        </p:sp>
        <p:sp>
          <p:nvSpPr>
            <p:cNvPr id="13" name="Freeform 10"/>
            <p:cNvSpPr/>
            <p:nvPr/>
          </p:nvSpPr>
          <p:spPr bwMode="auto">
            <a:xfrm>
              <a:off x="4945319" y="1580305"/>
              <a:ext cx="287452" cy="127794"/>
            </a:xfrm>
            <a:custGeom>
              <a:avLst/>
              <a:gdLst>
                <a:gd name="T0" fmla="*/ 0 w 857"/>
                <a:gd name="T1" fmla="*/ 0 h 381"/>
                <a:gd name="T2" fmla="*/ 0 w 857"/>
                <a:gd name="T3" fmla="*/ 0 h 381"/>
                <a:gd name="T4" fmla="*/ 50 w 857"/>
                <a:gd name="T5" fmla="*/ 27 h 381"/>
                <a:gd name="T6" fmla="*/ 106 w 857"/>
                <a:gd name="T7" fmla="*/ 56 h 381"/>
                <a:gd name="T8" fmla="*/ 177 w 857"/>
                <a:gd name="T9" fmla="*/ 92 h 381"/>
                <a:gd name="T10" fmla="*/ 261 w 857"/>
                <a:gd name="T11" fmla="*/ 133 h 381"/>
                <a:gd name="T12" fmla="*/ 352 w 857"/>
                <a:gd name="T13" fmla="*/ 176 h 381"/>
                <a:gd name="T14" fmla="*/ 448 w 857"/>
                <a:gd name="T15" fmla="*/ 219 h 381"/>
                <a:gd name="T16" fmla="*/ 496 w 857"/>
                <a:gd name="T17" fmla="*/ 240 h 381"/>
                <a:gd name="T18" fmla="*/ 545 w 857"/>
                <a:gd name="T19" fmla="*/ 260 h 381"/>
                <a:gd name="T20" fmla="*/ 545 w 857"/>
                <a:gd name="T21" fmla="*/ 260 h 381"/>
                <a:gd name="T22" fmla="*/ 700 w 857"/>
                <a:gd name="T23" fmla="*/ 322 h 381"/>
                <a:gd name="T24" fmla="*/ 796 w 857"/>
                <a:gd name="T25" fmla="*/ 359 h 381"/>
                <a:gd name="T26" fmla="*/ 844 w 857"/>
                <a:gd name="T27" fmla="*/ 377 h 381"/>
                <a:gd name="T28" fmla="*/ 857 w 857"/>
                <a:gd name="T29" fmla="*/ 381 h 381"/>
                <a:gd name="T30" fmla="*/ 675 w 857"/>
                <a:gd name="T31" fmla="*/ 213 h 381"/>
                <a:gd name="T32" fmla="*/ 0 w 857"/>
                <a:gd name="T33"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7" h="381">
                  <a:moveTo>
                    <a:pt x="0" y="0"/>
                  </a:moveTo>
                  <a:lnTo>
                    <a:pt x="0" y="0"/>
                  </a:lnTo>
                  <a:lnTo>
                    <a:pt x="50" y="27"/>
                  </a:lnTo>
                  <a:lnTo>
                    <a:pt x="106" y="56"/>
                  </a:lnTo>
                  <a:lnTo>
                    <a:pt x="177" y="92"/>
                  </a:lnTo>
                  <a:lnTo>
                    <a:pt x="261" y="133"/>
                  </a:lnTo>
                  <a:lnTo>
                    <a:pt x="352" y="176"/>
                  </a:lnTo>
                  <a:lnTo>
                    <a:pt x="448" y="219"/>
                  </a:lnTo>
                  <a:lnTo>
                    <a:pt x="496" y="240"/>
                  </a:lnTo>
                  <a:lnTo>
                    <a:pt x="545" y="260"/>
                  </a:lnTo>
                  <a:lnTo>
                    <a:pt x="545" y="260"/>
                  </a:lnTo>
                  <a:lnTo>
                    <a:pt x="700" y="322"/>
                  </a:lnTo>
                  <a:lnTo>
                    <a:pt x="796" y="359"/>
                  </a:lnTo>
                  <a:lnTo>
                    <a:pt x="844" y="377"/>
                  </a:lnTo>
                  <a:lnTo>
                    <a:pt x="857" y="381"/>
                  </a:lnTo>
                  <a:lnTo>
                    <a:pt x="675" y="213"/>
                  </a:lnTo>
                  <a:lnTo>
                    <a:pt x="0" y="0"/>
                  </a:lnTo>
                  <a:close/>
                </a:path>
              </a:pathLst>
            </a:custGeom>
            <a:solidFill>
              <a:schemeClr val="accent3">
                <a:lumMod val="75000"/>
              </a:schemeClr>
            </a:solidFill>
            <a:ln>
              <a:noFill/>
            </a:ln>
          </p:spPr>
          <p:txBody>
            <a:bodyPr vert="horz" wrap="square" lIns="91440" tIns="45720" rIns="91440" bIns="45720" numCol="1" anchor="t" anchorCtr="0" compatLnSpc="1"/>
            <a:lstStyle/>
            <a:p>
              <a:endParaRPr lang="id-ID"/>
            </a:p>
          </p:txBody>
        </p:sp>
        <p:grpSp>
          <p:nvGrpSpPr>
            <p:cNvPr id="14" name="Group 13"/>
            <p:cNvGrpSpPr/>
            <p:nvPr/>
          </p:nvGrpSpPr>
          <p:grpSpPr>
            <a:xfrm>
              <a:off x="3605999" y="1513893"/>
              <a:ext cx="1726391" cy="584967"/>
              <a:chOff x="9467850" y="3248025"/>
              <a:chExt cx="8170863" cy="2768600"/>
            </a:xfrm>
            <a:gradFill>
              <a:gsLst>
                <a:gs pos="12000">
                  <a:srgbClr val="FFC000">
                    <a:lumMod val="86000"/>
                  </a:srgbClr>
                </a:gs>
                <a:gs pos="54000">
                  <a:schemeClr val="accent5">
                    <a:lumMod val="75000"/>
                  </a:schemeClr>
                </a:gs>
                <a:gs pos="100000">
                  <a:schemeClr val="accent3">
                    <a:lumMod val="50000"/>
                  </a:schemeClr>
                </a:gs>
              </a:gsLst>
              <a:lin ang="9600000" scaled="0"/>
            </a:gradFill>
          </p:grpSpPr>
          <p:sp>
            <p:nvSpPr>
              <p:cNvPr id="23" name="Freeform 11"/>
              <p:cNvSpPr/>
              <p:nvPr/>
            </p:nvSpPr>
            <p:spPr bwMode="auto">
              <a:xfrm>
                <a:off x="16878300" y="3248025"/>
                <a:ext cx="760413" cy="919162"/>
              </a:xfrm>
              <a:custGeom>
                <a:avLst/>
                <a:gdLst>
                  <a:gd name="T0" fmla="*/ 449 w 479"/>
                  <a:gd name="T1" fmla="*/ 22 h 579"/>
                  <a:gd name="T2" fmla="*/ 294 w 479"/>
                  <a:gd name="T3" fmla="*/ 0 h 579"/>
                  <a:gd name="T4" fmla="*/ 294 w 479"/>
                  <a:gd name="T5" fmla="*/ 0 h 579"/>
                  <a:gd name="T6" fmla="*/ 267 w 479"/>
                  <a:gd name="T7" fmla="*/ 9 h 579"/>
                  <a:gd name="T8" fmla="*/ 237 w 479"/>
                  <a:gd name="T9" fmla="*/ 22 h 579"/>
                  <a:gd name="T10" fmla="*/ 204 w 479"/>
                  <a:gd name="T11" fmla="*/ 38 h 579"/>
                  <a:gd name="T12" fmla="*/ 171 w 479"/>
                  <a:gd name="T13" fmla="*/ 55 h 579"/>
                  <a:gd name="T14" fmla="*/ 156 w 479"/>
                  <a:gd name="T15" fmla="*/ 65 h 579"/>
                  <a:gd name="T16" fmla="*/ 140 w 479"/>
                  <a:gd name="T17" fmla="*/ 75 h 579"/>
                  <a:gd name="T18" fmla="*/ 125 w 479"/>
                  <a:gd name="T19" fmla="*/ 86 h 579"/>
                  <a:gd name="T20" fmla="*/ 112 w 479"/>
                  <a:gd name="T21" fmla="*/ 97 h 579"/>
                  <a:gd name="T22" fmla="*/ 99 w 479"/>
                  <a:gd name="T23" fmla="*/ 109 h 579"/>
                  <a:gd name="T24" fmla="*/ 87 w 479"/>
                  <a:gd name="T25" fmla="*/ 121 h 579"/>
                  <a:gd name="T26" fmla="*/ 77 w 479"/>
                  <a:gd name="T27" fmla="*/ 133 h 579"/>
                  <a:gd name="T28" fmla="*/ 68 w 479"/>
                  <a:gd name="T29" fmla="*/ 146 h 579"/>
                  <a:gd name="T30" fmla="*/ 68 w 479"/>
                  <a:gd name="T31" fmla="*/ 146 h 579"/>
                  <a:gd name="T32" fmla="*/ 59 w 479"/>
                  <a:gd name="T33" fmla="*/ 165 h 579"/>
                  <a:gd name="T34" fmla="*/ 50 w 479"/>
                  <a:gd name="T35" fmla="*/ 184 h 579"/>
                  <a:gd name="T36" fmla="*/ 42 w 479"/>
                  <a:gd name="T37" fmla="*/ 204 h 579"/>
                  <a:gd name="T38" fmla="*/ 35 w 479"/>
                  <a:gd name="T39" fmla="*/ 224 h 579"/>
                  <a:gd name="T40" fmla="*/ 28 w 479"/>
                  <a:gd name="T41" fmla="*/ 246 h 579"/>
                  <a:gd name="T42" fmla="*/ 23 w 479"/>
                  <a:gd name="T43" fmla="*/ 267 h 579"/>
                  <a:gd name="T44" fmla="*/ 18 w 479"/>
                  <a:gd name="T45" fmla="*/ 289 h 579"/>
                  <a:gd name="T46" fmla="*/ 14 w 479"/>
                  <a:gd name="T47" fmla="*/ 311 h 579"/>
                  <a:gd name="T48" fmla="*/ 7 w 479"/>
                  <a:gd name="T49" fmla="*/ 356 h 579"/>
                  <a:gd name="T50" fmla="*/ 3 w 479"/>
                  <a:gd name="T51" fmla="*/ 401 h 579"/>
                  <a:gd name="T52" fmla="*/ 1 w 479"/>
                  <a:gd name="T53" fmla="*/ 445 h 579"/>
                  <a:gd name="T54" fmla="*/ 0 w 479"/>
                  <a:gd name="T55" fmla="*/ 487 h 579"/>
                  <a:gd name="T56" fmla="*/ 0 w 479"/>
                  <a:gd name="T57" fmla="*/ 487 h 579"/>
                  <a:gd name="T58" fmla="*/ 182 w 479"/>
                  <a:gd name="T59" fmla="*/ 579 h 579"/>
                  <a:gd name="T60" fmla="*/ 182 w 479"/>
                  <a:gd name="T61" fmla="*/ 579 h 579"/>
                  <a:gd name="T62" fmla="*/ 225 w 479"/>
                  <a:gd name="T63" fmla="*/ 520 h 579"/>
                  <a:gd name="T64" fmla="*/ 267 w 479"/>
                  <a:gd name="T65" fmla="*/ 461 h 579"/>
                  <a:gd name="T66" fmla="*/ 306 w 479"/>
                  <a:gd name="T67" fmla="*/ 400 h 579"/>
                  <a:gd name="T68" fmla="*/ 345 w 479"/>
                  <a:gd name="T69" fmla="*/ 338 h 579"/>
                  <a:gd name="T70" fmla="*/ 381 w 479"/>
                  <a:gd name="T71" fmla="*/ 275 h 579"/>
                  <a:gd name="T72" fmla="*/ 415 w 479"/>
                  <a:gd name="T73" fmla="*/ 212 h 579"/>
                  <a:gd name="T74" fmla="*/ 448 w 479"/>
                  <a:gd name="T75" fmla="*/ 147 h 579"/>
                  <a:gd name="T76" fmla="*/ 479 w 479"/>
                  <a:gd name="T77" fmla="*/ 82 h 579"/>
                  <a:gd name="T78" fmla="*/ 449 w 479"/>
                  <a:gd name="T79" fmla="*/ 22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9" h="579">
                    <a:moveTo>
                      <a:pt x="449" y="22"/>
                    </a:moveTo>
                    <a:lnTo>
                      <a:pt x="294" y="0"/>
                    </a:lnTo>
                    <a:lnTo>
                      <a:pt x="294" y="0"/>
                    </a:lnTo>
                    <a:lnTo>
                      <a:pt x="267" y="9"/>
                    </a:lnTo>
                    <a:lnTo>
                      <a:pt x="237" y="22"/>
                    </a:lnTo>
                    <a:lnTo>
                      <a:pt x="204" y="38"/>
                    </a:lnTo>
                    <a:lnTo>
                      <a:pt x="171" y="55"/>
                    </a:lnTo>
                    <a:lnTo>
                      <a:pt x="156" y="65"/>
                    </a:lnTo>
                    <a:lnTo>
                      <a:pt x="140" y="75"/>
                    </a:lnTo>
                    <a:lnTo>
                      <a:pt x="125" y="86"/>
                    </a:lnTo>
                    <a:lnTo>
                      <a:pt x="112" y="97"/>
                    </a:lnTo>
                    <a:lnTo>
                      <a:pt x="99" y="109"/>
                    </a:lnTo>
                    <a:lnTo>
                      <a:pt x="87" y="121"/>
                    </a:lnTo>
                    <a:lnTo>
                      <a:pt x="77" y="133"/>
                    </a:lnTo>
                    <a:lnTo>
                      <a:pt x="68" y="146"/>
                    </a:lnTo>
                    <a:lnTo>
                      <a:pt x="68" y="146"/>
                    </a:lnTo>
                    <a:lnTo>
                      <a:pt x="59" y="165"/>
                    </a:lnTo>
                    <a:lnTo>
                      <a:pt x="50" y="184"/>
                    </a:lnTo>
                    <a:lnTo>
                      <a:pt x="42" y="204"/>
                    </a:lnTo>
                    <a:lnTo>
                      <a:pt x="35" y="224"/>
                    </a:lnTo>
                    <a:lnTo>
                      <a:pt x="28" y="246"/>
                    </a:lnTo>
                    <a:lnTo>
                      <a:pt x="23" y="267"/>
                    </a:lnTo>
                    <a:lnTo>
                      <a:pt x="18" y="289"/>
                    </a:lnTo>
                    <a:lnTo>
                      <a:pt x="14" y="311"/>
                    </a:lnTo>
                    <a:lnTo>
                      <a:pt x="7" y="356"/>
                    </a:lnTo>
                    <a:lnTo>
                      <a:pt x="3" y="401"/>
                    </a:lnTo>
                    <a:lnTo>
                      <a:pt x="1" y="445"/>
                    </a:lnTo>
                    <a:lnTo>
                      <a:pt x="0" y="487"/>
                    </a:lnTo>
                    <a:lnTo>
                      <a:pt x="0" y="487"/>
                    </a:lnTo>
                    <a:lnTo>
                      <a:pt x="182" y="579"/>
                    </a:lnTo>
                    <a:lnTo>
                      <a:pt x="182" y="579"/>
                    </a:lnTo>
                    <a:lnTo>
                      <a:pt x="225" y="520"/>
                    </a:lnTo>
                    <a:lnTo>
                      <a:pt x="267" y="461"/>
                    </a:lnTo>
                    <a:lnTo>
                      <a:pt x="306" y="400"/>
                    </a:lnTo>
                    <a:lnTo>
                      <a:pt x="345" y="338"/>
                    </a:lnTo>
                    <a:lnTo>
                      <a:pt x="381" y="275"/>
                    </a:lnTo>
                    <a:lnTo>
                      <a:pt x="415" y="212"/>
                    </a:lnTo>
                    <a:lnTo>
                      <a:pt x="448" y="147"/>
                    </a:lnTo>
                    <a:lnTo>
                      <a:pt x="479" y="82"/>
                    </a:lnTo>
                    <a:lnTo>
                      <a:pt x="449" y="22"/>
                    </a:lnTo>
                    <a:close/>
                  </a:path>
                </a:pathLst>
              </a:custGeom>
              <a:gradFill flip="none" rotWithShape="1">
                <a:gsLst>
                  <a:gs pos="100000">
                    <a:schemeClr val="accent1"/>
                  </a:gs>
                  <a:gs pos="0">
                    <a:schemeClr val="accent2">
                      <a:lumMod val="75000"/>
                    </a:schemeClr>
                  </a:gs>
                </a:gsLst>
                <a:lin ang="27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p>
            </p:txBody>
          </p:sp>
          <p:sp>
            <p:nvSpPr>
              <p:cNvPr id="24" name="Freeform 14"/>
              <p:cNvSpPr/>
              <p:nvPr/>
            </p:nvSpPr>
            <p:spPr bwMode="auto">
              <a:xfrm>
                <a:off x="9467850" y="3941763"/>
                <a:ext cx="1835150" cy="1535112"/>
              </a:xfrm>
              <a:custGeom>
                <a:avLst/>
                <a:gdLst>
                  <a:gd name="T0" fmla="*/ 999 w 1156"/>
                  <a:gd name="T1" fmla="*/ 967 h 967"/>
                  <a:gd name="T2" fmla="*/ 1156 w 1156"/>
                  <a:gd name="T3" fmla="*/ 774 h 967"/>
                  <a:gd name="T4" fmla="*/ 1156 w 1156"/>
                  <a:gd name="T5" fmla="*/ 774 h 967"/>
                  <a:gd name="T6" fmla="*/ 1128 w 1156"/>
                  <a:gd name="T7" fmla="*/ 707 h 967"/>
                  <a:gd name="T8" fmla="*/ 1094 w 1156"/>
                  <a:gd name="T9" fmla="*/ 632 h 967"/>
                  <a:gd name="T10" fmla="*/ 1056 w 1156"/>
                  <a:gd name="T11" fmla="*/ 552 h 967"/>
                  <a:gd name="T12" fmla="*/ 1035 w 1156"/>
                  <a:gd name="T13" fmla="*/ 511 h 967"/>
                  <a:gd name="T14" fmla="*/ 1014 w 1156"/>
                  <a:gd name="T15" fmla="*/ 470 h 967"/>
                  <a:gd name="T16" fmla="*/ 992 w 1156"/>
                  <a:gd name="T17" fmla="*/ 430 h 967"/>
                  <a:gd name="T18" fmla="*/ 969 w 1156"/>
                  <a:gd name="T19" fmla="*/ 390 h 967"/>
                  <a:gd name="T20" fmla="*/ 945 w 1156"/>
                  <a:gd name="T21" fmla="*/ 352 h 967"/>
                  <a:gd name="T22" fmla="*/ 920 w 1156"/>
                  <a:gd name="T23" fmla="*/ 315 h 967"/>
                  <a:gd name="T24" fmla="*/ 894 w 1156"/>
                  <a:gd name="T25" fmla="*/ 281 h 967"/>
                  <a:gd name="T26" fmla="*/ 869 w 1156"/>
                  <a:gd name="T27" fmla="*/ 250 h 967"/>
                  <a:gd name="T28" fmla="*/ 855 w 1156"/>
                  <a:gd name="T29" fmla="*/ 235 h 967"/>
                  <a:gd name="T30" fmla="*/ 843 w 1156"/>
                  <a:gd name="T31" fmla="*/ 222 h 967"/>
                  <a:gd name="T32" fmla="*/ 829 w 1156"/>
                  <a:gd name="T33" fmla="*/ 209 h 967"/>
                  <a:gd name="T34" fmla="*/ 816 w 1156"/>
                  <a:gd name="T35" fmla="*/ 197 h 967"/>
                  <a:gd name="T36" fmla="*/ 816 w 1156"/>
                  <a:gd name="T37" fmla="*/ 197 h 967"/>
                  <a:gd name="T38" fmla="*/ 800 w 1156"/>
                  <a:gd name="T39" fmla="*/ 185 h 967"/>
                  <a:gd name="T40" fmla="*/ 784 w 1156"/>
                  <a:gd name="T41" fmla="*/ 173 h 967"/>
                  <a:gd name="T42" fmla="*/ 768 w 1156"/>
                  <a:gd name="T43" fmla="*/ 162 h 967"/>
                  <a:gd name="T44" fmla="*/ 751 w 1156"/>
                  <a:gd name="T45" fmla="*/ 151 h 967"/>
                  <a:gd name="T46" fmla="*/ 718 w 1156"/>
                  <a:gd name="T47" fmla="*/ 131 h 967"/>
                  <a:gd name="T48" fmla="*/ 682 w 1156"/>
                  <a:gd name="T49" fmla="*/ 112 h 967"/>
                  <a:gd name="T50" fmla="*/ 646 w 1156"/>
                  <a:gd name="T51" fmla="*/ 97 h 967"/>
                  <a:gd name="T52" fmla="*/ 610 w 1156"/>
                  <a:gd name="T53" fmla="*/ 82 h 967"/>
                  <a:gd name="T54" fmla="*/ 573 w 1156"/>
                  <a:gd name="T55" fmla="*/ 69 h 967"/>
                  <a:gd name="T56" fmla="*/ 535 w 1156"/>
                  <a:gd name="T57" fmla="*/ 58 h 967"/>
                  <a:gd name="T58" fmla="*/ 498 w 1156"/>
                  <a:gd name="T59" fmla="*/ 47 h 967"/>
                  <a:gd name="T60" fmla="*/ 460 w 1156"/>
                  <a:gd name="T61" fmla="*/ 38 h 967"/>
                  <a:gd name="T62" fmla="*/ 424 w 1156"/>
                  <a:gd name="T63" fmla="*/ 30 h 967"/>
                  <a:gd name="T64" fmla="*/ 388 w 1156"/>
                  <a:gd name="T65" fmla="*/ 23 h 967"/>
                  <a:gd name="T66" fmla="*/ 317 w 1156"/>
                  <a:gd name="T67" fmla="*/ 10 h 967"/>
                  <a:gd name="T68" fmla="*/ 252 w 1156"/>
                  <a:gd name="T69" fmla="*/ 0 h 967"/>
                  <a:gd name="T70" fmla="*/ 252 w 1156"/>
                  <a:gd name="T71" fmla="*/ 0 h 967"/>
                  <a:gd name="T72" fmla="*/ 0 w 1156"/>
                  <a:gd name="T73" fmla="*/ 127 h 967"/>
                  <a:gd name="T74" fmla="*/ 0 w 1156"/>
                  <a:gd name="T75" fmla="*/ 127 h 967"/>
                  <a:gd name="T76" fmla="*/ 49 w 1156"/>
                  <a:gd name="T77" fmla="*/ 191 h 967"/>
                  <a:gd name="T78" fmla="*/ 100 w 1156"/>
                  <a:gd name="T79" fmla="*/ 254 h 967"/>
                  <a:gd name="T80" fmla="*/ 153 w 1156"/>
                  <a:gd name="T81" fmla="*/ 315 h 967"/>
                  <a:gd name="T82" fmla="*/ 208 w 1156"/>
                  <a:gd name="T83" fmla="*/ 375 h 967"/>
                  <a:gd name="T84" fmla="*/ 265 w 1156"/>
                  <a:gd name="T85" fmla="*/ 434 h 967"/>
                  <a:gd name="T86" fmla="*/ 324 w 1156"/>
                  <a:gd name="T87" fmla="*/ 491 h 967"/>
                  <a:gd name="T88" fmla="*/ 385 w 1156"/>
                  <a:gd name="T89" fmla="*/ 546 h 967"/>
                  <a:gd name="T90" fmla="*/ 447 w 1156"/>
                  <a:gd name="T91" fmla="*/ 600 h 967"/>
                  <a:gd name="T92" fmla="*/ 510 w 1156"/>
                  <a:gd name="T93" fmla="*/ 651 h 967"/>
                  <a:gd name="T94" fmla="*/ 576 w 1156"/>
                  <a:gd name="T95" fmla="*/ 702 h 967"/>
                  <a:gd name="T96" fmla="*/ 642 w 1156"/>
                  <a:gd name="T97" fmla="*/ 750 h 967"/>
                  <a:gd name="T98" fmla="*/ 711 w 1156"/>
                  <a:gd name="T99" fmla="*/ 797 h 967"/>
                  <a:gd name="T100" fmla="*/ 781 w 1156"/>
                  <a:gd name="T101" fmla="*/ 843 h 967"/>
                  <a:gd name="T102" fmla="*/ 852 w 1156"/>
                  <a:gd name="T103" fmla="*/ 886 h 967"/>
                  <a:gd name="T104" fmla="*/ 926 w 1156"/>
                  <a:gd name="T105" fmla="*/ 927 h 967"/>
                  <a:gd name="T106" fmla="*/ 999 w 1156"/>
                  <a:gd name="T107" fmla="*/ 967 h 967"/>
                  <a:gd name="T108" fmla="*/ 999 w 1156"/>
                  <a:gd name="T109" fmla="*/ 967 h 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67">
                    <a:moveTo>
                      <a:pt x="999" y="967"/>
                    </a:moveTo>
                    <a:lnTo>
                      <a:pt x="1156" y="774"/>
                    </a:lnTo>
                    <a:lnTo>
                      <a:pt x="1156" y="774"/>
                    </a:lnTo>
                    <a:lnTo>
                      <a:pt x="1128" y="707"/>
                    </a:lnTo>
                    <a:lnTo>
                      <a:pt x="1094" y="632"/>
                    </a:lnTo>
                    <a:lnTo>
                      <a:pt x="1056" y="552"/>
                    </a:lnTo>
                    <a:lnTo>
                      <a:pt x="1035" y="511"/>
                    </a:lnTo>
                    <a:lnTo>
                      <a:pt x="1014" y="470"/>
                    </a:lnTo>
                    <a:lnTo>
                      <a:pt x="992" y="430"/>
                    </a:lnTo>
                    <a:lnTo>
                      <a:pt x="969" y="390"/>
                    </a:lnTo>
                    <a:lnTo>
                      <a:pt x="945" y="352"/>
                    </a:lnTo>
                    <a:lnTo>
                      <a:pt x="920" y="315"/>
                    </a:lnTo>
                    <a:lnTo>
                      <a:pt x="894" y="281"/>
                    </a:lnTo>
                    <a:lnTo>
                      <a:pt x="869" y="250"/>
                    </a:lnTo>
                    <a:lnTo>
                      <a:pt x="855" y="235"/>
                    </a:lnTo>
                    <a:lnTo>
                      <a:pt x="843" y="222"/>
                    </a:lnTo>
                    <a:lnTo>
                      <a:pt x="829" y="209"/>
                    </a:lnTo>
                    <a:lnTo>
                      <a:pt x="816" y="197"/>
                    </a:lnTo>
                    <a:lnTo>
                      <a:pt x="816" y="197"/>
                    </a:lnTo>
                    <a:lnTo>
                      <a:pt x="800" y="185"/>
                    </a:lnTo>
                    <a:lnTo>
                      <a:pt x="784" y="173"/>
                    </a:lnTo>
                    <a:lnTo>
                      <a:pt x="768" y="162"/>
                    </a:lnTo>
                    <a:lnTo>
                      <a:pt x="751" y="151"/>
                    </a:lnTo>
                    <a:lnTo>
                      <a:pt x="718" y="131"/>
                    </a:lnTo>
                    <a:lnTo>
                      <a:pt x="682" y="112"/>
                    </a:lnTo>
                    <a:lnTo>
                      <a:pt x="646" y="97"/>
                    </a:lnTo>
                    <a:lnTo>
                      <a:pt x="610" y="82"/>
                    </a:lnTo>
                    <a:lnTo>
                      <a:pt x="573" y="69"/>
                    </a:lnTo>
                    <a:lnTo>
                      <a:pt x="535" y="58"/>
                    </a:lnTo>
                    <a:lnTo>
                      <a:pt x="498" y="47"/>
                    </a:lnTo>
                    <a:lnTo>
                      <a:pt x="460" y="38"/>
                    </a:lnTo>
                    <a:lnTo>
                      <a:pt x="424" y="30"/>
                    </a:lnTo>
                    <a:lnTo>
                      <a:pt x="388" y="23"/>
                    </a:lnTo>
                    <a:lnTo>
                      <a:pt x="317" y="10"/>
                    </a:lnTo>
                    <a:lnTo>
                      <a:pt x="252" y="0"/>
                    </a:lnTo>
                    <a:lnTo>
                      <a:pt x="252" y="0"/>
                    </a:lnTo>
                    <a:lnTo>
                      <a:pt x="0" y="127"/>
                    </a:lnTo>
                    <a:lnTo>
                      <a:pt x="0" y="127"/>
                    </a:lnTo>
                    <a:lnTo>
                      <a:pt x="49" y="191"/>
                    </a:lnTo>
                    <a:lnTo>
                      <a:pt x="100" y="254"/>
                    </a:lnTo>
                    <a:lnTo>
                      <a:pt x="153" y="315"/>
                    </a:lnTo>
                    <a:lnTo>
                      <a:pt x="208" y="375"/>
                    </a:lnTo>
                    <a:lnTo>
                      <a:pt x="265" y="434"/>
                    </a:lnTo>
                    <a:lnTo>
                      <a:pt x="324" y="491"/>
                    </a:lnTo>
                    <a:lnTo>
                      <a:pt x="385" y="546"/>
                    </a:lnTo>
                    <a:lnTo>
                      <a:pt x="447" y="600"/>
                    </a:lnTo>
                    <a:lnTo>
                      <a:pt x="510" y="651"/>
                    </a:lnTo>
                    <a:lnTo>
                      <a:pt x="576" y="702"/>
                    </a:lnTo>
                    <a:lnTo>
                      <a:pt x="642" y="750"/>
                    </a:lnTo>
                    <a:lnTo>
                      <a:pt x="711" y="797"/>
                    </a:lnTo>
                    <a:lnTo>
                      <a:pt x="781" y="843"/>
                    </a:lnTo>
                    <a:lnTo>
                      <a:pt x="852" y="886"/>
                    </a:lnTo>
                    <a:lnTo>
                      <a:pt x="926" y="927"/>
                    </a:lnTo>
                    <a:lnTo>
                      <a:pt x="999" y="967"/>
                    </a:lnTo>
                    <a:lnTo>
                      <a:pt x="999" y="967"/>
                    </a:lnTo>
                    <a:close/>
                  </a:path>
                </a:pathLst>
              </a:custGeom>
              <a:gradFill flip="none" rotWithShape="1">
                <a:gsLst>
                  <a:gs pos="100000">
                    <a:schemeClr val="accent1"/>
                  </a:gs>
                  <a:gs pos="0">
                    <a:schemeClr val="accent2"/>
                  </a:gs>
                </a:gsLst>
                <a:lin ang="27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p>
            </p:txBody>
          </p:sp>
          <p:sp>
            <p:nvSpPr>
              <p:cNvPr id="25" name="Freeform 15"/>
              <p:cNvSpPr/>
              <p:nvPr/>
            </p:nvSpPr>
            <p:spPr bwMode="auto">
              <a:xfrm>
                <a:off x="11304588" y="5205413"/>
                <a:ext cx="2054225" cy="811212"/>
              </a:xfrm>
              <a:custGeom>
                <a:avLst/>
                <a:gdLst>
                  <a:gd name="T0" fmla="*/ 155 w 1294"/>
                  <a:gd name="T1" fmla="*/ 54 h 511"/>
                  <a:gd name="T2" fmla="*/ 155 w 1294"/>
                  <a:gd name="T3" fmla="*/ 54 h 511"/>
                  <a:gd name="T4" fmla="*/ 0 w 1294"/>
                  <a:gd name="T5" fmla="*/ 245 h 511"/>
                  <a:gd name="T6" fmla="*/ 0 w 1294"/>
                  <a:gd name="T7" fmla="*/ 245 h 511"/>
                  <a:gd name="T8" fmla="*/ 73 w 1294"/>
                  <a:gd name="T9" fmla="*/ 277 h 511"/>
                  <a:gd name="T10" fmla="*/ 146 w 1294"/>
                  <a:gd name="T11" fmla="*/ 306 h 511"/>
                  <a:gd name="T12" fmla="*/ 222 w 1294"/>
                  <a:gd name="T13" fmla="*/ 333 h 511"/>
                  <a:gd name="T14" fmla="*/ 297 w 1294"/>
                  <a:gd name="T15" fmla="*/ 359 h 511"/>
                  <a:gd name="T16" fmla="*/ 374 w 1294"/>
                  <a:gd name="T17" fmla="*/ 383 h 511"/>
                  <a:gd name="T18" fmla="*/ 452 w 1294"/>
                  <a:gd name="T19" fmla="*/ 405 h 511"/>
                  <a:gd name="T20" fmla="*/ 531 w 1294"/>
                  <a:gd name="T21" fmla="*/ 424 h 511"/>
                  <a:gd name="T22" fmla="*/ 611 w 1294"/>
                  <a:gd name="T23" fmla="*/ 443 h 511"/>
                  <a:gd name="T24" fmla="*/ 690 w 1294"/>
                  <a:gd name="T25" fmla="*/ 458 h 511"/>
                  <a:gd name="T26" fmla="*/ 772 w 1294"/>
                  <a:gd name="T27" fmla="*/ 472 h 511"/>
                  <a:gd name="T28" fmla="*/ 854 w 1294"/>
                  <a:gd name="T29" fmla="*/ 484 h 511"/>
                  <a:gd name="T30" fmla="*/ 936 w 1294"/>
                  <a:gd name="T31" fmla="*/ 494 h 511"/>
                  <a:gd name="T32" fmla="*/ 1020 w 1294"/>
                  <a:gd name="T33" fmla="*/ 502 h 511"/>
                  <a:gd name="T34" fmla="*/ 1105 w 1294"/>
                  <a:gd name="T35" fmla="*/ 507 h 511"/>
                  <a:gd name="T36" fmla="*/ 1189 w 1294"/>
                  <a:gd name="T37" fmla="*/ 510 h 511"/>
                  <a:gd name="T38" fmla="*/ 1274 w 1294"/>
                  <a:gd name="T39" fmla="*/ 511 h 511"/>
                  <a:gd name="T40" fmla="*/ 1274 w 1294"/>
                  <a:gd name="T41" fmla="*/ 511 h 511"/>
                  <a:gd name="T42" fmla="*/ 1277 w 1294"/>
                  <a:gd name="T43" fmla="*/ 511 h 511"/>
                  <a:gd name="T44" fmla="*/ 1294 w 1294"/>
                  <a:gd name="T45" fmla="*/ 301 h 511"/>
                  <a:gd name="T46" fmla="*/ 1294 w 1294"/>
                  <a:gd name="T47" fmla="*/ 301 h 511"/>
                  <a:gd name="T48" fmla="*/ 1235 w 1294"/>
                  <a:gd name="T49" fmla="*/ 267 h 511"/>
                  <a:gd name="T50" fmla="*/ 1169 w 1294"/>
                  <a:gd name="T51" fmla="*/ 229 h 511"/>
                  <a:gd name="T52" fmla="*/ 1098 w 1294"/>
                  <a:gd name="T53" fmla="*/ 189 h 511"/>
                  <a:gd name="T54" fmla="*/ 1025 w 1294"/>
                  <a:gd name="T55" fmla="*/ 148 h 511"/>
                  <a:gd name="T56" fmla="*/ 987 w 1294"/>
                  <a:gd name="T57" fmla="*/ 130 h 511"/>
                  <a:gd name="T58" fmla="*/ 949 w 1294"/>
                  <a:gd name="T59" fmla="*/ 111 h 511"/>
                  <a:gd name="T60" fmla="*/ 911 w 1294"/>
                  <a:gd name="T61" fmla="*/ 93 h 511"/>
                  <a:gd name="T62" fmla="*/ 872 w 1294"/>
                  <a:gd name="T63" fmla="*/ 77 h 511"/>
                  <a:gd name="T64" fmla="*/ 834 w 1294"/>
                  <a:gd name="T65" fmla="*/ 61 h 511"/>
                  <a:gd name="T66" fmla="*/ 798 w 1294"/>
                  <a:gd name="T67" fmla="*/ 49 h 511"/>
                  <a:gd name="T68" fmla="*/ 761 w 1294"/>
                  <a:gd name="T69" fmla="*/ 37 h 511"/>
                  <a:gd name="T70" fmla="*/ 724 w 1294"/>
                  <a:gd name="T71" fmla="*/ 28 h 511"/>
                  <a:gd name="T72" fmla="*/ 724 w 1294"/>
                  <a:gd name="T73" fmla="*/ 28 h 511"/>
                  <a:gd name="T74" fmla="*/ 689 w 1294"/>
                  <a:gd name="T75" fmla="*/ 20 h 511"/>
                  <a:gd name="T76" fmla="*/ 654 w 1294"/>
                  <a:gd name="T77" fmla="*/ 14 h 511"/>
                  <a:gd name="T78" fmla="*/ 619 w 1294"/>
                  <a:gd name="T79" fmla="*/ 10 h 511"/>
                  <a:gd name="T80" fmla="*/ 585 w 1294"/>
                  <a:gd name="T81" fmla="*/ 6 h 511"/>
                  <a:gd name="T82" fmla="*/ 551 w 1294"/>
                  <a:gd name="T83" fmla="*/ 2 h 511"/>
                  <a:gd name="T84" fmla="*/ 517 w 1294"/>
                  <a:gd name="T85" fmla="*/ 1 h 511"/>
                  <a:gd name="T86" fmla="*/ 482 w 1294"/>
                  <a:gd name="T87" fmla="*/ 0 h 511"/>
                  <a:gd name="T88" fmla="*/ 448 w 1294"/>
                  <a:gd name="T89" fmla="*/ 1 h 511"/>
                  <a:gd name="T90" fmla="*/ 414 w 1294"/>
                  <a:gd name="T91" fmla="*/ 3 h 511"/>
                  <a:gd name="T92" fmla="*/ 378 w 1294"/>
                  <a:gd name="T93" fmla="*/ 7 h 511"/>
                  <a:gd name="T94" fmla="*/ 344 w 1294"/>
                  <a:gd name="T95" fmla="*/ 12 h 511"/>
                  <a:gd name="T96" fmla="*/ 307 w 1294"/>
                  <a:gd name="T97" fmla="*/ 17 h 511"/>
                  <a:gd name="T98" fmla="*/ 270 w 1294"/>
                  <a:gd name="T99" fmla="*/ 25 h 511"/>
                  <a:gd name="T100" fmla="*/ 232 w 1294"/>
                  <a:gd name="T101" fmla="*/ 33 h 511"/>
                  <a:gd name="T102" fmla="*/ 194 w 1294"/>
                  <a:gd name="T103" fmla="*/ 42 h 511"/>
                  <a:gd name="T104" fmla="*/ 155 w 1294"/>
                  <a:gd name="T105" fmla="*/ 54 h 511"/>
                  <a:gd name="T106" fmla="*/ 155 w 1294"/>
                  <a:gd name="T107" fmla="*/ 54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94" h="511">
                    <a:moveTo>
                      <a:pt x="155" y="54"/>
                    </a:moveTo>
                    <a:lnTo>
                      <a:pt x="155" y="54"/>
                    </a:lnTo>
                    <a:lnTo>
                      <a:pt x="0" y="245"/>
                    </a:lnTo>
                    <a:lnTo>
                      <a:pt x="0" y="245"/>
                    </a:lnTo>
                    <a:lnTo>
                      <a:pt x="73" y="277"/>
                    </a:lnTo>
                    <a:lnTo>
                      <a:pt x="146" y="306"/>
                    </a:lnTo>
                    <a:lnTo>
                      <a:pt x="222" y="333"/>
                    </a:lnTo>
                    <a:lnTo>
                      <a:pt x="297" y="359"/>
                    </a:lnTo>
                    <a:lnTo>
                      <a:pt x="374" y="383"/>
                    </a:lnTo>
                    <a:lnTo>
                      <a:pt x="452" y="405"/>
                    </a:lnTo>
                    <a:lnTo>
                      <a:pt x="531" y="424"/>
                    </a:lnTo>
                    <a:lnTo>
                      <a:pt x="611" y="443"/>
                    </a:lnTo>
                    <a:lnTo>
                      <a:pt x="690" y="458"/>
                    </a:lnTo>
                    <a:lnTo>
                      <a:pt x="772" y="472"/>
                    </a:lnTo>
                    <a:lnTo>
                      <a:pt x="854" y="484"/>
                    </a:lnTo>
                    <a:lnTo>
                      <a:pt x="936" y="494"/>
                    </a:lnTo>
                    <a:lnTo>
                      <a:pt x="1020" y="502"/>
                    </a:lnTo>
                    <a:lnTo>
                      <a:pt x="1105" y="507"/>
                    </a:lnTo>
                    <a:lnTo>
                      <a:pt x="1189" y="510"/>
                    </a:lnTo>
                    <a:lnTo>
                      <a:pt x="1274" y="511"/>
                    </a:lnTo>
                    <a:lnTo>
                      <a:pt x="1274" y="511"/>
                    </a:lnTo>
                    <a:lnTo>
                      <a:pt x="1277" y="511"/>
                    </a:lnTo>
                    <a:lnTo>
                      <a:pt x="1294" y="301"/>
                    </a:lnTo>
                    <a:lnTo>
                      <a:pt x="1294" y="301"/>
                    </a:lnTo>
                    <a:lnTo>
                      <a:pt x="1235" y="267"/>
                    </a:lnTo>
                    <a:lnTo>
                      <a:pt x="1169" y="229"/>
                    </a:lnTo>
                    <a:lnTo>
                      <a:pt x="1098" y="189"/>
                    </a:lnTo>
                    <a:lnTo>
                      <a:pt x="1025" y="148"/>
                    </a:lnTo>
                    <a:lnTo>
                      <a:pt x="987" y="130"/>
                    </a:lnTo>
                    <a:lnTo>
                      <a:pt x="949" y="111"/>
                    </a:lnTo>
                    <a:lnTo>
                      <a:pt x="911" y="93"/>
                    </a:lnTo>
                    <a:lnTo>
                      <a:pt x="872" y="77"/>
                    </a:lnTo>
                    <a:lnTo>
                      <a:pt x="834" y="61"/>
                    </a:lnTo>
                    <a:lnTo>
                      <a:pt x="798" y="49"/>
                    </a:lnTo>
                    <a:lnTo>
                      <a:pt x="761" y="37"/>
                    </a:lnTo>
                    <a:lnTo>
                      <a:pt x="724" y="28"/>
                    </a:lnTo>
                    <a:lnTo>
                      <a:pt x="724" y="28"/>
                    </a:lnTo>
                    <a:lnTo>
                      <a:pt x="689" y="20"/>
                    </a:lnTo>
                    <a:lnTo>
                      <a:pt x="654" y="14"/>
                    </a:lnTo>
                    <a:lnTo>
                      <a:pt x="619" y="10"/>
                    </a:lnTo>
                    <a:lnTo>
                      <a:pt x="585" y="6"/>
                    </a:lnTo>
                    <a:lnTo>
                      <a:pt x="551" y="2"/>
                    </a:lnTo>
                    <a:lnTo>
                      <a:pt x="517" y="1"/>
                    </a:lnTo>
                    <a:lnTo>
                      <a:pt x="482" y="0"/>
                    </a:lnTo>
                    <a:lnTo>
                      <a:pt x="448" y="1"/>
                    </a:lnTo>
                    <a:lnTo>
                      <a:pt x="414" y="3"/>
                    </a:lnTo>
                    <a:lnTo>
                      <a:pt x="378" y="7"/>
                    </a:lnTo>
                    <a:lnTo>
                      <a:pt x="344" y="12"/>
                    </a:lnTo>
                    <a:lnTo>
                      <a:pt x="307" y="17"/>
                    </a:lnTo>
                    <a:lnTo>
                      <a:pt x="270" y="25"/>
                    </a:lnTo>
                    <a:lnTo>
                      <a:pt x="232" y="33"/>
                    </a:lnTo>
                    <a:lnTo>
                      <a:pt x="194" y="42"/>
                    </a:lnTo>
                    <a:lnTo>
                      <a:pt x="155" y="54"/>
                    </a:lnTo>
                    <a:lnTo>
                      <a:pt x="155" y="54"/>
                    </a:lnTo>
                    <a:close/>
                  </a:path>
                </a:pathLst>
              </a:custGeom>
              <a:gradFill flip="none" rotWithShape="1">
                <a:gsLst>
                  <a:gs pos="100000">
                    <a:schemeClr val="accent1"/>
                  </a:gs>
                  <a:gs pos="0">
                    <a:schemeClr val="accent2">
                      <a:lumMod val="75000"/>
                    </a:schemeClr>
                  </a:gs>
                </a:gsLst>
                <a:lin ang="27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p>
            </p:txBody>
          </p:sp>
          <p:sp>
            <p:nvSpPr>
              <p:cNvPr id="26" name="Freeform 16"/>
              <p:cNvSpPr/>
              <p:nvPr/>
            </p:nvSpPr>
            <p:spPr bwMode="auto">
              <a:xfrm>
                <a:off x="13596938" y="5237163"/>
                <a:ext cx="1831975" cy="773112"/>
              </a:xfrm>
              <a:custGeom>
                <a:avLst/>
                <a:gdLst>
                  <a:gd name="T0" fmla="*/ 1066 w 1154"/>
                  <a:gd name="T1" fmla="*/ 26 h 487"/>
                  <a:gd name="T2" fmla="*/ 1066 w 1154"/>
                  <a:gd name="T3" fmla="*/ 26 h 487"/>
                  <a:gd name="T4" fmla="*/ 1066 w 1154"/>
                  <a:gd name="T5" fmla="*/ 26 h 487"/>
                  <a:gd name="T6" fmla="*/ 1001 w 1154"/>
                  <a:gd name="T7" fmla="*/ 17 h 487"/>
                  <a:gd name="T8" fmla="*/ 930 w 1154"/>
                  <a:gd name="T9" fmla="*/ 10 h 487"/>
                  <a:gd name="T10" fmla="*/ 854 w 1154"/>
                  <a:gd name="T11" fmla="*/ 5 h 487"/>
                  <a:gd name="T12" fmla="*/ 817 w 1154"/>
                  <a:gd name="T13" fmla="*/ 2 h 487"/>
                  <a:gd name="T14" fmla="*/ 777 w 1154"/>
                  <a:gd name="T15" fmla="*/ 1 h 487"/>
                  <a:gd name="T16" fmla="*/ 738 w 1154"/>
                  <a:gd name="T17" fmla="*/ 0 h 487"/>
                  <a:gd name="T18" fmla="*/ 698 w 1154"/>
                  <a:gd name="T19" fmla="*/ 0 h 487"/>
                  <a:gd name="T20" fmla="*/ 659 w 1154"/>
                  <a:gd name="T21" fmla="*/ 2 h 487"/>
                  <a:gd name="T22" fmla="*/ 621 w 1154"/>
                  <a:gd name="T23" fmla="*/ 5 h 487"/>
                  <a:gd name="T24" fmla="*/ 583 w 1154"/>
                  <a:gd name="T25" fmla="*/ 8 h 487"/>
                  <a:gd name="T26" fmla="*/ 546 w 1154"/>
                  <a:gd name="T27" fmla="*/ 12 h 487"/>
                  <a:gd name="T28" fmla="*/ 512 w 1154"/>
                  <a:gd name="T29" fmla="*/ 18 h 487"/>
                  <a:gd name="T30" fmla="*/ 478 w 1154"/>
                  <a:gd name="T31" fmla="*/ 26 h 487"/>
                  <a:gd name="T32" fmla="*/ 478 w 1154"/>
                  <a:gd name="T33" fmla="*/ 26 h 487"/>
                  <a:gd name="T34" fmla="*/ 446 w 1154"/>
                  <a:gd name="T35" fmla="*/ 34 h 487"/>
                  <a:gd name="T36" fmla="*/ 414 w 1154"/>
                  <a:gd name="T37" fmla="*/ 43 h 487"/>
                  <a:gd name="T38" fmla="*/ 384 w 1154"/>
                  <a:gd name="T39" fmla="*/ 54 h 487"/>
                  <a:gd name="T40" fmla="*/ 354 w 1154"/>
                  <a:gd name="T41" fmla="*/ 65 h 487"/>
                  <a:gd name="T42" fmla="*/ 325 w 1154"/>
                  <a:gd name="T43" fmla="*/ 77 h 487"/>
                  <a:gd name="T44" fmla="*/ 297 w 1154"/>
                  <a:gd name="T45" fmla="*/ 91 h 487"/>
                  <a:gd name="T46" fmla="*/ 269 w 1154"/>
                  <a:gd name="T47" fmla="*/ 104 h 487"/>
                  <a:gd name="T48" fmla="*/ 242 w 1154"/>
                  <a:gd name="T49" fmla="*/ 120 h 487"/>
                  <a:gd name="T50" fmla="*/ 214 w 1154"/>
                  <a:gd name="T51" fmla="*/ 136 h 487"/>
                  <a:gd name="T52" fmla="*/ 187 w 1154"/>
                  <a:gd name="T53" fmla="*/ 154 h 487"/>
                  <a:gd name="T54" fmla="*/ 160 w 1154"/>
                  <a:gd name="T55" fmla="*/ 172 h 487"/>
                  <a:gd name="T56" fmla="*/ 131 w 1154"/>
                  <a:gd name="T57" fmla="*/ 190 h 487"/>
                  <a:gd name="T58" fmla="*/ 75 w 1154"/>
                  <a:gd name="T59" fmla="*/ 233 h 487"/>
                  <a:gd name="T60" fmla="*/ 16 w 1154"/>
                  <a:gd name="T61" fmla="*/ 278 h 487"/>
                  <a:gd name="T62" fmla="*/ 0 w 1154"/>
                  <a:gd name="T63" fmla="*/ 487 h 487"/>
                  <a:gd name="T64" fmla="*/ 0 w 1154"/>
                  <a:gd name="T65" fmla="*/ 487 h 487"/>
                  <a:gd name="T66" fmla="*/ 78 w 1154"/>
                  <a:gd name="T67" fmla="*/ 482 h 487"/>
                  <a:gd name="T68" fmla="*/ 154 w 1154"/>
                  <a:gd name="T69" fmla="*/ 475 h 487"/>
                  <a:gd name="T70" fmla="*/ 230 w 1154"/>
                  <a:gd name="T71" fmla="*/ 467 h 487"/>
                  <a:gd name="T72" fmla="*/ 306 w 1154"/>
                  <a:gd name="T73" fmla="*/ 456 h 487"/>
                  <a:gd name="T74" fmla="*/ 380 w 1154"/>
                  <a:gd name="T75" fmla="*/ 444 h 487"/>
                  <a:gd name="T76" fmla="*/ 455 w 1154"/>
                  <a:gd name="T77" fmla="*/ 430 h 487"/>
                  <a:gd name="T78" fmla="*/ 528 w 1154"/>
                  <a:gd name="T79" fmla="*/ 414 h 487"/>
                  <a:gd name="T80" fmla="*/ 601 w 1154"/>
                  <a:gd name="T81" fmla="*/ 397 h 487"/>
                  <a:gd name="T82" fmla="*/ 673 w 1154"/>
                  <a:gd name="T83" fmla="*/ 379 h 487"/>
                  <a:gd name="T84" fmla="*/ 744 w 1154"/>
                  <a:gd name="T85" fmla="*/ 359 h 487"/>
                  <a:gd name="T86" fmla="*/ 814 w 1154"/>
                  <a:gd name="T87" fmla="*/ 337 h 487"/>
                  <a:gd name="T88" fmla="*/ 884 w 1154"/>
                  <a:gd name="T89" fmla="*/ 312 h 487"/>
                  <a:gd name="T90" fmla="*/ 953 w 1154"/>
                  <a:gd name="T91" fmla="*/ 287 h 487"/>
                  <a:gd name="T92" fmla="*/ 1021 w 1154"/>
                  <a:gd name="T93" fmla="*/ 261 h 487"/>
                  <a:gd name="T94" fmla="*/ 1088 w 1154"/>
                  <a:gd name="T95" fmla="*/ 233 h 487"/>
                  <a:gd name="T96" fmla="*/ 1154 w 1154"/>
                  <a:gd name="T97" fmla="*/ 202 h 487"/>
                  <a:gd name="T98" fmla="*/ 1066 w 1154"/>
                  <a:gd name="T99" fmla="*/ 26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4" h="487">
                    <a:moveTo>
                      <a:pt x="1066" y="26"/>
                    </a:moveTo>
                    <a:lnTo>
                      <a:pt x="1066" y="26"/>
                    </a:lnTo>
                    <a:lnTo>
                      <a:pt x="1066" y="26"/>
                    </a:lnTo>
                    <a:lnTo>
                      <a:pt x="1001" y="17"/>
                    </a:lnTo>
                    <a:lnTo>
                      <a:pt x="930" y="10"/>
                    </a:lnTo>
                    <a:lnTo>
                      <a:pt x="854" y="5"/>
                    </a:lnTo>
                    <a:lnTo>
                      <a:pt x="817" y="2"/>
                    </a:lnTo>
                    <a:lnTo>
                      <a:pt x="777" y="1"/>
                    </a:lnTo>
                    <a:lnTo>
                      <a:pt x="738" y="0"/>
                    </a:lnTo>
                    <a:lnTo>
                      <a:pt x="698" y="0"/>
                    </a:lnTo>
                    <a:lnTo>
                      <a:pt x="659" y="2"/>
                    </a:lnTo>
                    <a:lnTo>
                      <a:pt x="621" y="5"/>
                    </a:lnTo>
                    <a:lnTo>
                      <a:pt x="583" y="8"/>
                    </a:lnTo>
                    <a:lnTo>
                      <a:pt x="546" y="12"/>
                    </a:lnTo>
                    <a:lnTo>
                      <a:pt x="512" y="18"/>
                    </a:lnTo>
                    <a:lnTo>
                      <a:pt x="478" y="26"/>
                    </a:lnTo>
                    <a:lnTo>
                      <a:pt x="478" y="26"/>
                    </a:lnTo>
                    <a:lnTo>
                      <a:pt x="446" y="34"/>
                    </a:lnTo>
                    <a:lnTo>
                      <a:pt x="414" y="43"/>
                    </a:lnTo>
                    <a:lnTo>
                      <a:pt x="384" y="54"/>
                    </a:lnTo>
                    <a:lnTo>
                      <a:pt x="354" y="65"/>
                    </a:lnTo>
                    <a:lnTo>
                      <a:pt x="325" y="77"/>
                    </a:lnTo>
                    <a:lnTo>
                      <a:pt x="297" y="91"/>
                    </a:lnTo>
                    <a:lnTo>
                      <a:pt x="269" y="104"/>
                    </a:lnTo>
                    <a:lnTo>
                      <a:pt x="242" y="120"/>
                    </a:lnTo>
                    <a:lnTo>
                      <a:pt x="214" y="136"/>
                    </a:lnTo>
                    <a:lnTo>
                      <a:pt x="187" y="154"/>
                    </a:lnTo>
                    <a:lnTo>
                      <a:pt x="160" y="172"/>
                    </a:lnTo>
                    <a:lnTo>
                      <a:pt x="131" y="190"/>
                    </a:lnTo>
                    <a:lnTo>
                      <a:pt x="75" y="233"/>
                    </a:lnTo>
                    <a:lnTo>
                      <a:pt x="16" y="278"/>
                    </a:lnTo>
                    <a:lnTo>
                      <a:pt x="0" y="487"/>
                    </a:lnTo>
                    <a:lnTo>
                      <a:pt x="0" y="487"/>
                    </a:lnTo>
                    <a:lnTo>
                      <a:pt x="78" y="482"/>
                    </a:lnTo>
                    <a:lnTo>
                      <a:pt x="154" y="475"/>
                    </a:lnTo>
                    <a:lnTo>
                      <a:pt x="230" y="467"/>
                    </a:lnTo>
                    <a:lnTo>
                      <a:pt x="306" y="456"/>
                    </a:lnTo>
                    <a:lnTo>
                      <a:pt x="380" y="444"/>
                    </a:lnTo>
                    <a:lnTo>
                      <a:pt x="455" y="430"/>
                    </a:lnTo>
                    <a:lnTo>
                      <a:pt x="528" y="414"/>
                    </a:lnTo>
                    <a:lnTo>
                      <a:pt x="601" y="397"/>
                    </a:lnTo>
                    <a:lnTo>
                      <a:pt x="673" y="379"/>
                    </a:lnTo>
                    <a:lnTo>
                      <a:pt x="744" y="359"/>
                    </a:lnTo>
                    <a:lnTo>
                      <a:pt x="814" y="337"/>
                    </a:lnTo>
                    <a:lnTo>
                      <a:pt x="884" y="312"/>
                    </a:lnTo>
                    <a:lnTo>
                      <a:pt x="953" y="287"/>
                    </a:lnTo>
                    <a:lnTo>
                      <a:pt x="1021" y="261"/>
                    </a:lnTo>
                    <a:lnTo>
                      <a:pt x="1088" y="233"/>
                    </a:lnTo>
                    <a:lnTo>
                      <a:pt x="1154" y="202"/>
                    </a:lnTo>
                    <a:lnTo>
                      <a:pt x="1066" y="26"/>
                    </a:lnTo>
                    <a:close/>
                  </a:path>
                </a:pathLst>
              </a:custGeom>
              <a:gradFill flip="none" rotWithShape="1">
                <a:gsLst>
                  <a:gs pos="100000">
                    <a:schemeClr val="accent1"/>
                  </a:gs>
                  <a:gs pos="0">
                    <a:schemeClr val="accent2">
                      <a:lumMod val="75000"/>
                    </a:schemeClr>
                  </a:gs>
                </a:gsLst>
                <a:lin ang="27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p>
            </p:txBody>
          </p:sp>
          <p:sp>
            <p:nvSpPr>
              <p:cNvPr id="27" name="Freeform 17"/>
              <p:cNvSpPr/>
              <p:nvPr/>
            </p:nvSpPr>
            <p:spPr bwMode="auto">
              <a:xfrm>
                <a:off x="15498763" y="4184650"/>
                <a:ext cx="1512888" cy="1262062"/>
              </a:xfrm>
              <a:custGeom>
                <a:avLst/>
                <a:gdLst>
                  <a:gd name="T0" fmla="*/ 953 w 953"/>
                  <a:gd name="T1" fmla="*/ 113 h 795"/>
                  <a:gd name="T2" fmla="*/ 787 w 953"/>
                  <a:gd name="T3" fmla="*/ 0 h 795"/>
                  <a:gd name="T4" fmla="*/ 787 w 953"/>
                  <a:gd name="T5" fmla="*/ 0 h 795"/>
                  <a:gd name="T6" fmla="*/ 656 w 953"/>
                  <a:gd name="T7" fmla="*/ 48 h 795"/>
                  <a:gd name="T8" fmla="*/ 591 w 953"/>
                  <a:gd name="T9" fmla="*/ 71 h 795"/>
                  <a:gd name="T10" fmla="*/ 527 w 953"/>
                  <a:gd name="T11" fmla="*/ 96 h 795"/>
                  <a:gd name="T12" fmla="*/ 496 w 953"/>
                  <a:gd name="T13" fmla="*/ 110 h 795"/>
                  <a:gd name="T14" fmla="*/ 465 w 953"/>
                  <a:gd name="T15" fmla="*/ 123 h 795"/>
                  <a:gd name="T16" fmla="*/ 434 w 953"/>
                  <a:gd name="T17" fmla="*/ 138 h 795"/>
                  <a:gd name="T18" fmla="*/ 405 w 953"/>
                  <a:gd name="T19" fmla="*/ 154 h 795"/>
                  <a:gd name="T20" fmla="*/ 376 w 953"/>
                  <a:gd name="T21" fmla="*/ 169 h 795"/>
                  <a:gd name="T22" fmla="*/ 348 w 953"/>
                  <a:gd name="T23" fmla="*/ 187 h 795"/>
                  <a:gd name="T24" fmla="*/ 321 w 953"/>
                  <a:gd name="T25" fmla="*/ 205 h 795"/>
                  <a:gd name="T26" fmla="*/ 294 w 953"/>
                  <a:gd name="T27" fmla="*/ 225 h 795"/>
                  <a:gd name="T28" fmla="*/ 294 w 953"/>
                  <a:gd name="T29" fmla="*/ 225 h 795"/>
                  <a:gd name="T30" fmla="*/ 271 w 953"/>
                  <a:gd name="T31" fmla="*/ 245 h 795"/>
                  <a:gd name="T32" fmla="*/ 248 w 953"/>
                  <a:gd name="T33" fmla="*/ 267 h 795"/>
                  <a:gd name="T34" fmla="*/ 226 w 953"/>
                  <a:gd name="T35" fmla="*/ 291 h 795"/>
                  <a:gd name="T36" fmla="*/ 204 w 953"/>
                  <a:gd name="T37" fmla="*/ 317 h 795"/>
                  <a:gd name="T38" fmla="*/ 184 w 953"/>
                  <a:gd name="T39" fmla="*/ 344 h 795"/>
                  <a:gd name="T40" fmla="*/ 163 w 953"/>
                  <a:gd name="T41" fmla="*/ 371 h 795"/>
                  <a:gd name="T42" fmla="*/ 144 w 953"/>
                  <a:gd name="T43" fmla="*/ 400 h 795"/>
                  <a:gd name="T44" fmla="*/ 125 w 953"/>
                  <a:gd name="T45" fmla="*/ 428 h 795"/>
                  <a:gd name="T46" fmla="*/ 90 w 953"/>
                  <a:gd name="T47" fmla="*/ 484 h 795"/>
                  <a:gd name="T48" fmla="*/ 58 w 953"/>
                  <a:gd name="T49" fmla="*/ 536 h 795"/>
                  <a:gd name="T50" fmla="*/ 27 w 953"/>
                  <a:gd name="T51" fmla="*/ 585 h 795"/>
                  <a:gd name="T52" fmla="*/ 14 w 953"/>
                  <a:gd name="T53" fmla="*/ 604 h 795"/>
                  <a:gd name="T54" fmla="*/ 0 w 953"/>
                  <a:gd name="T55" fmla="*/ 623 h 795"/>
                  <a:gd name="T56" fmla="*/ 0 w 953"/>
                  <a:gd name="T57" fmla="*/ 623 h 795"/>
                  <a:gd name="T58" fmla="*/ 99 w 953"/>
                  <a:gd name="T59" fmla="*/ 795 h 795"/>
                  <a:gd name="T60" fmla="*/ 99 w 953"/>
                  <a:gd name="T61" fmla="*/ 795 h 795"/>
                  <a:gd name="T62" fmla="*/ 161 w 953"/>
                  <a:gd name="T63" fmla="*/ 761 h 795"/>
                  <a:gd name="T64" fmla="*/ 221 w 953"/>
                  <a:gd name="T65" fmla="*/ 726 h 795"/>
                  <a:gd name="T66" fmla="*/ 281 w 953"/>
                  <a:gd name="T67" fmla="*/ 691 h 795"/>
                  <a:gd name="T68" fmla="*/ 339 w 953"/>
                  <a:gd name="T69" fmla="*/ 653 h 795"/>
                  <a:gd name="T70" fmla="*/ 396 w 953"/>
                  <a:gd name="T71" fmla="*/ 614 h 795"/>
                  <a:gd name="T72" fmla="*/ 453 w 953"/>
                  <a:gd name="T73" fmla="*/ 574 h 795"/>
                  <a:gd name="T74" fmla="*/ 509 w 953"/>
                  <a:gd name="T75" fmla="*/ 533 h 795"/>
                  <a:gd name="T76" fmla="*/ 562 w 953"/>
                  <a:gd name="T77" fmla="*/ 491 h 795"/>
                  <a:gd name="T78" fmla="*/ 616 w 953"/>
                  <a:gd name="T79" fmla="*/ 448 h 795"/>
                  <a:gd name="T80" fmla="*/ 667 w 953"/>
                  <a:gd name="T81" fmla="*/ 403 h 795"/>
                  <a:gd name="T82" fmla="*/ 719 w 953"/>
                  <a:gd name="T83" fmla="*/ 358 h 795"/>
                  <a:gd name="T84" fmla="*/ 768 w 953"/>
                  <a:gd name="T85" fmla="*/ 310 h 795"/>
                  <a:gd name="T86" fmla="*/ 817 w 953"/>
                  <a:gd name="T87" fmla="*/ 262 h 795"/>
                  <a:gd name="T88" fmla="*/ 863 w 953"/>
                  <a:gd name="T89" fmla="*/ 214 h 795"/>
                  <a:gd name="T90" fmla="*/ 909 w 953"/>
                  <a:gd name="T91" fmla="*/ 163 h 795"/>
                  <a:gd name="T92" fmla="*/ 953 w 953"/>
                  <a:gd name="T93" fmla="*/ 113 h 795"/>
                  <a:gd name="T94" fmla="*/ 953 w 953"/>
                  <a:gd name="T95" fmla="*/ 113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3" h="795">
                    <a:moveTo>
                      <a:pt x="953" y="113"/>
                    </a:moveTo>
                    <a:lnTo>
                      <a:pt x="787" y="0"/>
                    </a:lnTo>
                    <a:lnTo>
                      <a:pt x="787" y="0"/>
                    </a:lnTo>
                    <a:lnTo>
                      <a:pt x="656" y="48"/>
                    </a:lnTo>
                    <a:lnTo>
                      <a:pt x="591" y="71"/>
                    </a:lnTo>
                    <a:lnTo>
                      <a:pt x="527" y="96"/>
                    </a:lnTo>
                    <a:lnTo>
                      <a:pt x="496" y="110"/>
                    </a:lnTo>
                    <a:lnTo>
                      <a:pt x="465" y="123"/>
                    </a:lnTo>
                    <a:lnTo>
                      <a:pt x="434" y="138"/>
                    </a:lnTo>
                    <a:lnTo>
                      <a:pt x="405" y="154"/>
                    </a:lnTo>
                    <a:lnTo>
                      <a:pt x="376" y="169"/>
                    </a:lnTo>
                    <a:lnTo>
                      <a:pt x="348" y="187"/>
                    </a:lnTo>
                    <a:lnTo>
                      <a:pt x="321" y="205"/>
                    </a:lnTo>
                    <a:lnTo>
                      <a:pt x="294" y="225"/>
                    </a:lnTo>
                    <a:lnTo>
                      <a:pt x="294" y="225"/>
                    </a:lnTo>
                    <a:lnTo>
                      <a:pt x="271" y="245"/>
                    </a:lnTo>
                    <a:lnTo>
                      <a:pt x="248" y="267"/>
                    </a:lnTo>
                    <a:lnTo>
                      <a:pt x="226" y="291"/>
                    </a:lnTo>
                    <a:lnTo>
                      <a:pt x="204" y="317"/>
                    </a:lnTo>
                    <a:lnTo>
                      <a:pt x="184" y="344"/>
                    </a:lnTo>
                    <a:lnTo>
                      <a:pt x="163" y="371"/>
                    </a:lnTo>
                    <a:lnTo>
                      <a:pt x="144" y="400"/>
                    </a:lnTo>
                    <a:lnTo>
                      <a:pt x="125" y="428"/>
                    </a:lnTo>
                    <a:lnTo>
                      <a:pt x="90" y="484"/>
                    </a:lnTo>
                    <a:lnTo>
                      <a:pt x="58" y="536"/>
                    </a:lnTo>
                    <a:lnTo>
                      <a:pt x="27" y="585"/>
                    </a:lnTo>
                    <a:lnTo>
                      <a:pt x="14" y="604"/>
                    </a:lnTo>
                    <a:lnTo>
                      <a:pt x="0" y="623"/>
                    </a:lnTo>
                    <a:lnTo>
                      <a:pt x="0" y="623"/>
                    </a:lnTo>
                    <a:lnTo>
                      <a:pt x="99" y="795"/>
                    </a:lnTo>
                    <a:lnTo>
                      <a:pt x="99" y="795"/>
                    </a:lnTo>
                    <a:lnTo>
                      <a:pt x="161" y="761"/>
                    </a:lnTo>
                    <a:lnTo>
                      <a:pt x="221" y="726"/>
                    </a:lnTo>
                    <a:lnTo>
                      <a:pt x="281" y="691"/>
                    </a:lnTo>
                    <a:lnTo>
                      <a:pt x="339" y="653"/>
                    </a:lnTo>
                    <a:lnTo>
                      <a:pt x="396" y="614"/>
                    </a:lnTo>
                    <a:lnTo>
                      <a:pt x="453" y="574"/>
                    </a:lnTo>
                    <a:lnTo>
                      <a:pt x="509" y="533"/>
                    </a:lnTo>
                    <a:lnTo>
                      <a:pt x="562" y="491"/>
                    </a:lnTo>
                    <a:lnTo>
                      <a:pt x="616" y="448"/>
                    </a:lnTo>
                    <a:lnTo>
                      <a:pt x="667" y="403"/>
                    </a:lnTo>
                    <a:lnTo>
                      <a:pt x="719" y="358"/>
                    </a:lnTo>
                    <a:lnTo>
                      <a:pt x="768" y="310"/>
                    </a:lnTo>
                    <a:lnTo>
                      <a:pt x="817" y="262"/>
                    </a:lnTo>
                    <a:lnTo>
                      <a:pt x="863" y="214"/>
                    </a:lnTo>
                    <a:lnTo>
                      <a:pt x="909" y="163"/>
                    </a:lnTo>
                    <a:lnTo>
                      <a:pt x="953" y="113"/>
                    </a:lnTo>
                    <a:lnTo>
                      <a:pt x="953" y="113"/>
                    </a:lnTo>
                    <a:close/>
                  </a:path>
                </a:pathLst>
              </a:custGeom>
              <a:gradFill flip="none" rotWithShape="1">
                <a:gsLst>
                  <a:gs pos="100000">
                    <a:schemeClr val="accent1"/>
                  </a:gs>
                  <a:gs pos="0">
                    <a:schemeClr val="accent2">
                      <a:lumMod val="75000"/>
                    </a:schemeClr>
                  </a:gs>
                </a:gsLst>
                <a:lin ang="27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p>
            </p:txBody>
          </p:sp>
        </p:grpSp>
        <p:sp>
          <p:nvSpPr>
            <p:cNvPr id="15" name="Freeform 12"/>
            <p:cNvSpPr/>
            <p:nvPr/>
          </p:nvSpPr>
          <p:spPr bwMode="auto">
            <a:xfrm>
              <a:off x="5241828" y="1521272"/>
              <a:ext cx="296173" cy="85196"/>
            </a:xfrm>
            <a:custGeom>
              <a:avLst/>
              <a:gdLst>
                <a:gd name="T0" fmla="*/ 883 w 883"/>
                <a:gd name="T1" fmla="*/ 254 h 254"/>
                <a:gd name="T2" fmla="*/ 764 w 883"/>
                <a:gd name="T3" fmla="*/ 112 h 254"/>
                <a:gd name="T4" fmla="*/ 267 w 883"/>
                <a:gd name="T5" fmla="*/ 37 h 254"/>
                <a:gd name="T6" fmla="*/ 0 w 883"/>
                <a:gd name="T7" fmla="*/ 0 h 254"/>
                <a:gd name="T8" fmla="*/ 0 w 883"/>
                <a:gd name="T9" fmla="*/ 0 h 254"/>
                <a:gd name="T10" fmla="*/ 16 w 883"/>
                <a:gd name="T11" fmla="*/ 6 h 254"/>
                <a:gd name="T12" fmla="*/ 61 w 883"/>
                <a:gd name="T13" fmla="*/ 23 h 254"/>
                <a:gd name="T14" fmla="*/ 134 w 883"/>
                <a:gd name="T15" fmla="*/ 49 h 254"/>
                <a:gd name="T16" fmla="*/ 181 w 883"/>
                <a:gd name="T17" fmla="*/ 66 h 254"/>
                <a:gd name="T18" fmla="*/ 235 w 883"/>
                <a:gd name="T19" fmla="*/ 83 h 254"/>
                <a:gd name="T20" fmla="*/ 294 w 883"/>
                <a:gd name="T21" fmla="*/ 102 h 254"/>
                <a:gd name="T22" fmla="*/ 361 w 883"/>
                <a:gd name="T23" fmla="*/ 123 h 254"/>
                <a:gd name="T24" fmla="*/ 433 w 883"/>
                <a:gd name="T25" fmla="*/ 144 h 254"/>
                <a:gd name="T26" fmla="*/ 512 w 883"/>
                <a:gd name="T27" fmla="*/ 165 h 254"/>
                <a:gd name="T28" fmla="*/ 596 w 883"/>
                <a:gd name="T29" fmla="*/ 187 h 254"/>
                <a:gd name="T30" fmla="*/ 686 w 883"/>
                <a:gd name="T31" fmla="*/ 210 h 254"/>
                <a:gd name="T32" fmla="*/ 782 w 883"/>
                <a:gd name="T33" fmla="*/ 232 h 254"/>
                <a:gd name="T34" fmla="*/ 883 w 883"/>
                <a:gd name="T35" fmla="*/ 254 h 254"/>
                <a:gd name="T36" fmla="*/ 883 w 883"/>
                <a:gd name="T3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3" h="254">
                  <a:moveTo>
                    <a:pt x="883" y="254"/>
                  </a:moveTo>
                  <a:lnTo>
                    <a:pt x="764" y="112"/>
                  </a:lnTo>
                  <a:lnTo>
                    <a:pt x="267" y="37"/>
                  </a:lnTo>
                  <a:lnTo>
                    <a:pt x="0" y="0"/>
                  </a:lnTo>
                  <a:lnTo>
                    <a:pt x="0" y="0"/>
                  </a:lnTo>
                  <a:lnTo>
                    <a:pt x="16" y="6"/>
                  </a:lnTo>
                  <a:lnTo>
                    <a:pt x="61" y="23"/>
                  </a:lnTo>
                  <a:lnTo>
                    <a:pt x="134" y="49"/>
                  </a:lnTo>
                  <a:lnTo>
                    <a:pt x="181" y="66"/>
                  </a:lnTo>
                  <a:lnTo>
                    <a:pt x="235" y="83"/>
                  </a:lnTo>
                  <a:lnTo>
                    <a:pt x="294" y="102"/>
                  </a:lnTo>
                  <a:lnTo>
                    <a:pt x="361" y="123"/>
                  </a:lnTo>
                  <a:lnTo>
                    <a:pt x="433" y="144"/>
                  </a:lnTo>
                  <a:lnTo>
                    <a:pt x="512" y="165"/>
                  </a:lnTo>
                  <a:lnTo>
                    <a:pt x="596" y="187"/>
                  </a:lnTo>
                  <a:lnTo>
                    <a:pt x="686" y="210"/>
                  </a:lnTo>
                  <a:lnTo>
                    <a:pt x="782" y="232"/>
                  </a:lnTo>
                  <a:lnTo>
                    <a:pt x="883" y="254"/>
                  </a:lnTo>
                  <a:lnTo>
                    <a:pt x="883" y="254"/>
                  </a:lnTo>
                  <a:close/>
                </a:path>
              </a:pathLst>
            </a:custGeom>
            <a:gradFill flip="none" rotWithShape="1">
              <a:gsLst>
                <a:gs pos="100000">
                  <a:schemeClr val="accent1"/>
                </a:gs>
                <a:gs pos="0">
                  <a:schemeClr val="accent2">
                    <a:lumMod val="75000"/>
                  </a:schemeClr>
                </a:gs>
              </a:gsLst>
              <a:lin ang="27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p>
          </p:txBody>
        </p:sp>
        <p:sp>
          <p:nvSpPr>
            <p:cNvPr id="16" name="Freeform 13"/>
            <p:cNvSpPr/>
            <p:nvPr/>
          </p:nvSpPr>
          <p:spPr bwMode="auto">
            <a:xfrm>
              <a:off x="5391424" y="952740"/>
              <a:ext cx="146577" cy="653728"/>
            </a:xfrm>
            <a:custGeom>
              <a:avLst/>
              <a:gdLst>
                <a:gd name="T0" fmla="*/ 23 w 437"/>
                <a:gd name="T1" fmla="*/ 0 h 1949"/>
                <a:gd name="T2" fmla="*/ 170 w 437"/>
                <a:gd name="T3" fmla="*/ 94 h 1949"/>
                <a:gd name="T4" fmla="*/ 170 w 437"/>
                <a:gd name="T5" fmla="*/ 94 h 1949"/>
                <a:gd name="T6" fmla="*/ 183 w 437"/>
                <a:gd name="T7" fmla="*/ 163 h 1949"/>
                <a:gd name="T8" fmla="*/ 217 w 437"/>
                <a:gd name="T9" fmla="*/ 346 h 1949"/>
                <a:gd name="T10" fmla="*/ 239 w 437"/>
                <a:gd name="T11" fmla="*/ 470 h 1949"/>
                <a:gd name="T12" fmla="*/ 264 w 437"/>
                <a:gd name="T13" fmla="*/ 609 h 1949"/>
                <a:gd name="T14" fmla="*/ 289 w 437"/>
                <a:gd name="T15" fmla="*/ 761 h 1949"/>
                <a:gd name="T16" fmla="*/ 313 w 437"/>
                <a:gd name="T17" fmla="*/ 919 h 1949"/>
                <a:gd name="T18" fmla="*/ 313 w 437"/>
                <a:gd name="T19" fmla="*/ 919 h 1949"/>
                <a:gd name="T20" fmla="*/ 328 w 437"/>
                <a:gd name="T21" fmla="*/ 1019 h 1949"/>
                <a:gd name="T22" fmla="*/ 341 w 437"/>
                <a:gd name="T23" fmla="*/ 1117 h 1949"/>
                <a:gd name="T24" fmla="*/ 367 w 437"/>
                <a:gd name="T25" fmla="*/ 1306 h 1949"/>
                <a:gd name="T26" fmla="*/ 388 w 437"/>
                <a:gd name="T27" fmla="*/ 1480 h 1949"/>
                <a:gd name="T28" fmla="*/ 405 w 437"/>
                <a:gd name="T29" fmla="*/ 1635 h 1949"/>
                <a:gd name="T30" fmla="*/ 419 w 437"/>
                <a:gd name="T31" fmla="*/ 1764 h 1949"/>
                <a:gd name="T32" fmla="*/ 429 w 437"/>
                <a:gd name="T33" fmla="*/ 1864 h 1949"/>
                <a:gd name="T34" fmla="*/ 437 w 437"/>
                <a:gd name="T35" fmla="*/ 1949 h 1949"/>
                <a:gd name="T36" fmla="*/ 218 w 437"/>
                <a:gd name="T37" fmla="*/ 1836 h 1949"/>
                <a:gd name="T38" fmla="*/ 0 w 437"/>
                <a:gd name="T39" fmla="*/ 606 h 1949"/>
                <a:gd name="T40" fmla="*/ 23 w 437"/>
                <a:gd name="T41" fmla="*/ 0 h 1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7" h="1949">
                  <a:moveTo>
                    <a:pt x="23" y="0"/>
                  </a:moveTo>
                  <a:lnTo>
                    <a:pt x="170" y="94"/>
                  </a:lnTo>
                  <a:lnTo>
                    <a:pt x="170" y="94"/>
                  </a:lnTo>
                  <a:lnTo>
                    <a:pt x="183" y="163"/>
                  </a:lnTo>
                  <a:lnTo>
                    <a:pt x="217" y="346"/>
                  </a:lnTo>
                  <a:lnTo>
                    <a:pt x="239" y="470"/>
                  </a:lnTo>
                  <a:lnTo>
                    <a:pt x="264" y="609"/>
                  </a:lnTo>
                  <a:lnTo>
                    <a:pt x="289" y="761"/>
                  </a:lnTo>
                  <a:lnTo>
                    <a:pt x="313" y="919"/>
                  </a:lnTo>
                  <a:lnTo>
                    <a:pt x="313" y="919"/>
                  </a:lnTo>
                  <a:lnTo>
                    <a:pt x="328" y="1019"/>
                  </a:lnTo>
                  <a:lnTo>
                    <a:pt x="341" y="1117"/>
                  </a:lnTo>
                  <a:lnTo>
                    <a:pt x="367" y="1306"/>
                  </a:lnTo>
                  <a:lnTo>
                    <a:pt x="388" y="1480"/>
                  </a:lnTo>
                  <a:lnTo>
                    <a:pt x="405" y="1635"/>
                  </a:lnTo>
                  <a:lnTo>
                    <a:pt x="419" y="1764"/>
                  </a:lnTo>
                  <a:lnTo>
                    <a:pt x="429" y="1864"/>
                  </a:lnTo>
                  <a:lnTo>
                    <a:pt x="437" y="1949"/>
                  </a:lnTo>
                  <a:lnTo>
                    <a:pt x="218" y="1836"/>
                  </a:lnTo>
                  <a:lnTo>
                    <a:pt x="0" y="606"/>
                  </a:lnTo>
                  <a:lnTo>
                    <a:pt x="23" y="0"/>
                  </a:lnTo>
                  <a:close/>
                </a:path>
              </a:pathLst>
            </a:custGeom>
            <a:gradFill flip="none" rotWithShape="1">
              <a:gsLst>
                <a:gs pos="100000">
                  <a:schemeClr val="accent1"/>
                </a:gs>
                <a:gs pos="0">
                  <a:schemeClr val="accent2">
                    <a:lumMod val="75000"/>
                  </a:schemeClr>
                </a:gs>
              </a:gsLst>
              <a:lin ang="27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p>
          </p:txBody>
        </p:sp>
        <p:grpSp>
          <p:nvGrpSpPr>
            <p:cNvPr id="17" name="Group 16"/>
            <p:cNvGrpSpPr/>
            <p:nvPr/>
          </p:nvGrpSpPr>
          <p:grpSpPr>
            <a:xfrm>
              <a:off x="3690524" y="952740"/>
              <a:ext cx="1782406" cy="1075682"/>
              <a:chOff x="9867900" y="592138"/>
              <a:chExt cx="8435975" cy="5091112"/>
            </a:xfrm>
            <a:gradFill>
              <a:gsLst>
                <a:gs pos="12000">
                  <a:srgbClr val="FFC000"/>
                </a:gs>
                <a:gs pos="54000">
                  <a:schemeClr val="accent5"/>
                </a:gs>
                <a:gs pos="100000">
                  <a:schemeClr val="accent3">
                    <a:lumMod val="75000"/>
                  </a:schemeClr>
                </a:gs>
              </a:gsLst>
              <a:lin ang="9600000" scaled="0"/>
            </a:gradFill>
          </p:grpSpPr>
          <p:sp>
            <p:nvSpPr>
              <p:cNvPr id="18" name="Freeform 18"/>
              <p:cNvSpPr/>
              <p:nvPr/>
            </p:nvSpPr>
            <p:spPr bwMode="auto">
              <a:xfrm>
                <a:off x="9867900" y="3462338"/>
                <a:ext cx="1846263" cy="1708150"/>
              </a:xfrm>
              <a:custGeom>
                <a:avLst/>
                <a:gdLst>
                  <a:gd name="T0" fmla="*/ 904 w 1163"/>
                  <a:gd name="T1" fmla="*/ 1076 h 1076"/>
                  <a:gd name="T2" fmla="*/ 1163 w 1163"/>
                  <a:gd name="T3" fmla="*/ 554 h 1076"/>
                  <a:gd name="T4" fmla="*/ 1163 w 1163"/>
                  <a:gd name="T5" fmla="*/ 554 h 1076"/>
                  <a:gd name="T6" fmla="*/ 1116 w 1163"/>
                  <a:gd name="T7" fmla="*/ 528 h 1076"/>
                  <a:gd name="T8" fmla="*/ 1072 w 1163"/>
                  <a:gd name="T9" fmla="*/ 499 h 1076"/>
                  <a:gd name="T10" fmla="*/ 1028 w 1163"/>
                  <a:gd name="T11" fmla="*/ 470 h 1076"/>
                  <a:gd name="T12" fmla="*/ 984 w 1163"/>
                  <a:gd name="T13" fmla="*/ 441 h 1076"/>
                  <a:gd name="T14" fmla="*/ 942 w 1163"/>
                  <a:gd name="T15" fmla="*/ 409 h 1076"/>
                  <a:gd name="T16" fmla="*/ 901 w 1163"/>
                  <a:gd name="T17" fmla="*/ 376 h 1076"/>
                  <a:gd name="T18" fmla="*/ 860 w 1163"/>
                  <a:gd name="T19" fmla="*/ 344 h 1076"/>
                  <a:gd name="T20" fmla="*/ 820 w 1163"/>
                  <a:gd name="T21" fmla="*/ 309 h 1076"/>
                  <a:gd name="T22" fmla="*/ 781 w 1163"/>
                  <a:gd name="T23" fmla="*/ 274 h 1076"/>
                  <a:gd name="T24" fmla="*/ 744 w 1163"/>
                  <a:gd name="T25" fmla="*/ 238 h 1076"/>
                  <a:gd name="T26" fmla="*/ 707 w 1163"/>
                  <a:gd name="T27" fmla="*/ 200 h 1076"/>
                  <a:gd name="T28" fmla="*/ 672 w 1163"/>
                  <a:gd name="T29" fmla="*/ 162 h 1076"/>
                  <a:gd name="T30" fmla="*/ 637 w 1163"/>
                  <a:gd name="T31" fmla="*/ 123 h 1076"/>
                  <a:gd name="T32" fmla="*/ 603 w 1163"/>
                  <a:gd name="T33" fmla="*/ 83 h 1076"/>
                  <a:gd name="T34" fmla="*/ 571 w 1163"/>
                  <a:gd name="T35" fmla="*/ 42 h 1076"/>
                  <a:gd name="T36" fmla="*/ 539 w 1163"/>
                  <a:gd name="T37" fmla="*/ 0 h 1076"/>
                  <a:gd name="T38" fmla="*/ 0 w 1163"/>
                  <a:gd name="T39" fmla="*/ 302 h 1076"/>
                  <a:gd name="T40" fmla="*/ 0 w 1163"/>
                  <a:gd name="T41" fmla="*/ 302 h 1076"/>
                  <a:gd name="T42" fmla="*/ 44 w 1163"/>
                  <a:gd name="T43" fmla="*/ 361 h 1076"/>
                  <a:gd name="T44" fmla="*/ 91 w 1163"/>
                  <a:gd name="T45" fmla="*/ 419 h 1076"/>
                  <a:gd name="T46" fmla="*/ 139 w 1163"/>
                  <a:gd name="T47" fmla="*/ 475 h 1076"/>
                  <a:gd name="T48" fmla="*/ 189 w 1163"/>
                  <a:gd name="T49" fmla="*/ 531 h 1076"/>
                  <a:gd name="T50" fmla="*/ 240 w 1163"/>
                  <a:gd name="T51" fmla="*/ 585 h 1076"/>
                  <a:gd name="T52" fmla="*/ 293 w 1163"/>
                  <a:gd name="T53" fmla="*/ 637 h 1076"/>
                  <a:gd name="T54" fmla="*/ 348 w 1163"/>
                  <a:gd name="T55" fmla="*/ 688 h 1076"/>
                  <a:gd name="T56" fmla="*/ 404 w 1163"/>
                  <a:gd name="T57" fmla="*/ 737 h 1076"/>
                  <a:gd name="T58" fmla="*/ 462 w 1163"/>
                  <a:gd name="T59" fmla="*/ 785 h 1076"/>
                  <a:gd name="T60" fmla="*/ 520 w 1163"/>
                  <a:gd name="T61" fmla="*/ 831 h 1076"/>
                  <a:gd name="T62" fmla="*/ 581 w 1163"/>
                  <a:gd name="T63" fmla="*/ 877 h 1076"/>
                  <a:gd name="T64" fmla="*/ 643 w 1163"/>
                  <a:gd name="T65" fmla="*/ 920 h 1076"/>
                  <a:gd name="T66" fmla="*/ 706 w 1163"/>
                  <a:gd name="T67" fmla="*/ 961 h 1076"/>
                  <a:gd name="T68" fmla="*/ 772 w 1163"/>
                  <a:gd name="T69" fmla="*/ 1001 h 1076"/>
                  <a:gd name="T70" fmla="*/ 838 w 1163"/>
                  <a:gd name="T71" fmla="*/ 1040 h 1076"/>
                  <a:gd name="T72" fmla="*/ 904 w 1163"/>
                  <a:gd name="T73" fmla="*/ 1076 h 1076"/>
                  <a:gd name="T74" fmla="*/ 904 w 1163"/>
                  <a:gd name="T75" fmla="*/ 1076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3" h="1076">
                    <a:moveTo>
                      <a:pt x="904" y="1076"/>
                    </a:moveTo>
                    <a:lnTo>
                      <a:pt x="1163" y="554"/>
                    </a:lnTo>
                    <a:lnTo>
                      <a:pt x="1163" y="554"/>
                    </a:lnTo>
                    <a:lnTo>
                      <a:pt x="1116" y="528"/>
                    </a:lnTo>
                    <a:lnTo>
                      <a:pt x="1072" y="499"/>
                    </a:lnTo>
                    <a:lnTo>
                      <a:pt x="1028" y="470"/>
                    </a:lnTo>
                    <a:lnTo>
                      <a:pt x="984" y="441"/>
                    </a:lnTo>
                    <a:lnTo>
                      <a:pt x="942" y="409"/>
                    </a:lnTo>
                    <a:lnTo>
                      <a:pt x="901" y="376"/>
                    </a:lnTo>
                    <a:lnTo>
                      <a:pt x="860" y="344"/>
                    </a:lnTo>
                    <a:lnTo>
                      <a:pt x="820" y="309"/>
                    </a:lnTo>
                    <a:lnTo>
                      <a:pt x="781" y="274"/>
                    </a:lnTo>
                    <a:lnTo>
                      <a:pt x="744" y="238"/>
                    </a:lnTo>
                    <a:lnTo>
                      <a:pt x="707" y="200"/>
                    </a:lnTo>
                    <a:lnTo>
                      <a:pt x="672" y="162"/>
                    </a:lnTo>
                    <a:lnTo>
                      <a:pt x="637" y="123"/>
                    </a:lnTo>
                    <a:lnTo>
                      <a:pt x="603" y="83"/>
                    </a:lnTo>
                    <a:lnTo>
                      <a:pt x="571" y="42"/>
                    </a:lnTo>
                    <a:lnTo>
                      <a:pt x="539" y="0"/>
                    </a:lnTo>
                    <a:lnTo>
                      <a:pt x="0" y="302"/>
                    </a:lnTo>
                    <a:lnTo>
                      <a:pt x="0" y="302"/>
                    </a:lnTo>
                    <a:lnTo>
                      <a:pt x="44" y="361"/>
                    </a:lnTo>
                    <a:lnTo>
                      <a:pt x="91" y="419"/>
                    </a:lnTo>
                    <a:lnTo>
                      <a:pt x="139" y="475"/>
                    </a:lnTo>
                    <a:lnTo>
                      <a:pt x="189" y="531"/>
                    </a:lnTo>
                    <a:lnTo>
                      <a:pt x="240" y="585"/>
                    </a:lnTo>
                    <a:lnTo>
                      <a:pt x="293" y="637"/>
                    </a:lnTo>
                    <a:lnTo>
                      <a:pt x="348" y="688"/>
                    </a:lnTo>
                    <a:lnTo>
                      <a:pt x="404" y="737"/>
                    </a:lnTo>
                    <a:lnTo>
                      <a:pt x="462" y="785"/>
                    </a:lnTo>
                    <a:lnTo>
                      <a:pt x="520" y="831"/>
                    </a:lnTo>
                    <a:lnTo>
                      <a:pt x="581" y="877"/>
                    </a:lnTo>
                    <a:lnTo>
                      <a:pt x="643" y="920"/>
                    </a:lnTo>
                    <a:lnTo>
                      <a:pt x="706" y="961"/>
                    </a:lnTo>
                    <a:lnTo>
                      <a:pt x="772" y="1001"/>
                    </a:lnTo>
                    <a:lnTo>
                      <a:pt x="838" y="1040"/>
                    </a:lnTo>
                    <a:lnTo>
                      <a:pt x="904" y="1076"/>
                    </a:lnTo>
                    <a:lnTo>
                      <a:pt x="904" y="1076"/>
                    </a:lnTo>
                    <a:close/>
                  </a:path>
                </a:pathLst>
              </a:custGeom>
              <a:gradFill flip="none" rotWithShape="1">
                <a:gsLst>
                  <a:gs pos="100000">
                    <a:schemeClr val="accent1"/>
                  </a:gs>
                  <a:gs pos="0">
                    <a:schemeClr val="accent2">
                      <a:lumMod val="75000"/>
                    </a:schemeClr>
                  </a:gs>
                </a:gsLst>
                <a:lin ang="27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p>
            </p:txBody>
          </p:sp>
          <p:sp>
            <p:nvSpPr>
              <p:cNvPr id="19" name="Freeform 19"/>
              <p:cNvSpPr/>
              <p:nvPr/>
            </p:nvSpPr>
            <p:spPr bwMode="auto">
              <a:xfrm>
                <a:off x="13371513" y="4483100"/>
                <a:ext cx="1917700" cy="1195387"/>
              </a:xfrm>
              <a:custGeom>
                <a:avLst/>
                <a:gdLst>
                  <a:gd name="T0" fmla="*/ 1208 w 1208"/>
                  <a:gd name="T1" fmla="*/ 501 h 753"/>
                  <a:gd name="T2" fmla="*/ 782 w 1208"/>
                  <a:gd name="T3" fmla="*/ 0 h 753"/>
                  <a:gd name="T4" fmla="*/ 782 w 1208"/>
                  <a:gd name="T5" fmla="*/ 0 h 753"/>
                  <a:gd name="T6" fmla="*/ 737 w 1208"/>
                  <a:gd name="T7" fmla="*/ 20 h 753"/>
                  <a:gd name="T8" fmla="*/ 691 w 1208"/>
                  <a:gd name="T9" fmla="*/ 38 h 753"/>
                  <a:gd name="T10" fmla="*/ 644 w 1208"/>
                  <a:gd name="T11" fmla="*/ 55 h 753"/>
                  <a:gd name="T12" fmla="*/ 598 w 1208"/>
                  <a:gd name="T13" fmla="*/ 72 h 753"/>
                  <a:gd name="T14" fmla="*/ 551 w 1208"/>
                  <a:gd name="T15" fmla="*/ 87 h 753"/>
                  <a:gd name="T16" fmla="*/ 502 w 1208"/>
                  <a:gd name="T17" fmla="*/ 100 h 753"/>
                  <a:gd name="T18" fmla="*/ 454 w 1208"/>
                  <a:gd name="T19" fmla="*/ 113 h 753"/>
                  <a:gd name="T20" fmla="*/ 406 w 1208"/>
                  <a:gd name="T21" fmla="*/ 124 h 753"/>
                  <a:gd name="T22" fmla="*/ 356 w 1208"/>
                  <a:gd name="T23" fmla="*/ 135 h 753"/>
                  <a:gd name="T24" fmla="*/ 307 w 1208"/>
                  <a:gd name="T25" fmla="*/ 144 h 753"/>
                  <a:gd name="T26" fmla="*/ 257 w 1208"/>
                  <a:gd name="T27" fmla="*/ 152 h 753"/>
                  <a:gd name="T28" fmla="*/ 206 w 1208"/>
                  <a:gd name="T29" fmla="*/ 159 h 753"/>
                  <a:gd name="T30" fmla="*/ 155 w 1208"/>
                  <a:gd name="T31" fmla="*/ 164 h 753"/>
                  <a:gd name="T32" fmla="*/ 103 w 1208"/>
                  <a:gd name="T33" fmla="*/ 168 h 753"/>
                  <a:gd name="T34" fmla="*/ 52 w 1208"/>
                  <a:gd name="T35" fmla="*/ 172 h 753"/>
                  <a:gd name="T36" fmla="*/ 0 w 1208"/>
                  <a:gd name="T37" fmla="*/ 173 h 753"/>
                  <a:gd name="T38" fmla="*/ 158 w 1208"/>
                  <a:gd name="T39" fmla="*/ 753 h 753"/>
                  <a:gd name="T40" fmla="*/ 158 w 1208"/>
                  <a:gd name="T41" fmla="*/ 753 h 753"/>
                  <a:gd name="T42" fmla="*/ 228 w 1208"/>
                  <a:gd name="T43" fmla="*/ 748 h 753"/>
                  <a:gd name="T44" fmla="*/ 298 w 1208"/>
                  <a:gd name="T45" fmla="*/ 743 h 753"/>
                  <a:gd name="T46" fmla="*/ 367 w 1208"/>
                  <a:gd name="T47" fmla="*/ 736 h 753"/>
                  <a:gd name="T48" fmla="*/ 435 w 1208"/>
                  <a:gd name="T49" fmla="*/ 726 h 753"/>
                  <a:gd name="T50" fmla="*/ 503 w 1208"/>
                  <a:gd name="T51" fmla="*/ 716 h 753"/>
                  <a:gd name="T52" fmla="*/ 571 w 1208"/>
                  <a:gd name="T53" fmla="*/ 703 h 753"/>
                  <a:gd name="T54" fmla="*/ 637 w 1208"/>
                  <a:gd name="T55" fmla="*/ 690 h 753"/>
                  <a:gd name="T56" fmla="*/ 703 w 1208"/>
                  <a:gd name="T57" fmla="*/ 675 h 753"/>
                  <a:gd name="T58" fmla="*/ 768 w 1208"/>
                  <a:gd name="T59" fmla="*/ 658 h 753"/>
                  <a:gd name="T60" fmla="*/ 833 w 1208"/>
                  <a:gd name="T61" fmla="*/ 639 h 753"/>
                  <a:gd name="T62" fmla="*/ 898 w 1208"/>
                  <a:gd name="T63" fmla="*/ 620 h 753"/>
                  <a:gd name="T64" fmla="*/ 962 w 1208"/>
                  <a:gd name="T65" fmla="*/ 599 h 753"/>
                  <a:gd name="T66" fmla="*/ 1024 w 1208"/>
                  <a:gd name="T67" fmla="*/ 576 h 753"/>
                  <a:gd name="T68" fmla="*/ 1086 w 1208"/>
                  <a:gd name="T69" fmla="*/ 552 h 753"/>
                  <a:gd name="T70" fmla="*/ 1147 w 1208"/>
                  <a:gd name="T71" fmla="*/ 527 h 753"/>
                  <a:gd name="T72" fmla="*/ 1208 w 1208"/>
                  <a:gd name="T73" fmla="*/ 501 h 753"/>
                  <a:gd name="T74" fmla="*/ 1208 w 1208"/>
                  <a:gd name="T75" fmla="*/ 501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8" h="753">
                    <a:moveTo>
                      <a:pt x="1208" y="501"/>
                    </a:moveTo>
                    <a:lnTo>
                      <a:pt x="782" y="0"/>
                    </a:lnTo>
                    <a:lnTo>
                      <a:pt x="782" y="0"/>
                    </a:lnTo>
                    <a:lnTo>
                      <a:pt x="737" y="20"/>
                    </a:lnTo>
                    <a:lnTo>
                      <a:pt x="691" y="38"/>
                    </a:lnTo>
                    <a:lnTo>
                      <a:pt x="644" y="55"/>
                    </a:lnTo>
                    <a:lnTo>
                      <a:pt x="598" y="72"/>
                    </a:lnTo>
                    <a:lnTo>
                      <a:pt x="551" y="87"/>
                    </a:lnTo>
                    <a:lnTo>
                      <a:pt x="502" y="100"/>
                    </a:lnTo>
                    <a:lnTo>
                      <a:pt x="454" y="113"/>
                    </a:lnTo>
                    <a:lnTo>
                      <a:pt x="406" y="124"/>
                    </a:lnTo>
                    <a:lnTo>
                      <a:pt x="356" y="135"/>
                    </a:lnTo>
                    <a:lnTo>
                      <a:pt x="307" y="144"/>
                    </a:lnTo>
                    <a:lnTo>
                      <a:pt x="257" y="152"/>
                    </a:lnTo>
                    <a:lnTo>
                      <a:pt x="206" y="159"/>
                    </a:lnTo>
                    <a:lnTo>
                      <a:pt x="155" y="164"/>
                    </a:lnTo>
                    <a:lnTo>
                      <a:pt x="103" y="168"/>
                    </a:lnTo>
                    <a:lnTo>
                      <a:pt x="52" y="172"/>
                    </a:lnTo>
                    <a:lnTo>
                      <a:pt x="0" y="173"/>
                    </a:lnTo>
                    <a:lnTo>
                      <a:pt x="158" y="753"/>
                    </a:lnTo>
                    <a:lnTo>
                      <a:pt x="158" y="753"/>
                    </a:lnTo>
                    <a:lnTo>
                      <a:pt x="228" y="748"/>
                    </a:lnTo>
                    <a:lnTo>
                      <a:pt x="298" y="743"/>
                    </a:lnTo>
                    <a:lnTo>
                      <a:pt x="367" y="736"/>
                    </a:lnTo>
                    <a:lnTo>
                      <a:pt x="435" y="726"/>
                    </a:lnTo>
                    <a:lnTo>
                      <a:pt x="503" y="716"/>
                    </a:lnTo>
                    <a:lnTo>
                      <a:pt x="571" y="703"/>
                    </a:lnTo>
                    <a:lnTo>
                      <a:pt x="637" y="690"/>
                    </a:lnTo>
                    <a:lnTo>
                      <a:pt x="703" y="675"/>
                    </a:lnTo>
                    <a:lnTo>
                      <a:pt x="768" y="658"/>
                    </a:lnTo>
                    <a:lnTo>
                      <a:pt x="833" y="639"/>
                    </a:lnTo>
                    <a:lnTo>
                      <a:pt x="898" y="620"/>
                    </a:lnTo>
                    <a:lnTo>
                      <a:pt x="962" y="599"/>
                    </a:lnTo>
                    <a:lnTo>
                      <a:pt x="1024" y="576"/>
                    </a:lnTo>
                    <a:lnTo>
                      <a:pt x="1086" y="552"/>
                    </a:lnTo>
                    <a:lnTo>
                      <a:pt x="1147" y="527"/>
                    </a:lnTo>
                    <a:lnTo>
                      <a:pt x="1208" y="501"/>
                    </a:lnTo>
                    <a:lnTo>
                      <a:pt x="1208" y="501"/>
                    </a:lnTo>
                    <a:close/>
                  </a:path>
                </a:pathLst>
              </a:custGeom>
              <a:gradFill flip="none" rotWithShape="1">
                <a:gsLst>
                  <a:gs pos="100000">
                    <a:schemeClr val="accent1"/>
                  </a:gs>
                  <a:gs pos="0">
                    <a:schemeClr val="accent2">
                      <a:lumMod val="75000"/>
                    </a:schemeClr>
                  </a:gs>
                </a:gsLst>
                <a:lin ang="27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p>
            </p:txBody>
          </p:sp>
          <p:sp>
            <p:nvSpPr>
              <p:cNvPr id="20" name="Freeform 20"/>
              <p:cNvSpPr/>
              <p:nvPr/>
            </p:nvSpPr>
            <p:spPr bwMode="auto">
              <a:xfrm>
                <a:off x="11550650" y="4429125"/>
                <a:ext cx="1808163" cy="1254125"/>
              </a:xfrm>
              <a:custGeom>
                <a:avLst/>
                <a:gdLst>
                  <a:gd name="T0" fmla="*/ 1026 w 1139"/>
                  <a:gd name="T1" fmla="*/ 206 h 790"/>
                  <a:gd name="T2" fmla="*/ 1026 w 1139"/>
                  <a:gd name="T3" fmla="*/ 206 h 790"/>
                  <a:gd name="T4" fmla="*/ 972 w 1139"/>
                  <a:gd name="T5" fmla="*/ 204 h 790"/>
                  <a:gd name="T6" fmla="*/ 917 w 1139"/>
                  <a:gd name="T7" fmla="*/ 199 h 790"/>
                  <a:gd name="T8" fmla="*/ 862 w 1139"/>
                  <a:gd name="T9" fmla="*/ 193 h 790"/>
                  <a:gd name="T10" fmla="*/ 809 w 1139"/>
                  <a:gd name="T11" fmla="*/ 187 h 790"/>
                  <a:gd name="T12" fmla="*/ 755 w 1139"/>
                  <a:gd name="T13" fmla="*/ 178 h 790"/>
                  <a:gd name="T14" fmla="*/ 703 w 1139"/>
                  <a:gd name="T15" fmla="*/ 168 h 790"/>
                  <a:gd name="T16" fmla="*/ 650 w 1139"/>
                  <a:gd name="T17" fmla="*/ 157 h 790"/>
                  <a:gd name="T18" fmla="*/ 597 w 1139"/>
                  <a:gd name="T19" fmla="*/ 145 h 790"/>
                  <a:gd name="T20" fmla="*/ 547 w 1139"/>
                  <a:gd name="T21" fmla="*/ 131 h 790"/>
                  <a:gd name="T22" fmla="*/ 496 w 1139"/>
                  <a:gd name="T23" fmla="*/ 115 h 790"/>
                  <a:gd name="T24" fmla="*/ 446 w 1139"/>
                  <a:gd name="T25" fmla="*/ 100 h 790"/>
                  <a:gd name="T26" fmla="*/ 397 w 1139"/>
                  <a:gd name="T27" fmla="*/ 82 h 790"/>
                  <a:gd name="T28" fmla="*/ 347 w 1139"/>
                  <a:gd name="T29" fmla="*/ 63 h 790"/>
                  <a:gd name="T30" fmla="*/ 299 w 1139"/>
                  <a:gd name="T31" fmla="*/ 43 h 790"/>
                  <a:gd name="T32" fmla="*/ 252 w 1139"/>
                  <a:gd name="T33" fmla="*/ 22 h 790"/>
                  <a:gd name="T34" fmla="*/ 204 w 1139"/>
                  <a:gd name="T35" fmla="*/ 0 h 790"/>
                  <a:gd name="T36" fmla="*/ 0 w 1139"/>
                  <a:gd name="T37" fmla="*/ 543 h 790"/>
                  <a:gd name="T38" fmla="*/ 0 w 1139"/>
                  <a:gd name="T39" fmla="*/ 543 h 790"/>
                  <a:gd name="T40" fmla="*/ 65 w 1139"/>
                  <a:gd name="T41" fmla="*/ 571 h 790"/>
                  <a:gd name="T42" fmla="*/ 131 w 1139"/>
                  <a:gd name="T43" fmla="*/ 598 h 790"/>
                  <a:gd name="T44" fmla="*/ 198 w 1139"/>
                  <a:gd name="T45" fmla="*/ 623 h 790"/>
                  <a:gd name="T46" fmla="*/ 266 w 1139"/>
                  <a:gd name="T47" fmla="*/ 646 h 790"/>
                  <a:gd name="T48" fmla="*/ 335 w 1139"/>
                  <a:gd name="T49" fmla="*/ 668 h 790"/>
                  <a:gd name="T50" fmla="*/ 404 w 1139"/>
                  <a:gd name="T51" fmla="*/ 688 h 790"/>
                  <a:gd name="T52" fmla="*/ 475 w 1139"/>
                  <a:gd name="T53" fmla="*/ 706 h 790"/>
                  <a:gd name="T54" fmla="*/ 546 w 1139"/>
                  <a:gd name="T55" fmla="*/ 723 h 790"/>
                  <a:gd name="T56" fmla="*/ 617 w 1139"/>
                  <a:gd name="T57" fmla="*/ 737 h 790"/>
                  <a:gd name="T58" fmla="*/ 690 w 1139"/>
                  <a:gd name="T59" fmla="*/ 751 h 790"/>
                  <a:gd name="T60" fmla="*/ 764 w 1139"/>
                  <a:gd name="T61" fmla="*/ 761 h 790"/>
                  <a:gd name="T62" fmla="*/ 837 w 1139"/>
                  <a:gd name="T63" fmla="*/ 771 h 790"/>
                  <a:gd name="T64" fmla="*/ 912 w 1139"/>
                  <a:gd name="T65" fmla="*/ 778 h 790"/>
                  <a:gd name="T66" fmla="*/ 987 w 1139"/>
                  <a:gd name="T67" fmla="*/ 785 h 790"/>
                  <a:gd name="T68" fmla="*/ 1063 w 1139"/>
                  <a:gd name="T69" fmla="*/ 788 h 790"/>
                  <a:gd name="T70" fmla="*/ 1139 w 1139"/>
                  <a:gd name="T71" fmla="*/ 790 h 790"/>
                  <a:gd name="T72" fmla="*/ 1026 w 1139"/>
                  <a:gd name="T73" fmla="*/ 206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39" h="790">
                    <a:moveTo>
                      <a:pt x="1026" y="206"/>
                    </a:moveTo>
                    <a:lnTo>
                      <a:pt x="1026" y="206"/>
                    </a:lnTo>
                    <a:lnTo>
                      <a:pt x="972" y="204"/>
                    </a:lnTo>
                    <a:lnTo>
                      <a:pt x="917" y="199"/>
                    </a:lnTo>
                    <a:lnTo>
                      <a:pt x="862" y="193"/>
                    </a:lnTo>
                    <a:lnTo>
                      <a:pt x="809" y="187"/>
                    </a:lnTo>
                    <a:lnTo>
                      <a:pt x="755" y="178"/>
                    </a:lnTo>
                    <a:lnTo>
                      <a:pt x="703" y="168"/>
                    </a:lnTo>
                    <a:lnTo>
                      <a:pt x="650" y="157"/>
                    </a:lnTo>
                    <a:lnTo>
                      <a:pt x="597" y="145"/>
                    </a:lnTo>
                    <a:lnTo>
                      <a:pt x="547" y="131"/>
                    </a:lnTo>
                    <a:lnTo>
                      <a:pt x="496" y="115"/>
                    </a:lnTo>
                    <a:lnTo>
                      <a:pt x="446" y="100"/>
                    </a:lnTo>
                    <a:lnTo>
                      <a:pt x="397" y="82"/>
                    </a:lnTo>
                    <a:lnTo>
                      <a:pt x="347" y="63"/>
                    </a:lnTo>
                    <a:lnTo>
                      <a:pt x="299" y="43"/>
                    </a:lnTo>
                    <a:lnTo>
                      <a:pt x="252" y="22"/>
                    </a:lnTo>
                    <a:lnTo>
                      <a:pt x="204" y="0"/>
                    </a:lnTo>
                    <a:lnTo>
                      <a:pt x="0" y="543"/>
                    </a:lnTo>
                    <a:lnTo>
                      <a:pt x="0" y="543"/>
                    </a:lnTo>
                    <a:lnTo>
                      <a:pt x="65" y="571"/>
                    </a:lnTo>
                    <a:lnTo>
                      <a:pt x="131" y="598"/>
                    </a:lnTo>
                    <a:lnTo>
                      <a:pt x="198" y="623"/>
                    </a:lnTo>
                    <a:lnTo>
                      <a:pt x="266" y="646"/>
                    </a:lnTo>
                    <a:lnTo>
                      <a:pt x="335" y="668"/>
                    </a:lnTo>
                    <a:lnTo>
                      <a:pt x="404" y="688"/>
                    </a:lnTo>
                    <a:lnTo>
                      <a:pt x="475" y="706"/>
                    </a:lnTo>
                    <a:lnTo>
                      <a:pt x="546" y="723"/>
                    </a:lnTo>
                    <a:lnTo>
                      <a:pt x="617" y="737"/>
                    </a:lnTo>
                    <a:lnTo>
                      <a:pt x="690" y="751"/>
                    </a:lnTo>
                    <a:lnTo>
                      <a:pt x="764" y="761"/>
                    </a:lnTo>
                    <a:lnTo>
                      <a:pt x="837" y="771"/>
                    </a:lnTo>
                    <a:lnTo>
                      <a:pt x="912" y="778"/>
                    </a:lnTo>
                    <a:lnTo>
                      <a:pt x="987" y="785"/>
                    </a:lnTo>
                    <a:lnTo>
                      <a:pt x="1063" y="788"/>
                    </a:lnTo>
                    <a:lnTo>
                      <a:pt x="1139" y="790"/>
                    </a:lnTo>
                    <a:lnTo>
                      <a:pt x="1026" y="206"/>
                    </a:lnTo>
                    <a:close/>
                  </a:path>
                </a:pathLst>
              </a:custGeom>
              <a:gradFill flip="none" rotWithShape="1">
                <a:gsLst>
                  <a:gs pos="100000">
                    <a:schemeClr val="accent1"/>
                  </a:gs>
                  <a:gs pos="0">
                    <a:schemeClr val="accent2">
                      <a:lumMod val="75000"/>
                    </a:schemeClr>
                  </a:gs>
                </a:gsLst>
                <a:lin ang="27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p>
            </p:txBody>
          </p:sp>
          <p:sp>
            <p:nvSpPr>
              <p:cNvPr id="21" name="Freeform 21"/>
              <p:cNvSpPr/>
              <p:nvPr/>
            </p:nvSpPr>
            <p:spPr bwMode="auto">
              <a:xfrm>
                <a:off x="14774863" y="3695700"/>
                <a:ext cx="1973263" cy="1477962"/>
              </a:xfrm>
              <a:custGeom>
                <a:avLst/>
                <a:gdLst>
                  <a:gd name="T0" fmla="*/ 1243 w 1243"/>
                  <a:gd name="T1" fmla="*/ 308 h 931"/>
                  <a:gd name="T2" fmla="*/ 580 w 1243"/>
                  <a:gd name="T3" fmla="*/ 0 h 931"/>
                  <a:gd name="T4" fmla="*/ 580 w 1243"/>
                  <a:gd name="T5" fmla="*/ 0 h 931"/>
                  <a:gd name="T6" fmla="*/ 548 w 1243"/>
                  <a:gd name="T7" fmla="*/ 34 h 931"/>
                  <a:gd name="T8" fmla="*/ 517 w 1243"/>
                  <a:gd name="T9" fmla="*/ 68 h 931"/>
                  <a:gd name="T10" fmla="*/ 485 w 1243"/>
                  <a:gd name="T11" fmla="*/ 100 h 931"/>
                  <a:gd name="T12" fmla="*/ 452 w 1243"/>
                  <a:gd name="T13" fmla="*/ 132 h 931"/>
                  <a:gd name="T14" fmla="*/ 418 w 1243"/>
                  <a:gd name="T15" fmla="*/ 162 h 931"/>
                  <a:gd name="T16" fmla="*/ 384 w 1243"/>
                  <a:gd name="T17" fmla="*/ 193 h 931"/>
                  <a:gd name="T18" fmla="*/ 348 w 1243"/>
                  <a:gd name="T19" fmla="*/ 222 h 931"/>
                  <a:gd name="T20" fmla="*/ 312 w 1243"/>
                  <a:gd name="T21" fmla="*/ 250 h 931"/>
                  <a:gd name="T22" fmla="*/ 275 w 1243"/>
                  <a:gd name="T23" fmla="*/ 278 h 931"/>
                  <a:gd name="T24" fmla="*/ 238 w 1243"/>
                  <a:gd name="T25" fmla="*/ 305 h 931"/>
                  <a:gd name="T26" fmla="*/ 200 w 1243"/>
                  <a:gd name="T27" fmla="*/ 330 h 931"/>
                  <a:gd name="T28" fmla="*/ 161 w 1243"/>
                  <a:gd name="T29" fmla="*/ 356 h 931"/>
                  <a:gd name="T30" fmla="*/ 122 w 1243"/>
                  <a:gd name="T31" fmla="*/ 381 h 931"/>
                  <a:gd name="T32" fmla="*/ 82 w 1243"/>
                  <a:gd name="T33" fmla="*/ 404 h 931"/>
                  <a:gd name="T34" fmla="*/ 41 w 1243"/>
                  <a:gd name="T35" fmla="*/ 426 h 931"/>
                  <a:gd name="T36" fmla="*/ 0 w 1243"/>
                  <a:gd name="T37" fmla="*/ 448 h 931"/>
                  <a:gd name="T38" fmla="*/ 456 w 1243"/>
                  <a:gd name="T39" fmla="*/ 931 h 931"/>
                  <a:gd name="T40" fmla="*/ 456 w 1243"/>
                  <a:gd name="T41" fmla="*/ 931 h 931"/>
                  <a:gd name="T42" fmla="*/ 513 w 1243"/>
                  <a:gd name="T43" fmla="*/ 901 h 931"/>
                  <a:gd name="T44" fmla="*/ 568 w 1243"/>
                  <a:gd name="T45" fmla="*/ 869 h 931"/>
                  <a:gd name="T46" fmla="*/ 623 w 1243"/>
                  <a:gd name="T47" fmla="*/ 836 h 931"/>
                  <a:gd name="T48" fmla="*/ 677 w 1243"/>
                  <a:gd name="T49" fmla="*/ 802 h 931"/>
                  <a:gd name="T50" fmla="*/ 729 w 1243"/>
                  <a:gd name="T51" fmla="*/ 767 h 931"/>
                  <a:gd name="T52" fmla="*/ 782 w 1243"/>
                  <a:gd name="T53" fmla="*/ 731 h 931"/>
                  <a:gd name="T54" fmla="*/ 832 w 1243"/>
                  <a:gd name="T55" fmla="*/ 693 h 931"/>
                  <a:gd name="T56" fmla="*/ 882 w 1243"/>
                  <a:gd name="T57" fmla="*/ 655 h 931"/>
                  <a:gd name="T58" fmla="*/ 931 w 1243"/>
                  <a:gd name="T59" fmla="*/ 615 h 931"/>
                  <a:gd name="T60" fmla="*/ 979 w 1243"/>
                  <a:gd name="T61" fmla="*/ 574 h 931"/>
                  <a:gd name="T62" fmla="*/ 1026 w 1243"/>
                  <a:gd name="T63" fmla="*/ 532 h 931"/>
                  <a:gd name="T64" fmla="*/ 1072 w 1243"/>
                  <a:gd name="T65" fmla="*/ 490 h 931"/>
                  <a:gd name="T66" fmla="*/ 1116 w 1243"/>
                  <a:gd name="T67" fmla="*/ 446 h 931"/>
                  <a:gd name="T68" fmla="*/ 1159 w 1243"/>
                  <a:gd name="T69" fmla="*/ 401 h 931"/>
                  <a:gd name="T70" fmla="*/ 1202 w 1243"/>
                  <a:gd name="T71" fmla="*/ 356 h 931"/>
                  <a:gd name="T72" fmla="*/ 1243 w 1243"/>
                  <a:gd name="T73" fmla="*/ 308 h 931"/>
                  <a:gd name="T74" fmla="*/ 1243 w 1243"/>
                  <a:gd name="T75" fmla="*/ 308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3" h="931">
                    <a:moveTo>
                      <a:pt x="1243" y="308"/>
                    </a:moveTo>
                    <a:lnTo>
                      <a:pt x="580" y="0"/>
                    </a:lnTo>
                    <a:lnTo>
                      <a:pt x="580" y="0"/>
                    </a:lnTo>
                    <a:lnTo>
                      <a:pt x="548" y="34"/>
                    </a:lnTo>
                    <a:lnTo>
                      <a:pt x="517" y="68"/>
                    </a:lnTo>
                    <a:lnTo>
                      <a:pt x="485" y="100"/>
                    </a:lnTo>
                    <a:lnTo>
                      <a:pt x="452" y="132"/>
                    </a:lnTo>
                    <a:lnTo>
                      <a:pt x="418" y="162"/>
                    </a:lnTo>
                    <a:lnTo>
                      <a:pt x="384" y="193"/>
                    </a:lnTo>
                    <a:lnTo>
                      <a:pt x="348" y="222"/>
                    </a:lnTo>
                    <a:lnTo>
                      <a:pt x="312" y="250"/>
                    </a:lnTo>
                    <a:lnTo>
                      <a:pt x="275" y="278"/>
                    </a:lnTo>
                    <a:lnTo>
                      <a:pt x="238" y="305"/>
                    </a:lnTo>
                    <a:lnTo>
                      <a:pt x="200" y="330"/>
                    </a:lnTo>
                    <a:lnTo>
                      <a:pt x="161" y="356"/>
                    </a:lnTo>
                    <a:lnTo>
                      <a:pt x="122" y="381"/>
                    </a:lnTo>
                    <a:lnTo>
                      <a:pt x="82" y="404"/>
                    </a:lnTo>
                    <a:lnTo>
                      <a:pt x="41" y="426"/>
                    </a:lnTo>
                    <a:lnTo>
                      <a:pt x="0" y="448"/>
                    </a:lnTo>
                    <a:lnTo>
                      <a:pt x="456" y="931"/>
                    </a:lnTo>
                    <a:lnTo>
                      <a:pt x="456" y="931"/>
                    </a:lnTo>
                    <a:lnTo>
                      <a:pt x="513" y="901"/>
                    </a:lnTo>
                    <a:lnTo>
                      <a:pt x="568" y="869"/>
                    </a:lnTo>
                    <a:lnTo>
                      <a:pt x="623" y="836"/>
                    </a:lnTo>
                    <a:lnTo>
                      <a:pt x="677" y="802"/>
                    </a:lnTo>
                    <a:lnTo>
                      <a:pt x="729" y="767"/>
                    </a:lnTo>
                    <a:lnTo>
                      <a:pt x="782" y="731"/>
                    </a:lnTo>
                    <a:lnTo>
                      <a:pt x="832" y="693"/>
                    </a:lnTo>
                    <a:lnTo>
                      <a:pt x="882" y="655"/>
                    </a:lnTo>
                    <a:lnTo>
                      <a:pt x="931" y="615"/>
                    </a:lnTo>
                    <a:lnTo>
                      <a:pt x="979" y="574"/>
                    </a:lnTo>
                    <a:lnTo>
                      <a:pt x="1026" y="532"/>
                    </a:lnTo>
                    <a:lnTo>
                      <a:pt x="1072" y="490"/>
                    </a:lnTo>
                    <a:lnTo>
                      <a:pt x="1116" y="446"/>
                    </a:lnTo>
                    <a:lnTo>
                      <a:pt x="1159" y="401"/>
                    </a:lnTo>
                    <a:lnTo>
                      <a:pt x="1202" y="356"/>
                    </a:lnTo>
                    <a:lnTo>
                      <a:pt x="1243" y="308"/>
                    </a:lnTo>
                    <a:lnTo>
                      <a:pt x="1243" y="308"/>
                    </a:lnTo>
                    <a:close/>
                  </a:path>
                </a:pathLst>
              </a:custGeom>
              <a:gradFill flip="none" rotWithShape="1">
                <a:gsLst>
                  <a:gs pos="100000">
                    <a:schemeClr val="accent1"/>
                  </a:gs>
                  <a:gs pos="0">
                    <a:schemeClr val="accent2">
                      <a:lumMod val="75000"/>
                    </a:schemeClr>
                  </a:gs>
                </a:gsLst>
                <a:lin ang="27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p>
            </p:txBody>
          </p:sp>
          <p:sp>
            <p:nvSpPr>
              <p:cNvPr id="22" name="Freeform 22"/>
              <p:cNvSpPr/>
              <p:nvPr/>
            </p:nvSpPr>
            <p:spPr bwMode="auto">
              <a:xfrm>
                <a:off x="15760700" y="592138"/>
                <a:ext cx="2543175" cy="3429000"/>
              </a:xfrm>
              <a:custGeom>
                <a:avLst/>
                <a:gdLst>
                  <a:gd name="T0" fmla="*/ 1602 w 1602"/>
                  <a:gd name="T1" fmla="*/ 1847 h 2160"/>
                  <a:gd name="T2" fmla="*/ 1382 w 1602"/>
                  <a:gd name="T3" fmla="*/ 0 h 2160"/>
                  <a:gd name="T4" fmla="*/ 1382 w 1602"/>
                  <a:gd name="T5" fmla="*/ 0 h 2160"/>
                  <a:gd name="T6" fmla="*/ 1372 w 1602"/>
                  <a:gd name="T7" fmla="*/ 14 h 2160"/>
                  <a:gd name="T8" fmla="*/ 1343 w 1602"/>
                  <a:gd name="T9" fmla="*/ 51 h 2160"/>
                  <a:gd name="T10" fmla="*/ 1294 w 1602"/>
                  <a:gd name="T11" fmla="*/ 115 h 2160"/>
                  <a:gd name="T12" fmla="*/ 1223 w 1602"/>
                  <a:gd name="T13" fmla="*/ 202 h 2160"/>
                  <a:gd name="T14" fmla="*/ 1133 w 1602"/>
                  <a:gd name="T15" fmla="*/ 310 h 2160"/>
                  <a:gd name="T16" fmla="*/ 1079 w 1602"/>
                  <a:gd name="T17" fmla="*/ 373 h 2160"/>
                  <a:gd name="T18" fmla="*/ 1019 w 1602"/>
                  <a:gd name="T19" fmla="*/ 441 h 2160"/>
                  <a:gd name="T20" fmla="*/ 955 w 1602"/>
                  <a:gd name="T21" fmla="*/ 515 h 2160"/>
                  <a:gd name="T22" fmla="*/ 885 w 1602"/>
                  <a:gd name="T23" fmla="*/ 594 h 2160"/>
                  <a:gd name="T24" fmla="*/ 808 w 1602"/>
                  <a:gd name="T25" fmla="*/ 677 h 2160"/>
                  <a:gd name="T26" fmla="*/ 726 w 1602"/>
                  <a:gd name="T27" fmla="*/ 765 h 2160"/>
                  <a:gd name="T28" fmla="*/ 726 w 1602"/>
                  <a:gd name="T29" fmla="*/ 765 h 2160"/>
                  <a:gd name="T30" fmla="*/ 659 w 1602"/>
                  <a:gd name="T31" fmla="*/ 837 h 2160"/>
                  <a:gd name="T32" fmla="*/ 592 w 1602"/>
                  <a:gd name="T33" fmla="*/ 908 h 2160"/>
                  <a:gd name="T34" fmla="*/ 460 w 1602"/>
                  <a:gd name="T35" fmla="*/ 1043 h 2160"/>
                  <a:gd name="T36" fmla="*/ 337 w 1602"/>
                  <a:gd name="T37" fmla="*/ 1167 h 2160"/>
                  <a:gd name="T38" fmla="*/ 228 w 1602"/>
                  <a:gd name="T39" fmla="*/ 1277 h 2160"/>
                  <a:gd name="T40" fmla="*/ 135 w 1602"/>
                  <a:gd name="T41" fmla="*/ 1368 h 2160"/>
                  <a:gd name="T42" fmla="*/ 63 w 1602"/>
                  <a:gd name="T43" fmla="*/ 1437 h 2160"/>
                  <a:gd name="T44" fmla="*/ 0 w 1602"/>
                  <a:gd name="T45" fmla="*/ 1497 h 2160"/>
                  <a:gd name="T46" fmla="*/ 229 w 1602"/>
                  <a:gd name="T47" fmla="*/ 1563 h 2160"/>
                  <a:gd name="T48" fmla="*/ 229 w 1602"/>
                  <a:gd name="T49" fmla="*/ 1563 h 2160"/>
                  <a:gd name="T50" fmla="*/ 207 w 1602"/>
                  <a:gd name="T51" fmla="*/ 1604 h 2160"/>
                  <a:gd name="T52" fmla="*/ 185 w 1602"/>
                  <a:gd name="T53" fmla="*/ 1644 h 2160"/>
                  <a:gd name="T54" fmla="*/ 161 w 1602"/>
                  <a:gd name="T55" fmla="*/ 1683 h 2160"/>
                  <a:gd name="T56" fmla="*/ 137 w 1602"/>
                  <a:gd name="T57" fmla="*/ 1722 h 2160"/>
                  <a:gd name="T58" fmla="*/ 111 w 1602"/>
                  <a:gd name="T59" fmla="*/ 1761 h 2160"/>
                  <a:gd name="T60" fmla="*/ 84 w 1602"/>
                  <a:gd name="T61" fmla="*/ 1799 h 2160"/>
                  <a:gd name="T62" fmla="*/ 57 w 1602"/>
                  <a:gd name="T63" fmla="*/ 1836 h 2160"/>
                  <a:gd name="T64" fmla="*/ 29 w 1602"/>
                  <a:gd name="T65" fmla="*/ 1871 h 2160"/>
                  <a:gd name="T66" fmla="*/ 705 w 1602"/>
                  <a:gd name="T67" fmla="*/ 2160 h 2160"/>
                  <a:gd name="T68" fmla="*/ 705 w 1602"/>
                  <a:gd name="T69" fmla="*/ 2160 h 2160"/>
                  <a:gd name="T70" fmla="*/ 745 w 1602"/>
                  <a:gd name="T71" fmla="*/ 2109 h 2160"/>
                  <a:gd name="T72" fmla="*/ 783 w 1602"/>
                  <a:gd name="T73" fmla="*/ 2055 h 2160"/>
                  <a:gd name="T74" fmla="*/ 819 w 1602"/>
                  <a:gd name="T75" fmla="*/ 2002 h 2160"/>
                  <a:gd name="T76" fmla="*/ 853 w 1602"/>
                  <a:gd name="T77" fmla="*/ 1947 h 2160"/>
                  <a:gd name="T78" fmla="*/ 887 w 1602"/>
                  <a:gd name="T79" fmla="*/ 1891 h 2160"/>
                  <a:gd name="T80" fmla="*/ 918 w 1602"/>
                  <a:gd name="T81" fmla="*/ 1835 h 2160"/>
                  <a:gd name="T82" fmla="*/ 949 w 1602"/>
                  <a:gd name="T83" fmla="*/ 1777 h 2160"/>
                  <a:gd name="T84" fmla="*/ 978 w 1602"/>
                  <a:gd name="T85" fmla="*/ 1719 h 2160"/>
                  <a:gd name="T86" fmla="*/ 1602 w 1602"/>
                  <a:gd name="T87" fmla="*/ 1847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02" h="2160">
                    <a:moveTo>
                      <a:pt x="1602" y="1847"/>
                    </a:moveTo>
                    <a:lnTo>
                      <a:pt x="1382" y="0"/>
                    </a:lnTo>
                    <a:lnTo>
                      <a:pt x="1382" y="0"/>
                    </a:lnTo>
                    <a:lnTo>
                      <a:pt x="1372" y="14"/>
                    </a:lnTo>
                    <a:lnTo>
                      <a:pt x="1343" y="51"/>
                    </a:lnTo>
                    <a:lnTo>
                      <a:pt x="1294" y="115"/>
                    </a:lnTo>
                    <a:lnTo>
                      <a:pt x="1223" y="202"/>
                    </a:lnTo>
                    <a:lnTo>
                      <a:pt x="1133" y="310"/>
                    </a:lnTo>
                    <a:lnTo>
                      <a:pt x="1079" y="373"/>
                    </a:lnTo>
                    <a:lnTo>
                      <a:pt x="1019" y="441"/>
                    </a:lnTo>
                    <a:lnTo>
                      <a:pt x="955" y="515"/>
                    </a:lnTo>
                    <a:lnTo>
                      <a:pt x="885" y="594"/>
                    </a:lnTo>
                    <a:lnTo>
                      <a:pt x="808" y="677"/>
                    </a:lnTo>
                    <a:lnTo>
                      <a:pt x="726" y="765"/>
                    </a:lnTo>
                    <a:lnTo>
                      <a:pt x="726" y="765"/>
                    </a:lnTo>
                    <a:lnTo>
                      <a:pt x="659" y="837"/>
                    </a:lnTo>
                    <a:lnTo>
                      <a:pt x="592" y="908"/>
                    </a:lnTo>
                    <a:lnTo>
                      <a:pt x="460" y="1043"/>
                    </a:lnTo>
                    <a:lnTo>
                      <a:pt x="337" y="1167"/>
                    </a:lnTo>
                    <a:lnTo>
                      <a:pt x="228" y="1277"/>
                    </a:lnTo>
                    <a:lnTo>
                      <a:pt x="135" y="1368"/>
                    </a:lnTo>
                    <a:lnTo>
                      <a:pt x="63" y="1437"/>
                    </a:lnTo>
                    <a:lnTo>
                      <a:pt x="0" y="1497"/>
                    </a:lnTo>
                    <a:lnTo>
                      <a:pt x="229" y="1563"/>
                    </a:lnTo>
                    <a:lnTo>
                      <a:pt x="229" y="1563"/>
                    </a:lnTo>
                    <a:lnTo>
                      <a:pt x="207" y="1604"/>
                    </a:lnTo>
                    <a:lnTo>
                      <a:pt x="185" y="1644"/>
                    </a:lnTo>
                    <a:lnTo>
                      <a:pt x="161" y="1683"/>
                    </a:lnTo>
                    <a:lnTo>
                      <a:pt x="137" y="1722"/>
                    </a:lnTo>
                    <a:lnTo>
                      <a:pt x="111" y="1761"/>
                    </a:lnTo>
                    <a:lnTo>
                      <a:pt x="84" y="1799"/>
                    </a:lnTo>
                    <a:lnTo>
                      <a:pt x="57" y="1836"/>
                    </a:lnTo>
                    <a:lnTo>
                      <a:pt x="29" y="1871"/>
                    </a:lnTo>
                    <a:lnTo>
                      <a:pt x="705" y="2160"/>
                    </a:lnTo>
                    <a:lnTo>
                      <a:pt x="705" y="2160"/>
                    </a:lnTo>
                    <a:lnTo>
                      <a:pt x="745" y="2109"/>
                    </a:lnTo>
                    <a:lnTo>
                      <a:pt x="783" y="2055"/>
                    </a:lnTo>
                    <a:lnTo>
                      <a:pt x="819" y="2002"/>
                    </a:lnTo>
                    <a:lnTo>
                      <a:pt x="853" y="1947"/>
                    </a:lnTo>
                    <a:lnTo>
                      <a:pt x="887" y="1891"/>
                    </a:lnTo>
                    <a:lnTo>
                      <a:pt x="918" y="1835"/>
                    </a:lnTo>
                    <a:lnTo>
                      <a:pt x="949" y="1777"/>
                    </a:lnTo>
                    <a:lnTo>
                      <a:pt x="978" y="1719"/>
                    </a:lnTo>
                    <a:lnTo>
                      <a:pt x="1602" y="1847"/>
                    </a:lnTo>
                    <a:close/>
                  </a:path>
                </a:pathLst>
              </a:custGeom>
              <a:gradFill flip="none" rotWithShape="1">
                <a:gsLst>
                  <a:gs pos="100000">
                    <a:schemeClr val="accent1"/>
                  </a:gs>
                  <a:gs pos="0">
                    <a:schemeClr val="accent2">
                      <a:lumMod val="75000"/>
                    </a:schemeClr>
                  </a:gs>
                </a:gsLst>
                <a:lin ang="27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p>
            </p:txBody>
          </p:sp>
        </p:grpSp>
      </p:grpSp>
      <p:sp>
        <p:nvSpPr>
          <p:cNvPr id="43" name="Oval 42"/>
          <p:cNvSpPr/>
          <p:nvPr/>
        </p:nvSpPr>
        <p:spPr>
          <a:xfrm>
            <a:off x="4482381" y="2224874"/>
            <a:ext cx="2059046" cy="2059046"/>
          </a:xfrm>
          <a:prstGeom prst="ellipse">
            <a:avLst/>
          </a:prstGeom>
          <a:solidFill>
            <a:schemeClr val="bg1">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9" name="Group 48"/>
          <p:cNvGrpSpPr/>
          <p:nvPr/>
        </p:nvGrpSpPr>
        <p:grpSpPr>
          <a:xfrm>
            <a:off x="4492755" y="2757487"/>
            <a:ext cx="2038298" cy="993820"/>
            <a:chOff x="5004744" y="2891428"/>
            <a:chExt cx="2038298" cy="993820"/>
          </a:xfrm>
        </p:grpSpPr>
        <p:sp>
          <p:nvSpPr>
            <p:cNvPr id="47" name="Title 1"/>
            <p:cNvSpPr txBox="1"/>
            <p:nvPr/>
          </p:nvSpPr>
          <p:spPr>
            <a:xfrm>
              <a:off x="5004744" y="2891428"/>
              <a:ext cx="2038298"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r>
                <a:rPr lang="en-US" sz="5400" b="1" spc="-150" dirty="0">
                  <a:solidFill>
                    <a:schemeClr val="accent2"/>
                  </a:solidFill>
                  <a:latin typeface="Playfair Display" panose="00000500000000000000" pitchFamily="2" charset="0"/>
                  <a:ea typeface="Open Sans" panose="020B0606030504020204" pitchFamily="34" charset="0"/>
                  <a:cs typeface="Lato" panose="020F0502020204030203" pitchFamily="34" charset="0"/>
                </a:rPr>
                <a:t>56 %</a:t>
              </a:r>
              <a:endParaRPr lang="en-US" sz="5400" b="1" spc="-150" dirty="0">
                <a:solidFill>
                  <a:schemeClr val="accent2"/>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48" name="Text Placeholder 2"/>
            <p:cNvSpPr txBox="1"/>
            <p:nvPr/>
          </p:nvSpPr>
          <p:spPr>
            <a:xfrm>
              <a:off x="5262669" y="3539685"/>
              <a:ext cx="1522448" cy="345563"/>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d-ID" sz="1400" dirty="0">
                  <a:solidFill>
                    <a:schemeClr val="tx1">
                      <a:lumMod val="85000"/>
                      <a:lumOff val="15000"/>
                    </a:schemeClr>
                  </a:solidFill>
                  <a:latin typeface="+mn-lt"/>
                  <a:ea typeface="Open Sans" panose="020B0606030504020204" pitchFamily="34" charset="0"/>
                  <a:cs typeface="Open Sans" panose="020B0606030504020204" pitchFamily="34" charset="0"/>
                </a:rPr>
                <a:t>STRATEGY</a:t>
              </a:r>
              <a:endParaRPr lang="id-ID" sz="1400" dirty="0">
                <a:solidFill>
                  <a:schemeClr val="tx1">
                    <a:lumMod val="85000"/>
                    <a:lumOff val="15000"/>
                  </a:schemeClr>
                </a:solidFill>
                <a:latin typeface="+mn-lt"/>
                <a:ea typeface="Open Sans" panose="020B0606030504020204" pitchFamily="34" charset="0"/>
                <a:cs typeface="Open Sans" panose="020B0606030504020204" pitchFamily="34" charset="0"/>
              </a:endParaRPr>
            </a:p>
          </p:txBody>
        </p:sp>
      </p:grpSp>
      <p:sp>
        <p:nvSpPr>
          <p:cNvPr id="55" name="TextBox 54"/>
          <p:cNvSpPr txBox="1"/>
          <p:nvPr/>
        </p:nvSpPr>
        <p:spPr>
          <a:xfrm>
            <a:off x="8982122" y="1757258"/>
            <a:ext cx="1431482" cy="677108"/>
          </a:xfrm>
          <a:prstGeom prst="rect">
            <a:avLst/>
          </a:prstGeom>
          <a:noFill/>
        </p:spPr>
        <p:txBody>
          <a:bodyPr wrap="none" lIns="0" tIns="0" rIns="0" bIns="0" rtlCol="0" anchor="t">
            <a:spAutoFit/>
          </a:bodyPr>
          <a:lstStyle/>
          <a:p>
            <a:r>
              <a:rPr lang="en-US" sz="4400" b="1" spc="-150" dirty="0">
                <a:solidFill>
                  <a:schemeClr val="accent2"/>
                </a:solidFill>
                <a:latin typeface="Playfair Display" panose="00000500000000000000" pitchFamily="2" charset="0"/>
                <a:ea typeface="Roboto" panose="02000000000000000000" pitchFamily="2" charset="0"/>
                <a:cs typeface="Lato" panose="020F0502020204030203" pitchFamily="34" charset="0"/>
              </a:rPr>
              <a:t>$1500</a:t>
            </a:r>
            <a:endParaRPr lang="en-US" sz="4400" b="1" spc="-150" dirty="0">
              <a:solidFill>
                <a:schemeClr val="accent2"/>
              </a:solidFill>
              <a:latin typeface="Playfair Display" panose="00000500000000000000" pitchFamily="2" charset="0"/>
              <a:ea typeface="Roboto" panose="02000000000000000000" pitchFamily="2" charset="0"/>
              <a:cs typeface="Lato" panose="020F0502020204030203" pitchFamily="34" charset="0"/>
            </a:endParaRPr>
          </a:p>
        </p:txBody>
      </p:sp>
      <p:cxnSp>
        <p:nvCxnSpPr>
          <p:cNvPr id="59" name="Straight Connector 58"/>
          <p:cNvCxnSpPr/>
          <p:nvPr/>
        </p:nvCxnSpPr>
        <p:spPr>
          <a:xfrm>
            <a:off x="8982122" y="2897945"/>
            <a:ext cx="269439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1217069" y="4794660"/>
            <a:ext cx="2488147" cy="1143903"/>
          </a:xfrm>
          <a:prstGeom prst="rect">
            <a:avLst/>
          </a:prstGeom>
          <a:noFill/>
        </p:spPr>
        <p:txBody>
          <a:bodyPr wrap="square" rtlCol="0">
            <a:spAutoFit/>
          </a:bodyPr>
          <a:lstStyle/>
          <a:p>
            <a:pPr marL="285750" indent="-285750">
              <a:spcBef>
                <a:spcPts val="400"/>
              </a:spcBef>
              <a:buFont typeface="Arial" panose="020B0604020202020204" pitchFamily="34" charset="0"/>
              <a:buChar char="•"/>
            </a:pPr>
            <a:r>
              <a:rPr lang="en-US" sz="1050" dirty="0">
                <a:solidFill>
                  <a:schemeClr val="tx1">
                    <a:lumMod val="85000"/>
                    <a:lumOff val="15000"/>
                  </a:schemeClr>
                </a:solidFill>
                <a:latin typeface="+mj-lt"/>
              </a:rPr>
              <a:t>2000 MB Bandwidth</a:t>
            </a:r>
            <a:endParaRPr lang="en-US" sz="1050" dirty="0">
              <a:solidFill>
                <a:schemeClr val="tx1">
                  <a:lumMod val="85000"/>
                  <a:lumOff val="15000"/>
                </a:schemeClr>
              </a:solidFill>
              <a:latin typeface="+mj-lt"/>
            </a:endParaRPr>
          </a:p>
          <a:p>
            <a:pPr marL="285750" indent="-285750">
              <a:spcBef>
                <a:spcPts val="400"/>
              </a:spcBef>
              <a:buFont typeface="Arial" panose="020B0604020202020204" pitchFamily="34" charset="0"/>
              <a:buChar char="•"/>
            </a:pPr>
            <a:r>
              <a:rPr lang="en-US" sz="1050" dirty="0">
                <a:solidFill>
                  <a:schemeClr val="tx1">
                    <a:lumMod val="85000"/>
                    <a:lumOff val="15000"/>
                  </a:schemeClr>
                </a:solidFill>
                <a:latin typeface="+mj-lt"/>
              </a:rPr>
              <a:t>5 GB Space</a:t>
            </a:r>
            <a:endParaRPr lang="en-US" sz="1050" dirty="0">
              <a:solidFill>
                <a:schemeClr val="tx1">
                  <a:lumMod val="85000"/>
                  <a:lumOff val="15000"/>
                </a:schemeClr>
              </a:solidFill>
              <a:latin typeface="+mj-lt"/>
            </a:endParaRPr>
          </a:p>
          <a:p>
            <a:pPr marL="285750" indent="-285750">
              <a:spcBef>
                <a:spcPts val="400"/>
              </a:spcBef>
              <a:buFont typeface="Arial" panose="020B0604020202020204" pitchFamily="34" charset="0"/>
              <a:buChar char="•"/>
            </a:pPr>
            <a:r>
              <a:rPr lang="en-US" sz="1050" dirty="0">
                <a:solidFill>
                  <a:schemeClr val="tx1">
                    <a:lumMod val="85000"/>
                    <a:lumOff val="15000"/>
                  </a:schemeClr>
                </a:solidFill>
                <a:latin typeface="+mj-lt"/>
              </a:rPr>
              <a:t>Unlimited User</a:t>
            </a:r>
            <a:endParaRPr lang="en-US" sz="1050" dirty="0">
              <a:solidFill>
                <a:schemeClr val="tx1">
                  <a:lumMod val="85000"/>
                  <a:lumOff val="15000"/>
                </a:schemeClr>
              </a:solidFill>
              <a:latin typeface="+mj-lt"/>
            </a:endParaRPr>
          </a:p>
          <a:p>
            <a:pPr marL="285750" indent="-285750">
              <a:spcBef>
                <a:spcPts val="400"/>
              </a:spcBef>
              <a:buFont typeface="Arial" panose="020B0604020202020204" pitchFamily="34" charset="0"/>
              <a:buChar char="•"/>
            </a:pPr>
            <a:r>
              <a:rPr lang="en-US" sz="1050" dirty="0">
                <a:solidFill>
                  <a:schemeClr val="tx1">
                    <a:lumMod val="85000"/>
                    <a:lumOff val="15000"/>
                  </a:schemeClr>
                </a:solidFill>
                <a:latin typeface="+mj-lt"/>
              </a:rPr>
              <a:t>Unlimited Accounts</a:t>
            </a:r>
            <a:endParaRPr lang="en-US" sz="1050" dirty="0">
              <a:solidFill>
                <a:schemeClr val="tx1">
                  <a:lumMod val="85000"/>
                  <a:lumOff val="15000"/>
                </a:schemeClr>
              </a:solidFill>
              <a:latin typeface="+mj-lt"/>
            </a:endParaRPr>
          </a:p>
          <a:p>
            <a:pPr marL="285750" indent="-285750">
              <a:spcBef>
                <a:spcPts val="400"/>
              </a:spcBef>
              <a:buFont typeface="Arial" panose="020B0604020202020204" pitchFamily="34" charset="0"/>
              <a:buChar char="•"/>
            </a:pPr>
            <a:r>
              <a:rPr lang="en-US" sz="1050" dirty="0">
                <a:solidFill>
                  <a:schemeClr val="tx1">
                    <a:lumMod val="85000"/>
                    <a:lumOff val="15000"/>
                  </a:schemeClr>
                </a:solidFill>
                <a:latin typeface="+mj-lt"/>
              </a:rPr>
              <a:t>2000 MB Bandwidth</a:t>
            </a:r>
            <a:endParaRPr lang="en-US" sz="1050" dirty="0">
              <a:solidFill>
                <a:schemeClr val="tx1">
                  <a:lumMod val="85000"/>
                  <a:lumOff val="15000"/>
                </a:schemeClr>
              </a:solidFill>
              <a:latin typeface="+mj-lt"/>
            </a:endParaRPr>
          </a:p>
        </p:txBody>
      </p:sp>
      <p:sp>
        <p:nvSpPr>
          <p:cNvPr id="66" name="Rectangle 65"/>
          <p:cNvSpPr/>
          <p:nvPr/>
        </p:nvSpPr>
        <p:spPr>
          <a:xfrm>
            <a:off x="8984994" y="3130276"/>
            <a:ext cx="203352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en-US"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Lead Developer</a:t>
            </a:r>
            <a:endParaRPr lang="en-US"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67" name="Rectangle 66"/>
          <p:cNvSpPr/>
          <p:nvPr/>
        </p:nvSpPr>
        <p:spPr>
          <a:xfrm>
            <a:off x="8984995" y="3418991"/>
            <a:ext cx="2387302" cy="461665"/>
          </a:xfrm>
          <a:prstGeom prst="rect">
            <a:avLst/>
          </a:prstGeom>
        </p:spPr>
        <p:txBody>
          <a:bodyPr wrap="square">
            <a:spAutoFit/>
          </a:bodyPr>
          <a:lstStyle/>
          <a:p>
            <a:r>
              <a:rPr lang="id-ID" sz="1200" dirty="0">
                <a:solidFill>
                  <a:schemeClr val="tx1">
                    <a:lumMod val="85000"/>
                    <a:lumOff val="15000"/>
                  </a:schemeClr>
                </a:solidFill>
                <a:latin typeface="+mj-lt"/>
                <a:ea typeface="Open Sans Light" panose="020B0306030504020204" pitchFamily="34" charset="0"/>
                <a:cs typeface="Open Sans Light" panose="020B0306030504020204" pitchFamily="34" charset="0"/>
              </a:rPr>
              <a:t>CEO, Founder</a:t>
            </a:r>
            <a:endParaRPr lang="id-ID" sz="1200" dirty="0">
              <a:solidFill>
                <a:schemeClr val="tx1">
                  <a:lumMod val="85000"/>
                  <a:lumOff val="15000"/>
                </a:schemeClr>
              </a:solidFill>
              <a:latin typeface="+mj-lt"/>
              <a:ea typeface="Open Sans Light" panose="020B0306030504020204" pitchFamily="34" charset="0"/>
              <a:cs typeface="Open Sans Light" panose="020B0306030504020204" pitchFamily="34" charset="0"/>
            </a:endParaRPr>
          </a:p>
          <a:p>
            <a:r>
              <a:rPr lang="id-ID" sz="1200" dirty="0">
                <a:solidFill>
                  <a:schemeClr val="tx1">
                    <a:lumMod val="85000"/>
                    <a:lumOff val="15000"/>
                  </a:schemeClr>
                </a:solidFill>
                <a:latin typeface="+mj-lt"/>
                <a:ea typeface="Open Sans Light" panose="020B0306030504020204" pitchFamily="34" charset="0"/>
                <a:cs typeface="Open Sans Light" panose="020B0306030504020204" pitchFamily="34" charset="0"/>
              </a:rPr>
              <a:t>BEST PRODUCT</a:t>
            </a:r>
            <a:endParaRPr lang="id-ID" sz="1200" dirty="0">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68" name="Rectangle 67"/>
          <p:cNvSpPr/>
          <p:nvPr/>
        </p:nvSpPr>
        <p:spPr>
          <a:xfrm>
            <a:off x="8984995" y="3880655"/>
            <a:ext cx="1851283" cy="600164"/>
          </a:xfrm>
          <a:prstGeom prst="rect">
            <a:avLst/>
          </a:prstGeom>
        </p:spPr>
        <p:txBody>
          <a:bodyPr wrap="square">
            <a:spAutoFit/>
          </a:bodyPr>
          <a:lstStyle/>
          <a:p>
            <a:r>
              <a:rPr lang="id-ID" sz="1100" dirty="0">
                <a:solidFill>
                  <a:schemeClr val="tx1">
                    <a:lumMod val="85000"/>
                    <a:lumOff val="15000"/>
                  </a:schemeClr>
                </a:solidFill>
                <a:latin typeface="+mj-lt"/>
                <a:ea typeface="Open Sans Light" panose="020B0306030504020204" pitchFamily="34" charset="0"/>
                <a:cs typeface="Open Sans Light" panose="020B0306030504020204" pitchFamily="34" charset="0"/>
              </a:rPr>
              <a:t>It’s using to make Your look good and awesome in Your Audiences view. </a:t>
            </a:r>
            <a:endParaRPr lang="en-US" sz="1100" dirty="0">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71" name="Rectangle 70"/>
          <p:cNvSpPr/>
          <p:nvPr/>
        </p:nvSpPr>
        <p:spPr>
          <a:xfrm>
            <a:off x="8982122" y="2434366"/>
            <a:ext cx="1039067" cy="307777"/>
          </a:xfrm>
          <a:prstGeom prst="rect">
            <a:avLst/>
          </a:prstGeom>
        </p:spPr>
        <p:txBody>
          <a:bodyPr wrap="none">
            <a:spAutoFit/>
          </a:bodyPr>
          <a:lstStyle/>
          <a:p>
            <a:r>
              <a:rPr lang="en-US" sz="1400" dirty="0">
                <a:solidFill>
                  <a:schemeClr val="tx1">
                    <a:lumMod val="85000"/>
                    <a:lumOff val="15000"/>
                  </a:schemeClr>
                </a:solidFill>
                <a:latin typeface="Playfair Display" panose="00000500000000000000" pitchFamily="2" charset="0"/>
                <a:ea typeface="Roboto" panose="02000000000000000000" pitchFamily="2" charset="0"/>
                <a:cs typeface="Lato" panose="020F0502020204030203" pitchFamily="34" charset="0"/>
              </a:rPr>
              <a:t>Per Month</a:t>
            </a:r>
            <a:endParaRPr lang="en-US" sz="1400" dirty="0">
              <a:solidFill>
                <a:schemeClr val="tx1">
                  <a:lumMod val="85000"/>
                  <a:lumOff val="15000"/>
                </a:schemeClr>
              </a:solidFill>
              <a:latin typeface="Playfair Display" panose="00000500000000000000" pitchFamily="2" charset="0"/>
              <a:ea typeface="Roboto" panose="02000000000000000000" pitchFamily="2" charset="0"/>
              <a:cs typeface="Lato" panose="020F0502020204030203" pitchFamily="34" charset="0"/>
            </a:endParaRPr>
          </a:p>
        </p:txBody>
      </p:sp>
      <p:cxnSp>
        <p:nvCxnSpPr>
          <p:cNvPr id="73" name="Straight Connector 72"/>
          <p:cNvCxnSpPr/>
          <p:nvPr/>
        </p:nvCxnSpPr>
        <p:spPr>
          <a:xfrm>
            <a:off x="1071464" y="3391118"/>
            <a:ext cx="0" cy="2641382"/>
          </a:xfrm>
          <a:prstGeom prst="line">
            <a:avLst/>
          </a:prstGeom>
        </p:spPr>
        <p:style>
          <a:lnRef idx="1">
            <a:schemeClr val="accent1"/>
          </a:lnRef>
          <a:fillRef idx="0">
            <a:schemeClr val="accent1"/>
          </a:fillRef>
          <a:effectRef idx="0">
            <a:schemeClr val="accent1"/>
          </a:effectRef>
          <a:fontRef idx="minor">
            <a:schemeClr val="tx1"/>
          </a:fontRef>
        </p:style>
      </p:cxnSp>
      <p:sp>
        <p:nvSpPr>
          <p:cNvPr id="65" name="Oval 64"/>
          <p:cNvSpPr/>
          <p:nvPr/>
        </p:nvSpPr>
        <p:spPr>
          <a:xfrm>
            <a:off x="558351" y="3656263"/>
            <a:ext cx="1003503" cy="1003503"/>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85%</a:t>
            </a:r>
            <a:endParaRPr lang="en-US" b="1"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a:p>
            <a:pPr algn="ctr"/>
            <a:r>
              <a:rPr lang="en-US" sz="1000"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rPr>
              <a:t>DESIGN</a:t>
            </a:r>
            <a:endParaRPr lang="en-US" sz="1000" dirty="0">
              <a:solidFill>
                <a:schemeClr val="tx1">
                  <a:lumMod val="85000"/>
                  <a:lumOff val="15000"/>
                </a:schemeClr>
              </a:solidFill>
              <a:latin typeface="Playfair Display" panose="00000500000000000000" pitchFamily="2" charset="0"/>
              <a:ea typeface="Open Sans" panose="020B0606030504020204" pitchFamily="34" charset="0"/>
              <a:cs typeface="Lato" panose="020F0502020204030203" pitchFamily="34" charset="0"/>
            </a:endParaRPr>
          </a:p>
        </p:txBody>
      </p:sp>
    </p:spTree>
  </p:cSld>
  <p:clrMapOvr>
    <a:masterClrMapping/>
  </p:clrMapOvr>
  <p:transition spd="slow" advClick="0" advTm="0">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占位符 13"/>
          <p:cNvPicPr>
            <a:picLocks noGrp="1" noChangeAspect="1"/>
          </p:cNvPicPr>
          <p:nvPr>
            <p:ph type="pic" sz="quarter" idx="13"/>
          </p:nvPr>
        </p:nvPicPr>
        <p:blipFill>
          <a:blip r:embed="rId1" cstate="screen"/>
          <a:srcRect/>
          <a:stretch>
            <a:fillRect/>
          </a:stretch>
        </p:blipFill>
        <p:spPr>
          <a:solidFill>
            <a:schemeClr val="bg1">
              <a:lumMod val="85000"/>
            </a:schemeClr>
          </a:solidFill>
        </p:spPr>
      </p:pic>
      <p:sp>
        <p:nvSpPr>
          <p:cNvPr id="3" name="Title 1"/>
          <p:cNvSpPr txBox="1"/>
          <p:nvPr/>
        </p:nvSpPr>
        <p:spPr>
          <a:xfrm>
            <a:off x="904902" y="644336"/>
            <a:ext cx="4352898"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pitchFamily="34" charset="0"/>
              </a:defRPr>
            </a:lvl1pPr>
            <a:lvl2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ea typeface="ヒラギノ角ゴ ProN W3" charset="0"/>
                <a:cs typeface="ヒラギノ角ゴ ProN W3" charset="0"/>
                <a:sym typeface="Calibri" panose="020F0502020204030204" pitchFamily="34" charset="0"/>
              </a:defRPr>
            </a:lvl9pPr>
          </a:lstStyle>
          <a:p>
            <a:pPr algn="l"/>
            <a:r>
              <a:rPr lang="en-US" sz="3600" b="1" spc="-151" dirty="0">
                <a:solidFill>
                  <a:schemeClr val="accent2"/>
                </a:solidFill>
                <a:latin typeface="Playfair Display" panose="00000500000000000000" pitchFamily="2" charset="0"/>
                <a:ea typeface="Open Sans" panose="020B0606030504020204" pitchFamily="34" charset="0"/>
                <a:cs typeface="Lato" panose="020F0502020204030203" pitchFamily="34" charset="0"/>
              </a:rPr>
              <a:t>What We Do</a:t>
            </a:r>
            <a:endParaRPr lang="en-US" sz="3600" b="1" spc="-151" dirty="0">
              <a:solidFill>
                <a:schemeClr val="accent2"/>
              </a:solidFill>
              <a:latin typeface="Playfair Display" panose="00000500000000000000" pitchFamily="2" charset="0"/>
              <a:ea typeface="Open Sans" panose="020B0606030504020204" pitchFamily="34" charset="0"/>
              <a:cs typeface="Lato" panose="020F0502020204030203" pitchFamily="34" charset="0"/>
            </a:endParaRPr>
          </a:p>
        </p:txBody>
      </p:sp>
      <p:sp>
        <p:nvSpPr>
          <p:cNvPr id="4" name="Rectangle 3"/>
          <p:cNvSpPr/>
          <p:nvPr/>
        </p:nvSpPr>
        <p:spPr>
          <a:xfrm>
            <a:off x="958692" y="1290667"/>
            <a:ext cx="2156010" cy="261610"/>
          </a:xfrm>
          <a:prstGeom prst="rect">
            <a:avLst/>
          </a:prstGeom>
        </p:spPr>
        <p:txBody>
          <a:bodyPr wrap="square">
            <a:spAutoFit/>
          </a:bodyPr>
          <a:lstStyle/>
          <a:p>
            <a:pPr>
              <a:buClr>
                <a:srgbClr val="E24848"/>
              </a:buClr>
              <a:defRPr/>
            </a:pPr>
            <a:r>
              <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rPr>
              <a:t>Insert  Your Great Subtitle Here</a:t>
            </a:r>
            <a:endParaRPr lang="en-US" sz="110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cxnSp>
        <p:nvCxnSpPr>
          <p:cNvPr id="45" name="Straight Connector 44"/>
          <p:cNvCxnSpPr/>
          <p:nvPr/>
        </p:nvCxnSpPr>
        <p:spPr>
          <a:xfrm>
            <a:off x="10608468" y="6427003"/>
            <a:ext cx="0" cy="1690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75F62417-4A12-46BB-B530-A96D3E44AFD3}" type="slidenum">
              <a:rPr lang="en-US" smtClean="0"/>
            </a:fld>
            <a:endParaRPr lang="en-US"/>
          </a:p>
        </p:txBody>
      </p:sp>
      <p:sp>
        <p:nvSpPr>
          <p:cNvPr id="5" name="Rectangle 4"/>
          <p:cNvSpPr/>
          <p:nvPr/>
        </p:nvSpPr>
        <p:spPr>
          <a:xfrm>
            <a:off x="556160" y="2048742"/>
            <a:ext cx="2691740" cy="2679914"/>
          </a:xfrm>
          <a:prstGeom prst="rect">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
          <p:cNvSpPr txBox="1"/>
          <p:nvPr/>
        </p:nvSpPr>
        <p:spPr>
          <a:xfrm>
            <a:off x="901405" y="3213484"/>
            <a:ext cx="1760588" cy="337619"/>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1800" b="1" dirty="0">
                <a:solidFill>
                  <a:schemeClr val="tx1">
                    <a:lumMod val="85000"/>
                    <a:lumOff val="15000"/>
                  </a:schemeClr>
                </a:solidFill>
                <a:latin typeface="Playfair Display" panose="00000500000000000000" pitchFamily="2" charset="0"/>
                <a:ea typeface="Open Sans Light" panose="020B0306030504020204" pitchFamily="34" charset="0"/>
                <a:cs typeface="Lato" panose="020F0502020204030203" pitchFamily="34" charset="0"/>
              </a:rPr>
              <a:t>PRODUCK 1</a:t>
            </a:r>
            <a:endParaRPr lang="en-US" sz="1800" b="1" dirty="0">
              <a:solidFill>
                <a:schemeClr val="tx1">
                  <a:lumMod val="85000"/>
                  <a:lumOff val="15000"/>
                </a:schemeClr>
              </a:solidFill>
              <a:latin typeface="Playfair Display" panose="00000500000000000000" pitchFamily="2" charset="0"/>
              <a:ea typeface="Open Sans Light" panose="020B0306030504020204" pitchFamily="34" charset="0"/>
              <a:cs typeface="Lato" panose="020F0502020204030203" pitchFamily="34" charset="0"/>
            </a:endParaRPr>
          </a:p>
        </p:txBody>
      </p:sp>
      <p:sp>
        <p:nvSpPr>
          <p:cNvPr id="10" name="Rectangle 9"/>
          <p:cNvSpPr/>
          <p:nvPr/>
        </p:nvSpPr>
        <p:spPr>
          <a:xfrm>
            <a:off x="901405" y="2892160"/>
            <a:ext cx="1496691" cy="363099"/>
          </a:xfrm>
          <a:prstGeom prst="rect">
            <a:avLst/>
          </a:prstGeom>
        </p:spPr>
        <p:txBody>
          <a:bodyPr vert="horz" lIns="91440" tIns="45720" rIns="91440" bIns="45720" rtlCol="0" anchor="ctr">
            <a:noAutofit/>
          </a:bodyPr>
          <a:lstStyle/>
          <a:p>
            <a:pPr>
              <a:spcBef>
                <a:spcPct val="0"/>
              </a:spcBef>
            </a:pPr>
            <a:r>
              <a:rPr lang="en-US" sz="1000" noProof="1">
                <a:solidFill>
                  <a:schemeClr val="tx1">
                    <a:lumMod val="85000"/>
                    <a:lumOff val="15000"/>
                  </a:schemeClr>
                </a:solidFill>
                <a:latin typeface="Playfair Display" panose="00000500000000000000" pitchFamily="2" charset="0"/>
                <a:ea typeface="Roboto Light" panose="02000000000000000000" pitchFamily="2" charset="0"/>
                <a:cs typeface="Lato" panose="020F0502020204030203" pitchFamily="34" charset="0"/>
              </a:rPr>
              <a:t>15455 / user</a:t>
            </a:r>
            <a:endParaRPr lang="en-US" sz="1000" noProof="1">
              <a:solidFill>
                <a:schemeClr val="tx1">
                  <a:lumMod val="85000"/>
                  <a:lumOff val="15000"/>
                </a:schemeClr>
              </a:solidFill>
              <a:latin typeface="Playfair Display" panose="00000500000000000000" pitchFamily="2" charset="0"/>
              <a:ea typeface="Roboto Light" panose="02000000000000000000" pitchFamily="2" charset="0"/>
              <a:cs typeface="Lato" panose="020F0502020204030203" pitchFamily="34" charset="0"/>
            </a:endParaRPr>
          </a:p>
        </p:txBody>
      </p:sp>
      <p:sp>
        <p:nvSpPr>
          <p:cNvPr id="12" name="Rectangle 11"/>
          <p:cNvSpPr/>
          <p:nvPr/>
        </p:nvSpPr>
        <p:spPr>
          <a:xfrm>
            <a:off x="919704" y="3601019"/>
            <a:ext cx="2090196" cy="738664"/>
          </a:xfrm>
          <a:prstGeom prst="rect">
            <a:avLst/>
          </a:prstGeom>
        </p:spPr>
        <p:txBody>
          <a:bodyPr wrap="square">
            <a:spAutoFit/>
          </a:bodyPr>
          <a:lstStyle/>
          <a:p>
            <a:pPr>
              <a:spcBef>
                <a:spcPts val="600"/>
              </a:spcBef>
              <a:buClr>
                <a:srgbClr val="E24848"/>
              </a:buClr>
              <a:defRPr/>
            </a:pPr>
            <a:r>
              <a:rPr lang="en-US" sz="105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endParaRPr lang="en-US" sz="105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13" name="Rectangle 12"/>
          <p:cNvSpPr/>
          <p:nvPr/>
        </p:nvSpPr>
        <p:spPr>
          <a:xfrm>
            <a:off x="3366654" y="2048742"/>
            <a:ext cx="2691740" cy="2679914"/>
          </a:xfrm>
          <a:prstGeom prst="rect">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p:nvSpPr>
        <p:spPr>
          <a:xfrm>
            <a:off x="6177147" y="2048742"/>
            <a:ext cx="2691740" cy="2679914"/>
          </a:xfrm>
          <a:prstGeom prst="rect">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a:xfrm>
            <a:off x="8987641" y="2048742"/>
            <a:ext cx="2691740" cy="2679914"/>
          </a:xfrm>
          <a:prstGeom prst="rect">
            <a:avLst/>
          </a:prstGeom>
          <a:solidFill>
            <a:schemeClr val="bg1"/>
          </a:solidFill>
          <a:ln>
            <a:noFill/>
          </a:ln>
          <a:effectLst>
            <a:outerShdw blurRad="266700" dist="508000" dir="1920000" sx="96000" sy="96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 Placeholder 2"/>
          <p:cNvSpPr txBox="1"/>
          <p:nvPr/>
        </p:nvSpPr>
        <p:spPr>
          <a:xfrm>
            <a:off x="3643435" y="3213484"/>
            <a:ext cx="1760588" cy="337619"/>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1800" b="1" dirty="0">
                <a:solidFill>
                  <a:schemeClr val="tx1">
                    <a:lumMod val="85000"/>
                    <a:lumOff val="15000"/>
                  </a:schemeClr>
                </a:solidFill>
                <a:latin typeface="Playfair Display" panose="00000500000000000000" pitchFamily="2" charset="0"/>
                <a:ea typeface="Open Sans Light" panose="020B0306030504020204" pitchFamily="34" charset="0"/>
                <a:cs typeface="Lato" panose="020F0502020204030203" pitchFamily="34" charset="0"/>
              </a:rPr>
              <a:t>PRODUCK 1</a:t>
            </a:r>
            <a:endParaRPr lang="en-US" sz="1800" b="1" dirty="0">
              <a:solidFill>
                <a:schemeClr val="tx1">
                  <a:lumMod val="85000"/>
                  <a:lumOff val="15000"/>
                </a:schemeClr>
              </a:solidFill>
              <a:latin typeface="Playfair Display" panose="00000500000000000000" pitchFamily="2" charset="0"/>
              <a:ea typeface="Open Sans Light" panose="020B0306030504020204" pitchFamily="34" charset="0"/>
              <a:cs typeface="Lato" panose="020F0502020204030203" pitchFamily="34" charset="0"/>
            </a:endParaRPr>
          </a:p>
        </p:txBody>
      </p:sp>
      <p:sp>
        <p:nvSpPr>
          <p:cNvPr id="30" name="Rectangle 29"/>
          <p:cNvSpPr/>
          <p:nvPr/>
        </p:nvSpPr>
        <p:spPr>
          <a:xfrm>
            <a:off x="3643435" y="2892160"/>
            <a:ext cx="1496691" cy="363099"/>
          </a:xfrm>
          <a:prstGeom prst="rect">
            <a:avLst/>
          </a:prstGeom>
        </p:spPr>
        <p:txBody>
          <a:bodyPr vert="horz" lIns="91440" tIns="45720" rIns="91440" bIns="45720" rtlCol="0" anchor="ctr">
            <a:noAutofit/>
          </a:bodyPr>
          <a:lstStyle/>
          <a:p>
            <a:pPr>
              <a:spcBef>
                <a:spcPct val="0"/>
              </a:spcBef>
            </a:pPr>
            <a:r>
              <a:rPr lang="en-US" sz="1000" noProof="1">
                <a:solidFill>
                  <a:schemeClr val="tx1">
                    <a:lumMod val="85000"/>
                    <a:lumOff val="15000"/>
                  </a:schemeClr>
                </a:solidFill>
                <a:latin typeface="Playfair Display" panose="00000500000000000000" pitchFamily="2" charset="0"/>
                <a:ea typeface="Roboto Light" panose="02000000000000000000" pitchFamily="2" charset="0"/>
                <a:cs typeface="Lato" panose="020F0502020204030203" pitchFamily="34" charset="0"/>
              </a:rPr>
              <a:t>15455 / user</a:t>
            </a:r>
            <a:endParaRPr lang="en-US" sz="1000" noProof="1">
              <a:solidFill>
                <a:schemeClr val="tx1">
                  <a:lumMod val="85000"/>
                  <a:lumOff val="15000"/>
                </a:schemeClr>
              </a:solidFill>
              <a:latin typeface="Playfair Display" panose="00000500000000000000" pitchFamily="2" charset="0"/>
              <a:ea typeface="Roboto Light" panose="02000000000000000000" pitchFamily="2" charset="0"/>
              <a:cs typeface="Lato" panose="020F0502020204030203" pitchFamily="34" charset="0"/>
            </a:endParaRPr>
          </a:p>
        </p:txBody>
      </p:sp>
      <p:sp>
        <p:nvSpPr>
          <p:cNvPr id="32" name="Rectangle 31"/>
          <p:cNvSpPr/>
          <p:nvPr/>
        </p:nvSpPr>
        <p:spPr>
          <a:xfrm>
            <a:off x="3661734" y="3601019"/>
            <a:ext cx="2090196" cy="738664"/>
          </a:xfrm>
          <a:prstGeom prst="rect">
            <a:avLst/>
          </a:prstGeom>
        </p:spPr>
        <p:txBody>
          <a:bodyPr wrap="square">
            <a:spAutoFit/>
          </a:bodyPr>
          <a:lstStyle/>
          <a:p>
            <a:pPr>
              <a:spcBef>
                <a:spcPts val="600"/>
              </a:spcBef>
              <a:buClr>
                <a:srgbClr val="E24848"/>
              </a:buClr>
              <a:defRPr/>
            </a:pPr>
            <a:r>
              <a:rPr lang="en-US" sz="105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endParaRPr lang="en-US" sz="105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33" name="Text Placeholder 2"/>
          <p:cNvSpPr txBox="1"/>
          <p:nvPr/>
        </p:nvSpPr>
        <p:spPr>
          <a:xfrm>
            <a:off x="6500935" y="3213484"/>
            <a:ext cx="1760588" cy="337619"/>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1800" b="1" dirty="0">
                <a:solidFill>
                  <a:schemeClr val="tx1">
                    <a:lumMod val="85000"/>
                    <a:lumOff val="15000"/>
                  </a:schemeClr>
                </a:solidFill>
                <a:latin typeface="Playfair Display" panose="00000500000000000000" pitchFamily="2" charset="0"/>
                <a:ea typeface="Open Sans Light" panose="020B0306030504020204" pitchFamily="34" charset="0"/>
                <a:cs typeface="Lato" panose="020F0502020204030203" pitchFamily="34" charset="0"/>
              </a:rPr>
              <a:t>PRODUCK 1</a:t>
            </a:r>
            <a:endParaRPr lang="en-US" sz="1800" b="1" dirty="0">
              <a:solidFill>
                <a:schemeClr val="tx1">
                  <a:lumMod val="85000"/>
                  <a:lumOff val="15000"/>
                </a:schemeClr>
              </a:solidFill>
              <a:latin typeface="Playfair Display" panose="00000500000000000000" pitchFamily="2" charset="0"/>
              <a:ea typeface="Open Sans Light" panose="020B0306030504020204" pitchFamily="34" charset="0"/>
              <a:cs typeface="Lato" panose="020F0502020204030203" pitchFamily="34" charset="0"/>
            </a:endParaRPr>
          </a:p>
        </p:txBody>
      </p:sp>
      <p:sp>
        <p:nvSpPr>
          <p:cNvPr id="34" name="Rectangle 33"/>
          <p:cNvSpPr/>
          <p:nvPr/>
        </p:nvSpPr>
        <p:spPr>
          <a:xfrm>
            <a:off x="6500935" y="2892160"/>
            <a:ext cx="1496691" cy="363099"/>
          </a:xfrm>
          <a:prstGeom prst="rect">
            <a:avLst/>
          </a:prstGeom>
        </p:spPr>
        <p:txBody>
          <a:bodyPr vert="horz" lIns="91440" tIns="45720" rIns="91440" bIns="45720" rtlCol="0" anchor="ctr">
            <a:noAutofit/>
          </a:bodyPr>
          <a:lstStyle/>
          <a:p>
            <a:pPr>
              <a:spcBef>
                <a:spcPct val="0"/>
              </a:spcBef>
            </a:pPr>
            <a:r>
              <a:rPr lang="en-US" sz="1000" noProof="1">
                <a:solidFill>
                  <a:schemeClr val="tx1">
                    <a:lumMod val="85000"/>
                    <a:lumOff val="15000"/>
                  </a:schemeClr>
                </a:solidFill>
                <a:latin typeface="Playfair Display" panose="00000500000000000000" pitchFamily="2" charset="0"/>
                <a:ea typeface="Roboto Light" panose="02000000000000000000" pitchFamily="2" charset="0"/>
                <a:cs typeface="Lato" panose="020F0502020204030203" pitchFamily="34" charset="0"/>
              </a:rPr>
              <a:t>15455 / user</a:t>
            </a:r>
            <a:endParaRPr lang="en-US" sz="1000" noProof="1">
              <a:solidFill>
                <a:schemeClr val="tx1">
                  <a:lumMod val="85000"/>
                  <a:lumOff val="15000"/>
                </a:schemeClr>
              </a:solidFill>
              <a:latin typeface="Playfair Display" panose="00000500000000000000" pitchFamily="2" charset="0"/>
              <a:ea typeface="Roboto Light" panose="02000000000000000000" pitchFamily="2" charset="0"/>
              <a:cs typeface="Lato" panose="020F0502020204030203" pitchFamily="34" charset="0"/>
            </a:endParaRPr>
          </a:p>
        </p:txBody>
      </p:sp>
      <p:sp>
        <p:nvSpPr>
          <p:cNvPr id="36" name="Rectangle 35"/>
          <p:cNvSpPr/>
          <p:nvPr/>
        </p:nvSpPr>
        <p:spPr>
          <a:xfrm>
            <a:off x="6519234" y="3601019"/>
            <a:ext cx="2090196" cy="738664"/>
          </a:xfrm>
          <a:prstGeom prst="rect">
            <a:avLst/>
          </a:prstGeom>
        </p:spPr>
        <p:txBody>
          <a:bodyPr wrap="square">
            <a:spAutoFit/>
          </a:bodyPr>
          <a:lstStyle/>
          <a:p>
            <a:pPr>
              <a:spcBef>
                <a:spcPts val="600"/>
              </a:spcBef>
              <a:buClr>
                <a:srgbClr val="E24848"/>
              </a:buClr>
              <a:defRPr/>
            </a:pPr>
            <a:r>
              <a:rPr lang="en-US" sz="105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endParaRPr lang="en-US" sz="105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37" name="Text Placeholder 2"/>
          <p:cNvSpPr txBox="1"/>
          <p:nvPr/>
        </p:nvSpPr>
        <p:spPr>
          <a:xfrm>
            <a:off x="9285567" y="3213484"/>
            <a:ext cx="1760588" cy="337619"/>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302020204030203" pitchFamily="34" charset="0"/>
                <a:ea typeface="Lato Light" panose="020F0302020204030203" pitchFamily="34" charset="0"/>
                <a:cs typeface="Lato Light" panose="020F03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1800" b="1" dirty="0">
                <a:solidFill>
                  <a:schemeClr val="tx1">
                    <a:lumMod val="85000"/>
                    <a:lumOff val="15000"/>
                  </a:schemeClr>
                </a:solidFill>
                <a:latin typeface="Playfair Display" panose="00000500000000000000" pitchFamily="2" charset="0"/>
                <a:ea typeface="Open Sans Light" panose="020B0306030504020204" pitchFamily="34" charset="0"/>
                <a:cs typeface="Lato" panose="020F0502020204030203" pitchFamily="34" charset="0"/>
              </a:rPr>
              <a:t>PRODUCK 1</a:t>
            </a:r>
            <a:endParaRPr lang="en-US" sz="1800" b="1" dirty="0">
              <a:solidFill>
                <a:schemeClr val="tx1">
                  <a:lumMod val="85000"/>
                  <a:lumOff val="15000"/>
                </a:schemeClr>
              </a:solidFill>
              <a:latin typeface="Playfair Display" panose="00000500000000000000" pitchFamily="2" charset="0"/>
              <a:ea typeface="Open Sans Light" panose="020B0306030504020204" pitchFamily="34" charset="0"/>
              <a:cs typeface="Lato" panose="020F0502020204030203" pitchFamily="34" charset="0"/>
            </a:endParaRPr>
          </a:p>
        </p:txBody>
      </p:sp>
      <p:sp>
        <p:nvSpPr>
          <p:cNvPr id="38" name="Rectangle 37"/>
          <p:cNvSpPr/>
          <p:nvPr/>
        </p:nvSpPr>
        <p:spPr>
          <a:xfrm>
            <a:off x="9285567" y="2892160"/>
            <a:ext cx="1496691" cy="363099"/>
          </a:xfrm>
          <a:prstGeom prst="rect">
            <a:avLst/>
          </a:prstGeom>
        </p:spPr>
        <p:txBody>
          <a:bodyPr vert="horz" lIns="91440" tIns="45720" rIns="91440" bIns="45720" rtlCol="0" anchor="ctr">
            <a:noAutofit/>
          </a:bodyPr>
          <a:lstStyle/>
          <a:p>
            <a:pPr>
              <a:spcBef>
                <a:spcPct val="0"/>
              </a:spcBef>
            </a:pPr>
            <a:r>
              <a:rPr lang="en-US" sz="1000" noProof="1">
                <a:solidFill>
                  <a:schemeClr val="tx1">
                    <a:lumMod val="85000"/>
                    <a:lumOff val="15000"/>
                  </a:schemeClr>
                </a:solidFill>
                <a:latin typeface="Playfair Display" panose="00000500000000000000" pitchFamily="2" charset="0"/>
                <a:ea typeface="Roboto Light" panose="02000000000000000000" pitchFamily="2" charset="0"/>
                <a:cs typeface="Lato" panose="020F0502020204030203" pitchFamily="34" charset="0"/>
              </a:rPr>
              <a:t>15455 / user</a:t>
            </a:r>
            <a:endParaRPr lang="en-US" sz="1000" noProof="1">
              <a:solidFill>
                <a:schemeClr val="tx1">
                  <a:lumMod val="85000"/>
                  <a:lumOff val="15000"/>
                </a:schemeClr>
              </a:solidFill>
              <a:latin typeface="Playfair Display" panose="00000500000000000000" pitchFamily="2" charset="0"/>
              <a:ea typeface="Roboto Light" panose="02000000000000000000" pitchFamily="2" charset="0"/>
              <a:cs typeface="Lato" panose="020F0502020204030203" pitchFamily="34" charset="0"/>
            </a:endParaRPr>
          </a:p>
        </p:txBody>
      </p:sp>
      <p:sp>
        <p:nvSpPr>
          <p:cNvPr id="40" name="Rectangle 39"/>
          <p:cNvSpPr/>
          <p:nvPr/>
        </p:nvSpPr>
        <p:spPr>
          <a:xfrm>
            <a:off x="9303866" y="3601019"/>
            <a:ext cx="2090196" cy="738664"/>
          </a:xfrm>
          <a:prstGeom prst="rect">
            <a:avLst/>
          </a:prstGeom>
        </p:spPr>
        <p:txBody>
          <a:bodyPr wrap="square">
            <a:spAutoFit/>
          </a:bodyPr>
          <a:lstStyle/>
          <a:p>
            <a:pPr>
              <a:spcBef>
                <a:spcPts val="600"/>
              </a:spcBef>
              <a:buClr>
                <a:srgbClr val="E24848"/>
              </a:buClr>
              <a:defRPr/>
            </a:pPr>
            <a:r>
              <a:rPr lang="en-US" sz="1050" noProof="1">
                <a:solidFill>
                  <a:schemeClr val="tx1">
                    <a:lumMod val="85000"/>
                    <a:lumOff val="1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a:t>
            </a:r>
            <a:endParaRPr lang="en-US" sz="1050" noProof="1">
              <a:solidFill>
                <a:schemeClr val="tx1">
                  <a:lumMod val="85000"/>
                  <a:lumOff val="15000"/>
                </a:schemeClr>
              </a:solidFill>
              <a:latin typeface="+mj-lt"/>
              <a:ea typeface="Open Sans Light" panose="020B0306030504020204" pitchFamily="34" charset="0"/>
              <a:cs typeface="Open Sans Light" panose="020B0306030504020204" pitchFamily="34" charset="0"/>
            </a:endParaRPr>
          </a:p>
        </p:txBody>
      </p:sp>
      <p:sp>
        <p:nvSpPr>
          <p:cNvPr id="41" name="Shape 2554"/>
          <p:cNvSpPr/>
          <p:nvPr/>
        </p:nvSpPr>
        <p:spPr>
          <a:xfrm>
            <a:off x="1007183" y="2334390"/>
            <a:ext cx="461819" cy="419835"/>
          </a:xfrm>
          <a:custGeom>
            <a:avLst/>
            <a:gdLst/>
            <a:ahLst/>
            <a:cxnLst>
              <a:cxn ang="0">
                <a:pos x="wd2" y="hd2"/>
              </a:cxn>
              <a:cxn ang="5400000">
                <a:pos x="wd2" y="hd2"/>
              </a:cxn>
              <a:cxn ang="10800000">
                <a:pos x="wd2" y="hd2"/>
              </a:cxn>
              <a:cxn ang="16200000">
                <a:pos x="wd2" y="hd2"/>
              </a:cxn>
            </a:cxnLst>
            <a:rect l="0" t="0" r="r" b="b"/>
            <a:pathLst>
              <a:path w="21600" h="21600" extrusionOk="0">
                <a:moveTo>
                  <a:pt x="7855" y="18900"/>
                </a:moveTo>
                <a:cubicBezTo>
                  <a:pt x="7279" y="18900"/>
                  <a:pt x="6684" y="18827"/>
                  <a:pt x="6086" y="18683"/>
                </a:cubicBezTo>
                <a:cubicBezTo>
                  <a:pt x="6017" y="18666"/>
                  <a:pt x="5946" y="18658"/>
                  <a:pt x="5876" y="18658"/>
                </a:cubicBezTo>
                <a:cubicBezTo>
                  <a:pt x="5756" y="18658"/>
                  <a:pt x="5636" y="18682"/>
                  <a:pt x="5523" y="18729"/>
                </a:cubicBezTo>
                <a:lnTo>
                  <a:pt x="2957" y="19815"/>
                </a:lnTo>
                <a:lnTo>
                  <a:pt x="3365" y="18243"/>
                </a:lnTo>
                <a:cubicBezTo>
                  <a:pt x="3474" y="17827"/>
                  <a:pt x="3345" y="17380"/>
                  <a:pt x="3039" y="17108"/>
                </a:cubicBezTo>
                <a:cubicBezTo>
                  <a:pt x="1712" y="15926"/>
                  <a:pt x="982" y="14358"/>
                  <a:pt x="982" y="12690"/>
                </a:cubicBezTo>
                <a:cubicBezTo>
                  <a:pt x="982" y="9266"/>
                  <a:pt x="4065" y="6480"/>
                  <a:pt x="7855" y="6480"/>
                </a:cubicBezTo>
                <a:cubicBezTo>
                  <a:pt x="11644" y="6480"/>
                  <a:pt x="14727" y="9266"/>
                  <a:pt x="14727" y="12690"/>
                </a:cubicBezTo>
                <a:cubicBezTo>
                  <a:pt x="14727" y="16114"/>
                  <a:pt x="11644" y="18900"/>
                  <a:pt x="7855" y="18900"/>
                </a:cubicBezTo>
                <a:moveTo>
                  <a:pt x="7855" y="5400"/>
                </a:moveTo>
                <a:cubicBezTo>
                  <a:pt x="3517" y="5400"/>
                  <a:pt x="0" y="8664"/>
                  <a:pt x="0" y="12690"/>
                </a:cubicBezTo>
                <a:cubicBezTo>
                  <a:pt x="0" y="14758"/>
                  <a:pt x="932" y="16620"/>
                  <a:pt x="2422" y="17947"/>
                </a:cubicBezTo>
                <a:lnTo>
                  <a:pt x="1473" y="21600"/>
                </a:lnTo>
                <a:lnTo>
                  <a:pt x="5876" y="19738"/>
                </a:lnTo>
                <a:cubicBezTo>
                  <a:pt x="6509" y="19891"/>
                  <a:pt x="7169" y="19980"/>
                  <a:pt x="7855" y="19980"/>
                </a:cubicBezTo>
                <a:cubicBezTo>
                  <a:pt x="12192" y="19980"/>
                  <a:pt x="15709" y="16716"/>
                  <a:pt x="15709" y="12690"/>
                </a:cubicBezTo>
                <a:cubicBezTo>
                  <a:pt x="15709" y="8664"/>
                  <a:pt x="12192" y="5400"/>
                  <a:pt x="7855" y="5400"/>
                </a:cubicBezTo>
                <a:moveTo>
                  <a:pt x="21600" y="7290"/>
                </a:moveTo>
                <a:cubicBezTo>
                  <a:pt x="21600" y="3264"/>
                  <a:pt x="18084" y="0"/>
                  <a:pt x="13745" y="0"/>
                </a:cubicBezTo>
                <a:cubicBezTo>
                  <a:pt x="10506" y="0"/>
                  <a:pt x="7725" y="1821"/>
                  <a:pt x="6525" y="4422"/>
                </a:cubicBezTo>
                <a:cubicBezTo>
                  <a:pt x="6912" y="4367"/>
                  <a:pt x="7306" y="4332"/>
                  <a:pt x="7708" y="4326"/>
                </a:cubicBezTo>
                <a:cubicBezTo>
                  <a:pt x="8875" y="2394"/>
                  <a:pt x="11143" y="1080"/>
                  <a:pt x="13745" y="1080"/>
                </a:cubicBezTo>
                <a:cubicBezTo>
                  <a:pt x="17535" y="1080"/>
                  <a:pt x="20618" y="3866"/>
                  <a:pt x="20618" y="7290"/>
                </a:cubicBezTo>
                <a:cubicBezTo>
                  <a:pt x="20618" y="8958"/>
                  <a:pt x="19888" y="10526"/>
                  <a:pt x="18561" y="11707"/>
                </a:cubicBezTo>
                <a:cubicBezTo>
                  <a:pt x="18255" y="11980"/>
                  <a:pt x="18126" y="12428"/>
                  <a:pt x="18234" y="12843"/>
                </a:cubicBezTo>
                <a:lnTo>
                  <a:pt x="18643" y="14415"/>
                </a:lnTo>
                <a:lnTo>
                  <a:pt x="16613" y="13556"/>
                </a:lnTo>
                <a:cubicBezTo>
                  <a:pt x="16573" y="13922"/>
                  <a:pt x="16500" y="14278"/>
                  <a:pt x="16411" y="14628"/>
                </a:cubicBezTo>
                <a:lnTo>
                  <a:pt x="20127" y="16200"/>
                </a:lnTo>
                <a:lnTo>
                  <a:pt x="19178" y="12547"/>
                </a:lnTo>
                <a:cubicBezTo>
                  <a:pt x="20669" y="11220"/>
                  <a:pt x="21600" y="9358"/>
                  <a:pt x="21600" y="7290"/>
                </a:cubicBezTo>
              </a:path>
            </a:pathLst>
          </a:custGeom>
          <a:solidFill>
            <a:schemeClr val="accent1"/>
          </a:solidFill>
          <a:ln w="12700">
            <a:miter lim="400000"/>
          </a:ln>
        </p:spPr>
        <p:txBody>
          <a:bodyPr lIns="38100" tIns="38100" rIns="38100" bIns="38100" anchor="ctr"/>
          <a:lstStyle/>
          <a:p>
            <a:pPr defTabSz="457200">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p>
        </p:txBody>
      </p:sp>
      <p:sp>
        <p:nvSpPr>
          <p:cNvPr id="42" name="Shape 2569"/>
          <p:cNvSpPr/>
          <p:nvPr/>
        </p:nvSpPr>
        <p:spPr>
          <a:xfrm>
            <a:off x="3740322" y="2313392"/>
            <a:ext cx="461819" cy="461830"/>
          </a:xfrm>
          <a:custGeom>
            <a:avLst/>
            <a:gdLst/>
            <a:ahLst/>
            <a:cxnLst>
              <a:cxn ang="0">
                <a:pos x="wd2" y="hd2"/>
              </a:cxn>
              <a:cxn ang="5400000">
                <a:pos x="wd2" y="hd2"/>
              </a:cxn>
              <a:cxn ang="10800000">
                <a:pos x="wd2" y="hd2"/>
              </a:cxn>
              <a:cxn ang="16200000">
                <a:pos x="wd2" y="hd2"/>
              </a:cxn>
            </a:cxnLst>
            <a:rect l="0" t="0" r="r" b="b"/>
            <a:pathLst>
              <a:path w="21600" h="21600" extrusionOk="0">
                <a:moveTo>
                  <a:pt x="20618" y="8836"/>
                </a:moveTo>
                <a:lnTo>
                  <a:pt x="982" y="8836"/>
                </a:lnTo>
                <a:lnTo>
                  <a:pt x="982" y="6873"/>
                </a:lnTo>
                <a:lnTo>
                  <a:pt x="20618" y="6873"/>
                </a:lnTo>
                <a:cubicBezTo>
                  <a:pt x="20618" y="6873"/>
                  <a:pt x="20618" y="8836"/>
                  <a:pt x="20618" y="8836"/>
                </a:cubicBezTo>
                <a:close/>
                <a:moveTo>
                  <a:pt x="18655" y="20618"/>
                </a:moveTo>
                <a:lnTo>
                  <a:pt x="2945" y="20618"/>
                </a:lnTo>
                <a:lnTo>
                  <a:pt x="2945" y="9818"/>
                </a:lnTo>
                <a:lnTo>
                  <a:pt x="18655" y="9818"/>
                </a:lnTo>
                <a:cubicBezTo>
                  <a:pt x="18655" y="9818"/>
                  <a:pt x="18655" y="20618"/>
                  <a:pt x="18655" y="20618"/>
                </a:cubicBezTo>
                <a:close/>
                <a:moveTo>
                  <a:pt x="3927" y="982"/>
                </a:moveTo>
                <a:lnTo>
                  <a:pt x="11782" y="982"/>
                </a:lnTo>
                <a:lnTo>
                  <a:pt x="11782" y="3436"/>
                </a:lnTo>
                <a:cubicBezTo>
                  <a:pt x="11782" y="3708"/>
                  <a:pt x="12002" y="3927"/>
                  <a:pt x="12273" y="3927"/>
                </a:cubicBezTo>
                <a:lnTo>
                  <a:pt x="14727" y="3927"/>
                </a:lnTo>
                <a:lnTo>
                  <a:pt x="14727" y="5891"/>
                </a:lnTo>
                <a:lnTo>
                  <a:pt x="3927" y="5891"/>
                </a:lnTo>
                <a:cubicBezTo>
                  <a:pt x="3927" y="5891"/>
                  <a:pt x="3927" y="982"/>
                  <a:pt x="3927" y="982"/>
                </a:cubicBezTo>
                <a:close/>
                <a:moveTo>
                  <a:pt x="12764" y="1473"/>
                </a:moveTo>
                <a:lnTo>
                  <a:pt x="14236" y="2945"/>
                </a:lnTo>
                <a:lnTo>
                  <a:pt x="12764" y="2945"/>
                </a:lnTo>
                <a:cubicBezTo>
                  <a:pt x="12764" y="2945"/>
                  <a:pt x="12764" y="1473"/>
                  <a:pt x="12764" y="1473"/>
                </a:cubicBezTo>
                <a:close/>
                <a:moveTo>
                  <a:pt x="17673" y="1964"/>
                </a:moveTo>
                <a:lnTo>
                  <a:pt x="17673" y="5891"/>
                </a:lnTo>
                <a:lnTo>
                  <a:pt x="15709" y="5891"/>
                </a:lnTo>
                <a:lnTo>
                  <a:pt x="15709" y="2945"/>
                </a:lnTo>
                <a:lnTo>
                  <a:pt x="14727" y="1964"/>
                </a:lnTo>
                <a:cubicBezTo>
                  <a:pt x="14727" y="1964"/>
                  <a:pt x="17673" y="1964"/>
                  <a:pt x="17673" y="1964"/>
                </a:cubicBezTo>
                <a:close/>
                <a:moveTo>
                  <a:pt x="20618" y="5891"/>
                </a:moveTo>
                <a:lnTo>
                  <a:pt x="18655" y="5891"/>
                </a:lnTo>
                <a:lnTo>
                  <a:pt x="18655" y="1964"/>
                </a:lnTo>
                <a:cubicBezTo>
                  <a:pt x="18655" y="1422"/>
                  <a:pt x="18215" y="982"/>
                  <a:pt x="17673" y="982"/>
                </a:cubicBezTo>
                <a:lnTo>
                  <a:pt x="13745" y="982"/>
                </a:lnTo>
                <a:lnTo>
                  <a:pt x="12764" y="0"/>
                </a:lnTo>
                <a:lnTo>
                  <a:pt x="3927" y="0"/>
                </a:lnTo>
                <a:cubicBezTo>
                  <a:pt x="3385" y="0"/>
                  <a:pt x="2945" y="440"/>
                  <a:pt x="2945" y="982"/>
                </a:cubicBezTo>
                <a:lnTo>
                  <a:pt x="2945" y="5891"/>
                </a:lnTo>
                <a:lnTo>
                  <a:pt x="982" y="5891"/>
                </a:lnTo>
                <a:cubicBezTo>
                  <a:pt x="440" y="5891"/>
                  <a:pt x="0" y="6331"/>
                  <a:pt x="0" y="6873"/>
                </a:cubicBezTo>
                <a:lnTo>
                  <a:pt x="0" y="8836"/>
                </a:lnTo>
                <a:cubicBezTo>
                  <a:pt x="0" y="9379"/>
                  <a:pt x="440" y="9818"/>
                  <a:pt x="982" y="9818"/>
                </a:cubicBezTo>
                <a:lnTo>
                  <a:pt x="1964" y="9818"/>
                </a:lnTo>
                <a:lnTo>
                  <a:pt x="1964" y="20618"/>
                </a:lnTo>
                <a:cubicBezTo>
                  <a:pt x="1964" y="21160"/>
                  <a:pt x="2403" y="21600"/>
                  <a:pt x="2945" y="21600"/>
                </a:cubicBezTo>
                <a:lnTo>
                  <a:pt x="18655" y="21600"/>
                </a:lnTo>
                <a:cubicBezTo>
                  <a:pt x="19197" y="21600"/>
                  <a:pt x="19636" y="21160"/>
                  <a:pt x="19636" y="20618"/>
                </a:cubicBezTo>
                <a:lnTo>
                  <a:pt x="19636" y="9818"/>
                </a:lnTo>
                <a:lnTo>
                  <a:pt x="20618" y="9818"/>
                </a:lnTo>
                <a:cubicBezTo>
                  <a:pt x="21160" y="9818"/>
                  <a:pt x="21600" y="9379"/>
                  <a:pt x="21600" y="8836"/>
                </a:cubicBezTo>
                <a:lnTo>
                  <a:pt x="21600" y="6873"/>
                </a:lnTo>
                <a:cubicBezTo>
                  <a:pt x="21600" y="6331"/>
                  <a:pt x="21160" y="5891"/>
                  <a:pt x="20618" y="5891"/>
                </a:cubicBezTo>
                <a:moveTo>
                  <a:pt x="7855" y="12763"/>
                </a:moveTo>
                <a:lnTo>
                  <a:pt x="13745" y="12763"/>
                </a:lnTo>
                <a:lnTo>
                  <a:pt x="13745" y="13745"/>
                </a:lnTo>
                <a:lnTo>
                  <a:pt x="7855" y="13745"/>
                </a:lnTo>
                <a:cubicBezTo>
                  <a:pt x="7855" y="13745"/>
                  <a:pt x="7855" y="12763"/>
                  <a:pt x="7855" y="12763"/>
                </a:cubicBezTo>
                <a:close/>
                <a:moveTo>
                  <a:pt x="7855" y="14727"/>
                </a:moveTo>
                <a:lnTo>
                  <a:pt x="13745" y="14727"/>
                </a:lnTo>
                <a:cubicBezTo>
                  <a:pt x="14287" y="14727"/>
                  <a:pt x="14727" y="14287"/>
                  <a:pt x="14727" y="13745"/>
                </a:cubicBezTo>
                <a:lnTo>
                  <a:pt x="14727" y="12763"/>
                </a:lnTo>
                <a:cubicBezTo>
                  <a:pt x="14727" y="12221"/>
                  <a:pt x="14287" y="11782"/>
                  <a:pt x="13745" y="11782"/>
                </a:cubicBezTo>
                <a:lnTo>
                  <a:pt x="7855" y="11782"/>
                </a:lnTo>
                <a:cubicBezTo>
                  <a:pt x="7313" y="11782"/>
                  <a:pt x="6873" y="12221"/>
                  <a:pt x="6873" y="12763"/>
                </a:cubicBezTo>
                <a:lnTo>
                  <a:pt x="6873" y="13745"/>
                </a:lnTo>
                <a:cubicBezTo>
                  <a:pt x="6873" y="14287"/>
                  <a:pt x="7313" y="14727"/>
                  <a:pt x="7855" y="14727"/>
                </a:cubicBezTo>
              </a:path>
            </a:pathLst>
          </a:custGeom>
          <a:solidFill>
            <a:schemeClr val="accent2"/>
          </a:solidFill>
          <a:ln w="12700">
            <a:miter lim="400000"/>
          </a:ln>
        </p:spPr>
        <p:txBody>
          <a:bodyPr lIns="38100" tIns="38100" rIns="38100" bIns="38100" anchor="ctr"/>
          <a:lstStyle/>
          <a:p>
            <a:pPr defTabSz="457200">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p>
        </p:txBody>
      </p:sp>
      <p:sp>
        <p:nvSpPr>
          <p:cNvPr id="43" name="Shape 2584"/>
          <p:cNvSpPr/>
          <p:nvPr/>
        </p:nvSpPr>
        <p:spPr>
          <a:xfrm>
            <a:off x="6567725" y="2313398"/>
            <a:ext cx="461819" cy="461819"/>
          </a:xfrm>
          <a:custGeom>
            <a:avLst/>
            <a:gdLst/>
            <a:ahLst/>
            <a:cxnLst>
              <a:cxn ang="0">
                <a:pos x="wd2" y="hd2"/>
              </a:cxn>
              <a:cxn ang="5400000">
                <a:pos x="wd2" y="hd2"/>
              </a:cxn>
              <a:cxn ang="10800000">
                <a:pos x="wd2" y="hd2"/>
              </a:cxn>
              <a:cxn ang="16200000">
                <a:pos x="wd2" y="hd2"/>
              </a:cxn>
            </a:cxnLst>
            <a:rect l="0" t="0" r="r" b="b"/>
            <a:pathLst>
              <a:path w="21600" h="21600" extrusionOk="0">
                <a:moveTo>
                  <a:pt x="10309" y="17673"/>
                </a:moveTo>
                <a:cubicBezTo>
                  <a:pt x="10445" y="17673"/>
                  <a:pt x="10567" y="17618"/>
                  <a:pt x="10656" y="17529"/>
                </a:cubicBezTo>
                <a:lnTo>
                  <a:pt x="12620" y="15565"/>
                </a:lnTo>
                <a:cubicBezTo>
                  <a:pt x="12709" y="15477"/>
                  <a:pt x="12764" y="15354"/>
                  <a:pt x="12764" y="15218"/>
                </a:cubicBezTo>
                <a:cubicBezTo>
                  <a:pt x="12764" y="14947"/>
                  <a:pt x="12544" y="14728"/>
                  <a:pt x="12273" y="14728"/>
                </a:cubicBezTo>
                <a:cubicBezTo>
                  <a:pt x="12137" y="14728"/>
                  <a:pt x="12014" y="14782"/>
                  <a:pt x="11926" y="14871"/>
                </a:cubicBezTo>
                <a:lnTo>
                  <a:pt x="9962" y="16835"/>
                </a:lnTo>
                <a:cubicBezTo>
                  <a:pt x="9873" y="16924"/>
                  <a:pt x="9818" y="17046"/>
                  <a:pt x="9818" y="17183"/>
                </a:cubicBezTo>
                <a:cubicBezTo>
                  <a:pt x="9818" y="17453"/>
                  <a:pt x="10038" y="17673"/>
                  <a:pt x="10309" y="17673"/>
                </a:cubicBezTo>
                <a:moveTo>
                  <a:pt x="10309" y="20415"/>
                </a:moveTo>
                <a:lnTo>
                  <a:pt x="982" y="11088"/>
                </a:lnTo>
                <a:lnTo>
                  <a:pt x="982" y="4418"/>
                </a:lnTo>
                <a:cubicBezTo>
                  <a:pt x="982" y="4147"/>
                  <a:pt x="1201" y="3927"/>
                  <a:pt x="1473" y="3927"/>
                </a:cubicBezTo>
                <a:lnTo>
                  <a:pt x="8142" y="3927"/>
                </a:lnTo>
                <a:lnTo>
                  <a:pt x="17469" y="13255"/>
                </a:lnTo>
                <a:cubicBezTo>
                  <a:pt x="17469" y="13255"/>
                  <a:pt x="10309" y="20415"/>
                  <a:pt x="10309" y="20415"/>
                </a:cubicBezTo>
                <a:close/>
                <a:moveTo>
                  <a:pt x="8693" y="3090"/>
                </a:moveTo>
                <a:cubicBezTo>
                  <a:pt x="8604" y="3001"/>
                  <a:pt x="8481" y="2945"/>
                  <a:pt x="8345" y="2945"/>
                </a:cubicBezTo>
                <a:lnTo>
                  <a:pt x="1473" y="2945"/>
                </a:lnTo>
                <a:cubicBezTo>
                  <a:pt x="660" y="2945"/>
                  <a:pt x="0" y="3605"/>
                  <a:pt x="0" y="4418"/>
                </a:cubicBezTo>
                <a:lnTo>
                  <a:pt x="0" y="11291"/>
                </a:lnTo>
                <a:cubicBezTo>
                  <a:pt x="0" y="11427"/>
                  <a:pt x="55" y="11549"/>
                  <a:pt x="144" y="11638"/>
                </a:cubicBezTo>
                <a:lnTo>
                  <a:pt x="9962" y="21456"/>
                </a:lnTo>
                <a:cubicBezTo>
                  <a:pt x="10051" y="21546"/>
                  <a:pt x="10174" y="21600"/>
                  <a:pt x="10309" y="21600"/>
                </a:cubicBezTo>
                <a:cubicBezTo>
                  <a:pt x="10445" y="21600"/>
                  <a:pt x="10567" y="21546"/>
                  <a:pt x="10656" y="21456"/>
                </a:cubicBezTo>
                <a:lnTo>
                  <a:pt x="18511" y="13602"/>
                </a:lnTo>
                <a:cubicBezTo>
                  <a:pt x="18600" y="13513"/>
                  <a:pt x="18655" y="13390"/>
                  <a:pt x="18655" y="13255"/>
                </a:cubicBezTo>
                <a:cubicBezTo>
                  <a:pt x="18655" y="13119"/>
                  <a:pt x="18599" y="12997"/>
                  <a:pt x="18511" y="12908"/>
                </a:cubicBezTo>
                <a:cubicBezTo>
                  <a:pt x="18511" y="12908"/>
                  <a:pt x="8693" y="3090"/>
                  <a:pt x="8693" y="3090"/>
                </a:cubicBezTo>
                <a:close/>
                <a:moveTo>
                  <a:pt x="7855" y="15218"/>
                </a:moveTo>
                <a:cubicBezTo>
                  <a:pt x="7855" y="15490"/>
                  <a:pt x="8074" y="15709"/>
                  <a:pt x="8345" y="15709"/>
                </a:cubicBezTo>
                <a:cubicBezTo>
                  <a:pt x="8481" y="15709"/>
                  <a:pt x="8604" y="15655"/>
                  <a:pt x="8693" y="15565"/>
                </a:cubicBezTo>
                <a:lnTo>
                  <a:pt x="9183" y="15074"/>
                </a:lnTo>
                <a:cubicBezTo>
                  <a:pt x="9273" y="14986"/>
                  <a:pt x="9327" y="14863"/>
                  <a:pt x="9327" y="14728"/>
                </a:cubicBezTo>
                <a:cubicBezTo>
                  <a:pt x="9327" y="14456"/>
                  <a:pt x="9108" y="14236"/>
                  <a:pt x="8836" y="14236"/>
                </a:cubicBezTo>
                <a:cubicBezTo>
                  <a:pt x="8701" y="14236"/>
                  <a:pt x="8578" y="14291"/>
                  <a:pt x="8489" y="14381"/>
                </a:cubicBezTo>
                <a:lnTo>
                  <a:pt x="7998" y="14871"/>
                </a:lnTo>
                <a:cubicBezTo>
                  <a:pt x="7910" y="14961"/>
                  <a:pt x="7855" y="15083"/>
                  <a:pt x="7855" y="15218"/>
                </a:cubicBezTo>
                <a:moveTo>
                  <a:pt x="21456" y="9962"/>
                </a:moveTo>
                <a:lnTo>
                  <a:pt x="11638" y="144"/>
                </a:lnTo>
                <a:cubicBezTo>
                  <a:pt x="11549" y="55"/>
                  <a:pt x="11427" y="0"/>
                  <a:pt x="11291" y="0"/>
                </a:cubicBezTo>
                <a:lnTo>
                  <a:pt x="4418" y="0"/>
                </a:lnTo>
                <a:cubicBezTo>
                  <a:pt x="3605" y="0"/>
                  <a:pt x="2945" y="660"/>
                  <a:pt x="2945" y="1473"/>
                </a:cubicBezTo>
                <a:cubicBezTo>
                  <a:pt x="2945" y="1744"/>
                  <a:pt x="3165" y="1964"/>
                  <a:pt x="3436" y="1964"/>
                </a:cubicBezTo>
                <a:cubicBezTo>
                  <a:pt x="3708" y="1964"/>
                  <a:pt x="3927" y="1744"/>
                  <a:pt x="3927" y="1473"/>
                </a:cubicBezTo>
                <a:cubicBezTo>
                  <a:pt x="3927" y="1202"/>
                  <a:pt x="4147" y="982"/>
                  <a:pt x="4418" y="982"/>
                </a:cubicBezTo>
                <a:lnTo>
                  <a:pt x="11088" y="982"/>
                </a:lnTo>
                <a:lnTo>
                  <a:pt x="20415" y="10310"/>
                </a:lnTo>
                <a:lnTo>
                  <a:pt x="19289" y="11435"/>
                </a:lnTo>
                <a:cubicBezTo>
                  <a:pt x="19201" y="11524"/>
                  <a:pt x="19145" y="11646"/>
                  <a:pt x="19145" y="11782"/>
                </a:cubicBezTo>
                <a:cubicBezTo>
                  <a:pt x="19145" y="12053"/>
                  <a:pt x="19366" y="12273"/>
                  <a:pt x="19636" y="12273"/>
                </a:cubicBezTo>
                <a:cubicBezTo>
                  <a:pt x="19772" y="12273"/>
                  <a:pt x="19895" y="12218"/>
                  <a:pt x="19983" y="12129"/>
                </a:cubicBezTo>
                <a:lnTo>
                  <a:pt x="21456" y="10656"/>
                </a:lnTo>
                <a:cubicBezTo>
                  <a:pt x="21545" y="10567"/>
                  <a:pt x="21600" y="10445"/>
                  <a:pt x="21600" y="10310"/>
                </a:cubicBezTo>
                <a:cubicBezTo>
                  <a:pt x="21600" y="10174"/>
                  <a:pt x="21545" y="10051"/>
                  <a:pt x="21456" y="9962"/>
                </a:cubicBezTo>
                <a:moveTo>
                  <a:pt x="10309" y="13745"/>
                </a:moveTo>
                <a:cubicBezTo>
                  <a:pt x="10445" y="13745"/>
                  <a:pt x="10567" y="13691"/>
                  <a:pt x="10656" y="13602"/>
                </a:cubicBezTo>
                <a:lnTo>
                  <a:pt x="11638" y="12620"/>
                </a:lnTo>
                <a:cubicBezTo>
                  <a:pt x="11727" y="12531"/>
                  <a:pt x="11782" y="12408"/>
                  <a:pt x="11782" y="12273"/>
                </a:cubicBezTo>
                <a:cubicBezTo>
                  <a:pt x="11782" y="12002"/>
                  <a:pt x="11562" y="11782"/>
                  <a:pt x="11291" y="11782"/>
                </a:cubicBezTo>
                <a:cubicBezTo>
                  <a:pt x="11156" y="11782"/>
                  <a:pt x="11033" y="11837"/>
                  <a:pt x="10944" y="11926"/>
                </a:cubicBezTo>
                <a:lnTo>
                  <a:pt x="9962" y="12908"/>
                </a:lnTo>
                <a:cubicBezTo>
                  <a:pt x="9873" y="12997"/>
                  <a:pt x="9818" y="13119"/>
                  <a:pt x="9818" y="13255"/>
                </a:cubicBezTo>
                <a:cubicBezTo>
                  <a:pt x="9818" y="13526"/>
                  <a:pt x="10038" y="13745"/>
                  <a:pt x="10309" y="13745"/>
                </a:cubicBezTo>
                <a:moveTo>
                  <a:pt x="4418" y="7855"/>
                </a:moveTo>
                <a:cubicBezTo>
                  <a:pt x="4147" y="7855"/>
                  <a:pt x="3927" y="7635"/>
                  <a:pt x="3927" y="7364"/>
                </a:cubicBezTo>
                <a:cubicBezTo>
                  <a:pt x="3927" y="7093"/>
                  <a:pt x="4147" y="6873"/>
                  <a:pt x="4418" y="6873"/>
                </a:cubicBezTo>
                <a:cubicBezTo>
                  <a:pt x="4690" y="6873"/>
                  <a:pt x="4909" y="7093"/>
                  <a:pt x="4909" y="7364"/>
                </a:cubicBezTo>
                <a:cubicBezTo>
                  <a:pt x="4909" y="7635"/>
                  <a:pt x="4690" y="7855"/>
                  <a:pt x="4418" y="7855"/>
                </a:cubicBezTo>
                <a:moveTo>
                  <a:pt x="4418" y="5891"/>
                </a:moveTo>
                <a:cubicBezTo>
                  <a:pt x="3605" y="5891"/>
                  <a:pt x="2945" y="6551"/>
                  <a:pt x="2945" y="7364"/>
                </a:cubicBezTo>
                <a:cubicBezTo>
                  <a:pt x="2945" y="8177"/>
                  <a:pt x="3605" y="8837"/>
                  <a:pt x="4418" y="8837"/>
                </a:cubicBezTo>
                <a:cubicBezTo>
                  <a:pt x="5232" y="8837"/>
                  <a:pt x="5891" y="8177"/>
                  <a:pt x="5891" y="7364"/>
                </a:cubicBezTo>
                <a:cubicBezTo>
                  <a:pt x="5891" y="6551"/>
                  <a:pt x="5232" y="5891"/>
                  <a:pt x="4418" y="5891"/>
                </a:cubicBezTo>
              </a:path>
            </a:pathLst>
          </a:custGeom>
          <a:solidFill>
            <a:schemeClr val="accent1"/>
          </a:solidFill>
          <a:ln w="12700">
            <a:miter lim="400000"/>
          </a:ln>
        </p:spPr>
        <p:txBody>
          <a:bodyPr lIns="38100" tIns="38100" rIns="38100" bIns="38100" anchor="ctr"/>
          <a:lstStyle/>
          <a:p>
            <a:pPr defTabSz="457200">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p>
        </p:txBody>
      </p:sp>
      <p:sp>
        <p:nvSpPr>
          <p:cNvPr id="44" name="Shape 2617"/>
          <p:cNvSpPr/>
          <p:nvPr/>
        </p:nvSpPr>
        <p:spPr>
          <a:xfrm>
            <a:off x="9352357" y="2355360"/>
            <a:ext cx="461819" cy="377894"/>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1"/>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2"/>
                  <a:pt x="8380" y="7241"/>
                  <a:pt x="8380" y="7241"/>
                </a:cubicBezTo>
                <a:cubicBezTo>
                  <a:pt x="8112" y="6505"/>
                  <a:pt x="7614" y="5133"/>
                  <a:pt x="7988" y="4025"/>
                </a:cubicBezTo>
                <a:cubicBezTo>
                  <a:pt x="8490" y="2492"/>
                  <a:pt x="8935" y="2190"/>
                  <a:pt x="9741" y="1747"/>
                </a:cubicBezTo>
                <a:cubicBezTo>
                  <a:pt x="9788" y="1721"/>
                  <a:pt x="9834" y="1691"/>
                  <a:pt x="9877" y="1657"/>
                </a:cubicBezTo>
                <a:cubicBezTo>
                  <a:pt x="10029" y="1535"/>
                  <a:pt x="10674" y="1200"/>
                  <a:pt x="11403" y="1200"/>
                </a:cubicBezTo>
                <a:cubicBezTo>
                  <a:pt x="11768" y="1200"/>
                  <a:pt x="12075" y="1285"/>
                  <a:pt x="12318" y="1454"/>
                </a:cubicBezTo>
                <a:cubicBezTo>
                  <a:pt x="12610" y="1655"/>
                  <a:pt x="12890" y="2039"/>
                  <a:pt x="13313" y="3271"/>
                </a:cubicBezTo>
                <a:cubicBezTo>
                  <a:pt x="14101" y="5469"/>
                  <a:pt x="13602" y="6698"/>
                  <a:pt x="13350" y="7124"/>
                </a:cubicBezTo>
                <a:cubicBezTo>
                  <a:pt x="13183" y="7407"/>
                  <a:pt x="13126" y="7764"/>
                  <a:pt x="13191" y="8102"/>
                </a:cubicBezTo>
                <a:cubicBezTo>
                  <a:pt x="13386" y="9109"/>
                  <a:pt x="13260" y="9534"/>
                  <a:pt x="13227" y="9619"/>
                </a:cubicBezTo>
                <a:cubicBezTo>
                  <a:pt x="13219" y="9631"/>
                  <a:pt x="13101" y="9814"/>
                  <a:pt x="13041" y="9902"/>
                </a:cubicBezTo>
                <a:cubicBezTo>
                  <a:pt x="12668" y="10452"/>
                  <a:pt x="11973" y="11474"/>
                  <a:pt x="11973" y="13569"/>
                </a:cubicBezTo>
                <a:cubicBezTo>
                  <a:pt x="11973" y="16039"/>
                  <a:pt x="13545" y="17190"/>
                  <a:pt x="14427" y="17477"/>
                </a:cubicBezTo>
                <a:lnTo>
                  <a:pt x="14466" y="17493"/>
                </a:lnTo>
                <a:cubicBezTo>
                  <a:pt x="15703" y="18036"/>
                  <a:pt x="16914" y="18711"/>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1"/>
                </a:cubicBezTo>
                <a:cubicBezTo>
                  <a:pt x="13957" y="10421"/>
                  <a:pt x="14531" y="9807"/>
                  <a:pt x="14146" y="7826"/>
                </a:cubicBezTo>
                <a:cubicBezTo>
                  <a:pt x="14787" y="6740"/>
                  <a:pt x="14995" y="4972"/>
                  <a:pt x="14211" y="2789"/>
                </a:cubicBezTo>
                <a:cubicBezTo>
                  <a:pt x="13774" y="1514"/>
                  <a:pt x="13389" y="815"/>
                  <a:pt x="12801" y="409"/>
                </a:cubicBezTo>
                <a:cubicBezTo>
                  <a:pt x="12370" y="110"/>
                  <a:pt x="11880" y="0"/>
                  <a:pt x="11403" y="0"/>
                </a:cubicBezTo>
                <a:cubicBezTo>
                  <a:pt x="10516" y="0"/>
                  <a:pt x="9675" y="384"/>
                  <a:pt x="9339" y="653"/>
                </a:cubicBezTo>
                <a:cubicBezTo>
                  <a:pt x="8357" y="1192"/>
                  <a:pt x="7697" y="1688"/>
                  <a:pt x="7077" y="3579"/>
                </a:cubicBezTo>
                <a:cubicBezTo>
                  <a:pt x="6540" y="5168"/>
                  <a:pt x="7179" y="6892"/>
                  <a:pt x="7494" y="7758"/>
                </a:cubicBezTo>
                <a:cubicBezTo>
                  <a:pt x="7110" y="9740"/>
                  <a:pt x="7642" y="10421"/>
                  <a:pt x="7642" y="10421"/>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6"/>
                </a:moveTo>
                <a:cubicBezTo>
                  <a:pt x="19516" y="15006"/>
                  <a:pt x="18416" y="14701"/>
                  <a:pt x="18416" y="12954"/>
                </a:cubicBezTo>
                <a:cubicBezTo>
                  <a:pt x="18416" y="11419"/>
                  <a:pt x="18794" y="10879"/>
                  <a:pt x="19017" y="10506"/>
                </a:cubicBezTo>
                <a:cubicBezTo>
                  <a:pt x="19017" y="10506"/>
                  <a:pt x="19443" y="9975"/>
                  <a:pt x="19136" y="8435"/>
                </a:cubicBezTo>
                <a:cubicBezTo>
                  <a:pt x="19388" y="7760"/>
                  <a:pt x="19900" y="6419"/>
                  <a:pt x="19470" y="5184"/>
                </a:cubicBezTo>
                <a:cubicBezTo>
                  <a:pt x="18974" y="3714"/>
                  <a:pt x="18645" y="3327"/>
                  <a:pt x="17860" y="2908"/>
                </a:cubicBezTo>
                <a:cubicBezTo>
                  <a:pt x="17591" y="2699"/>
                  <a:pt x="16918" y="2400"/>
                  <a:pt x="16208" y="2400"/>
                </a:cubicBezTo>
                <a:cubicBezTo>
                  <a:pt x="15873" y="2400"/>
                  <a:pt x="15531" y="2473"/>
                  <a:pt x="15218" y="2647"/>
                </a:cubicBezTo>
                <a:cubicBezTo>
                  <a:pt x="15343" y="3035"/>
                  <a:pt x="15449" y="3420"/>
                  <a:pt x="15525" y="3799"/>
                </a:cubicBezTo>
                <a:cubicBezTo>
                  <a:pt x="15537" y="3790"/>
                  <a:pt x="15550" y="3779"/>
                  <a:pt x="15563" y="3770"/>
                </a:cubicBezTo>
                <a:cubicBezTo>
                  <a:pt x="15730" y="3657"/>
                  <a:pt x="15948" y="3600"/>
                  <a:pt x="16208" y="3600"/>
                </a:cubicBezTo>
                <a:cubicBezTo>
                  <a:pt x="16716" y="3600"/>
                  <a:pt x="17211" y="3825"/>
                  <a:pt x="17332" y="3919"/>
                </a:cubicBezTo>
                <a:cubicBezTo>
                  <a:pt x="17375" y="3953"/>
                  <a:pt x="17421" y="3983"/>
                  <a:pt x="17467" y="4008"/>
                </a:cubicBezTo>
                <a:cubicBezTo>
                  <a:pt x="17950" y="4265"/>
                  <a:pt x="18131" y="4362"/>
                  <a:pt x="18562" y="5641"/>
                </a:cubicBezTo>
                <a:cubicBezTo>
                  <a:pt x="18822" y="6387"/>
                  <a:pt x="18452" y="7378"/>
                  <a:pt x="18253" y="7911"/>
                </a:cubicBezTo>
                <a:cubicBezTo>
                  <a:pt x="18161" y="8156"/>
                  <a:pt x="18130" y="8457"/>
                  <a:pt x="18182" y="8718"/>
                </a:cubicBezTo>
                <a:cubicBezTo>
                  <a:pt x="18316" y="9392"/>
                  <a:pt x="18254" y="9706"/>
                  <a:pt x="18232" y="9784"/>
                </a:cubicBezTo>
                <a:cubicBezTo>
                  <a:pt x="18230" y="9788"/>
                  <a:pt x="18227" y="9793"/>
                  <a:pt x="18224" y="9798"/>
                </a:cubicBezTo>
                <a:lnTo>
                  <a:pt x="18191" y="9853"/>
                </a:lnTo>
                <a:cubicBezTo>
                  <a:pt x="17926" y="10290"/>
                  <a:pt x="17434" y="11106"/>
                  <a:pt x="17434" y="12954"/>
                </a:cubicBezTo>
                <a:cubicBezTo>
                  <a:pt x="17434" y="15019"/>
                  <a:pt x="18570" y="15933"/>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8"/>
                  <a:pt x="19516" y="15006"/>
                </a:cubicBezTo>
                <a:moveTo>
                  <a:pt x="2371" y="16155"/>
                </a:moveTo>
                <a:cubicBezTo>
                  <a:pt x="3030" y="15933"/>
                  <a:pt x="4166" y="15019"/>
                  <a:pt x="4166" y="12954"/>
                </a:cubicBezTo>
                <a:cubicBezTo>
                  <a:pt x="4166" y="11106"/>
                  <a:pt x="3673" y="10290"/>
                  <a:pt x="3409" y="9853"/>
                </a:cubicBezTo>
                <a:lnTo>
                  <a:pt x="3376" y="9798"/>
                </a:lnTo>
                <a:cubicBezTo>
                  <a:pt x="3373" y="9793"/>
                  <a:pt x="3370" y="9788"/>
                  <a:pt x="3367" y="9784"/>
                </a:cubicBezTo>
                <a:cubicBezTo>
                  <a:pt x="3346" y="9706"/>
                  <a:pt x="3283" y="9392"/>
                  <a:pt x="3418" y="8718"/>
                </a:cubicBezTo>
                <a:cubicBezTo>
                  <a:pt x="3470" y="8457"/>
                  <a:pt x="3439" y="8156"/>
                  <a:pt x="3347" y="7911"/>
                </a:cubicBezTo>
                <a:cubicBezTo>
                  <a:pt x="3148" y="7378"/>
                  <a:pt x="2778" y="6387"/>
                  <a:pt x="3038" y="5641"/>
                </a:cubicBezTo>
                <a:cubicBezTo>
                  <a:pt x="3469" y="4362"/>
                  <a:pt x="3649" y="4265"/>
                  <a:pt x="4133" y="4008"/>
                </a:cubicBezTo>
                <a:cubicBezTo>
                  <a:pt x="4180" y="3983"/>
                  <a:pt x="4225" y="3953"/>
                  <a:pt x="4268" y="3919"/>
                </a:cubicBezTo>
                <a:cubicBezTo>
                  <a:pt x="4389" y="3825"/>
                  <a:pt x="4884" y="3600"/>
                  <a:pt x="5392" y="3600"/>
                </a:cubicBezTo>
                <a:cubicBezTo>
                  <a:pt x="5636" y="3600"/>
                  <a:pt x="5839" y="3655"/>
                  <a:pt x="6002" y="3755"/>
                </a:cubicBezTo>
                <a:cubicBezTo>
                  <a:pt x="6045" y="3548"/>
                  <a:pt x="6096" y="3341"/>
                  <a:pt x="6165" y="3134"/>
                </a:cubicBezTo>
                <a:cubicBezTo>
                  <a:pt x="6225" y="2950"/>
                  <a:pt x="6289" y="2793"/>
                  <a:pt x="6351" y="2630"/>
                </a:cubicBezTo>
                <a:cubicBezTo>
                  <a:pt x="6046" y="2468"/>
                  <a:pt x="5716" y="2400"/>
                  <a:pt x="5392" y="2400"/>
                </a:cubicBezTo>
                <a:cubicBezTo>
                  <a:pt x="4682" y="2400"/>
                  <a:pt x="4009" y="2699"/>
                  <a:pt x="3740" y="2908"/>
                </a:cubicBezTo>
                <a:cubicBezTo>
                  <a:pt x="2955" y="3327"/>
                  <a:pt x="2625" y="3714"/>
                  <a:pt x="2130" y="5184"/>
                </a:cubicBezTo>
                <a:cubicBezTo>
                  <a:pt x="1700" y="6419"/>
                  <a:pt x="2212" y="7760"/>
                  <a:pt x="2464" y="8435"/>
                </a:cubicBezTo>
                <a:cubicBezTo>
                  <a:pt x="2156" y="9975"/>
                  <a:pt x="2583" y="10506"/>
                  <a:pt x="2583" y="10506"/>
                </a:cubicBezTo>
                <a:cubicBezTo>
                  <a:pt x="2806" y="10879"/>
                  <a:pt x="3185" y="11419"/>
                  <a:pt x="3185" y="12954"/>
                </a:cubicBezTo>
                <a:cubicBezTo>
                  <a:pt x="3185" y="14701"/>
                  <a:pt x="2084" y="15006"/>
                  <a:pt x="2084" y="15006"/>
                </a:cubicBezTo>
                <a:cubicBezTo>
                  <a:pt x="1191" y="15388"/>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chemeClr val="accent2"/>
          </a:solidFill>
          <a:ln w="12700">
            <a:miter lim="400000"/>
          </a:ln>
        </p:spPr>
        <p:txBody>
          <a:bodyPr lIns="38100" tIns="38100" rIns="38100" bIns="38100" anchor="ctr"/>
          <a:lstStyle/>
          <a:p>
            <a:pPr defTabSz="457200">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p>
        </p:txBody>
      </p:sp>
      <p:sp>
        <p:nvSpPr>
          <p:cNvPr id="46" name="Rectangle 45"/>
          <p:cNvSpPr/>
          <p:nvPr/>
        </p:nvSpPr>
        <p:spPr>
          <a:xfrm>
            <a:off x="1431642" y="5414679"/>
            <a:ext cx="9221844" cy="646331"/>
          </a:xfrm>
          <a:prstGeom prst="rect">
            <a:avLst/>
          </a:prstGeom>
        </p:spPr>
        <p:txBody>
          <a:bodyPr wrap="square">
            <a:spAutoFit/>
          </a:bodyPr>
          <a:lstStyle/>
          <a:p>
            <a:pPr algn="ctr">
              <a:buClr>
                <a:srgbClr val="E24848"/>
              </a:buClr>
              <a:defRPr/>
            </a:pPr>
            <a:r>
              <a:rPr lang="en-US" sz="1200" noProof="1">
                <a:solidFill>
                  <a:schemeClr val="tx1">
                    <a:lumMod val="75000"/>
                    <a:lumOff val="25000"/>
                  </a:schemeClr>
                </a:solidFill>
                <a:latin typeface="+mj-lt"/>
                <a:ea typeface="Open Sans Light" panose="020B0306030504020204" pitchFamily="34" charset="0"/>
                <a:cs typeface="Open Sans Light" panose="020B0306030504020204" pitchFamily="34" charset="0"/>
              </a:rPr>
              <a:t>Lorem ipsum dolor sit amet, consectetur adipiscing elit. Nulla imperdiet volutpat dui at fermentum. Aliquam erat volutpat. Aenean lacinia lacus aliquet ante mollis, sollicitudin tempor tortor aliquam. Nulla facilisi. Nam auctor metus vitae quam gravida, ac vehicula elit mollis. Nunc elementum fringilla nisl, a ornare arcu condimentum a. Nulla</a:t>
            </a:r>
            <a:endParaRPr lang="en-US" sz="1200" noProof="1">
              <a:solidFill>
                <a:schemeClr val="tx1">
                  <a:lumMod val="75000"/>
                  <a:lumOff val="25000"/>
                </a:schemeClr>
              </a:solidFill>
              <a:latin typeface="+mj-lt"/>
              <a:ea typeface="Open Sans Light" panose="020B0306030504020204" pitchFamily="34" charset="0"/>
              <a:cs typeface="Open Sans Light" panose="020B0306030504020204" pitchFamily="34" charset="0"/>
            </a:endParaRPr>
          </a:p>
        </p:txBody>
      </p:sp>
    </p:spTree>
  </p:cSld>
  <p:clrMapOvr>
    <a:masterClrMapping/>
  </p:clrMapOvr>
  <p:transition spd="slow" advClick="0" advTm="0">
    <p:fade/>
  </p:transition>
</p:sld>
</file>

<file path=ppt/tags/tag1.xml><?xml version="1.0" encoding="utf-8"?>
<p:tagLst xmlns:p="http://schemas.openxmlformats.org/presentationml/2006/main">
  <p:tag name="THINKCELLSHAPEDONOTDELETE" val="p6mntKQXTz0WUq6ElMvQaWw"/>
</p:tagLst>
</file>

<file path=ppt/tags/tag2.xml><?xml version="1.0" encoding="utf-8"?>
<p:tagLst xmlns:p="http://schemas.openxmlformats.org/presentationml/2006/main">
  <p:tag name="THINKCELLSHAPEDONOTDELETE" val="p6mntKQXTz0WUq6ElMvQaWw"/>
</p:tagLst>
</file>

<file path=ppt/tags/tag3.xml><?xml version="1.0" encoding="utf-8"?>
<p:tagLst xmlns:p="http://schemas.openxmlformats.org/presentationml/2006/main">
  <p:tag name="THINKCELLSHAPEDONOTDELETE" val="p6mntKQXTz0WUq6ElMvQaWw"/>
</p:tagLst>
</file>

<file path=ppt/tags/tag4.xml><?xml version="1.0" encoding="utf-8"?>
<p:tagLst xmlns:p="http://schemas.openxmlformats.org/presentationml/2006/main">
  <p:tag name="THINKCELLSHAPEDONOTDELETE" val="pPpBiFfq1WE.qdOU75Po4Mw"/>
</p:tagLst>
</file>

<file path=ppt/tags/tag5.xml><?xml version="1.0" encoding="utf-8"?>
<p:tagLst xmlns:p="http://schemas.openxmlformats.org/presentationml/2006/main">
  <p:tag name="THINKCELLSHAPEDONOTDELETE" val="pPpBiFfq1WE.qdOU75Po4Mw"/>
</p:tagLst>
</file>

<file path=ppt/theme/theme1.xml><?xml version="1.0" encoding="utf-8"?>
<a:theme xmlns:a="http://schemas.openxmlformats.org/drawingml/2006/main" name="Office Theme">
  <a:themeElements>
    <a:clrScheme name="自定义 80">
      <a:dk1>
        <a:sysClr val="windowText" lastClr="000000"/>
      </a:dk1>
      <a:lt1>
        <a:sysClr val="window" lastClr="FFFFFF"/>
      </a:lt1>
      <a:dk2>
        <a:srgbClr val="44546A"/>
      </a:dk2>
      <a:lt2>
        <a:srgbClr val="E7E6E6"/>
      </a:lt2>
      <a:accent1>
        <a:srgbClr val="F36E65"/>
      </a:accent1>
      <a:accent2>
        <a:srgbClr val="009697"/>
      </a:accent2>
      <a:accent3>
        <a:srgbClr val="BBC0C3"/>
      </a:accent3>
      <a:accent4>
        <a:srgbClr val="6B7278"/>
      </a:accent4>
      <a:accent5>
        <a:srgbClr val="333A42"/>
      </a:accent5>
      <a:accent6>
        <a:srgbClr val="1B1F23"/>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0763</Words>
  <Application>WPS 演示</Application>
  <PresentationFormat>自定义</PresentationFormat>
  <Paragraphs>571</Paragraphs>
  <Slides>27</Slides>
  <Notes>1</Notes>
  <HiddenSlides>0</HiddenSlides>
  <MMClips>1</MMClips>
  <ScaleCrop>false</ScaleCrop>
  <HeadingPairs>
    <vt:vector size="6" baseType="variant">
      <vt:variant>
        <vt:lpstr>已用的字体</vt:lpstr>
      </vt:variant>
      <vt:variant>
        <vt:i4>33</vt:i4>
      </vt:variant>
      <vt:variant>
        <vt:lpstr>主题</vt:lpstr>
      </vt:variant>
      <vt:variant>
        <vt:i4>1</vt:i4>
      </vt:variant>
      <vt:variant>
        <vt:lpstr>幻灯片标题</vt:lpstr>
      </vt:variant>
      <vt:variant>
        <vt:i4>27</vt:i4>
      </vt:variant>
    </vt:vector>
  </HeadingPairs>
  <TitlesOfParts>
    <vt:vector size="61" baseType="lpstr">
      <vt:lpstr>Arial</vt:lpstr>
      <vt:lpstr>宋体</vt:lpstr>
      <vt:lpstr>Wingdings</vt:lpstr>
      <vt:lpstr>Calibri Light</vt:lpstr>
      <vt:lpstr>Roboto</vt:lpstr>
      <vt:lpstr>Zebrra</vt:lpstr>
      <vt:lpstr>Playfair Display</vt:lpstr>
      <vt:lpstr>Open Sans</vt:lpstr>
      <vt:lpstr>Lato</vt:lpstr>
      <vt:lpstr>文悦古典明朝体 (非商业使用) W5</vt:lpstr>
      <vt:lpstr>Open Sans Light</vt:lpstr>
      <vt:lpstr>Calibri</vt:lpstr>
      <vt:lpstr>ヒラギノ角ゴ ProN W3</vt:lpstr>
      <vt:lpstr>Hilda Sonnenschein</vt:lpstr>
      <vt:lpstr>Times New Roman</vt:lpstr>
      <vt:lpstr>Neris Light</vt:lpstr>
      <vt:lpstr>Open Sans</vt:lpstr>
      <vt:lpstr>Georgia</vt:lpstr>
      <vt:lpstr>MS PGothic</vt:lpstr>
      <vt:lpstr>Gill Sans</vt:lpstr>
      <vt:lpstr>Lato Light</vt:lpstr>
      <vt:lpstr>Roboto Light</vt:lpstr>
      <vt:lpstr>微软雅黑</vt:lpstr>
      <vt:lpstr>Arial Unicode MS</vt:lpstr>
      <vt:lpstr>Arial Black</vt:lpstr>
      <vt:lpstr>Roboto Black</vt:lpstr>
      <vt:lpstr>Open Sans SemiBold</vt:lpstr>
      <vt:lpstr>Raleway Light</vt:lpstr>
      <vt:lpstr>RoyalGothic</vt:lpstr>
      <vt:lpstr>Helvetica</vt:lpstr>
      <vt:lpstr>Bebas Neue</vt:lpstr>
      <vt:lpstr>Bebas</vt:lpstr>
      <vt:lpstr>BentonSansF Book</vt:lpstr>
      <vt:lpstr>Office Them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一颗苹果</cp:lastModifiedBy>
  <cp:revision>10</cp:revision>
  <dcterms:created xsi:type="dcterms:W3CDTF">2017-10-10T13:10:00Z</dcterms:created>
  <dcterms:modified xsi:type="dcterms:W3CDTF">2021-09-08T10:0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10463</vt:lpwstr>
  </property>
  <property fmtid="{D5CDD505-2E9C-101B-9397-08002B2CF9AE}" pid="3" name="ICV">
    <vt:lpwstr>065E9A03B6A040E1B40CC851B51A5CDA</vt:lpwstr>
  </property>
</Properties>
</file>